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2" r:id="rId1"/>
  </p:sldMasterIdLst>
  <p:notesMasterIdLst>
    <p:notesMasterId r:id="rId62"/>
  </p:notesMasterIdLst>
  <p:handoutMasterIdLst>
    <p:handoutMasterId r:id="rId63"/>
  </p:handoutMasterIdLst>
  <p:sldIdLst>
    <p:sldId id="354" r:id="rId2"/>
    <p:sldId id="358" r:id="rId3"/>
    <p:sldId id="478" r:id="rId4"/>
    <p:sldId id="431" r:id="rId5"/>
    <p:sldId id="368" r:id="rId6"/>
    <p:sldId id="369" r:id="rId7"/>
    <p:sldId id="1054" r:id="rId8"/>
    <p:sldId id="370" r:id="rId9"/>
    <p:sldId id="1053" r:id="rId10"/>
    <p:sldId id="448" r:id="rId11"/>
    <p:sldId id="1046" r:id="rId12"/>
    <p:sldId id="1047" r:id="rId13"/>
    <p:sldId id="1109" r:id="rId14"/>
    <p:sldId id="352" r:id="rId15"/>
    <p:sldId id="429" r:id="rId16"/>
    <p:sldId id="374" r:id="rId17"/>
    <p:sldId id="1114" r:id="rId18"/>
    <p:sldId id="1115" r:id="rId19"/>
    <p:sldId id="389" r:id="rId20"/>
    <p:sldId id="363" r:id="rId21"/>
    <p:sldId id="1122" r:id="rId22"/>
    <p:sldId id="1119" r:id="rId23"/>
    <p:sldId id="386" r:id="rId24"/>
    <p:sldId id="393" r:id="rId25"/>
    <p:sldId id="1116" r:id="rId26"/>
    <p:sldId id="408" r:id="rId27"/>
    <p:sldId id="406" r:id="rId28"/>
    <p:sldId id="405" r:id="rId29"/>
    <p:sldId id="425" r:id="rId30"/>
    <p:sldId id="411" r:id="rId31"/>
    <p:sldId id="412" r:id="rId32"/>
    <p:sldId id="414" r:id="rId33"/>
    <p:sldId id="410" r:id="rId34"/>
    <p:sldId id="420" r:id="rId35"/>
    <p:sldId id="415" r:id="rId36"/>
    <p:sldId id="364" r:id="rId37"/>
    <p:sldId id="422" r:id="rId38"/>
    <p:sldId id="427" r:id="rId39"/>
    <p:sldId id="428" r:id="rId40"/>
    <p:sldId id="1117" r:id="rId41"/>
    <p:sldId id="430" r:id="rId42"/>
    <p:sldId id="1118" r:id="rId43"/>
    <p:sldId id="426" r:id="rId44"/>
    <p:sldId id="432" r:id="rId45"/>
    <p:sldId id="1107" r:id="rId46"/>
    <p:sldId id="400" r:id="rId47"/>
    <p:sldId id="367" r:id="rId48"/>
    <p:sldId id="1123" r:id="rId49"/>
    <p:sldId id="1125" r:id="rId50"/>
    <p:sldId id="394" r:id="rId51"/>
    <p:sldId id="1124" r:id="rId52"/>
    <p:sldId id="1126" r:id="rId53"/>
    <p:sldId id="1128" r:id="rId54"/>
    <p:sldId id="1127" r:id="rId55"/>
    <p:sldId id="1129" r:id="rId56"/>
    <p:sldId id="1130" r:id="rId57"/>
    <p:sldId id="1131" r:id="rId58"/>
    <p:sldId id="1132" r:id="rId59"/>
    <p:sldId id="792" r:id="rId60"/>
    <p:sldId id="1133" r:id="rId61"/>
  </p:sldIdLst>
  <p:sldSz cx="12198350" cy="6858000"/>
  <p:notesSz cx="6797675" cy="9926638"/>
  <p:custDataLst>
    <p:tags r:id="rId64"/>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2">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35353"/>
    <a:srgbClr val="98002E"/>
    <a:srgbClr val="ED1A3B"/>
    <a:srgbClr val="8596A8"/>
    <a:srgbClr val="E7E7E7"/>
    <a:srgbClr val="657C91"/>
    <a:srgbClr val="DF8639"/>
    <a:srgbClr val="02A5E2"/>
    <a:srgbClr val="218F8B"/>
    <a:srgbClr val="40404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4672" autoAdjust="0"/>
  </p:normalViewPr>
  <p:slideViewPr>
    <p:cSldViewPr>
      <p:cViewPr varScale="1">
        <p:scale>
          <a:sx n="121" d="100"/>
          <a:sy n="121" d="100"/>
        </p:scale>
        <p:origin x="288" y="246"/>
      </p:cViewPr>
      <p:guideLst>
        <p:guide orient="horz" pos="2160"/>
        <p:guide pos="3842"/>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p:cViewPr varScale="1">
        <p:scale>
          <a:sx n="124" d="100"/>
          <a:sy n="124" d="100"/>
        </p:scale>
        <p:origin x="3690"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handoutMaster" Target="handoutMasters/handoutMaster1.xml"/><Relationship Id="rId68"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ags" Target="tags/tag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201CA0F1-0C40-4F46-B367-FB993B86DD84}" type="datetimeFigureOut">
              <a:rPr lang="nl-NL" smtClean="0"/>
              <a:t>6-1-2020</a:t>
            </a:fld>
            <a:endParaRPr lang="nl-NL"/>
          </a:p>
        </p:txBody>
      </p:sp>
      <p:sp>
        <p:nvSpPr>
          <p:cNvPr id="4" name="Tijdelijke aanduiding voor voettekst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nl-NL"/>
          </a:p>
        </p:txBody>
      </p:sp>
      <p:sp>
        <p:nvSpPr>
          <p:cNvPr id="5" name="Tijdelijke aanduiding voor dianummer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A8D5F74C-44F0-4A69-A19D-BE9F859904ED}" type="slidenum">
              <a:rPr lang="nl-NL" smtClean="0"/>
              <a:t>‹nr.›</a:t>
            </a:fld>
            <a:endParaRPr lang="nl-NL"/>
          </a:p>
        </p:txBody>
      </p:sp>
    </p:spTree>
    <p:extLst>
      <p:ext uri="{BB962C8B-B14F-4D97-AF65-F5344CB8AC3E}">
        <p14:creationId xmlns:p14="http://schemas.microsoft.com/office/powerpoint/2010/main" val="1379106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GB"/>
          </a:p>
        </p:txBody>
      </p:sp>
      <p:sp>
        <p:nvSpPr>
          <p:cNvPr id="3" name="Tijdelijke aanduiding voor datum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464BB029-47A2-44C0-AF5A-0FE3186828C7}" type="datetimeFigureOut">
              <a:rPr lang="en-GB" smtClean="0"/>
              <a:t>06/01/2020</a:t>
            </a:fld>
            <a:endParaRPr lang="en-GB"/>
          </a:p>
        </p:txBody>
      </p:sp>
      <p:sp>
        <p:nvSpPr>
          <p:cNvPr id="4" name="Tijdelijke aanduiding voor dia-afbeelding 3"/>
          <p:cNvSpPr>
            <a:spLocks noGrp="1" noRot="1" noChangeAspect="1"/>
          </p:cNvSpPr>
          <p:nvPr>
            <p:ph type="sldImg" idx="2"/>
          </p:nvPr>
        </p:nvSpPr>
        <p:spPr>
          <a:xfrm>
            <a:off x="420688" y="1241425"/>
            <a:ext cx="5956300" cy="3349625"/>
          </a:xfrm>
          <a:prstGeom prst="rect">
            <a:avLst/>
          </a:prstGeom>
          <a:noFill/>
          <a:ln w="12700">
            <a:solidFill>
              <a:prstClr val="black"/>
            </a:solidFill>
          </a:ln>
        </p:spPr>
        <p:txBody>
          <a:bodyPr vert="horz" lIns="91440" tIns="45720" rIns="91440" bIns="45720" rtlCol="0" anchor="ctr"/>
          <a:lstStyle/>
          <a:p>
            <a:endParaRPr lang="en-GB"/>
          </a:p>
        </p:txBody>
      </p:sp>
      <p:sp>
        <p:nvSpPr>
          <p:cNvPr id="5" name="Tijdelijke aanduiding voor notitie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6" name="Tijdelijke aanduiding voor voettekst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GB"/>
          </a:p>
        </p:txBody>
      </p:sp>
      <p:sp>
        <p:nvSpPr>
          <p:cNvPr id="7" name="Tijdelijke aanduiding voor dianumm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F99D7119-3C6C-47C5-BC74-B355F8CAB6F6}" type="slidenum">
              <a:rPr lang="en-GB" smtClean="0"/>
              <a:t>‹nr.›</a:t>
            </a:fld>
            <a:endParaRPr lang="en-GB"/>
          </a:p>
        </p:txBody>
      </p:sp>
    </p:spTree>
    <p:extLst>
      <p:ext uri="{BB962C8B-B14F-4D97-AF65-F5344CB8AC3E}">
        <p14:creationId xmlns:p14="http://schemas.microsoft.com/office/powerpoint/2010/main" val="6205326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F99D7119-3C6C-47C5-BC74-B355F8CAB6F6}" type="slidenum">
              <a:rPr lang="en-GB" smtClean="0"/>
              <a:t>1</a:t>
            </a:fld>
            <a:endParaRPr lang="en-GB"/>
          </a:p>
        </p:txBody>
      </p:sp>
    </p:spTree>
    <p:extLst>
      <p:ext uri="{BB962C8B-B14F-4D97-AF65-F5344CB8AC3E}">
        <p14:creationId xmlns:p14="http://schemas.microsoft.com/office/powerpoint/2010/main" val="41783206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F99D7119-3C6C-47C5-BC74-B355F8CAB6F6}" type="slidenum">
              <a:rPr lang="en-GB" smtClean="0"/>
              <a:t>10</a:t>
            </a:fld>
            <a:endParaRPr lang="en-GB"/>
          </a:p>
        </p:txBody>
      </p:sp>
    </p:spTree>
    <p:extLst>
      <p:ext uri="{BB962C8B-B14F-4D97-AF65-F5344CB8AC3E}">
        <p14:creationId xmlns:p14="http://schemas.microsoft.com/office/powerpoint/2010/main" val="26978637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43059857-5108-4EA1-BEEF-834D80989F3A}" type="slidenum">
              <a:rPr lang="nl-NL" smtClean="0"/>
              <a:t>11</a:t>
            </a:fld>
            <a:endParaRPr lang="nl-NL"/>
          </a:p>
        </p:txBody>
      </p:sp>
    </p:spTree>
    <p:extLst>
      <p:ext uri="{BB962C8B-B14F-4D97-AF65-F5344CB8AC3E}">
        <p14:creationId xmlns:p14="http://schemas.microsoft.com/office/powerpoint/2010/main" val="13995169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200" kern="1200" dirty="0">
                <a:solidFill>
                  <a:schemeClr val="tx1"/>
                </a:solidFill>
                <a:effectLst/>
                <a:latin typeface="+mn-lt"/>
                <a:ea typeface="+mn-ea"/>
                <a:cs typeface="+mn-cs"/>
              </a:rPr>
              <a:t>&lt;HD&gt;</a:t>
            </a:r>
          </a:p>
          <a:p>
            <a:endParaRPr lang="nl-NL" dirty="0"/>
          </a:p>
        </p:txBody>
      </p:sp>
      <p:sp>
        <p:nvSpPr>
          <p:cNvPr id="4" name="Tijdelijke aanduiding voor dianummer 3"/>
          <p:cNvSpPr>
            <a:spLocks noGrp="1"/>
          </p:cNvSpPr>
          <p:nvPr>
            <p:ph type="sldNum" sz="quarter" idx="5"/>
          </p:nvPr>
        </p:nvSpPr>
        <p:spPr/>
        <p:txBody>
          <a:bodyPr/>
          <a:lstStyle/>
          <a:p>
            <a:fld id="{43059857-5108-4EA1-BEEF-834D80989F3A}" type="slidenum">
              <a:rPr lang="nl-NL" smtClean="0"/>
              <a:t>12</a:t>
            </a:fld>
            <a:endParaRPr lang="nl-NL"/>
          </a:p>
        </p:txBody>
      </p:sp>
    </p:spTree>
    <p:extLst>
      <p:ext uri="{BB962C8B-B14F-4D97-AF65-F5344CB8AC3E}">
        <p14:creationId xmlns:p14="http://schemas.microsoft.com/office/powerpoint/2010/main" val="31483168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F99D7119-3C6C-47C5-BC74-B355F8CAB6F6}" type="slidenum">
              <a:rPr lang="en-GB" smtClean="0"/>
              <a:t>13</a:t>
            </a:fld>
            <a:endParaRPr lang="en-GB"/>
          </a:p>
        </p:txBody>
      </p:sp>
    </p:spTree>
    <p:extLst>
      <p:ext uri="{BB962C8B-B14F-4D97-AF65-F5344CB8AC3E}">
        <p14:creationId xmlns:p14="http://schemas.microsoft.com/office/powerpoint/2010/main" val="6244300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F99D7119-3C6C-47C5-BC74-B355F8CAB6F6}" type="slidenum">
              <a:rPr lang="en-GB" smtClean="0"/>
              <a:t>14</a:t>
            </a:fld>
            <a:endParaRPr lang="en-GB"/>
          </a:p>
        </p:txBody>
      </p:sp>
    </p:spTree>
    <p:extLst>
      <p:ext uri="{BB962C8B-B14F-4D97-AF65-F5344CB8AC3E}">
        <p14:creationId xmlns:p14="http://schemas.microsoft.com/office/powerpoint/2010/main" val="21122191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F99D7119-3C6C-47C5-BC74-B355F8CAB6F6}" type="slidenum">
              <a:rPr lang="en-GB" smtClean="0"/>
              <a:t>15</a:t>
            </a:fld>
            <a:endParaRPr lang="en-GB"/>
          </a:p>
        </p:txBody>
      </p:sp>
    </p:spTree>
    <p:extLst>
      <p:ext uri="{BB962C8B-B14F-4D97-AF65-F5344CB8AC3E}">
        <p14:creationId xmlns:p14="http://schemas.microsoft.com/office/powerpoint/2010/main" val="22089056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F99D7119-3C6C-47C5-BC74-B355F8CAB6F6}" type="slidenum">
              <a:rPr lang="en-GB" smtClean="0"/>
              <a:t>16</a:t>
            </a:fld>
            <a:endParaRPr lang="en-GB"/>
          </a:p>
        </p:txBody>
      </p:sp>
    </p:spTree>
    <p:extLst>
      <p:ext uri="{BB962C8B-B14F-4D97-AF65-F5344CB8AC3E}">
        <p14:creationId xmlns:p14="http://schemas.microsoft.com/office/powerpoint/2010/main" val="7878676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F99D7119-3C6C-47C5-BC74-B355F8CAB6F6}" type="slidenum">
              <a:rPr lang="en-GB" smtClean="0"/>
              <a:t>17</a:t>
            </a:fld>
            <a:endParaRPr lang="en-GB"/>
          </a:p>
        </p:txBody>
      </p:sp>
    </p:spTree>
    <p:extLst>
      <p:ext uri="{BB962C8B-B14F-4D97-AF65-F5344CB8AC3E}">
        <p14:creationId xmlns:p14="http://schemas.microsoft.com/office/powerpoint/2010/main" val="34755713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F99D7119-3C6C-47C5-BC74-B355F8CAB6F6}" type="slidenum">
              <a:rPr lang="en-GB" smtClean="0"/>
              <a:t>18</a:t>
            </a:fld>
            <a:endParaRPr lang="en-GB"/>
          </a:p>
        </p:txBody>
      </p:sp>
    </p:spTree>
    <p:extLst>
      <p:ext uri="{BB962C8B-B14F-4D97-AF65-F5344CB8AC3E}">
        <p14:creationId xmlns:p14="http://schemas.microsoft.com/office/powerpoint/2010/main" val="19164316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F99D7119-3C6C-47C5-BC74-B355F8CAB6F6}" type="slidenum">
              <a:rPr lang="en-GB" smtClean="0"/>
              <a:t>19</a:t>
            </a:fld>
            <a:endParaRPr lang="en-GB"/>
          </a:p>
        </p:txBody>
      </p:sp>
    </p:spTree>
    <p:extLst>
      <p:ext uri="{BB962C8B-B14F-4D97-AF65-F5344CB8AC3E}">
        <p14:creationId xmlns:p14="http://schemas.microsoft.com/office/powerpoint/2010/main" val="41637849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F99D7119-3C6C-47C5-BC74-B355F8CAB6F6}" type="slidenum">
              <a:rPr lang="en-GB" smtClean="0"/>
              <a:t>2</a:t>
            </a:fld>
            <a:endParaRPr lang="en-GB"/>
          </a:p>
        </p:txBody>
      </p:sp>
    </p:spTree>
    <p:extLst>
      <p:ext uri="{BB962C8B-B14F-4D97-AF65-F5344CB8AC3E}">
        <p14:creationId xmlns:p14="http://schemas.microsoft.com/office/powerpoint/2010/main" val="12837065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F99D7119-3C6C-47C5-BC74-B355F8CAB6F6}" type="slidenum">
              <a:rPr lang="en-GB" smtClean="0"/>
              <a:t>20</a:t>
            </a:fld>
            <a:endParaRPr lang="en-GB"/>
          </a:p>
        </p:txBody>
      </p:sp>
    </p:spTree>
    <p:extLst>
      <p:ext uri="{BB962C8B-B14F-4D97-AF65-F5344CB8AC3E}">
        <p14:creationId xmlns:p14="http://schemas.microsoft.com/office/powerpoint/2010/main" val="23131831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F99D7119-3C6C-47C5-BC74-B355F8CAB6F6}" type="slidenum">
              <a:rPr lang="en-GB" smtClean="0"/>
              <a:t>21</a:t>
            </a:fld>
            <a:endParaRPr lang="en-GB"/>
          </a:p>
        </p:txBody>
      </p:sp>
    </p:spTree>
    <p:extLst>
      <p:ext uri="{BB962C8B-B14F-4D97-AF65-F5344CB8AC3E}">
        <p14:creationId xmlns:p14="http://schemas.microsoft.com/office/powerpoint/2010/main" val="6060920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F99D7119-3C6C-47C5-BC74-B355F8CAB6F6}" type="slidenum">
              <a:rPr lang="en-GB" smtClean="0"/>
              <a:t>22</a:t>
            </a:fld>
            <a:endParaRPr lang="en-GB"/>
          </a:p>
        </p:txBody>
      </p:sp>
    </p:spTree>
    <p:extLst>
      <p:ext uri="{BB962C8B-B14F-4D97-AF65-F5344CB8AC3E}">
        <p14:creationId xmlns:p14="http://schemas.microsoft.com/office/powerpoint/2010/main" val="3188506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F99D7119-3C6C-47C5-BC74-B355F8CAB6F6}" type="slidenum">
              <a:rPr lang="en-GB" smtClean="0"/>
              <a:t>23</a:t>
            </a:fld>
            <a:endParaRPr lang="en-GB"/>
          </a:p>
        </p:txBody>
      </p:sp>
    </p:spTree>
    <p:extLst>
      <p:ext uri="{BB962C8B-B14F-4D97-AF65-F5344CB8AC3E}">
        <p14:creationId xmlns:p14="http://schemas.microsoft.com/office/powerpoint/2010/main" val="61813314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F99D7119-3C6C-47C5-BC74-B355F8CAB6F6}" type="slidenum">
              <a:rPr lang="en-GB" smtClean="0"/>
              <a:t>24</a:t>
            </a:fld>
            <a:endParaRPr lang="en-GB"/>
          </a:p>
        </p:txBody>
      </p:sp>
    </p:spTree>
    <p:extLst>
      <p:ext uri="{BB962C8B-B14F-4D97-AF65-F5344CB8AC3E}">
        <p14:creationId xmlns:p14="http://schemas.microsoft.com/office/powerpoint/2010/main" val="15940284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F99D7119-3C6C-47C5-BC74-B355F8CAB6F6}" type="slidenum">
              <a:rPr lang="en-GB" smtClean="0"/>
              <a:t>25</a:t>
            </a:fld>
            <a:endParaRPr lang="en-GB"/>
          </a:p>
        </p:txBody>
      </p:sp>
    </p:spTree>
    <p:extLst>
      <p:ext uri="{BB962C8B-B14F-4D97-AF65-F5344CB8AC3E}">
        <p14:creationId xmlns:p14="http://schemas.microsoft.com/office/powerpoint/2010/main" val="230485794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F99D7119-3C6C-47C5-BC74-B355F8CAB6F6}" type="slidenum">
              <a:rPr lang="en-GB" smtClean="0"/>
              <a:t>26</a:t>
            </a:fld>
            <a:endParaRPr lang="en-GB"/>
          </a:p>
        </p:txBody>
      </p:sp>
    </p:spTree>
    <p:extLst>
      <p:ext uri="{BB962C8B-B14F-4D97-AF65-F5344CB8AC3E}">
        <p14:creationId xmlns:p14="http://schemas.microsoft.com/office/powerpoint/2010/main" val="247428634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F99D7119-3C6C-47C5-BC74-B355F8CAB6F6}" type="slidenum">
              <a:rPr lang="en-GB" smtClean="0"/>
              <a:t>27</a:t>
            </a:fld>
            <a:endParaRPr lang="en-GB"/>
          </a:p>
        </p:txBody>
      </p:sp>
    </p:spTree>
    <p:extLst>
      <p:ext uri="{BB962C8B-B14F-4D97-AF65-F5344CB8AC3E}">
        <p14:creationId xmlns:p14="http://schemas.microsoft.com/office/powerpoint/2010/main" val="203335532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F99D7119-3C6C-47C5-BC74-B355F8CAB6F6}" type="slidenum">
              <a:rPr lang="en-GB" smtClean="0"/>
              <a:t>28</a:t>
            </a:fld>
            <a:endParaRPr lang="en-GB"/>
          </a:p>
        </p:txBody>
      </p:sp>
    </p:spTree>
    <p:extLst>
      <p:ext uri="{BB962C8B-B14F-4D97-AF65-F5344CB8AC3E}">
        <p14:creationId xmlns:p14="http://schemas.microsoft.com/office/powerpoint/2010/main" val="361142635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F99D7119-3C6C-47C5-BC74-B355F8CAB6F6}" type="slidenum">
              <a:rPr lang="en-GB" smtClean="0"/>
              <a:t>29</a:t>
            </a:fld>
            <a:endParaRPr lang="en-GB"/>
          </a:p>
        </p:txBody>
      </p:sp>
    </p:spTree>
    <p:extLst>
      <p:ext uri="{BB962C8B-B14F-4D97-AF65-F5344CB8AC3E}">
        <p14:creationId xmlns:p14="http://schemas.microsoft.com/office/powerpoint/2010/main" val="40057583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a:p>
            <a:endParaRPr lang="nl-NL" dirty="0"/>
          </a:p>
          <a:p>
            <a:endParaRPr lang="nl-NL" dirty="0"/>
          </a:p>
        </p:txBody>
      </p:sp>
      <p:sp>
        <p:nvSpPr>
          <p:cNvPr id="4" name="Tijdelijke aanduiding voor dianummer 3"/>
          <p:cNvSpPr>
            <a:spLocks noGrp="1"/>
          </p:cNvSpPr>
          <p:nvPr>
            <p:ph type="sldNum" sz="quarter" idx="5"/>
          </p:nvPr>
        </p:nvSpPr>
        <p:spPr/>
        <p:txBody>
          <a:bodyPr/>
          <a:lstStyle/>
          <a:p>
            <a:fld id="{F99D7119-3C6C-47C5-BC74-B355F8CAB6F6}" type="slidenum">
              <a:rPr lang="en-GB" smtClean="0"/>
              <a:t>3</a:t>
            </a:fld>
            <a:endParaRPr lang="en-GB"/>
          </a:p>
        </p:txBody>
      </p:sp>
    </p:spTree>
    <p:extLst>
      <p:ext uri="{BB962C8B-B14F-4D97-AF65-F5344CB8AC3E}">
        <p14:creationId xmlns:p14="http://schemas.microsoft.com/office/powerpoint/2010/main" val="21375930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F99D7119-3C6C-47C5-BC74-B355F8CAB6F6}" type="slidenum">
              <a:rPr lang="en-GB" smtClean="0"/>
              <a:t>30</a:t>
            </a:fld>
            <a:endParaRPr lang="en-GB"/>
          </a:p>
        </p:txBody>
      </p:sp>
    </p:spTree>
    <p:extLst>
      <p:ext uri="{BB962C8B-B14F-4D97-AF65-F5344CB8AC3E}">
        <p14:creationId xmlns:p14="http://schemas.microsoft.com/office/powerpoint/2010/main" val="26095141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F99D7119-3C6C-47C5-BC74-B355F8CAB6F6}" type="slidenum">
              <a:rPr lang="en-GB" smtClean="0"/>
              <a:t>31</a:t>
            </a:fld>
            <a:endParaRPr lang="en-GB"/>
          </a:p>
        </p:txBody>
      </p:sp>
    </p:spTree>
    <p:extLst>
      <p:ext uri="{BB962C8B-B14F-4D97-AF65-F5344CB8AC3E}">
        <p14:creationId xmlns:p14="http://schemas.microsoft.com/office/powerpoint/2010/main" val="402916147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F99D7119-3C6C-47C5-BC74-B355F8CAB6F6}" type="slidenum">
              <a:rPr lang="en-GB" smtClean="0"/>
              <a:t>32</a:t>
            </a:fld>
            <a:endParaRPr lang="en-GB"/>
          </a:p>
        </p:txBody>
      </p:sp>
    </p:spTree>
    <p:extLst>
      <p:ext uri="{BB962C8B-B14F-4D97-AF65-F5344CB8AC3E}">
        <p14:creationId xmlns:p14="http://schemas.microsoft.com/office/powerpoint/2010/main" val="167519181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F99D7119-3C6C-47C5-BC74-B355F8CAB6F6}" type="slidenum">
              <a:rPr lang="en-GB" smtClean="0"/>
              <a:t>33</a:t>
            </a:fld>
            <a:endParaRPr lang="en-GB"/>
          </a:p>
        </p:txBody>
      </p:sp>
    </p:spTree>
    <p:extLst>
      <p:ext uri="{BB962C8B-B14F-4D97-AF65-F5344CB8AC3E}">
        <p14:creationId xmlns:p14="http://schemas.microsoft.com/office/powerpoint/2010/main" val="4343846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F99D7119-3C6C-47C5-BC74-B355F8CAB6F6}" type="slidenum">
              <a:rPr lang="en-GB" smtClean="0"/>
              <a:t>34</a:t>
            </a:fld>
            <a:endParaRPr lang="en-GB"/>
          </a:p>
        </p:txBody>
      </p:sp>
    </p:spTree>
    <p:extLst>
      <p:ext uri="{BB962C8B-B14F-4D97-AF65-F5344CB8AC3E}">
        <p14:creationId xmlns:p14="http://schemas.microsoft.com/office/powerpoint/2010/main" val="146077835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F99D7119-3C6C-47C5-BC74-B355F8CAB6F6}" type="slidenum">
              <a:rPr lang="en-GB" smtClean="0"/>
              <a:t>35</a:t>
            </a:fld>
            <a:endParaRPr lang="en-GB"/>
          </a:p>
        </p:txBody>
      </p:sp>
    </p:spTree>
    <p:extLst>
      <p:ext uri="{BB962C8B-B14F-4D97-AF65-F5344CB8AC3E}">
        <p14:creationId xmlns:p14="http://schemas.microsoft.com/office/powerpoint/2010/main" val="216980416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pPr defTabSz="882762">
              <a:defRPr/>
            </a:pPr>
            <a:fld id="{412EE8EA-C253-437D-87DE-9C078F6FCEED}" type="slidenum">
              <a:rPr lang="en-GB" sz="1700" kern="0">
                <a:solidFill>
                  <a:sysClr val="windowText" lastClr="000000"/>
                </a:solidFill>
              </a:rPr>
              <a:pPr defTabSz="882762">
                <a:defRPr/>
              </a:pPr>
              <a:t>36</a:t>
            </a:fld>
            <a:endParaRPr lang="en-GB" sz="1700" kern="0">
              <a:solidFill>
                <a:sysClr val="windowText" lastClr="000000"/>
              </a:solidFill>
            </a:endParaRPr>
          </a:p>
        </p:txBody>
      </p:sp>
    </p:spTree>
    <p:extLst>
      <p:ext uri="{BB962C8B-B14F-4D97-AF65-F5344CB8AC3E}">
        <p14:creationId xmlns:p14="http://schemas.microsoft.com/office/powerpoint/2010/main" val="165022242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AEO-vergunning biedt voordelen waarmee vooral tijd en geld wordt bespaard door de versoepeling bij de douane. Denk aan minder fysieke controles, minder boekenonderzoeken etc. Ook verlaagt een AEO-vergunning de zekerheidstelling die soms verplicht is bij bepaalde douaneregelingen. </a:t>
            </a:r>
          </a:p>
          <a:p>
            <a:endParaRPr lang="nl-NL" dirty="0"/>
          </a:p>
          <a:p>
            <a:r>
              <a:rPr lang="nl-NL" dirty="0"/>
              <a:t>Vergunning Doorlopende zekerheid: Bij gebruik van sommige vergunningen bijvoorbeeld in het kader van een douaneregeling of een vereenvoudigde procedure worden vaak opeenvolgende handelingen verricht. Mogelijk is kan er uit deze handelingen een douaneschuld ontstaan. Het is daarbij</a:t>
            </a:r>
          </a:p>
          <a:p>
            <a:r>
              <a:rPr lang="nl-NL" dirty="0"/>
              <a:t>handig dat er voor meerdere transacties tegelijk zekerheid kan worden gesteld. Daarvoor is de doorlopende zekerheid in het leven geroepen. Deze wordt gebruikt bij schorsingsregelingen, of bij maandbetalers (eens per maand douaneschuld betalen; dit is een vereenvoudiging) of maandaangevers (eens per maand alle invoer aangeven en aangifte doen; dit is een vereenvoudiging).</a:t>
            </a:r>
          </a:p>
          <a:p>
            <a:endParaRPr lang="nl-NL" dirty="0"/>
          </a:p>
          <a:p>
            <a:r>
              <a:rPr lang="nl-NL" dirty="0"/>
              <a:t>Vergunning toegelaten exporteur: Met deze vergunning mag u bij uitvoer zogenoemde oorsprongsverklaringen (factuurverklaringen) opstellen. Dat mag met de vergunning voor goederen die van oorsprong uit de Europese Unie komen. De verklaringen mag u opnemen op facturen, pakbonnen, afleveringsbonnen en andere handelsdocumenten. Dit geldt alleen als de UK een vrijhandelsakkoord of een andere regeling treft met de EU. In een harde </a:t>
            </a:r>
            <a:r>
              <a:rPr lang="nl-NL" dirty="0" err="1"/>
              <a:t>brexit</a:t>
            </a:r>
            <a:r>
              <a:rPr lang="nl-NL" dirty="0"/>
              <a:t> kan deze dus </a:t>
            </a:r>
            <a:r>
              <a:rPr lang="nl-NL" b="1" dirty="0"/>
              <a:t>niet</a:t>
            </a:r>
            <a:r>
              <a:rPr lang="nl-NL" dirty="0"/>
              <a:t> toegepast worden!</a:t>
            </a:r>
          </a:p>
        </p:txBody>
      </p:sp>
      <p:sp>
        <p:nvSpPr>
          <p:cNvPr id="4" name="Slide Number Placeholder 3"/>
          <p:cNvSpPr>
            <a:spLocks noGrp="1"/>
          </p:cNvSpPr>
          <p:nvPr>
            <p:ph type="sldNum" sz="quarter" idx="5"/>
          </p:nvPr>
        </p:nvSpPr>
        <p:spPr/>
        <p:txBody>
          <a:bodyPr/>
          <a:lstStyle/>
          <a:p>
            <a:fld id="{F99D7119-3C6C-47C5-BC74-B355F8CAB6F6}" type="slidenum">
              <a:rPr lang="en-GB" smtClean="0"/>
              <a:t>37</a:t>
            </a:fld>
            <a:endParaRPr lang="en-GB"/>
          </a:p>
        </p:txBody>
      </p:sp>
    </p:spTree>
    <p:extLst>
      <p:ext uri="{BB962C8B-B14F-4D97-AF65-F5344CB8AC3E}">
        <p14:creationId xmlns:p14="http://schemas.microsoft.com/office/powerpoint/2010/main" val="150434337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Voorkom na de </a:t>
            </a:r>
            <a:r>
              <a:rPr lang="nl-NL" dirty="0" err="1"/>
              <a:t>brexit</a:t>
            </a:r>
            <a:r>
              <a:rPr lang="nl-NL" dirty="0"/>
              <a:t> dat u dubbel invoerrechten betaalt. Deze regelingen schorsen de invoerrechten, maar ook alle andere heffingen bij invoer, zoals btw, accijns, antidumpingrechten etc.</a:t>
            </a:r>
          </a:p>
          <a:p>
            <a:endParaRPr lang="nl-NL" dirty="0"/>
          </a:p>
        </p:txBody>
      </p:sp>
      <p:sp>
        <p:nvSpPr>
          <p:cNvPr id="4" name="Slide Number Placeholder 3"/>
          <p:cNvSpPr>
            <a:spLocks noGrp="1"/>
          </p:cNvSpPr>
          <p:nvPr>
            <p:ph type="sldNum" sz="quarter" idx="5"/>
          </p:nvPr>
        </p:nvSpPr>
        <p:spPr/>
        <p:txBody>
          <a:bodyPr/>
          <a:lstStyle/>
          <a:p>
            <a:fld id="{F99D7119-3C6C-47C5-BC74-B355F8CAB6F6}" type="slidenum">
              <a:rPr lang="en-GB" smtClean="0"/>
              <a:t>38</a:t>
            </a:fld>
            <a:endParaRPr lang="en-GB"/>
          </a:p>
        </p:txBody>
      </p:sp>
    </p:spTree>
    <p:extLst>
      <p:ext uri="{BB962C8B-B14F-4D97-AF65-F5344CB8AC3E}">
        <p14:creationId xmlns:p14="http://schemas.microsoft.com/office/powerpoint/2010/main" val="368664861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F99D7119-3C6C-47C5-BC74-B355F8CAB6F6}" type="slidenum">
              <a:rPr lang="en-GB" smtClean="0"/>
              <a:t>39</a:t>
            </a:fld>
            <a:endParaRPr lang="en-GB"/>
          </a:p>
        </p:txBody>
      </p:sp>
    </p:spTree>
    <p:extLst>
      <p:ext uri="{BB962C8B-B14F-4D97-AF65-F5344CB8AC3E}">
        <p14:creationId xmlns:p14="http://schemas.microsoft.com/office/powerpoint/2010/main" val="29679219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F99D7119-3C6C-47C5-BC74-B355F8CAB6F6}" type="slidenum">
              <a:rPr lang="en-GB" smtClean="0"/>
              <a:t>4</a:t>
            </a:fld>
            <a:endParaRPr lang="en-GB"/>
          </a:p>
        </p:txBody>
      </p:sp>
    </p:spTree>
    <p:extLst>
      <p:ext uri="{BB962C8B-B14F-4D97-AF65-F5344CB8AC3E}">
        <p14:creationId xmlns:p14="http://schemas.microsoft.com/office/powerpoint/2010/main" val="132205298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AM bedrijf in NL gevestigd. In NL produceren ze auto’s en 55 % vanuit NL</a:t>
            </a:r>
          </a:p>
          <a:p>
            <a:endParaRPr lang="nl-NL" dirty="0"/>
          </a:p>
          <a:p>
            <a:r>
              <a:rPr lang="nl-NL" dirty="0"/>
              <a:t>X aantal handelsakkoorden, zorgt ervoor dat je voor 0% kan invoeren.</a:t>
            </a:r>
          </a:p>
          <a:p>
            <a:endParaRPr lang="nl-NL" dirty="0"/>
          </a:p>
          <a:p>
            <a:r>
              <a:rPr lang="nl-NL" dirty="0"/>
              <a:t>Wat is probleem, deel van auto onderdelen behoren tot VK omdat zij nu geen deel meer uitmaken van de EU, kunnen ze niet meer profiteren van de EU oorsprong. </a:t>
            </a:r>
          </a:p>
        </p:txBody>
      </p:sp>
      <p:sp>
        <p:nvSpPr>
          <p:cNvPr id="4" name="Tijdelijke aanduiding voor dianummer 3"/>
          <p:cNvSpPr>
            <a:spLocks noGrp="1"/>
          </p:cNvSpPr>
          <p:nvPr>
            <p:ph type="sldNum" sz="quarter" idx="5"/>
          </p:nvPr>
        </p:nvSpPr>
        <p:spPr/>
        <p:txBody>
          <a:bodyPr/>
          <a:lstStyle/>
          <a:p>
            <a:fld id="{F99D7119-3C6C-47C5-BC74-B355F8CAB6F6}" type="slidenum">
              <a:rPr lang="en-GB" smtClean="0"/>
              <a:t>40</a:t>
            </a:fld>
            <a:endParaRPr lang="en-GB"/>
          </a:p>
        </p:txBody>
      </p:sp>
    </p:spTree>
    <p:extLst>
      <p:ext uri="{BB962C8B-B14F-4D97-AF65-F5344CB8AC3E}">
        <p14:creationId xmlns:p14="http://schemas.microsoft.com/office/powerpoint/2010/main" val="353414650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a:p>
            <a:r>
              <a:rPr lang="nl-NL" dirty="0"/>
              <a:t>BTI: Wil je zekerheid over de juistheid van de goederencode? Vraag dan een Bindende Tariefinlichting (BTI) aan bij de Nederlandse Douane. Dit is een schriftelijke en bindende uitspraak. Een BTI is 3 jaar geldig in de hele EU vanaf de datum van afgifte van de BTI. Een juiste goederencode bepaalt dus hoeveel invoerrechten en eventuele andere invoerbelastingen jij als importeur betaalt. In bepaalde gevallen betaal je minder of geen invoerrechten.</a:t>
            </a:r>
          </a:p>
        </p:txBody>
      </p:sp>
      <p:sp>
        <p:nvSpPr>
          <p:cNvPr id="4" name="Slide Number Placeholder 3"/>
          <p:cNvSpPr>
            <a:spLocks noGrp="1"/>
          </p:cNvSpPr>
          <p:nvPr>
            <p:ph type="sldNum" sz="quarter" idx="5"/>
          </p:nvPr>
        </p:nvSpPr>
        <p:spPr/>
        <p:txBody>
          <a:bodyPr/>
          <a:lstStyle/>
          <a:p>
            <a:fld id="{F99D7119-3C6C-47C5-BC74-B355F8CAB6F6}" type="slidenum">
              <a:rPr lang="en-GB" smtClean="0"/>
              <a:t>41</a:t>
            </a:fld>
            <a:endParaRPr lang="en-GB"/>
          </a:p>
        </p:txBody>
      </p:sp>
    </p:spTree>
    <p:extLst>
      <p:ext uri="{BB962C8B-B14F-4D97-AF65-F5344CB8AC3E}">
        <p14:creationId xmlns:p14="http://schemas.microsoft.com/office/powerpoint/2010/main" val="244634563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F99D7119-3C6C-47C5-BC74-B355F8CAB6F6}" type="slidenum">
              <a:rPr lang="en-GB" smtClean="0"/>
              <a:t>42</a:t>
            </a:fld>
            <a:endParaRPr lang="en-GB"/>
          </a:p>
        </p:txBody>
      </p:sp>
    </p:spTree>
    <p:extLst>
      <p:ext uri="{BB962C8B-B14F-4D97-AF65-F5344CB8AC3E}">
        <p14:creationId xmlns:p14="http://schemas.microsoft.com/office/powerpoint/2010/main" val="278188171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F99D7119-3C6C-47C5-BC74-B355F8CAB6F6}" type="slidenum">
              <a:rPr lang="en-GB" smtClean="0"/>
              <a:t>43</a:t>
            </a:fld>
            <a:endParaRPr lang="en-GB"/>
          </a:p>
        </p:txBody>
      </p:sp>
    </p:spTree>
    <p:extLst>
      <p:ext uri="{BB962C8B-B14F-4D97-AF65-F5344CB8AC3E}">
        <p14:creationId xmlns:p14="http://schemas.microsoft.com/office/powerpoint/2010/main" val="107180212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F99D7119-3C6C-47C5-BC74-B355F8CAB6F6}" type="slidenum">
              <a:rPr lang="en-GB" smtClean="0"/>
              <a:t>44</a:t>
            </a:fld>
            <a:endParaRPr lang="en-GB"/>
          </a:p>
        </p:txBody>
      </p:sp>
    </p:spTree>
    <p:extLst>
      <p:ext uri="{BB962C8B-B14F-4D97-AF65-F5344CB8AC3E}">
        <p14:creationId xmlns:p14="http://schemas.microsoft.com/office/powerpoint/2010/main" val="369721634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F99D7119-3C6C-47C5-BC74-B355F8CAB6F6}" type="slidenum">
              <a:rPr lang="en-GB" smtClean="0"/>
              <a:t>45</a:t>
            </a:fld>
            <a:endParaRPr lang="en-GB"/>
          </a:p>
        </p:txBody>
      </p:sp>
    </p:spTree>
    <p:extLst>
      <p:ext uri="{BB962C8B-B14F-4D97-AF65-F5344CB8AC3E}">
        <p14:creationId xmlns:p14="http://schemas.microsoft.com/office/powerpoint/2010/main" val="141993678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35CC3DB-B3BC-456D-B636-76ABCF0B059A}" type="slidenum">
              <a:rPr lang="en-GB" smtClean="0"/>
              <a:t>46</a:t>
            </a:fld>
            <a:endParaRPr lang="en-GB" dirty="0"/>
          </a:p>
        </p:txBody>
      </p:sp>
    </p:spTree>
    <p:extLst>
      <p:ext uri="{BB962C8B-B14F-4D97-AF65-F5344CB8AC3E}">
        <p14:creationId xmlns:p14="http://schemas.microsoft.com/office/powerpoint/2010/main" val="37241691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F99D7119-3C6C-47C5-BC74-B355F8CAB6F6}" type="slidenum">
              <a:rPr lang="en-GB" smtClean="0"/>
              <a:t>47</a:t>
            </a:fld>
            <a:endParaRPr lang="en-GB"/>
          </a:p>
        </p:txBody>
      </p:sp>
    </p:spTree>
    <p:extLst>
      <p:ext uri="{BB962C8B-B14F-4D97-AF65-F5344CB8AC3E}">
        <p14:creationId xmlns:p14="http://schemas.microsoft.com/office/powerpoint/2010/main" val="335759350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F99D7119-3C6C-47C5-BC74-B355F8CAB6F6}" type="slidenum">
              <a:rPr lang="en-GB" smtClean="0"/>
              <a:t>48</a:t>
            </a:fld>
            <a:endParaRPr lang="en-GB"/>
          </a:p>
        </p:txBody>
      </p:sp>
    </p:spTree>
    <p:extLst>
      <p:ext uri="{BB962C8B-B14F-4D97-AF65-F5344CB8AC3E}">
        <p14:creationId xmlns:p14="http://schemas.microsoft.com/office/powerpoint/2010/main" val="342436163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F99D7119-3C6C-47C5-BC74-B355F8CAB6F6}" type="slidenum">
              <a:rPr lang="en-GB" smtClean="0"/>
              <a:t>49</a:t>
            </a:fld>
            <a:endParaRPr lang="en-GB"/>
          </a:p>
        </p:txBody>
      </p:sp>
    </p:spTree>
    <p:extLst>
      <p:ext uri="{BB962C8B-B14F-4D97-AF65-F5344CB8AC3E}">
        <p14:creationId xmlns:p14="http://schemas.microsoft.com/office/powerpoint/2010/main" val="4857638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b="1" dirty="0"/>
          </a:p>
        </p:txBody>
      </p:sp>
      <p:sp>
        <p:nvSpPr>
          <p:cNvPr id="4" name="Tijdelijke aanduiding voor dianummer 3"/>
          <p:cNvSpPr>
            <a:spLocks noGrp="1"/>
          </p:cNvSpPr>
          <p:nvPr>
            <p:ph type="sldNum" sz="quarter" idx="5"/>
          </p:nvPr>
        </p:nvSpPr>
        <p:spPr/>
        <p:txBody>
          <a:bodyPr/>
          <a:lstStyle/>
          <a:p>
            <a:fld id="{F99D7119-3C6C-47C5-BC74-B355F8CAB6F6}" type="slidenum">
              <a:rPr lang="en-GB" smtClean="0"/>
              <a:t>5</a:t>
            </a:fld>
            <a:endParaRPr lang="en-GB"/>
          </a:p>
        </p:txBody>
      </p:sp>
    </p:spTree>
    <p:extLst>
      <p:ext uri="{BB962C8B-B14F-4D97-AF65-F5344CB8AC3E}">
        <p14:creationId xmlns:p14="http://schemas.microsoft.com/office/powerpoint/2010/main" val="313578466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F99D7119-3C6C-47C5-BC74-B355F8CAB6F6}" type="slidenum">
              <a:rPr lang="en-GB" smtClean="0"/>
              <a:t>50</a:t>
            </a:fld>
            <a:endParaRPr lang="en-GB"/>
          </a:p>
        </p:txBody>
      </p:sp>
    </p:spTree>
    <p:extLst>
      <p:ext uri="{BB962C8B-B14F-4D97-AF65-F5344CB8AC3E}">
        <p14:creationId xmlns:p14="http://schemas.microsoft.com/office/powerpoint/2010/main" val="153845580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F99D7119-3C6C-47C5-BC74-B355F8CAB6F6}" type="slidenum">
              <a:rPr lang="en-GB" smtClean="0"/>
              <a:t>51</a:t>
            </a:fld>
            <a:endParaRPr lang="en-GB"/>
          </a:p>
        </p:txBody>
      </p:sp>
    </p:spTree>
    <p:extLst>
      <p:ext uri="{BB962C8B-B14F-4D97-AF65-F5344CB8AC3E}">
        <p14:creationId xmlns:p14="http://schemas.microsoft.com/office/powerpoint/2010/main" val="341647967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F99D7119-3C6C-47C5-BC74-B355F8CAB6F6}" type="slidenum">
              <a:rPr lang="en-GB" smtClean="0"/>
              <a:t>52</a:t>
            </a:fld>
            <a:endParaRPr lang="en-GB"/>
          </a:p>
        </p:txBody>
      </p:sp>
    </p:spTree>
    <p:extLst>
      <p:ext uri="{BB962C8B-B14F-4D97-AF65-F5344CB8AC3E}">
        <p14:creationId xmlns:p14="http://schemas.microsoft.com/office/powerpoint/2010/main" val="124073501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HR 19-11-2010. 08/01021 (arrest kinderdagverblijf)</a:t>
            </a:r>
          </a:p>
          <a:p>
            <a:pPr marL="380990" indent="-380990">
              <a:lnSpc>
                <a:spcPct val="90000"/>
              </a:lnSpc>
              <a:buFont typeface="Arial" panose="020B0604020202020204" pitchFamily="34" charset="0"/>
              <a:buChar char="•"/>
              <a:defRPr/>
            </a:pPr>
            <a:r>
              <a:rPr lang="nl-NL" altLang="en-US" sz="1200" dirty="0">
                <a:ea typeface="Verdana" panose="020B0604030504040204" pitchFamily="34" charset="0"/>
                <a:cs typeface="Verdana" panose="020B0604030504040204" pitchFamily="34" charset="0"/>
              </a:rPr>
              <a:t>Hof oordeelt dat het pand na de verbouwing </a:t>
            </a:r>
            <a:r>
              <a:rPr lang="nl-NL" altLang="en-US" sz="1200" b="1" dirty="0">
                <a:ea typeface="Verdana" panose="020B0604030504040204" pitchFamily="34" charset="0"/>
                <a:cs typeface="Verdana" panose="020B0604030504040204" pitchFamily="34" charset="0"/>
              </a:rPr>
              <a:t>niet kan worden vereenzelvigd </a:t>
            </a:r>
            <a:r>
              <a:rPr lang="nl-NL" altLang="en-US" sz="1200" dirty="0">
                <a:ea typeface="Verdana" panose="020B0604030504040204" pitchFamily="34" charset="0"/>
                <a:cs typeface="Verdana" panose="020B0604030504040204" pitchFamily="34" charset="0"/>
              </a:rPr>
              <a:t>met het pand zoals dat voor de verbouwing bestond en dat derhalve door deze verbouwing een goed is ontstaan dat tevoren niet bestond. Hierbij heeft het Hof in aanmerking genomen dat het pand wat </a:t>
            </a:r>
            <a:r>
              <a:rPr lang="nl-NL" altLang="en-US" sz="1200" b="1" dirty="0">
                <a:ea typeface="Verdana" panose="020B0604030504040204" pitchFamily="34" charset="0"/>
                <a:cs typeface="Verdana" panose="020B0604030504040204" pitchFamily="34" charset="0"/>
              </a:rPr>
              <a:t>de indeling </a:t>
            </a:r>
            <a:r>
              <a:rPr lang="nl-NL" altLang="en-US" sz="1200" dirty="0">
                <a:ea typeface="Verdana" panose="020B0604030504040204" pitchFamily="34" charset="0"/>
                <a:cs typeface="Verdana" panose="020B0604030504040204" pitchFamily="34" charset="0"/>
              </a:rPr>
              <a:t>betreft vrijwel </a:t>
            </a:r>
            <a:r>
              <a:rPr lang="nl-NL" altLang="en-US" sz="1200" b="1" dirty="0">
                <a:ea typeface="Verdana" panose="020B0604030504040204" pitchFamily="34" charset="0"/>
                <a:cs typeface="Verdana" panose="020B0604030504040204" pitchFamily="34" charset="0"/>
              </a:rPr>
              <a:t>volledig is gewijzigd </a:t>
            </a:r>
            <a:r>
              <a:rPr lang="nl-NL" altLang="en-US" sz="1200" dirty="0">
                <a:ea typeface="Verdana" panose="020B0604030504040204" pitchFamily="34" charset="0"/>
                <a:cs typeface="Verdana" panose="020B0604030504040204" pitchFamily="34" charset="0"/>
              </a:rPr>
              <a:t>en dat de </a:t>
            </a:r>
            <a:r>
              <a:rPr lang="nl-NL" altLang="en-US" sz="1200" b="1" dirty="0">
                <a:ea typeface="Verdana" panose="020B0604030504040204" pitchFamily="34" charset="0"/>
                <a:cs typeface="Verdana" panose="020B0604030504040204" pitchFamily="34" charset="0"/>
              </a:rPr>
              <a:t>aanwendingsmogelijkheden </a:t>
            </a:r>
            <a:r>
              <a:rPr lang="nl-NL" altLang="en-US" sz="1200" dirty="0">
                <a:ea typeface="Verdana" panose="020B0604030504040204" pitchFamily="34" charset="0"/>
                <a:cs typeface="Verdana" panose="020B0604030504040204" pitchFamily="34" charset="0"/>
              </a:rPr>
              <a:t>van het pand door de verbouwing</a:t>
            </a:r>
            <a:r>
              <a:rPr lang="nl-NL" altLang="en-US" sz="1200" b="1" dirty="0">
                <a:ea typeface="Verdana" panose="020B0604030504040204" pitchFamily="34" charset="0"/>
                <a:cs typeface="Verdana" panose="020B0604030504040204" pitchFamily="34" charset="0"/>
              </a:rPr>
              <a:t> ingrijpend zijn veranderd</a:t>
            </a:r>
            <a:r>
              <a:rPr lang="nl-NL" altLang="en-US" sz="1200" dirty="0">
                <a:ea typeface="Verdana" panose="020B0604030504040204" pitchFamily="34" charset="0"/>
                <a:cs typeface="Verdana" panose="020B0604030504040204" pitchFamily="34" charset="0"/>
              </a:rPr>
              <a:t>, terwijl het pand niet op eenvoudige wijze weer geschikt kan worden gemaakt voor gebruik als woon-winkelpand. </a:t>
            </a:r>
          </a:p>
          <a:p>
            <a:pPr marL="380990" indent="-380990">
              <a:lnSpc>
                <a:spcPct val="90000"/>
              </a:lnSpc>
              <a:buFont typeface="Arial" panose="020B0604020202020204" pitchFamily="34" charset="0"/>
              <a:buChar char="•"/>
              <a:defRPr/>
            </a:pPr>
            <a:r>
              <a:rPr lang="nl-NL" altLang="en-US" sz="1200" dirty="0">
                <a:ea typeface="Verdana" panose="020B0604030504040204" pitchFamily="34" charset="0"/>
                <a:cs typeface="Verdana" panose="020B0604030504040204" pitchFamily="34" charset="0"/>
              </a:rPr>
              <a:t>De omstandigheid dat het </a:t>
            </a:r>
            <a:r>
              <a:rPr lang="nl-NL" altLang="en-US" sz="1200" b="1" dirty="0">
                <a:ea typeface="Verdana" panose="020B0604030504040204" pitchFamily="34" charset="0"/>
                <a:cs typeface="Verdana" panose="020B0604030504040204" pitchFamily="34" charset="0"/>
              </a:rPr>
              <a:t>uiterlijk</a:t>
            </a:r>
            <a:r>
              <a:rPr lang="nl-NL" altLang="en-US" sz="1200" dirty="0">
                <a:ea typeface="Verdana" panose="020B0604030504040204" pitchFamily="34" charset="0"/>
                <a:cs typeface="Verdana" panose="020B0604030504040204" pitchFamily="34" charset="0"/>
              </a:rPr>
              <a:t> van het pand door de verbouwing </a:t>
            </a:r>
            <a:r>
              <a:rPr lang="nl-NL" altLang="en-US" sz="1200" b="1" dirty="0">
                <a:ea typeface="Verdana" panose="020B0604030504040204" pitchFamily="34" charset="0"/>
                <a:cs typeface="Verdana" panose="020B0604030504040204" pitchFamily="34" charset="0"/>
              </a:rPr>
              <a:t>geen ingrijpende wijziging</a:t>
            </a:r>
            <a:r>
              <a:rPr lang="nl-NL" altLang="en-US" sz="1200" dirty="0">
                <a:ea typeface="Verdana" panose="020B0604030504040204" pitchFamily="34" charset="0"/>
                <a:cs typeface="Verdana" panose="020B0604030504040204" pitchFamily="34" charset="0"/>
              </a:rPr>
              <a:t> heeft ondergaan, kan daaraan niet afdoen. </a:t>
            </a:r>
          </a:p>
          <a:p>
            <a:pPr marL="380990" indent="-380990">
              <a:lnSpc>
                <a:spcPct val="90000"/>
              </a:lnSpc>
              <a:buFont typeface="Arial" panose="020B0604020202020204" pitchFamily="34" charset="0"/>
              <a:buChar char="•"/>
              <a:defRPr/>
            </a:pPr>
            <a:r>
              <a:rPr lang="nl-NL" altLang="en-US" sz="1200" dirty="0">
                <a:ea typeface="Verdana" panose="020B0604030504040204" pitchFamily="34" charset="0"/>
                <a:cs typeface="Verdana" panose="020B0604030504040204" pitchFamily="34" charset="0"/>
              </a:rPr>
              <a:t>Het Hof heeft daarbij overwogen dat de klassieke </a:t>
            </a:r>
            <a:r>
              <a:rPr lang="nl-NL" altLang="en-US" sz="1200" b="1" dirty="0">
                <a:ea typeface="Verdana" panose="020B0604030504040204" pitchFamily="34" charset="0"/>
                <a:cs typeface="Verdana" panose="020B0604030504040204" pitchFamily="34" charset="0"/>
              </a:rPr>
              <a:t>woonfunctie</a:t>
            </a:r>
            <a:r>
              <a:rPr lang="nl-NL" altLang="en-US" sz="1200" dirty="0">
                <a:ea typeface="Verdana" panose="020B0604030504040204" pitchFamily="34" charset="0"/>
                <a:cs typeface="Verdana" panose="020B0604030504040204" pitchFamily="34" charset="0"/>
              </a:rPr>
              <a:t> van het pand is </a:t>
            </a:r>
            <a:r>
              <a:rPr lang="nl-NL" altLang="en-US" sz="1200" b="1" dirty="0">
                <a:ea typeface="Verdana" panose="020B0604030504040204" pitchFamily="34" charset="0"/>
                <a:cs typeface="Verdana" panose="020B0604030504040204" pitchFamily="34" charset="0"/>
              </a:rPr>
              <a:t>gewijzigd</a:t>
            </a:r>
            <a:r>
              <a:rPr lang="nl-NL" altLang="en-US" sz="1200" dirty="0">
                <a:ea typeface="Verdana" panose="020B0604030504040204" pitchFamily="34" charset="0"/>
                <a:cs typeface="Verdana" panose="020B0604030504040204" pitchFamily="34" charset="0"/>
              </a:rPr>
              <a:t> in de functie van een kinderdagverblijf, en dat met de wijziging van de voorzieningen bij het pand en de inwendige verbouwing van het pand naar maatschappelijke opvattingen en ook naar spraakgebruik een nieuw goed is ontstaan. </a:t>
            </a:r>
          </a:p>
          <a:p>
            <a:pPr marL="380990" indent="-380990">
              <a:lnSpc>
                <a:spcPct val="90000"/>
              </a:lnSpc>
              <a:buFont typeface="Arial" panose="020B0604020202020204" pitchFamily="34" charset="0"/>
              <a:buChar char="•"/>
              <a:defRPr/>
            </a:pPr>
            <a:r>
              <a:rPr lang="nl-NL" altLang="en-US" sz="1200" dirty="0">
                <a:ea typeface="Verdana" panose="020B0604030504040204" pitchFamily="34" charset="0"/>
                <a:cs typeface="Verdana" panose="020B0604030504040204" pitchFamily="34" charset="0"/>
              </a:rPr>
              <a:t>Het Hof heeft in aanmerking genomen dat de wijzigingen in en om het pand van dien aard zijn, mede gezien </a:t>
            </a:r>
            <a:r>
              <a:rPr lang="nl-NL" altLang="en-US" sz="1200" b="1" dirty="0">
                <a:ea typeface="Verdana" panose="020B0604030504040204" pitchFamily="34" charset="0"/>
                <a:cs typeface="Verdana" panose="020B0604030504040204" pitchFamily="34" charset="0"/>
              </a:rPr>
              <a:t>omvang </a:t>
            </a:r>
            <a:r>
              <a:rPr lang="nl-NL" altLang="en-US" sz="1200" dirty="0">
                <a:ea typeface="Verdana" panose="020B0604030504040204" pitchFamily="34" charset="0"/>
                <a:cs typeface="Verdana" panose="020B0604030504040204" pitchFamily="34" charset="0"/>
              </a:rPr>
              <a:t>en </a:t>
            </a:r>
            <a:r>
              <a:rPr lang="nl-NL" altLang="en-US" sz="1200" b="1" dirty="0">
                <a:ea typeface="Verdana" panose="020B0604030504040204" pitchFamily="34" charset="0"/>
                <a:cs typeface="Verdana" panose="020B0604030504040204" pitchFamily="34" charset="0"/>
              </a:rPr>
              <a:t>kosten in relatie tot de aanschafprijs</a:t>
            </a:r>
            <a:r>
              <a:rPr lang="nl-NL" altLang="en-US" sz="1200" dirty="0">
                <a:ea typeface="Verdana" panose="020B0604030504040204" pitchFamily="34" charset="0"/>
                <a:cs typeface="Verdana" panose="020B0604030504040204" pitchFamily="34" charset="0"/>
              </a:rPr>
              <a:t>, dat de </a:t>
            </a:r>
            <a:r>
              <a:rPr lang="nl-NL" altLang="en-US" sz="1200" b="1" dirty="0">
                <a:ea typeface="Verdana" panose="020B0604030504040204" pitchFamily="34" charset="0"/>
                <a:cs typeface="Verdana" panose="020B0604030504040204" pitchFamily="34" charset="0"/>
              </a:rPr>
              <a:t>oorspronkelijke functie </a:t>
            </a:r>
            <a:r>
              <a:rPr lang="nl-NL" altLang="en-US" sz="1200" dirty="0">
                <a:ea typeface="Verdana" panose="020B0604030504040204" pitchFamily="34" charset="0"/>
                <a:cs typeface="Verdana" panose="020B0604030504040204" pitchFamily="34" charset="0"/>
              </a:rPr>
              <a:t>van het pand heeft </a:t>
            </a:r>
            <a:r>
              <a:rPr lang="nl-NL" altLang="en-US" sz="1200" b="1" dirty="0">
                <a:ea typeface="Verdana" panose="020B0604030504040204" pitchFamily="34" charset="0"/>
                <a:cs typeface="Verdana" panose="020B0604030504040204" pitchFamily="34" charset="0"/>
              </a:rPr>
              <a:t>opgehouden te bestaan</a:t>
            </a:r>
            <a:r>
              <a:rPr lang="nl-NL" altLang="en-US" sz="1200" dirty="0">
                <a:ea typeface="Verdana" panose="020B0604030504040204" pitchFamily="34" charset="0"/>
                <a:cs typeface="Verdana" panose="020B0604030504040204" pitchFamily="34" charset="0"/>
              </a:rPr>
              <a:t>. </a:t>
            </a:r>
          </a:p>
          <a:p>
            <a:pPr marL="0" indent="0">
              <a:lnSpc>
                <a:spcPct val="90000"/>
              </a:lnSpc>
              <a:buFont typeface="Arial" panose="020B0604020202020204" pitchFamily="34" charset="0"/>
              <a:buNone/>
              <a:defRPr/>
            </a:pPr>
            <a:endParaRPr lang="nl-NL" altLang="en-US" sz="1200" dirty="0">
              <a:ea typeface="Verdana" panose="020B0604030504040204" pitchFamily="34" charset="0"/>
              <a:cs typeface="Verdana" panose="020B0604030504040204" pitchFamily="34" charset="0"/>
            </a:endParaRPr>
          </a:p>
          <a:p>
            <a:pPr marL="0" indent="0">
              <a:lnSpc>
                <a:spcPct val="90000"/>
              </a:lnSpc>
              <a:buFont typeface="Arial" panose="020B0604020202020204" pitchFamily="34" charset="0"/>
              <a:buNone/>
              <a:defRPr/>
            </a:pPr>
            <a:r>
              <a:rPr lang="nl-NL" altLang="en-US" sz="1200" dirty="0">
                <a:ea typeface="Verdana" panose="020B0604030504040204" pitchFamily="34" charset="0"/>
                <a:cs typeface="Verdana" panose="020B0604030504040204" pitchFamily="34" charset="0"/>
              </a:rPr>
              <a:t>HR 8 maart 2013, nr. 11/00701</a:t>
            </a:r>
          </a:p>
          <a:p>
            <a:pPr marL="0" indent="0">
              <a:buFont typeface="Arial" panose="020B0604020202020204" pitchFamily="34" charset="0"/>
              <a:buNone/>
              <a:defRPr/>
            </a:pPr>
            <a:r>
              <a:rPr lang="nl-NL" altLang="en-US" dirty="0">
                <a:cs typeface="Arial" pitchFamily="34" charset="0"/>
              </a:rPr>
              <a:t>Belanghebbende verkrijgt eigendom van een pand- dat uit de zeventiende eeuw dateert - waarin zich een winkel en twee woningen bevonden. Start (inwendige) verbouwing van het gebouw. Deze verbouwing hield in dat op de bovenverdiepingen drie naast elkaar gelegen woonappartementen met eigen toegangen ontstonden en op de begane grond drie naast elkaar gelegen winkeleenheden. Voorts is het dak vernieuwd en verhoogd, zijn raam- en deurkozijnen vervangen en zijn de drie winkeleenheden voorzien van een nieuwe pui en - aan de achterzijde van het gebouw - een uitbouw.</a:t>
            </a:r>
          </a:p>
          <a:p>
            <a:pPr marL="380990" indent="-380990">
              <a:buFont typeface="Arial" charset="0"/>
              <a:buChar char="•"/>
              <a:defRPr/>
            </a:pPr>
            <a:r>
              <a:rPr lang="nl-NL" altLang="nl-NL" sz="1200" dirty="0">
                <a:cs typeface="Arial" pitchFamily="34" charset="0"/>
              </a:rPr>
              <a:t>Na gereedkomen van de verbouwing het gebouw bij notariële akte kadastraal gesplitst in zes appartementsrechten. </a:t>
            </a:r>
          </a:p>
          <a:p>
            <a:pPr marL="380990" indent="-380990">
              <a:buFont typeface="Arial" charset="0"/>
              <a:buChar char="•"/>
              <a:defRPr/>
            </a:pPr>
            <a:r>
              <a:rPr lang="nl-NL" altLang="nl-NL" sz="1200" dirty="0">
                <a:cs typeface="Arial" pitchFamily="34" charset="0"/>
              </a:rPr>
              <a:t>Het Hof (Amsterdam) “aan het gebouw verrichte werkzaamheden niet hebben geleid tot de vervaardiging van een onroerende zaak. Daarbij heeft het Hof kennelijk het oog gehad op het gebouw in zijn geheel, in de staat zoals deze was voor de na het gereedkomen van de verbouwing plaatsgevonden hebbende splitsing in appartementsrechten. </a:t>
            </a:r>
          </a:p>
          <a:p>
            <a:pPr marL="380990" indent="-380990">
              <a:buFont typeface="Arial" charset="0"/>
              <a:buChar char="•"/>
              <a:defRPr/>
            </a:pPr>
            <a:r>
              <a:rPr lang="nl-NL" altLang="nl-NL" sz="1200" dirty="0">
                <a:cs typeface="Arial" pitchFamily="34" charset="0"/>
              </a:rPr>
              <a:t>Het Hof heeft kennelijk een wijziging in de functie van het gebouw - wat daarvan zij - of het fysiek verder splitsen van het gebouw in zelfstandig te gebruiken delen of de na de verbouwing plaatsgevonden hebbende splitsing in appartementsrechten niet van belang geacht.</a:t>
            </a:r>
          </a:p>
          <a:p>
            <a:pPr marL="380990" indent="-380990">
              <a:buFont typeface="Arial" charset="0"/>
              <a:buChar char="•"/>
              <a:defRPr/>
            </a:pPr>
            <a:r>
              <a:rPr lang="nl-NL" altLang="nl-NL" sz="1200" dirty="0">
                <a:cs typeface="Arial" pitchFamily="34" charset="0"/>
              </a:rPr>
              <a:t>HR bevestigt, gelet op arrest 19-11-2010, 08/01021 (kinderdagverblijf), het oordeel van het Hof Amsterdam.</a:t>
            </a:r>
            <a:endParaRPr lang="en-US" altLang="nl-NL" sz="1200" dirty="0">
              <a:cs typeface="Arial" pitchFamily="34" charset="0"/>
            </a:endParaRPr>
          </a:p>
          <a:p>
            <a:pPr marL="0" indent="0">
              <a:buFont typeface="Arial" panose="020B0604020202020204" pitchFamily="34" charset="0"/>
              <a:buNone/>
              <a:defRPr/>
            </a:pPr>
            <a:endParaRPr lang="nl-NL" altLang="en-US" dirty="0">
              <a:cs typeface="Arial" pitchFamily="34" charset="0"/>
            </a:endParaRPr>
          </a:p>
          <a:p>
            <a:pPr marL="0" indent="0">
              <a:buFont typeface="Arial" panose="020B0604020202020204" pitchFamily="34" charset="0"/>
              <a:buNone/>
              <a:defRPr/>
            </a:pPr>
            <a:r>
              <a:rPr lang="nl-NL" altLang="en-US" dirty="0">
                <a:cs typeface="Arial" pitchFamily="34" charset="0"/>
              </a:rPr>
              <a:t>HR 8 maart 2013, nr. 12/02061</a:t>
            </a:r>
          </a:p>
          <a:p>
            <a:pPr marL="0" indent="0">
              <a:buFont typeface="Arial" charset="0"/>
              <a:buNone/>
              <a:defRPr/>
            </a:pPr>
            <a:r>
              <a:rPr lang="nl-NL" altLang="en-US" sz="1200" dirty="0">
                <a:cs typeface="Arial" pitchFamily="34" charset="0"/>
              </a:rPr>
              <a:t>Belanghebbende verkreeg de eigendom van een winkelruimte (hierna: de winkel). De winkel was in gebruik als supermarkt. Op een deel van de winkel bevonden zich vier appartementen die als woning werden gebruikt. Deze vier wooneenheden en het deel van de winkel dat zich daaronder bevond, waren gesplitst in vijf appartementsrechten. Voorafgaand aan de verkrijging van de winkel zijn daaraan (sloop) werkzaamheden verricht. Deze hielden in dat van de winkel het dak (voor zover dit niet de vloer van de wooneenheden vormde), de gevels, de binnenmuren, en een deel van zowel de fundering als de vloer zijn verwijderd. Voor zover de fundering, de vloer en een deel van de zijmuren deel uitmaakten van de stabiliteitsconstructie voor de wooneenheden zijn zij gehandhaafd. Na deze werkzaamheden waren alleen de vier wooneenheden en de daarvoor benodigde draagconstructie nog aanwezig. In de aldus ontstane open ruimte is een nieuwe, kleinere winkel gerealiseerd, die in gebruik is genomen als modezaak. Het overige deel van deze ruimte was op het tijdstip van de levering aan belanghebbende onbebouwd.</a:t>
            </a:r>
            <a:endParaRPr lang="en-US" altLang="en-US" sz="1200" dirty="0">
              <a:cs typeface="Arial" pitchFamily="34" charset="0"/>
            </a:endParaRPr>
          </a:p>
          <a:p>
            <a:pPr marL="380990" indent="-380990">
              <a:buFont typeface="Arial" charset="0"/>
              <a:buChar char="•"/>
              <a:defRPr/>
            </a:pPr>
            <a:r>
              <a:rPr lang="nl-NL" altLang="en-US" sz="1200" dirty="0">
                <a:cs typeface="Arial" pitchFamily="34" charset="0"/>
              </a:rPr>
              <a:t>HR: Levering van een </a:t>
            </a:r>
            <a:r>
              <a:rPr lang="nl-NL" altLang="en-US" sz="1200" b="1" i="1" dirty="0">
                <a:cs typeface="Arial" pitchFamily="34" charset="0"/>
              </a:rPr>
              <a:t>gedeelte van een gebouw</a:t>
            </a:r>
            <a:r>
              <a:rPr lang="nl-NL" altLang="en-US" sz="1200" dirty="0">
                <a:cs typeface="Arial" pitchFamily="34" charset="0"/>
              </a:rPr>
              <a:t>. Dat doet zich voor indien een gebouw </a:t>
            </a:r>
            <a:r>
              <a:rPr lang="nl-NL" altLang="en-US" sz="1200" b="1" i="1" dirty="0">
                <a:cs typeface="Arial" pitchFamily="34" charset="0"/>
              </a:rPr>
              <a:t>horizontaal is gesplitst (appartementsrechten</a:t>
            </a:r>
            <a:r>
              <a:rPr lang="nl-NL" altLang="en-US" sz="1200" i="1" dirty="0">
                <a:cs typeface="Arial" pitchFamily="34" charset="0"/>
              </a:rPr>
              <a:t>) of </a:t>
            </a:r>
            <a:r>
              <a:rPr lang="nl-NL" altLang="en-US" sz="1200" dirty="0">
                <a:cs typeface="Arial" pitchFamily="34" charset="0"/>
              </a:rPr>
              <a:t>indien een </a:t>
            </a:r>
            <a:r>
              <a:rPr lang="nl-NL" altLang="en-US" sz="1200" b="1" i="1" dirty="0">
                <a:cs typeface="Arial" pitchFamily="34" charset="0"/>
              </a:rPr>
              <a:t>gebouw verticaal is gesplitst</a:t>
            </a:r>
            <a:r>
              <a:rPr lang="nl-NL" altLang="en-US" sz="1200" dirty="0">
                <a:cs typeface="Arial" pitchFamily="34" charset="0"/>
              </a:rPr>
              <a:t>. Een dergelijk appartement of gedeelte, zoals in dit geval </a:t>
            </a:r>
            <a:r>
              <a:rPr lang="nl-NL" altLang="en-US" sz="1200" b="1" i="1" dirty="0">
                <a:cs typeface="Arial" pitchFamily="34" charset="0"/>
              </a:rPr>
              <a:t>het gedeelte van de winkel op de begane grond dat zich niet onder de wooneenheden bevindt</a:t>
            </a:r>
            <a:r>
              <a:rPr lang="nl-NL" altLang="en-US" sz="1200" dirty="0">
                <a:cs typeface="Arial" pitchFamily="34" charset="0"/>
              </a:rPr>
              <a:t>, </a:t>
            </a:r>
            <a:r>
              <a:rPr lang="nl-NL" altLang="en-US" sz="1200" b="1" dirty="0">
                <a:cs typeface="Arial" pitchFamily="34" charset="0"/>
              </a:rPr>
              <a:t>afzonderlijk van het overige van het gebouw in aanmerking worden genomen.</a:t>
            </a:r>
            <a:r>
              <a:rPr lang="nl-NL" altLang="en-US" sz="1200" dirty="0">
                <a:cs typeface="Arial" pitchFamily="34" charset="0"/>
              </a:rPr>
              <a:t> Het Hof is derhalve uitgegaan van een onjuiste rechtsopvatting. </a:t>
            </a:r>
          </a:p>
          <a:p>
            <a:pPr marL="0" indent="0">
              <a:buNone/>
              <a:defRPr/>
            </a:pPr>
            <a:endParaRPr lang="nl-NL" altLang="en-US" sz="1200" dirty="0">
              <a:cs typeface="Arial" pitchFamily="34" charset="0"/>
            </a:endParaRPr>
          </a:p>
          <a:p>
            <a:pPr marL="380990" indent="-380990">
              <a:buFont typeface="Arial" charset="0"/>
              <a:buChar char="•"/>
              <a:defRPr/>
            </a:pPr>
            <a:r>
              <a:rPr lang="nl-NL" altLang="en-US" sz="1200" dirty="0">
                <a:cs typeface="Arial" pitchFamily="34" charset="0"/>
              </a:rPr>
              <a:t>HR: De omstandigheid dat van de winkel als gevolg van de omschreven werkzaamheden </a:t>
            </a:r>
            <a:r>
              <a:rPr lang="nl-NL" altLang="en-US" sz="1200" b="1" i="1" dirty="0">
                <a:cs typeface="Arial" pitchFamily="34" charset="0"/>
              </a:rPr>
              <a:t>niet meer dan de draagconstructie onder de wooneenheden in stand is gebleven</a:t>
            </a:r>
            <a:r>
              <a:rPr lang="nl-NL" altLang="en-US" sz="1200" dirty="0">
                <a:cs typeface="Arial" pitchFamily="34" charset="0"/>
              </a:rPr>
              <a:t>, laat geen andere conclusie toe dan dat de </a:t>
            </a:r>
            <a:r>
              <a:rPr lang="nl-NL" altLang="en-US" sz="1200" b="1" i="1" dirty="0">
                <a:cs typeface="Arial" pitchFamily="34" charset="0"/>
              </a:rPr>
              <a:t>winkel</a:t>
            </a:r>
            <a:r>
              <a:rPr lang="nl-NL" altLang="en-US" sz="1200" dirty="0">
                <a:cs typeface="Arial" pitchFamily="34" charset="0"/>
              </a:rPr>
              <a:t>, die gelet op hetgeen hiervoor is overwogen voor de toepassing van artikel 11, lid 1, aanhef en letter a, en lid 3, aanhef en letter b, van de Wet </a:t>
            </a:r>
            <a:r>
              <a:rPr lang="nl-NL" altLang="en-US" sz="1200" b="1" i="1" dirty="0">
                <a:cs typeface="Arial" pitchFamily="34" charset="0"/>
              </a:rPr>
              <a:t>als een zelfstandige onroerende zaak moet worden aangemerkt, zodanig is verbouwd dat in wezen sprake is van nieuwbouw en mitsdien van een vervaardigd goed.</a:t>
            </a:r>
          </a:p>
          <a:p>
            <a:pPr marL="380990" indent="-380990">
              <a:buFont typeface="Arial" charset="0"/>
              <a:buChar char="•"/>
              <a:defRPr/>
            </a:pPr>
            <a:endParaRPr lang="nl-NL" altLang="en-US" sz="1200" b="1" i="1" dirty="0">
              <a:cs typeface="Arial" pitchFamily="34" charset="0"/>
            </a:endParaRPr>
          </a:p>
          <a:p>
            <a:pPr marL="0" indent="0">
              <a:buFont typeface="Arial" charset="0"/>
              <a:buNone/>
              <a:defRPr/>
            </a:pPr>
            <a:endParaRPr lang="nl-NL" altLang="en-US" sz="1200" b="1" i="1" dirty="0">
              <a:cs typeface="Arial" pitchFamily="34" charset="0"/>
            </a:endParaRPr>
          </a:p>
          <a:p>
            <a:pPr marL="0" indent="0">
              <a:buFont typeface="Arial" charset="0"/>
              <a:buNone/>
              <a:defRPr/>
            </a:pPr>
            <a:r>
              <a:rPr lang="nl-NL" altLang="en-US" sz="1200" b="1" i="1" dirty="0" err="1">
                <a:cs typeface="Arial" pitchFamily="34" charset="0"/>
              </a:rPr>
              <a:t>HvJ</a:t>
            </a:r>
            <a:r>
              <a:rPr lang="nl-NL" altLang="en-US" sz="1200" b="1" i="1" dirty="0">
                <a:cs typeface="Arial" pitchFamily="34" charset="0"/>
              </a:rPr>
              <a:t> </a:t>
            </a:r>
            <a:r>
              <a:rPr lang="nl-NL" altLang="en-US" sz="1200" b="1" i="1" dirty="0" err="1">
                <a:cs typeface="Arial" pitchFamily="34" charset="0"/>
              </a:rPr>
              <a:t>Kozuba</a:t>
            </a:r>
            <a:r>
              <a:rPr lang="nl-NL" altLang="en-US" sz="1200" b="1" i="1" dirty="0">
                <a:cs typeface="Arial" pitchFamily="34" charset="0"/>
              </a:rPr>
              <a:t> </a:t>
            </a:r>
            <a:r>
              <a:rPr lang="nl-NL" altLang="en-US" sz="1200" b="0" i="0" dirty="0">
                <a:cs typeface="Arial" pitchFamily="34" charset="0"/>
              </a:rPr>
              <a:t>16 november 2017</a:t>
            </a:r>
          </a:p>
          <a:p>
            <a:pPr marL="358575" lvl="4" indent="-358575">
              <a:lnSpc>
                <a:spcPts val="2299"/>
              </a:lnSpc>
              <a:buFont typeface="Arial" panose="020B0604020202020204" pitchFamily="34" charset="0"/>
              <a:buChar char="•"/>
              <a:defRPr/>
            </a:pPr>
            <a:r>
              <a:rPr lang="nl-NL" altLang="nl-NL" sz="2100" dirty="0">
                <a:ea typeface="ＭＳ Ｐゴシック" pitchFamily="34" charset="-128"/>
              </a:rPr>
              <a:t>Vervaardiging: </a:t>
            </a:r>
            <a:r>
              <a:rPr lang="nl-NL" sz="2100" b="1" dirty="0"/>
              <a:t>wanneer het dermate ingrijpend wordt verbouwd, dat het op één lijn kan worden gesteld met een nieuw gebouw.</a:t>
            </a:r>
          </a:p>
          <a:p>
            <a:pPr marL="358575" lvl="4" indent="-358575">
              <a:lnSpc>
                <a:spcPts val="2299"/>
              </a:lnSpc>
              <a:buClr>
                <a:srgbClr val="0070C0"/>
              </a:buClr>
              <a:buFont typeface="Arial" panose="020B0604020202020204" pitchFamily="34" charset="0"/>
              <a:buChar char="•"/>
              <a:defRPr/>
            </a:pPr>
            <a:endParaRPr lang="nl-NL" sz="2100" dirty="0"/>
          </a:p>
          <a:p>
            <a:pPr marL="358575" lvl="4" indent="-358575">
              <a:lnSpc>
                <a:spcPts val="2299"/>
              </a:lnSpc>
              <a:buFont typeface="Arial" panose="020B0604020202020204" pitchFamily="34" charset="0"/>
              <a:buChar char="•"/>
              <a:defRPr/>
            </a:pPr>
            <a:r>
              <a:rPr lang="nl-NL" sz="2100" dirty="0"/>
              <a:t>dat het betrokken gebouw veranderingen van betekenis heeft ondergaan die zijn bedoeld om het </a:t>
            </a:r>
            <a:r>
              <a:rPr lang="nl-NL" sz="2100" b="1" dirty="0"/>
              <a:t>gebruik ervan te wijzigen of om de omstandigheden waaronder het wordt betrokken, ingrijpend aan te passen</a:t>
            </a:r>
            <a:r>
              <a:rPr lang="nl-NL" sz="2100" dirty="0"/>
              <a:t>.</a:t>
            </a:r>
          </a:p>
          <a:p>
            <a:pPr marL="0" lvl="4" indent="0">
              <a:lnSpc>
                <a:spcPts val="2299"/>
              </a:lnSpc>
              <a:buFont typeface="Arial" panose="020B0604020202020204" pitchFamily="34" charset="0"/>
              <a:buNone/>
              <a:defRPr/>
            </a:pPr>
            <a:endParaRPr lang="nl-NL" sz="2100" dirty="0"/>
          </a:p>
          <a:p>
            <a:pPr marL="0" lvl="4" indent="0">
              <a:lnSpc>
                <a:spcPts val="2299"/>
              </a:lnSpc>
              <a:buFont typeface="Arial" panose="020B0604020202020204" pitchFamily="34" charset="0"/>
              <a:buNone/>
              <a:defRPr/>
            </a:pPr>
            <a:r>
              <a:rPr lang="nl-NL" sz="2100" dirty="0"/>
              <a:t>HR 5 oktober 2018, nr. 16/04577</a:t>
            </a:r>
          </a:p>
          <a:p>
            <a:r>
              <a:rPr lang="nl-NL" dirty="0"/>
              <a:t>Indien na verwijzing komt vast te staan dat de sloop- en verbouwingswerkzaamheden die zijn verricht tot op het tijdstip van de levering op 1 oktober 2007 behoren tot de door de verkoper jegens belanghebbende overeengekomen prestatie, </a:t>
            </a:r>
          </a:p>
          <a:p>
            <a:r>
              <a:rPr lang="nl-NL" dirty="0"/>
              <a:t>laten de feiten en omstandigheden geen andere conclusie toe dan dat op het tijdstip van de levering het oude bedrijfspand nagenoeg geheel was gesloopt en in deze staat op geen enkele wijze meer als (</a:t>
            </a:r>
            <a:r>
              <a:rPr lang="nl-NL" dirty="0" err="1"/>
              <a:t>bedrijfs</a:t>
            </a:r>
            <a:r>
              <a:rPr lang="nl-NL" dirty="0"/>
              <a:t>)pand kon worden gebruikt.</a:t>
            </a:r>
          </a:p>
          <a:p>
            <a:r>
              <a:rPr lang="nl-NL" dirty="0"/>
              <a:t> Anders dan in HR 7 maart 2003, nr. 37525, is in dit geval na de sloop geen bebouwing overgebleven die de functie van gebouw kon vervullen. Het op 1 oktober 2007 aan belanghebbende geleverde, vast met de grond verbonden (bouw)werk kon uitsluitend dienen als basis voor een (nieuw) te vervaardigen onroerende zaak. Onder die omstandigheden is – met inachtneming van de ruime werkingssfeer die toekomt aan uitzonderingen op een vrijstelling van omzetbelasting - sprake van een levering die is uitgezonderd van de vrijstelling van artikel 11, lid 1, letter a, onder 1°, van de Wet OB.</a:t>
            </a:r>
          </a:p>
          <a:p>
            <a:pPr marL="0" lvl="4" indent="0">
              <a:lnSpc>
                <a:spcPts val="2299"/>
              </a:lnSpc>
              <a:buFont typeface="Arial" panose="020B0604020202020204" pitchFamily="34" charset="0"/>
              <a:buNone/>
              <a:defRPr/>
            </a:pPr>
            <a:endParaRPr lang="nl-NL" sz="2100" dirty="0"/>
          </a:p>
          <a:p>
            <a:pPr marL="0" indent="0">
              <a:buFont typeface="Arial" charset="0"/>
              <a:buNone/>
              <a:defRPr/>
            </a:pPr>
            <a:endParaRPr lang="nl-NL" altLang="en-US" sz="1200" b="1" i="1" dirty="0">
              <a:cs typeface="Arial" pitchFamily="34" charset="0"/>
            </a:endParaRPr>
          </a:p>
          <a:p>
            <a:pPr marL="0" indent="0">
              <a:buFont typeface="Arial" panose="020B0604020202020204" pitchFamily="34" charset="0"/>
              <a:buNone/>
              <a:defRPr/>
            </a:pPr>
            <a:endParaRPr lang="nl-NL" altLang="en-US" dirty="0">
              <a:cs typeface="Arial" pitchFamily="34" charset="0"/>
            </a:endParaRPr>
          </a:p>
          <a:p>
            <a:pPr marL="0" indent="0">
              <a:lnSpc>
                <a:spcPct val="90000"/>
              </a:lnSpc>
              <a:buFont typeface="Arial" panose="020B0604020202020204" pitchFamily="34" charset="0"/>
              <a:buNone/>
              <a:defRPr/>
            </a:pPr>
            <a:endParaRPr lang="nl-NL" altLang="en-US" sz="1200" dirty="0">
              <a:ea typeface="Verdana" panose="020B0604030504040204" pitchFamily="34" charset="0"/>
              <a:cs typeface="Verdana" panose="020B0604030504040204" pitchFamily="34" charset="0"/>
            </a:endParaRPr>
          </a:p>
          <a:p>
            <a:endParaRPr lang="nl-NL" dirty="0"/>
          </a:p>
          <a:p>
            <a:endParaRPr lang="nl-NL" dirty="0"/>
          </a:p>
        </p:txBody>
      </p:sp>
      <p:sp>
        <p:nvSpPr>
          <p:cNvPr id="4" name="Tijdelijke aanduiding voor dianummer 3"/>
          <p:cNvSpPr>
            <a:spLocks noGrp="1"/>
          </p:cNvSpPr>
          <p:nvPr>
            <p:ph type="sldNum" sz="quarter" idx="5"/>
          </p:nvPr>
        </p:nvSpPr>
        <p:spPr/>
        <p:txBody>
          <a:bodyPr/>
          <a:lstStyle/>
          <a:p>
            <a:fld id="{F99D7119-3C6C-47C5-BC74-B355F8CAB6F6}" type="slidenum">
              <a:rPr lang="en-GB" smtClean="0"/>
              <a:t>53</a:t>
            </a:fld>
            <a:endParaRPr lang="en-GB"/>
          </a:p>
        </p:txBody>
      </p:sp>
    </p:spTree>
    <p:extLst>
      <p:ext uri="{BB962C8B-B14F-4D97-AF65-F5344CB8AC3E}">
        <p14:creationId xmlns:p14="http://schemas.microsoft.com/office/powerpoint/2010/main" val="96685652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F99D7119-3C6C-47C5-BC74-B355F8CAB6F6}" type="slidenum">
              <a:rPr lang="en-GB" smtClean="0"/>
              <a:t>54</a:t>
            </a:fld>
            <a:endParaRPr lang="en-GB"/>
          </a:p>
        </p:txBody>
      </p:sp>
    </p:spTree>
    <p:extLst>
      <p:ext uri="{BB962C8B-B14F-4D97-AF65-F5344CB8AC3E}">
        <p14:creationId xmlns:p14="http://schemas.microsoft.com/office/powerpoint/2010/main" val="41871939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b="1" dirty="0" err="1"/>
              <a:t>MdK</a:t>
            </a:r>
            <a:endParaRPr lang="nl-NL" dirty="0"/>
          </a:p>
        </p:txBody>
      </p:sp>
      <p:sp>
        <p:nvSpPr>
          <p:cNvPr id="4" name="Tijdelijke aanduiding voor dianummer 3"/>
          <p:cNvSpPr>
            <a:spLocks noGrp="1"/>
          </p:cNvSpPr>
          <p:nvPr>
            <p:ph type="sldNum" sz="quarter" idx="10"/>
          </p:nvPr>
        </p:nvSpPr>
        <p:spPr/>
        <p:txBody>
          <a:bodyPr/>
          <a:lstStyle/>
          <a:p>
            <a:fld id="{412EE8EA-C253-437D-87DE-9C078F6FCEED}" type="slidenum">
              <a:rPr lang="en-GB" smtClean="0"/>
              <a:pPr/>
              <a:t>55</a:t>
            </a:fld>
            <a:endParaRPr lang="en-GB" dirty="0"/>
          </a:p>
        </p:txBody>
      </p:sp>
    </p:spTree>
    <p:extLst>
      <p:ext uri="{BB962C8B-B14F-4D97-AF65-F5344CB8AC3E}">
        <p14:creationId xmlns:p14="http://schemas.microsoft.com/office/powerpoint/2010/main" val="68552019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b="1" dirty="0" err="1"/>
              <a:t>MdK</a:t>
            </a:r>
            <a:endParaRPr lang="nl-NL" dirty="0"/>
          </a:p>
        </p:txBody>
      </p:sp>
      <p:sp>
        <p:nvSpPr>
          <p:cNvPr id="4" name="Tijdelijke aanduiding voor dianummer 3"/>
          <p:cNvSpPr>
            <a:spLocks noGrp="1"/>
          </p:cNvSpPr>
          <p:nvPr>
            <p:ph type="sldNum" sz="quarter" idx="10"/>
          </p:nvPr>
        </p:nvSpPr>
        <p:spPr/>
        <p:txBody>
          <a:bodyPr/>
          <a:lstStyle/>
          <a:p>
            <a:fld id="{412EE8EA-C253-437D-87DE-9C078F6FCEED}" type="slidenum">
              <a:rPr lang="en-GB" smtClean="0"/>
              <a:pPr/>
              <a:t>56</a:t>
            </a:fld>
            <a:endParaRPr lang="en-GB" dirty="0"/>
          </a:p>
        </p:txBody>
      </p:sp>
    </p:spTree>
    <p:extLst>
      <p:ext uri="{BB962C8B-B14F-4D97-AF65-F5344CB8AC3E}">
        <p14:creationId xmlns:p14="http://schemas.microsoft.com/office/powerpoint/2010/main" val="272514241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F99D7119-3C6C-47C5-BC74-B355F8CAB6F6}" type="slidenum">
              <a:rPr lang="en-GB" smtClean="0"/>
              <a:t>57</a:t>
            </a:fld>
            <a:endParaRPr lang="en-GB"/>
          </a:p>
        </p:txBody>
      </p:sp>
    </p:spTree>
    <p:extLst>
      <p:ext uri="{BB962C8B-B14F-4D97-AF65-F5344CB8AC3E}">
        <p14:creationId xmlns:p14="http://schemas.microsoft.com/office/powerpoint/2010/main" val="413841290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F99D7119-3C6C-47C5-BC74-B355F8CAB6F6}" type="slidenum">
              <a:rPr lang="en-GB" smtClean="0"/>
              <a:t>58</a:t>
            </a:fld>
            <a:endParaRPr lang="en-GB"/>
          </a:p>
        </p:txBody>
      </p:sp>
    </p:spTree>
    <p:extLst>
      <p:ext uri="{BB962C8B-B14F-4D97-AF65-F5344CB8AC3E}">
        <p14:creationId xmlns:p14="http://schemas.microsoft.com/office/powerpoint/2010/main" val="115543670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F99D7119-3C6C-47C5-BC74-B355F8CAB6F6}" type="slidenum">
              <a:rPr lang="en-GB" smtClean="0"/>
              <a:t>59</a:t>
            </a:fld>
            <a:endParaRPr lang="en-GB"/>
          </a:p>
        </p:txBody>
      </p:sp>
    </p:spTree>
    <p:extLst>
      <p:ext uri="{BB962C8B-B14F-4D97-AF65-F5344CB8AC3E}">
        <p14:creationId xmlns:p14="http://schemas.microsoft.com/office/powerpoint/2010/main" val="2523915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F99D7119-3C6C-47C5-BC74-B355F8CAB6F6}" type="slidenum">
              <a:rPr lang="en-GB" smtClean="0"/>
              <a:t>6</a:t>
            </a:fld>
            <a:endParaRPr lang="en-GB"/>
          </a:p>
        </p:txBody>
      </p:sp>
    </p:spTree>
    <p:extLst>
      <p:ext uri="{BB962C8B-B14F-4D97-AF65-F5344CB8AC3E}">
        <p14:creationId xmlns:p14="http://schemas.microsoft.com/office/powerpoint/2010/main" val="82368600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F99D7119-3C6C-47C5-BC74-B355F8CAB6F6}" type="slidenum">
              <a:rPr lang="en-GB" smtClean="0"/>
              <a:t>60</a:t>
            </a:fld>
            <a:endParaRPr lang="en-GB"/>
          </a:p>
        </p:txBody>
      </p:sp>
    </p:spTree>
    <p:extLst>
      <p:ext uri="{BB962C8B-B14F-4D97-AF65-F5344CB8AC3E}">
        <p14:creationId xmlns:p14="http://schemas.microsoft.com/office/powerpoint/2010/main" val="18026230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43059857-5108-4EA1-BEEF-834D80989F3A}" type="slidenum">
              <a:rPr lang="nl-NL" smtClean="0"/>
              <a:t>7</a:t>
            </a:fld>
            <a:endParaRPr lang="nl-NL"/>
          </a:p>
        </p:txBody>
      </p:sp>
    </p:spTree>
    <p:extLst>
      <p:ext uri="{BB962C8B-B14F-4D97-AF65-F5344CB8AC3E}">
        <p14:creationId xmlns:p14="http://schemas.microsoft.com/office/powerpoint/2010/main" val="20465828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43059857-5108-4EA1-BEEF-834D80989F3A}" type="slidenum">
              <a:rPr lang="nl-NL" smtClean="0"/>
              <a:t>8</a:t>
            </a:fld>
            <a:endParaRPr lang="nl-NL"/>
          </a:p>
        </p:txBody>
      </p:sp>
    </p:spTree>
    <p:extLst>
      <p:ext uri="{BB962C8B-B14F-4D97-AF65-F5344CB8AC3E}">
        <p14:creationId xmlns:p14="http://schemas.microsoft.com/office/powerpoint/2010/main" val="28259932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43059857-5108-4EA1-BEEF-834D80989F3A}" type="slidenum">
              <a:rPr lang="nl-NL" smtClean="0"/>
              <a:t>9</a:t>
            </a:fld>
            <a:endParaRPr lang="nl-NL"/>
          </a:p>
        </p:txBody>
      </p:sp>
    </p:spTree>
    <p:extLst>
      <p:ext uri="{BB962C8B-B14F-4D97-AF65-F5344CB8AC3E}">
        <p14:creationId xmlns:p14="http://schemas.microsoft.com/office/powerpoint/2010/main" val="1051370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slide" Target="../slides/slide2.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slide" Target="../slides/slide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slide" Target="../slides/slide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slide" Target="../slides/slide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slide" Target="../slides/slide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slide" Target="../slides/slide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slide" Target="../slides/slide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slide" Target="../slides/slide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slide" Target="../slides/slide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slide" Target="../slides/slide2.xml"/><Relationship Id="rId4" Type="http://schemas.openxmlformats.org/officeDocument/2006/relationships/image" Target="../media/image3.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slide" Target="../slides/slide2.xml"/><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slide" Target="../slides/slide2.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slide" Target="../slides/slide2.xml"/><Relationship Id="rId4" Type="http://schemas.openxmlformats.org/officeDocument/2006/relationships/image" Target="../media/image3.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slide" Target="../slides/slide2.xml"/><Relationship Id="rId4" Type="http://schemas.openxmlformats.org/officeDocument/2006/relationships/image" Target="../media/image3.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1.png"/><Relationship Id="rId4" Type="http://schemas.openxmlformats.org/officeDocument/2006/relationships/image" Target="../media/image3.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slide" Target="../slides/slide2.xml"/><Relationship Id="rId4" Type="http://schemas.openxmlformats.org/officeDocument/2006/relationships/image" Target="../media/image3.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slide" Target="../slides/slide2.xml"/><Relationship Id="rId4" Type="http://schemas.openxmlformats.org/officeDocument/2006/relationships/image" Target="../media/image3.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slide" Target="../slides/slide2.xml"/><Relationship Id="rId4" Type="http://schemas.openxmlformats.org/officeDocument/2006/relationships/image" Target="../media/image3.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slide" Target="../slides/slide2.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slide" Target="../slides/slide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slide" Target="../slides/slide2.xml"/><Relationship Id="rId4" Type="http://schemas.openxmlformats.org/officeDocument/2006/relationships/image" Target="../media/image3.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slide" Target="../slides/slide2.xml"/><Relationship Id="rId4" Type="http://schemas.openxmlformats.org/officeDocument/2006/relationships/image" Target="../media/image3.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slide" Target="../slides/slide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slide" Target="../slides/slide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slide" Target="../slides/slide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slide" Target="../slides/slide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slide" Target="../slides/slide2.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slide" Target="../slides/slide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slide" Target="../slides/slide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slide" Target="../slides/slide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slide" Target="../slides/slide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slide" Target="../slides/slide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slide" Target="../slides/slide2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slide" Target="../slides/slide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slide" Target="../slides/slide2.xml"/><Relationship Id="rId4"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slide" Target="../slides/slide2.xml"/><Relationship Id="rId4"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slide" Target="../slides/slide2.xml"/><Relationship Id="rId4" Type="http://schemas.openxmlformats.org/officeDocument/2006/relationships/image" Target="../media/image3.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slide" Target="../slides/slide2.xml"/><Relationship Id="rId4"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dia">
    <p:spTree>
      <p:nvGrpSpPr>
        <p:cNvPr id="1" name=""/>
        <p:cNvGrpSpPr/>
        <p:nvPr/>
      </p:nvGrpSpPr>
      <p:grpSpPr>
        <a:xfrm>
          <a:off x="0" y="0"/>
          <a:ext cx="0" cy="0"/>
          <a:chOff x="0" y="0"/>
          <a:chExt cx="0" cy="0"/>
        </a:xfrm>
      </p:grpSpPr>
      <p:sp>
        <p:nvSpPr>
          <p:cNvPr id="14" name="Naam indeling - Titeldia"/>
          <p:cNvSpPr txBox="1"/>
          <p:nvPr/>
        </p:nvSpPr>
        <p:spPr>
          <a:xfrm>
            <a:off x="1" y="-453266"/>
            <a:ext cx="3582333" cy="276999"/>
          </a:xfrm>
          <a:prstGeom prst="rect">
            <a:avLst/>
          </a:prstGeom>
          <a:noFill/>
        </p:spPr>
        <p:txBody>
          <a:bodyPr wrap="square" lIns="0" tIns="0" rIns="0" bIns="0" rtlCol="0">
            <a:spAutoFit/>
          </a:bodyPr>
          <a:lstStyle/>
          <a:p>
            <a:pPr defTabSz="914112"/>
            <a:r>
              <a:rPr lang="nl-NL" dirty="0">
                <a:solidFill>
                  <a:srgbClr val="404040"/>
                </a:solidFill>
                <a:latin typeface="Calibri" panose="020F0502020204030204" pitchFamily="34" charset="0"/>
              </a:rPr>
              <a:t>Titeldia</a:t>
            </a:r>
            <a:endParaRPr lang="en-GB" dirty="0">
              <a:solidFill>
                <a:srgbClr val="404040"/>
              </a:solidFill>
              <a:latin typeface="Calibri" panose="020F0502020204030204" pitchFamily="34" charset="0"/>
            </a:endParaRPr>
          </a:p>
        </p:txBody>
      </p:sp>
      <p:grpSp>
        <p:nvGrpSpPr>
          <p:cNvPr id="29" name="Instructie - Afbeelding invoegen"/>
          <p:cNvGrpSpPr/>
          <p:nvPr userDrawn="1"/>
        </p:nvGrpSpPr>
        <p:grpSpPr>
          <a:xfrm>
            <a:off x="12437931" y="14898"/>
            <a:ext cx="2717569" cy="3676571"/>
            <a:chOff x="12434693" y="14897"/>
            <a:chExt cx="2716862" cy="3676571"/>
          </a:xfrm>
        </p:grpSpPr>
        <p:sp>
          <p:nvSpPr>
            <p:cNvPr id="30" name="Rechthoek 29"/>
            <p:cNvSpPr/>
            <p:nvPr/>
          </p:nvSpPr>
          <p:spPr>
            <a:xfrm>
              <a:off x="12441150" y="14897"/>
              <a:ext cx="2696270" cy="161771"/>
            </a:xfrm>
            <a:prstGeom prst="rect">
              <a:avLst/>
            </a:prstGeom>
            <a:noFill/>
            <a:ln w="25400" cap="flat" cmpd="sng" algn="ctr">
              <a:noFill/>
              <a:prstDash val="solid"/>
            </a:ln>
            <a:effectLst/>
          </p:spPr>
          <p:txBody>
            <a:bodyPr lIns="0" tIns="0" rIns="0" bIns="0" rtlCol="0" anchor="t"/>
            <a:lstStyle/>
            <a:p>
              <a:pPr defTabSz="914112">
                <a:lnSpc>
                  <a:spcPct val="80000"/>
                </a:lnSpc>
              </a:pPr>
              <a:r>
                <a:rPr lang="nl-NL" sz="1600" b="1" kern="0" cap="all" dirty="0">
                  <a:solidFill>
                    <a:srgbClr val="ED1A3B"/>
                  </a:solidFill>
                  <a:cs typeface="Segoe UI Light" panose="020B0502040204020203" pitchFamily="34" charset="0"/>
                </a:rPr>
                <a:t>AFBEELDING INVOEGEN</a:t>
              </a:r>
            </a:p>
          </p:txBody>
        </p:sp>
        <p:sp>
          <p:nvSpPr>
            <p:cNvPr id="31" name="Tekstvak 33"/>
            <p:cNvSpPr txBox="1"/>
            <p:nvPr/>
          </p:nvSpPr>
          <p:spPr>
            <a:xfrm>
              <a:off x="12441149" y="814239"/>
              <a:ext cx="2710405" cy="719877"/>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Indien nodig, verwijder de bestaande afbeelding. Klik op het pictogram </a:t>
              </a:r>
              <a:br>
                <a:rPr lang="nl-NL" sz="1200" kern="0" dirty="0">
                  <a:solidFill>
                    <a:srgbClr val="000000"/>
                  </a:solidFill>
                  <a:latin typeface="Trebuchet MS"/>
                  <a:cs typeface="Segoe UI Light" panose="020B0502040204020203" pitchFamily="34" charset="0"/>
                </a:rPr>
              </a:br>
              <a:r>
                <a:rPr lang="nl-NL" sz="1200" kern="0" dirty="0">
                  <a:solidFill>
                    <a:srgbClr val="000000"/>
                  </a:solidFill>
                  <a:latin typeface="Trebuchet MS"/>
                  <a:cs typeface="Segoe UI Light" panose="020B0502040204020203" pitchFamily="34" charset="0"/>
                </a:rPr>
                <a:t>om een afbeelding in te voegen</a:t>
              </a:r>
              <a:br>
                <a:rPr lang="nl-NL" sz="1200" kern="0" dirty="0">
                  <a:solidFill>
                    <a:srgbClr val="000000"/>
                  </a:solidFill>
                  <a:latin typeface="Trebuchet MS"/>
                  <a:cs typeface="Segoe UI Light" panose="020B0502040204020203" pitchFamily="34" charset="0"/>
                </a:rPr>
              </a:br>
              <a:r>
                <a:rPr lang="nl-NL" sz="1100" i="1" kern="0" dirty="0">
                  <a:solidFill>
                    <a:srgbClr val="000000"/>
                  </a:solidFill>
                  <a:latin typeface="Trebuchet MS"/>
                  <a:cs typeface="Segoe UI Light" panose="020B0502040204020203" pitchFamily="34" charset="0"/>
                </a:rPr>
                <a:t>(zie onderstaand voorbeeld).</a:t>
              </a:r>
            </a:p>
          </p:txBody>
        </p:sp>
        <p:sp>
          <p:nvSpPr>
            <p:cNvPr id="32" name="Tekstvak 33"/>
            <p:cNvSpPr txBox="1"/>
            <p:nvPr/>
          </p:nvSpPr>
          <p:spPr>
            <a:xfrm>
              <a:off x="12441149" y="2793904"/>
              <a:ext cx="2710405" cy="395943"/>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Selecteer de afbeelding die u wilt invoegen en klik op </a:t>
              </a:r>
              <a:r>
                <a:rPr lang="nl-NL" sz="1200" b="1" kern="0" dirty="0">
                  <a:solidFill>
                    <a:srgbClr val="000000"/>
                  </a:solidFill>
                  <a:latin typeface="Trebuchet MS"/>
                  <a:cs typeface="Segoe UI Light" panose="020B0502040204020203" pitchFamily="34" charset="0"/>
                </a:rPr>
                <a:t>‘Invoegen’</a:t>
              </a:r>
            </a:p>
          </p:txBody>
        </p:sp>
        <p:sp>
          <p:nvSpPr>
            <p:cNvPr id="33" name="Ovaal 32"/>
            <p:cNvSpPr/>
            <p:nvPr/>
          </p:nvSpPr>
          <p:spPr>
            <a:xfrm>
              <a:off x="12441150" y="379292"/>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1</a:t>
              </a:r>
            </a:p>
          </p:txBody>
        </p:sp>
        <p:sp>
          <p:nvSpPr>
            <p:cNvPr id="34" name="Ovaal 33"/>
            <p:cNvSpPr/>
            <p:nvPr/>
          </p:nvSpPr>
          <p:spPr>
            <a:xfrm>
              <a:off x="12441150" y="2337208"/>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2</a:t>
              </a:r>
            </a:p>
          </p:txBody>
        </p:sp>
        <p:cxnSp>
          <p:nvCxnSpPr>
            <p:cNvPr id="35" name="Rechte verbindingslijn 34"/>
            <p:cNvCxnSpPr/>
            <p:nvPr/>
          </p:nvCxnSpPr>
          <p:spPr>
            <a:xfrm>
              <a:off x="12441150" y="248176"/>
              <a:ext cx="2710405" cy="0"/>
            </a:xfrm>
            <a:prstGeom prst="line">
              <a:avLst/>
            </a:prstGeom>
            <a:noFill/>
            <a:ln w="9525" cap="flat" cmpd="sng" algn="ctr">
              <a:solidFill>
                <a:schemeClr val="accent1"/>
              </a:solidFill>
              <a:prstDash val="solid"/>
            </a:ln>
            <a:effectLst/>
          </p:spPr>
        </p:cxnSp>
        <p:cxnSp>
          <p:nvCxnSpPr>
            <p:cNvPr id="36" name="Rechte verbindingslijn 35"/>
            <p:cNvCxnSpPr/>
            <p:nvPr/>
          </p:nvCxnSpPr>
          <p:spPr>
            <a:xfrm>
              <a:off x="12441149" y="2212830"/>
              <a:ext cx="2710405" cy="0"/>
            </a:xfrm>
            <a:prstGeom prst="line">
              <a:avLst/>
            </a:prstGeom>
            <a:noFill/>
            <a:ln w="9525" cap="flat" cmpd="sng" algn="ctr">
              <a:solidFill>
                <a:schemeClr val="accent1"/>
              </a:solidFill>
              <a:prstDash val="solid"/>
            </a:ln>
            <a:effectLst/>
          </p:spPr>
        </p:cxnSp>
        <p:cxnSp>
          <p:nvCxnSpPr>
            <p:cNvPr id="37" name="Rechte verbindingslijn 36"/>
            <p:cNvCxnSpPr/>
            <p:nvPr/>
          </p:nvCxnSpPr>
          <p:spPr>
            <a:xfrm>
              <a:off x="12444679" y="3691468"/>
              <a:ext cx="2706875" cy="0"/>
            </a:xfrm>
            <a:prstGeom prst="line">
              <a:avLst/>
            </a:prstGeom>
            <a:noFill/>
            <a:ln w="9525" cap="flat" cmpd="sng" algn="ctr">
              <a:solidFill>
                <a:schemeClr val="accent1"/>
              </a:solidFill>
              <a:prstDash val="solid"/>
            </a:ln>
            <a:effectLst/>
          </p:spPr>
        </p:cxnSp>
        <p:pic>
          <p:nvPicPr>
            <p:cNvPr id="38" name="Icoontje afbeeldi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434693" y="1677764"/>
              <a:ext cx="403210" cy="403210"/>
            </a:xfrm>
            <a:prstGeom prst="rect">
              <a:avLst/>
            </a:prstGeom>
          </p:spPr>
        </p:pic>
        <p:grpSp>
          <p:nvGrpSpPr>
            <p:cNvPr id="39" name="Groep 38"/>
            <p:cNvGrpSpPr/>
            <p:nvPr/>
          </p:nvGrpSpPr>
          <p:grpSpPr>
            <a:xfrm>
              <a:off x="12450571" y="3301369"/>
              <a:ext cx="1002992" cy="267962"/>
              <a:chOff x="13560784" y="3471416"/>
              <a:chExt cx="1114138" cy="297656"/>
            </a:xfrm>
          </p:grpSpPr>
          <p:sp>
            <p:nvSpPr>
              <p:cNvPr id="40" name="Afgeronde rechthoek 88"/>
              <p:cNvSpPr/>
              <p:nvPr/>
            </p:nvSpPr>
            <p:spPr>
              <a:xfrm>
                <a:off x="13560784" y="3471416"/>
                <a:ext cx="1114138" cy="297656"/>
              </a:xfrm>
              <a:prstGeom prst="roundRect">
                <a:avLst/>
              </a:prstGeom>
              <a:gradFill flip="none" rotWithShape="1">
                <a:gsLst>
                  <a:gs pos="4000">
                    <a:srgbClr val="00B0F0"/>
                  </a:gs>
                  <a:gs pos="0">
                    <a:srgbClr val="0070C0"/>
                  </a:gs>
                  <a:gs pos="100000">
                    <a:srgbClr val="0070C0"/>
                  </a:gs>
                  <a:gs pos="12000">
                    <a:srgbClr val="D1EAFF"/>
                  </a:gs>
                  <a:gs pos="96000">
                    <a:srgbClr val="00B0F0"/>
                  </a:gs>
                  <a:gs pos="89000">
                    <a:srgbClr val="DDF4FF"/>
                  </a:gs>
                  <a:gs pos="43000">
                    <a:srgbClr val="D1EAFF"/>
                  </a:gs>
                  <a:gs pos="51000">
                    <a:srgbClr val="DDF4FF"/>
                  </a:gs>
                </a:gsLst>
                <a:lin ang="16200000" scaled="1"/>
                <a:tileRect/>
              </a:gradFill>
              <a:ln w="63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dirty="0">
                  <a:solidFill>
                    <a:srgbClr val="FFFFFF"/>
                  </a:solidFill>
                </a:endParaRPr>
              </a:p>
            </p:txBody>
          </p:sp>
          <p:sp>
            <p:nvSpPr>
              <p:cNvPr id="41" name="Tekstvak 40"/>
              <p:cNvSpPr txBox="1"/>
              <p:nvPr/>
            </p:nvSpPr>
            <p:spPr>
              <a:xfrm>
                <a:off x="13573594" y="3488254"/>
                <a:ext cx="888311" cy="273506"/>
              </a:xfrm>
              <a:prstGeom prst="rect">
                <a:avLst/>
              </a:prstGeom>
              <a:noFill/>
            </p:spPr>
            <p:txBody>
              <a:bodyPr wrap="square" rtlCol="0" anchor="ctr">
                <a:spAutoFit/>
              </a:bodyPr>
              <a:lstStyle>
                <a:defPPr>
                  <a:defRPr lang="nl-NL"/>
                </a:defPPr>
                <a:lvl1pPr marR="0" lvl="0" indent="0" algn="ctr" fontAlgn="auto">
                  <a:lnSpc>
                    <a:spcPct val="100000"/>
                  </a:lnSpc>
                  <a:spcBef>
                    <a:spcPts val="0"/>
                  </a:spcBef>
                  <a:spcAft>
                    <a:spcPts val="0"/>
                  </a:spcAft>
                  <a:buClrTx/>
                  <a:buSzTx/>
                  <a:buFontTx/>
                  <a:buNone/>
                  <a:tabLst/>
                  <a:defRPr kumimoji="0" sz="900" i="0" u="none" strike="noStrike" kern="0" cap="none" spc="0" normalizeH="0" baseline="0">
                    <a:ln>
                      <a:noFill/>
                    </a:ln>
                    <a:effectLst>
                      <a:outerShdw blurRad="25400" algn="ctr" rotWithShape="0">
                        <a:prstClr val="white"/>
                      </a:outerShdw>
                    </a:effectLst>
                    <a:uLnTx/>
                    <a:uFillTx/>
                    <a:latin typeface="Segoe UI Light" panose="020B0502040204020203" pitchFamily="34" charset="0"/>
                    <a:cs typeface="Segoe UI Light" panose="020B0502040204020203" pitchFamily="34" charset="0"/>
                  </a:defRPr>
                </a:lvl1pPr>
                <a:lvl2pPr fontAlgn="base">
                  <a:spcBef>
                    <a:spcPct val="0"/>
                  </a:spcBef>
                  <a:spcAft>
                    <a:spcPct val="0"/>
                  </a:spcAft>
                  <a:defRPr>
                    <a:latin typeface="Arial" charset="0"/>
                    <a:cs typeface="Arial" charset="0"/>
                  </a:defRPr>
                </a:lvl2pPr>
                <a:lvl3pPr fontAlgn="base">
                  <a:spcBef>
                    <a:spcPct val="0"/>
                  </a:spcBef>
                  <a:spcAft>
                    <a:spcPct val="0"/>
                  </a:spcAft>
                  <a:defRPr>
                    <a:latin typeface="Arial" charset="0"/>
                    <a:cs typeface="Arial" charset="0"/>
                  </a:defRPr>
                </a:lvl3pPr>
                <a:lvl4pPr fontAlgn="base">
                  <a:spcBef>
                    <a:spcPct val="0"/>
                  </a:spcBef>
                  <a:spcAft>
                    <a:spcPct val="0"/>
                  </a:spcAft>
                  <a:defRPr>
                    <a:latin typeface="Arial" charset="0"/>
                    <a:cs typeface="Arial" charset="0"/>
                  </a:defRPr>
                </a:lvl4pPr>
                <a:lvl5pPr fontAlgn="base">
                  <a:spcBef>
                    <a:spcPct val="0"/>
                  </a:spcBef>
                  <a:spcAft>
                    <a:spcPct val="0"/>
                  </a:spcAft>
                  <a:defRPr>
                    <a:latin typeface="Arial" charset="0"/>
                    <a:cs typeface="Arial" charset="0"/>
                  </a:defRPr>
                </a:lvl5pPr>
                <a:lvl6pPr>
                  <a:defRPr>
                    <a:latin typeface="Arial" charset="0"/>
                    <a:cs typeface="Arial" charset="0"/>
                  </a:defRPr>
                </a:lvl6pPr>
                <a:lvl7pPr>
                  <a:defRPr>
                    <a:latin typeface="Arial" charset="0"/>
                    <a:cs typeface="Arial" charset="0"/>
                  </a:defRPr>
                </a:lvl7pPr>
                <a:lvl8pPr>
                  <a:defRPr>
                    <a:latin typeface="Arial" charset="0"/>
                    <a:cs typeface="Arial" charset="0"/>
                  </a:defRPr>
                </a:lvl8pPr>
                <a:lvl9pPr>
                  <a:defRPr>
                    <a:latin typeface="Arial" charset="0"/>
                    <a:cs typeface="Arial" charset="0"/>
                  </a:defRPr>
                </a:lvl9pPr>
              </a:lstStyle>
              <a:p>
                <a:pPr defTabSz="914112"/>
                <a:r>
                  <a:rPr lang="nl-NL" sz="1000" dirty="0">
                    <a:solidFill>
                      <a:srgbClr val="000000"/>
                    </a:solidFill>
                    <a:latin typeface="Trebuchet MS"/>
                  </a:rPr>
                  <a:t>Invoegen</a:t>
                </a:r>
              </a:p>
            </p:txBody>
          </p:sp>
          <p:cxnSp>
            <p:nvCxnSpPr>
              <p:cNvPr id="42" name="Rechte verbindingslijn 41"/>
              <p:cNvCxnSpPr/>
              <p:nvPr/>
            </p:nvCxnSpPr>
            <p:spPr>
              <a:xfrm>
                <a:off x="14461905" y="3507058"/>
                <a:ext cx="0" cy="224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Gelijkbenige driehoek 42"/>
              <p:cNvSpPr/>
              <p:nvPr/>
            </p:nvSpPr>
            <p:spPr>
              <a:xfrm rot="10800000">
                <a:off x="14518584" y="3600521"/>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112"/>
                <a:endParaRPr lang="nl-NL" dirty="0">
                  <a:solidFill>
                    <a:srgbClr val="FFFFFF"/>
                  </a:solidFill>
                </a:endParaRPr>
              </a:p>
            </p:txBody>
          </p:sp>
        </p:grpSp>
      </p:grpSp>
      <p:grpSp>
        <p:nvGrpSpPr>
          <p:cNvPr id="45" name="Instructie - Tekst niveaus"/>
          <p:cNvGrpSpPr/>
          <p:nvPr userDrawn="1"/>
        </p:nvGrpSpPr>
        <p:grpSpPr>
          <a:xfrm>
            <a:off x="-3117849" y="365"/>
            <a:ext cx="2823358" cy="5254722"/>
            <a:chOff x="-2959433" y="-5444"/>
            <a:chExt cx="2822623" cy="5254722"/>
          </a:xfrm>
        </p:grpSpPr>
        <p:sp>
          <p:nvSpPr>
            <p:cNvPr id="46" name="Rechthoek 45"/>
            <p:cNvSpPr/>
            <p:nvPr userDrawn="1"/>
          </p:nvSpPr>
          <p:spPr>
            <a:xfrm>
              <a:off x="-2959433" y="-5444"/>
              <a:ext cx="2572469" cy="280344"/>
            </a:xfrm>
            <a:prstGeom prst="rect">
              <a:avLst/>
            </a:prstGeom>
            <a:noFill/>
            <a:ln w="25400" cap="flat" cmpd="sng" algn="ctr">
              <a:noFill/>
              <a:prstDash val="solid"/>
            </a:ln>
            <a:effectLst/>
          </p:spPr>
          <p:txBody>
            <a:bodyPr lIns="0" tIns="0" rIns="0" bIns="0" rtlCol="0" anchor="t"/>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nl-NL" sz="1600" b="1" kern="0" dirty="0">
                  <a:solidFill>
                    <a:srgbClr val="ED1A3B"/>
                  </a:solidFill>
                  <a:cs typeface="Segoe UI Light" panose="020B0502040204020203" pitchFamily="34" charset="0"/>
                </a:rPr>
                <a:t>TEKST NIVEAUS</a:t>
              </a:r>
            </a:p>
          </p:txBody>
        </p:sp>
        <p:sp>
          <p:nvSpPr>
            <p:cNvPr id="47" name="Textfield placeholder"/>
            <p:cNvSpPr txBox="1">
              <a:spLocks/>
            </p:cNvSpPr>
            <p:nvPr userDrawn="1"/>
          </p:nvSpPr>
          <p:spPr>
            <a:xfrm>
              <a:off x="-2587337" y="2675411"/>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0" lvl="2"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a:solidFill>
                    <a:srgbClr val="404040"/>
                  </a:solidFill>
                </a:rPr>
                <a:t>Sub-bullets (16 pt.)</a:t>
              </a:r>
            </a:p>
          </p:txBody>
        </p:sp>
        <p:sp>
          <p:nvSpPr>
            <p:cNvPr id="48" name="Ovaal 47"/>
            <p:cNvSpPr/>
            <p:nvPr userDrawn="1"/>
          </p:nvSpPr>
          <p:spPr>
            <a:xfrm>
              <a:off x="-2959433" y="196874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1</a:t>
              </a:r>
            </a:p>
          </p:txBody>
        </p:sp>
        <p:sp>
          <p:nvSpPr>
            <p:cNvPr id="49" name="Ovaal 48"/>
            <p:cNvSpPr/>
            <p:nvPr userDrawn="1"/>
          </p:nvSpPr>
          <p:spPr>
            <a:xfrm>
              <a:off x="-2959433" y="232207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2</a:t>
              </a:r>
            </a:p>
          </p:txBody>
        </p:sp>
        <p:sp>
          <p:nvSpPr>
            <p:cNvPr id="50" name="Ovaal 49"/>
            <p:cNvSpPr/>
            <p:nvPr userDrawn="1"/>
          </p:nvSpPr>
          <p:spPr>
            <a:xfrm>
              <a:off x="-2959433" y="267541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3</a:t>
              </a:r>
            </a:p>
          </p:txBody>
        </p:sp>
        <p:sp>
          <p:nvSpPr>
            <p:cNvPr id="51" name="Ovaal 50"/>
            <p:cNvSpPr/>
            <p:nvPr userDrawn="1"/>
          </p:nvSpPr>
          <p:spPr>
            <a:xfrm>
              <a:off x="-2959433" y="302874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4</a:t>
              </a:r>
            </a:p>
          </p:txBody>
        </p:sp>
        <p:sp>
          <p:nvSpPr>
            <p:cNvPr id="52" name="Textfield placeholder"/>
            <p:cNvSpPr txBox="1">
              <a:spLocks/>
            </p:cNvSpPr>
            <p:nvPr userDrawn="1"/>
          </p:nvSpPr>
          <p:spPr>
            <a:xfrm>
              <a:off x="-2571950" y="1966925"/>
              <a:ext cx="2163709" cy="261500"/>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79388">
                <a:lnSpc>
                  <a:spcPct val="120000"/>
                </a:lnSpc>
                <a:spcBef>
                  <a:spcPts val="0"/>
                </a:spcBef>
                <a:spcAft>
                  <a:spcPts val="900"/>
                </a:spcAft>
                <a:buClr>
                  <a:srgbClr val="000000"/>
                </a:buClr>
                <a:buSzPct val="100000"/>
                <a:buFont typeface="Arial" pitchFamily="34" charset="0"/>
                <a:buNone/>
                <a:defRPr/>
              </a:pPr>
              <a:r>
                <a:rPr lang="nl-NL" sz="1200" dirty="0">
                  <a:solidFill>
                    <a:srgbClr val="535353"/>
                  </a:solidFill>
                </a:rPr>
                <a:t>Leestekst (16 pt.)</a:t>
              </a:r>
            </a:p>
          </p:txBody>
        </p:sp>
        <p:sp>
          <p:nvSpPr>
            <p:cNvPr id="53" name="Textfield placeholder"/>
            <p:cNvSpPr txBox="1">
              <a:spLocks/>
            </p:cNvSpPr>
            <p:nvPr userDrawn="1"/>
          </p:nvSpPr>
          <p:spPr>
            <a:xfrm>
              <a:off x="-2571950" y="2322077"/>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70000" lvl="1"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err="1">
                  <a:solidFill>
                    <a:srgbClr val="535353"/>
                  </a:solidFill>
                </a:rPr>
                <a:t>Bullets</a:t>
              </a:r>
              <a:r>
                <a:rPr lang="nl-NL" sz="1200" dirty="0">
                  <a:solidFill>
                    <a:srgbClr val="535353"/>
                  </a:solidFill>
                </a:rPr>
                <a:t> (16 </a:t>
              </a:r>
              <a:r>
                <a:rPr lang="nl-NL" sz="1200" dirty="0" err="1">
                  <a:solidFill>
                    <a:srgbClr val="535353"/>
                  </a:solidFill>
                </a:rPr>
                <a:t>pt</a:t>
              </a:r>
              <a:r>
                <a:rPr lang="nl-NL" sz="1200" dirty="0">
                  <a:solidFill>
                    <a:srgbClr val="535353"/>
                  </a:solidFill>
                </a:rPr>
                <a:t>.)</a:t>
              </a:r>
            </a:p>
          </p:txBody>
        </p:sp>
        <p:sp>
          <p:nvSpPr>
            <p:cNvPr id="54" name="Textfield placeholder"/>
            <p:cNvSpPr txBox="1">
              <a:spLocks/>
            </p:cNvSpPr>
            <p:nvPr userDrawn="1"/>
          </p:nvSpPr>
          <p:spPr>
            <a:xfrm>
              <a:off x="-2571951" y="3028747"/>
              <a:ext cx="2435141"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10000" lvl="3" indent="-270000" defTabSz="179388">
                <a:lnSpc>
                  <a:spcPct val="120000"/>
                </a:lnSpc>
                <a:spcBef>
                  <a:spcPts val="0"/>
                </a:spcBef>
                <a:spcAft>
                  <a:spcPts val="900"/>
                </a:spcAft>
                <a:buClr>
                  <a:schemeClr val="accent2"/>
                </a:buClr>
                <a:buSzPct val="80000"/>
                <a:buFont typeface="Wingdings 3" panose="05040102010807070707" pitchFamily="18" charset="2"/>
                <a:buChar char=""/>
                <a:defRPr/>
              </a:pPr>
              <a:r>
                <a:rPr lang="nl-NL" sz="1200" b="0" dirty="0">
                  <a:solidFill>
                    <a:srgbClr val="404040"/>
                  </a:solidFill>
                </a:rPr>
                <a:t>Sub-sub-bullets (16 pt.)</a:t>
              </a:r>
            </a:p>
          </p:txBody>
        </p:sp>
        <p:cxnSp>
          <p:nvCxnSpPr>
            <p:cNvPr id="55" name="Rechte verbindingslijn 54"/>
            <p:cNvCxnSpPr/>
            <p:nvPr userDrawn="1"/>
          </p:nvCxnSpPr>
          <p:spPr>
            <a:xfrm>
              <a:off x="-2959100" y="274900"/>
              <a:ext cx="2674470" cy="0"/>
            </a:xfrm>
            <a:prstGeom prst="line">
              <a:avLst/>
            </a:prstGeom>
            <a:noFill/>
            <a:ln w="9525" cap="flat" cmpd="sng" algn="ctr">
              <a:solidFill>
                <a:schemeClr val="accent1"/>
              </a:solidFill>
              <a:prstDash val="solid"/>
            </a:ln>
            <a:effectLst/>
          </p:spPr>
        </p:cxnSp>
        <p:cxnSp>
          <p:nvCxnSpPr>
            <p:cNvPr id="56" name="Rechte verbindingslijn 55"/>
            <p:cNvCxnSpPr/>
            <p:nvPr userDrawn="1"/>
          </p:nvCxnSpPr>
          <p:spPr>
            <a:xfrm>
              <a:off x="-2959100" y="1841989"/>
              <a:ext cx="2661379" cy="0"/>
            </a:xfrm>
            <a:prstGeom prst="line">
              <a:avLst/>
            </a:prstGeom>
            <a:noFill/>
            <a:ln w="9525" cap="flat" cmpd="sng" algn="ctr">
              <a:solidFill>
                <a:schemeClr val="accent1"/>
              </a:solidFill>
              <a:prstDash val="solid"/>
            </a:ln>
            <a:effectLst/>
          </p:spPr>
        </p:cxnSp>
        <p:cxnSp>
          <p:nvCxnSpPr>
            <p:cNvPr id="57" name="Rechte verbindingslijn 56"/>
            <p:cNvCxnSpPr/>
            <p:nvPr userDrawn="1"/>
          </p:nvCxnSpPr>
          <p:spPr>
            <a:xfrm>
              <a:off x="-2959100" y="5249278"/>
              <a:ext cx="2661379" cy="0"/>
            </a:xfrm>
            <a:prstGeom prst="line">
              <a:avLst/>
            </a:prstGeom>
            <a:noFill/>
            <a:ln w="9525" cap="flat" cmpd="sng" algn="ctr">
              <a:solidFill>
                <a:schemeClr val="accent1"/>
              </a:solidFill>
              <a:prstDash val="solid"/>
            </a:ln>
            <a:effectLst/>
          </p:spPr>
        </p:cxnSp>
        <p:grpSp>
          <p:nvGrpSpPr>
            <p:cNvPr id="58" name="Groep 57"/>
            <p:cNvGrpSpPr/>
            <p:nvPr userDrawn="1"/>
          </p:nvGrpSpPr>
          <p:grpSpPr>
            <a:xfrm>
              <a:off x="-1948476" y="816741"/>
              <a:ext cx="409108" cy="427699"/>
              <a:chOff x="-1085063" y="758027"/>
              <a:chExt cx="633799" cy="622540"/>
            </a:xfrm>
          </p:grpSpPr>
          <p:sp>
            <p:nvSpPr>
              <p:cNvPr id="129" name="Afgeronde rechthoek 128"/>
              <p:cNvSpPr/>
              <p:nvPr userDrawn="1"/>
            </p:nvSpPr>
            <p:spPr>
              <a:xfrm>
                <a:off x="-108506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130" name="Groep 129"/>
              <p:cNvGrpSpPr/>
              <p:nvPr userDrawn="1"/>
            </p:nvGrpSpPr>
            <p:grpSpPr>
              <a:xfrm>
                <a:off x="-977739" y="864082"/>
                <a:ext cx="419168" cy="410429"/>
                <a:chOff x="6366933" y="309013"/>
                <a:chExt cx="1901295" cy="1861668"/>
              </a:xfrm>
              <a:solidFill>
                <a:srgbClr val="000000"/>
              </a:solidFill>
            </p:grpSpPr>
            <p:sp>
              <p:nvSpPr>
                <p:cNvPr id="131" name="Rechthoek 130"/>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32" name="Rechthoek 131"/>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33" name="Rechthoek 132"/>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34" name="Rechthoek 133"/>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35" name="Rechthoek 134"/>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36" name="Rechthoek 135"/>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37" name="Rechthoek 136"/>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38" name="Rechthoek 137"/>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39" name="Rechthoek 138"/>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40" name="Rechthoek 139"/>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41" name="Vrije vorm 140"/>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nvGrpSpPr>
            <p:cNvPr id="59" name="Groep 58"/>
            <p:cNvGrpSpPr/>
            <p:nvPr userDrawn="1"/>
          </p:nvGrpSpPr>
          <p:grpSpPr>
            <a:xfrm>
              <a:off x="-2950232" y="1207835"/>
              <a:ext cx="532929" cy="509563"/>
              <a:chOff x="-2880382" y="802341"/>
              <a:chExt cx="532929" cy="509563"/>
            </a:xfrm>
          </p:grpSpPr>
          <p:sp>
            <p:nvSpPr>
              <p:cNvPr id="92" name="Rechthoek 91"/>
              <p:cNvSpPr/>
              <p:nvPr userDrawn="1"/>
            </p:nvSpPr>
            <p:spPr>
              <a:xfrm>
                <a:off x="-2880382" y="802341"/>
                <a:ext cx="532929" cy="509563"/>
              </a:xfrm>
              <a:prstGeom prst="rect">
                <a:avLst/>
              </a:prstGeom>
              <a:solidFill>
                <a:sysClr val="window" lastClr="FFFFFF"/>
              </a:soli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pic>
            <p:nvPicPr>
              <p:cNvPr id="93"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635852" y="822181"/>
                <a:ext cx="226442" cy="208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4"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848026" y="822181"/>
                <a:ext cx="207168" cy="213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95" name="Groep 94"/>
              <p:cNvGrpSpPr/>
              <p:nvPr userDrawn="1"/>
            </p:nvGrpSpPr>
            <p:grpSpPr>
              <a:xfrm>
                <a:off x="-2802433" y="1123442"/>
                <a:ext cx="132915" cy="104889"/>
                <a:chOff x="-2796392" y="1123442"/>
                <a:chExt cx="120832" cy="104889"/>
              </a:xfrm>
            </p:grpSpPr>
            <p:sp>
              <p:nvSpPr>
                <p:cNvPr id="124" name="Rechthoek 123"/>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25" name="Rechthoek 124"/>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26" name="Rechthoek 125"/>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27" name="Rechthoek 126"/>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28" name="Rechthoek 127"/>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96" name="Groep 95"/>
              <p:cNvGrpSpPr/>
              <p:nvPr userDrawn="1"/>
            </p:nvGrpSpPr>
            <p:grpSpPr>
              <a:xfrm>
                <a:off x="-2575417" y="1123442"/>
                <a:ext cx="133930" cy="104889"/>
                <a:chOff x="-2556734" y="1123442"/>
                <a:chExt cx="147324" cy="104889"/>
              </a:xfrm>
            </p:grpSpPr>
            <p:grpSp>
              <p:nvGrpSpPr>
                <p:cNvPr id="97" name="Groep 96"/>
                <p:cNvGrpSpPr/>
                <p:nvPr userDrawn="1"/>
              </p:nvGrpSpPr>
              <p:grpSpPr>
                <a:xfrm>
                  <a:off x="-2556734" y="1123442"/>
                  <a:ext cx="68206" cy="104889"/>
                  <a:chOff x="-2796392" y="1123442"/>
                  <a:chExt cx="120832" cy="104889"/>
                </a:xfrm>
              </p:grpSpPr>
              <p:sp>
                <p:nvSpPr>
                  <p:cNvPr id="119" name="Rechthoek 118"/>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20" name="Rechthoek 119"/>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21" name="Rechthoek 120"/>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22" name="Rechthoek 121"/>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23" name="Rechthoek 122"/>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98" name="Groep 97"/>
                <p:cNvGrpSpPr/>
                <p:nvPr userDrawn="1"/>
              </p:nvGrpSpPr>
              <p:grpSpPr>
                <a:xfrm>
                  <a:off x="-2477616" y="1123442"/>
                  <a:ext cx="68206" cy="104889"/>
                  <a:chOff x="-2796392" y="1123442"/>
                  <a:chExt cx="120832" cy="104889"/>
                </a:xfrm>
              </p:grpSpPr>
              <p:sp>
                <p:nvSpPr>
                  <p:cNvPr id="114" name="Rechthoek 113"/>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15" name="Rechthoek 114"/>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16" name="Rechthoek 115"/>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17" name="Rechthoek 116"/>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18" name="Rechthoek 117"/>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grpSp>
          <p:nvGrpSpPr>
            <p:cNvPr id="60" name="Groep 59"/>
            <p:cNvGrpSpPr/>
            <p:nvPr userDrawn="1"/>
          </p:nvGrpSpPr>
          <p:grpSpPr>
            <a:xfrm>
              <a:off x="-1948476" y="1281164"/>
              <a:ext cx="413704" cy="427699"/>
              <a:chOff x="-1845083" y="758027"/>
              <a:chExt cx="633799" cy="622540"/>
            </a:xfrm>
          </p:grpSpPr>
          <p:sp>
            <p:nvSpPr>
              <p:cNvPr id="79" name="Afgeronde rechthoek 78"/>
              <p:cNvSpPr/>
              <p:nvPr userDrawn="1"/>
            </p:nvSpPr>
            <p:spPr>
              <a:xfrm>
                <a:off x="-184508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80" name="Groep 79"/>
              <p:cNvGrpSpPr/>
              <p:nvPr userDrawn="1"/>
            </p:nvGrpSpPr>
            <p:grpSpPr>
              <a:xfrm>
                <a:off x="-1737762" y="864082"/>
                <a:ext cx="419168" cy="410429"/>
                <a:chOff x="3708400" y="309013"/>
                <a:chExt cx="1901295" cy="1861668"/>
              </a:xfrm>
              <a:solidFill>
                <a:srgbClr val="000000"/>
              </a:solidFill>
            </p:grpSpPr>
            <p:sp>
              <p:nvSpPr>
                <p:cNvPr id="81" name="Rechthoek 80"/>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82" name="Rechthoek 81"/>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83" name="Rechthoek 82"/>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84" name="Rechthoek 83"/>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85" name="Rechthoek 84"/>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86" name="Rechthoek 85"/>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87" name="Rechthoek 86"/>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88" name="Rechthoek 87"/>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89" name="Rechthoek 88"/>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90" name="Rechthoek 89"/>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91" name="Vrije vorm 90"/>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cxnSp>
          <p:nvCxnSpPr>
            <p:cNvPr id="61" name="Rechte verbindingslijn 60"/>
            <p:cNvCxnSpPr/>
            <p:nvPr userDrawn="1"/>
          </p:nvCxnSpPr>
          <p:spPr>
            <a:xfrm>
              <a:off x="-2814292" y="1441193"/>
              <a:ext cx="865816" cy="53821"/>
            </a:xfrm>
            <a:prstGeom prst="line">
              <a:avLst/>
            </a:prstGeom>
            <a:noFill/>
            <a:ln w="9525" cap="flat" cmpd="sng" algn="ctr">
              <a:solidFill>
                <a:schemeClr val="accent1"/>
              </a:solidFill>
              <a:prstDash val="solid"/>
              <a:headEnd type="oval"/>
            </a:ln>
            <a:effectLst/>
          </p:spPr>
        </p:cxnSp>
        <p:cxnSp>
          <p:nvCxnSpPr>
            <p:cNvPr id="62" name="Rechte verbindingslijn 61"/>
            <p:cNvCxnSpPr/>
            <p:nvPr userDrawn="1"/>
          </p:nvCxnSpPr>
          <p:spPr>
            <a:xfrm flipV="1">
              <a:off x="-2453902" y="1030591"/>
              <a:ext cx="505426" cy="283623"/>
            </a:xfrm>
            <a:prstGeom prst="line">
              <a:avLst/>
            </a:prstGeom>
            <a:noFill/>
            <a:ln w="9525" cap="flat" cmpd="sng" algn="ctr">
              <a:solidFill>
                <a:schemeClr val="accent1"/>
              </a:solidFill>
              <a:prstDash val="solid"/>
              <a:headEnd type="oval"/>
            </a:ln>
            <a:effectLst/>
          </p:spPr>
        </p:cxnSp>
        <p:sp>
          <p:nvSpPr>
            <p:cNvPr id="63" name="Textfield placeholder"/>
            <p:cNvSpPr txBox="1">
              <a:spLocks/>
            </p:cNvSpPr>
            <p:nvPr userDrawn="1"/>
          </p:nvSpPr>
          <p:spPr>
            <a:xfrm>
              <a:off x="-1341598" y="816743"/>
              <a:ext cx="1056968" cy="427698"/>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hoog</a:t>
              </a:r>
            </a:p>
          </p:txBody>
        </p:sp>
        <p:sp>
          <p:nvSpPr>
            <p:cNvPr id="64" name="Textfield placeholder"/>
            <p:cNvSpPr txBox="1">
              <a:spLocks/>
            </p:cNvSpPr>
            <p:nvPr userDrawn="1"/>
          </p:nvSpPr>
          <p:spPr>
            <a:xfrm>
              <a:off x="-1341599" y="1281164"/>
              <a:ext cx="1070223" cy="427699"/>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laag</a:t>
              </a:r>
            </a:p>
          </p:txBody>
        </p:sp>
        <p:sp>
          <p:nvSpPr>
            <p:cNvPr id="65" name="Ovaal 64"/>
            <p:cNvSpPr/>
            <p:nvPr userDrawn="1"/>
          </p:nvSpPr>
          <p:spPr>
            <a:xfrm>
              <a:off x="-2959433" y="338208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5</a:t>
              </a:r>
            </a:p>
          </p:txBody>
        </p:sp>
        <p:sp>
          <p:nvSpPr>
            <p:cNvPr id="66" name="Textfield placeholder"/>
            <p:cNvSpPr txBox="1">
              <a:spLocks/>
            </p:cNvSpPr>
            <p:nvPr userDrawn="1"/>
          </p:nvSpPr>
          <p:spPr>
            <a:xfrm>
              <a:off x="-2571950" y="3382082"/>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60000" lvl="4" indent="-360000" defTabSz="179388">
                <a:lnSpc>
                  <a:spcPct val="120000"/>
                </a:lnSpc>
                <a:spcBef>
                  <a:spcPts val="0"/>
                </a:spcBef>
                <a:spcAft>
                  <a:spcPts val="900"/>
                </a:spcAft>
                <a:buClr>
                  <a:srgbClr val="ED1A3B"/>
                </a:buClr>
                <a:buFont typeface="+mj-lt"/>
                <a:buAutoNum type="arabicPeriod"/>
                <a:defRPr/>
              </a:pPr>
              <a:r>
                <a:rPr lang="nl-NL" sz="1200" b="0" dirty="0">
                  <a:solidFill>
                    <a:srgbClr val="404040"/>
                  </a:solidFill>
                </a:rPr>
                <a:t>Numeriek (16 pt.)</a:t>
              </a:r>
            </a:p>
          </p:txBody>
        </p:sp>
        <p:grpSp>
          <p:nvGrpSpPr>
            <p:cNvPr id="67" name="Groep 66"/>
            <p:cNvGrpSpPr/>
            <p:nvPr userDrawn="1"/>
          </p:nvGrpSpPr>
          <p:grpSpPr>
            <a:xfrm>
              <a:off x="-2950232" y="816050"/>
              <a:ext cx="528695" cy="344202"/>
              <a:chOff x="-2880382" y="410556"/>
              <a:chExt cx="528695" cy="344202"/>
            </a:xfrm>
          </p:grpSpPr>
          <p:sp>
            <p:nvSpPr>
              <p:cNvPr id="77" name="Afgeronde rechthoek 76"/>
              <p:cNvSpPr/>
              <p:nvPr userDrawn="1"/>
            </p:nvSpPr>
            <p:spPr>
              <a:xfrm>
                <a:off x="-2874214" y="410556"/>
                <a:ext cx="522527" cy="339183"/>
              </a:xfrm>
              <a:prstGeom prst="roundRect">
                <a:avLst>
                  <a:gd name="adj" fmla="val 7565"/>
                </a:avLst>
              </a:prstGeom>
              <a:gradFill>
                <a:gsLst>
                  <a:gs pos="0">
                    <a:srgbClr val="FFEC8F"/>
                  </a:gs>
                  <a:gs pos="100000">
                    <a:srgbClr val="FFFFFF"/>
                  </a:gs>
                </a:gsLst>
                <a:lin ang="5400000" scaled="0"/>
              </a:gra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sp>
            <p:nvSpPr>
              <p:cNvPr id="78" name="Vrije vorm 77"/>
              <p:cNvSpPr/>
              <p:nvPr userDrawn="1"/>
            </p:nvSpPr>
            <p:spPr>
              <a:xfrm>
                <a:off x="-2880382" y="452699"/>
                <a:ext cx="528695" cy="302059"/>
              </a:xfrm>
              <a:custGeom>
                <a:avLst/>
                <a:gdLst>
                  <a:gd name="connsiteX0" fmla="*/ 55524 w 528695"/>
                  <a:gd name="connsiteY0" fmla="*/ 0 h 302059"/>
                  <a:gd name="connsiteX1" fmla="*/ 455496 w 528695"/>
                  <a:gd name="connsiteY1" fmla="*/ 0 h 302059"/>
                  <a:gd name="connsiteX2" fmla="*/ 475205 w 528695"/>
                  <a:gd name="connsiteY2" fmla="*/ 19709 h 302059"/>
                  <a:gd name="connsiteX3" fmla="*/ 475205 w 528695"/>
                  <a:gd name="connsiteY3" fmla="*/ 230056 h 302059"/>
                  <a:gd name="connsiteX4" fmla="*/ 516694 w 528695"/>
                  <a:gd name="connsiteY4" fmla="*/ 230056 h 302059"/>
                  <a:gd name="connsiteX5" fmla="*/ 528695 w 528695"/>
                  <a:gd name="connsiteY5" fmla="*/ 242057 h 302059"/>
                  <a:gd name="connsiteX6" fmla="*/ 528695 w 528695"/>
                  <a:gd name="connsiteY6" fmla="*/ 290058 h 302059"/>
                  <a:gd name="connsiteX7" fmla="*/ 516694 w 528695"/>
                  <a:gd name="connsiteY7" fmla="*/ 302059 h 302059"/>
                  <a:gd name="connsiteX8" fmla="*/ 12001 w 528695"/>
                  <a:gd name="connsiteY8" fmla="*/ 302059 h 302059"/>
                  <a:gd name="connsiteX9" fmla="*/ 0 w 528695"/>
                  <a:gd name="connsiteY9" fmla="*/ 290058 h 302059"/>
                  <a:gd name="connsiteX10" fmla="*/ 0 w 528695"/>
                  <a:gd name="connsiteY10" fmla="*/ 242057 h 302059"/>
                  <a:gd name="connsiteX11" fmla="*/ 12001 w 528695"/>
                  <a:gd name="connsiteY11" fmla="*/ 230056 h 302059"/>
                  <a:gd name="connsiteX12" fmla="*/ 35815 w 528695"/>
                  <a:gd name="connsiteY12" fmla="*/ 230056 h 302059"/>
                  <a:gd name="connsiteX13" fmla="*/ 35815 w 528695"/>
                  <a:gd name="connsiteY13" fmla="*/ 19709 h 302059"/>
                  <a:gd name="connsiteX14" fmla="*/ 55524 w 528695"/>
                  <a:gd name="connsiteY14" fmla="*/ 0 h 3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8695" h="302059">
                    <a:moveTo>
                      <a:pt x="55524" y="0"/>
                    </a:moveTo>
                    <a:lnTo>
                      <a:pt x="455496" y="0"/>
                    </a:lnTo>
                    <a:cubicBezTo>
                      <a:pt x="466381" y="0"/>
                      <a:pt x="475205" y="8824"/>
                      <a:pt x="475205" y="19709"/>
                    </a:cubicBezTo>
                    <a:lnTo>
                      <a:pt x="475205" y="230056"/>
                    </a:lnTo>
                    <a:lnTo>
                      <a:pt x="516694" y="230056"/>
                    </a:lnTo>
                    <a:cubicBezTo>
                      <a:pt x="523322" y="230056"/>
                      <a:pt x="528695" y="235429"/>
                      <a:pt x="528695" y="242057"/>
                    </a:cubicBezTo>
                    <a:lnTo>
                      <a:pt x="528695" y="290058"/>
                    </a:lnTo>
                    <a:cubicBezTo>
                      <a:pt x="528695" y="296686"/>
                      <a:pt x="523322" y="302059"/>
                      <a:pt x="516694" y="302059"/>
                    </a:cubicBezTo>
                    <a:lnTo>
                      <a:pt x="12001" y="302059"/>
                    </a:lnTo>
                    <a:cubicBezTo>
                      <a:pt x="5373" y="302059"/>
                      <a:pt x="0" y="296686"/>
                      <a:pt x="0" y="290058"/>
                    </a:cubicBezTo>
                    <a:lnTo>
                      <a:pt x="0" y="242057"/>
                    </a:lnTo>
                    <a:cubicBezTo>
                      <a:pt x="0" y="235429"/>
                      <a:pt x="5373" y="230056"/>
                      <a:pt x="12001" y="230056"/>
                    </a:cubicBezTo>
                    <a:lnTo>
                      <a:pt x="35815" y="230056"/>
                    </a:lnTo>
                    <a:lnTo>
                      <a:pt x="35815" y="19709"/>
                    </a:lnTo>
                    <a:cubicBezTo>
                      <a:pt x="35815" y="8824"/>
                      <a:pt x="44639" y="0"/>
                      <a:pt x="55524" y="0"/>
                    </a:cubicBezTo>
                    <a:close/>
                  </a:path>
                </a:pathLst>
              </a:custGeom>
              <a:solidFill>
                <a:sysClr val="window" lastClr="FFFFFF">
                  <a:lumMod val="95000"/>
                </a:sysClr>
              </a:solidFill>
              <a:ln w="9525" cap="flat" cmpd="sng" algn="ctr">
                <a:solidFill>
                  <a:srgbClr val="FFFFFF">
                    <a:lumMod val="90000"/>
                  </a:srgbClr>
                </a:solidFill>
                <a:prstDash val="solid"/>
                <a:miter lim="800000"/>
              </a:ln>
              <a:effectLst/>
            </p:spPr>
            <p:txBody>
              <a:bodyPr rot="0" spcFirstLastPara="0" vert="horz" wrap="square" lIns="108000" tIns="36000" rIns="108000" bIns="10800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900" dirty="0">
                    <a:solidFill>
                      <a:prstClr val="black"/>
                    </a:solidFill>
                    <a:latin typeface="Segoe UI Light"/>
                  </a:rPr>
                  <a:t>Start</a:t>
                </a:r>
              </a:p>
            </p:txBody>
          </p:sp>
        </p:grpSp>
        <p:sp>
          <p:nvSpPr>
            <p:cNvPr id="68" name="Tekstvak 65"/>
            <p:cNvSpPr txBox="1"/>
            <p:nvPr userDrawn="1"/>
          </p:nvSpPr>
          <p:spPr>
            <a:xfrm>
              <a:off x="-2959433" y="372104"/>
              <a:ext cx="2679887" cy="453396"/>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nl-NL" sz="1200" kern="0" dirty="0">
                  <a:solidFill>
                    <a:srgbClr val="000000"/>
                  </a:solidFill>
                  <a:latin typeface="Segoe UI Light" panose="020B0502040204020203" pitchFamily="34" charset="0"/>
                  <a:cs typeface="Segoe UI Light" panose="020B0502040204020203" pitchFamily="34" charset="0"/>
                </a:rPr>
                <a:t>Ga naar de tab </a:t>
              </a:r>
              <a:r>
                <a:rPr lang="nl-NL" sz="1200" b="1" kern="0" dirty="0">
                  <a:solidFill>
                    <a:srgbClr val="000000"/>
                  </a:solidFill>
                  <a:latin typeface="Segoe UI Light" panose="020B0502040204020203" pitchFamily="34" charset="0"/>
                  <a:cs typeface="Segoe UI Light" panose="020B0502040204020203" pitchFamily="34" charset="0"/>
                </a:rPr>
                <a:t>Start’ </a:t>
              </a:r>
              <a:r>
                <a:rPr lang="nl-NL" sz="1200" kern="0" dirty="0">
                  <a:solidFill>
                    <a:srgbClr val="000000"/>
                  </a:solidFill>
                  <a:latin typeface="Segoe UI Light" panose="020B0502040204020203" pitchFamily="34" charset="0"/>
                  <a:cs typeface="Segoe UI Light" panose="020B0502040204020203" pitchFamily="34" charset="0"/>
                </a:rPr>
                <a:t>en vind onderstaande knoppen onder </a:t>
              </a:r>
              <a:r>
                <a:rPr lang="nl-NL" sz="1200" b="1" kern="0" dirty="0">
                  <a:solidFill>
                    <a:srgbClr val="000000"/>
                  </a:solidFill>
                  <a:latin typeface="Segoe UI Light" panose="020B0502040204020203" pitchFamily="34" charset="0"/>
                  <a:cs typeface="Segoe UI Light" panose="020B0502040204020203" pitchFamily="34" charset="0"/>
                </a:rPr>
                <a:t>‘Alinea’</a:t>
              </a:r>
            </a:p>
          </p:txBody>
        </p:sp>
        <p:sp>
          <p:nvSpPr>
            <p:cNvPr id="69" name="Ovaal 68"/>
            <p:cNvSpPr/>
            <p:nvPr userDrawn="1"/>
          </p:nvSpPr>
          <p:spPr>
            <a:xfrm>
              <a:off x="-2959433" y="375153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6</a:t>
              </a:r>
            </a:p>
          </p:txBody>
        </p:sp>
        <p:sp>
          <p:nvSpPr>
            <p:cNvPr id="70" name="Textfield placeholder"/>
            <p:cNvSpPr txBox="1">
              <a:spLocks/>
            </p:cNvSpPr>
            <p:nvPr userDrawn="1"/>
          </p:nvSpPr>
          <p:spPr>
            <a:xfrm>
              <a:off x="-2571950" y="3751536"/>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0000" lvl="5" indent="-270000" defTabSz="179388">
                <a:lnSpc>
                  <a:spcPct val="120000"/>
                </a:lnSpc>
                <a:spcAft>
                  <a:spcPts val="900"/>
                </a:spcAft>
                <a:buClr>
                  <a:srgbClr val="ED1A3B"/>
                </a:buClr>
                <a:buSzPct val="80000"/>
                <a:buFont typeface="Wingdings 3" panose="05040102010807070707" pitchFamily="18" charset="2"/>
                <a:buChar char=""/>
                <a:defRPr/>
              </a:pPr>
              <a:r>
                <a:rPr lang="nl-NL" sz="1200" cap="none" dirty="0">
                  <a:solidFill>
                    <a:srgbClr val="535353"/>
                  </a:solidFill>
                </a:rPr>
                <a:t># Bullets (16 pt.)</a:t>
              </a:r>
            </a:p>
          </p:txBody>
        </p:sp>
        <p:sp>
          <p:nvSpPr>
            <p:cNvPr id="71" name="Ovaal 70"/>
            <p:cNvSpPr/>
            <p:nvPr userDrawn="1"/>
          </p:nvSpPr>
          <p:spPr>
            <a:xfrm>
              <a:off x="-2959433" y="414870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7</a:t>
              </a:r>
            </a:p>
          </p:txBody>
        </p:sp>
        <p:sp>
          <p:nvSpPr>
            <p:cNvPr id="72" name="Textfield placeholder"/>
            <p:cNvSpPr txBox="1">
              <a:spLocks/>
            </p:cNvSpPr>
            <p:nvPr userDrawn="1"/>
          </p:nvSpPr>
          <p:spPr>
            <a:xfrm>
              <a:off x="-2571950" y="414870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6" indent="0" defTabSz="179388">
                <a:lnSpc>
                  <a:spcPct val="120000"/>
                </a:lnSpc>
                <a:spcBef>
                  <a:spcPts val="0"/>
                </a:spcBef>
                <a:spcAft>
                  <a:spcPts val="900"/>
                </a:spcAft>
                <a:buClr>
                  <a:srgbClr val="ED1A3B"/>
                </a:buClr>
                <a:buSzPct val="90000"/>
                <a:buFont typeface="+mj-lt"/>
                <a:buNone/>
                <a:defRPr/>
              </a:pPr>
              <a:r>
                <a:rPr lang="nl-NL" sz="1200" i="1" dirty="0">
                  <a:solidFill>
                    <a:srgbClr val="404040"/>
                  </a:solidFill>
                </a:rPr>
                <a:t>Cursief donker (16 pt.)</a:t>
              </a:r>
            </a:p>
          </p:txBody>
        </p:sp>
        <p:sp>
          <p:nvSpPr>
            <p:cNvPr id="73" name="Ovaal 72"/>
            <p:cNvSpPr/>
            <p:nvPr userDrawn="1"/>
          </p:nvSpPr>
          <p:spPr>
            <a:xfrm>
              <a:off x="-2959433" y="454586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8</a:t>
              </a:r>
            </a:p>
          </p:txBody>
        </p:sp>
        <p:sp>
          <p:nvSpPr>
            <p:cNvPr id="74" name="Textfield placeholder"/>
            <p:cNvSpPr txBox="1">
              <a:spLocks/>
            </p:cNvSpPr>
            <p:nvPr userDrawn="1"/>
          </p:nvSpPr>
          <p:spPr>
            <a:xfrm>
              <a:off x="-2571950" y="4545864"/>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7" indent="0" defTabSz="179388">
                <a:lnSpc>
                  <a:spcPct val="80000"/>
                </a:lnSpc>
                <a:spcBef>
                  <a:spcPts val="0"/>
                </a:spcBef>
                <a:spcAft>
                  <a:spcPts val="900"/>
                </a:spcAft>
                <a:buClr>
                  <a:srgbClr val="ED1A3B"/>
                </a:buClr>
                <a:buFont typeface="Arial" pitchFamily="34" charset="0"/>
                <a:buNone/>
                <a:defRPr/>
              </a:pPr>
              <a:r>
                <a:rPr lang="nl-NL" sz="1200" i="1" dirty="0">
                  <a:solidFill>
                    <a:srgbClr val="A3B0C0"/>
                  </a:solidFill>
                </a:rPr>
                <a:t>Cursief Licht (16 pt.)</a:t>
              </a:r>
            </a:p>
          </p:txBody>
        </p:sp>
        <p:sp>
          <p:nvSpPr>
            <p:cNvPr id="75" name="Ovaal 74"/>
            <p:cNvSpPr/>
            <p:nvPr userDrawn="1"/>
          </p:nvSpPr>
          <p:spPr>
            <a:xfrm>
              <a:off x="-2959433" y="488761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9</a:t>
              </a:r>
            </a:p>
          </p:txBody>
        </p:sp>
        <p:sp>
          <p:nvSpPr>
            <p:cNvPr id="76" name="Textfield placeholder"/>
            <p:cNvSpPr txBox="1">
              <a:spLocks/>
            </p:cNvSpPr>
            <p:nvPr userDrawn="1"/>
          </p:nvSpPr>
          <p:spPr>
            <a:xfrm>
              <a:off x="-2571950" y="488761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8" indent="0" defTabSz="179388">
                <a:lnSpc>
                  <a:spcPct val="80000"/>
                </a:lnSpc>
                <a:spcBef>
                  <a:spcPts val="0"/>
                </a:spcBef>
                <a:spcAft>
                  <a:spcPts val="900"/>
                </a:spcAft>
                <a:buClr>
                  <a:srgbClr val="ED1A3B"/>
                </a:buClr>
                <a:buFont typeface="Arial" pitchFamily="34" charset="0"/>
                <a:buNone/>
                <a:defRPr/>
              </a:pPr>
              <a:r>
                <a:rPr lang="nl-NL" sz="1400" b="1" dirty="0">
                  <a:solidFill>
                    <a:srgbClr val="ED1A3B"/>
                  </a:solidFill>
                </a:rPr>
                <a:t>Subtitel (18 pt.)</a:t>
              </a:r>
            </a:p>
          </p:txBody>
        </p:sp>
      </p:grpSp>
      <p:sp>
        <p:nvSpPr>
          <p:cNvPr id="107" name="Hyperlink - Inhoudsopgave">
            <a:hlinkClick r:id="rId5" action="ppaction://hlinksldjump"/>
          </p:cNvPr>
          <p:cNvSpPr/>
          <p:nvPr userDrawn="1"/>
        </p:nvSpPr>
        <p:spPr>
          <a:xfrm>
            <a:off x="10197856" y="5889801"/>
            <a:ext cx="2000494" cy="968199"/>
          </a:xfrm>
          <a:prstGeom prst="rect">
            <a:avLst/>
          </a:prstGeom>
          <a:solidFill>
            <a:srgbClr val="ED1A3B">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cxnSp>
        <p:nvCxnSpPr>
          <p:cNvPr id="12" name="Grijze lijn - onder"/>
          <p:cNvCxnSpPr/>
          <p:nvPr/>
        </p:nvCxnSpPr>
        <p:spPr>
          <a:xfrm flipH="1">
            <a:off x="3" y="5776291"/>
            <a:ext cx="12198348"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 name="Grijze lijn - boven"/>
          <p:cNvCxnSpPr/>
          <p:nvPr/>
        </p:nvCxnSpPr>
        <p:spPr>
          <a:xfrm flipH="1">
            <a:off x="3" y="1358670"/>
            <a:ext cx="12198347"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4" name="Tijdelijke aanduiding voor Dianummer"/>
          <p:cNvSpPr>
            <a:spLocks noGrp="1"/>
          </p:cNvSpPr>
          <p:nvPr>
            <p:ph type="sldNum" sz="quarter" idx="4"/>
          </p:nvPr>
        </p:nvSpPr>
        <p:spPr>
          <a:xfrm>
            <a:off x="5770549" y="6295992"/>
            <a:ext cx="657251" cy="365125"/>
          </a:xfrm>
          <a:prstGeom prst="rect">
            <a:avLst/>
          </a:prstGeom>
        </p:spPr>
        <p:txBody>
          <a:bodyPr vert="horz" lIns="91440" tIns="45720" rIns="91440" bIns="45720" rtlCol="0" anchor="ctr"/>
          <a:lstStyle>
            <a:lvl1pPr algn="ctr">
              <a:defRPr sz="800">
                <a:solidFill>
                  <a:schemeClr val="tx1">
                    <a:tint val="75000"/>
                  </a:schemeClr>
                </a:solidFill>
              </a:defRPr>
            </a:lvl1pPr>
          </a:lstStyle>
          <a:p>
            <a:fld id="{1B3FA67A-C720-417A-A072-0CD211FD8662}" type="slidenum">
              <a:rPr lang="nl-NL" smtClean="0">
                <a:solidFill>
                  <a:srgbClr val="000000">
                    <a:tint val="75000"/>
                  </a:srgbClr>
                </a:solidFill>
              </a:rPr>
              <a:pPr/>
              <a:t>‹nr.›</a:t>
            </a:fld>
            <a:endParaRPr lang="nl-NL" dirty="0">
              <a:solidFill>
                <a:srgbClr val="000000">
                  <a:tint val="75000"/>
                </a:srgbClr>
              </a:solidFill>
            </a:endParaRPr>
          </a:p>
        </p:txBody>
      </p:sp>
      <p:sp>
        <p:nvSpPr>
          <p:cNvPr id="8" name="Tijdelijke aanduiding voor Afbeelding"/>
          <p:cNvSpPr>
            <a:spLocks noGrp="1"/>
          </p:cNvSpPr>
          <p:nvPr>
            <p:ph type="pic" idx="13"/>
          </p:nvPr>
        </p:nvSpPr>
        <p:spPr>
          <a:xfrm>
            <a:off x="1" y="1377951"/>
            <a:ext cx="12198349" cy="4381200"/>
          </a:xfrm>
          <a:solidFill>
            <a:schemeClr val="accent5">
              <a:lumMod val="20000"/>
              <a:lumOff val="80000"/>
            </a:schemeClr>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p>
        </p:txBody>
      </p:sp>
      <p:sp>
        <p:nvSpPr>
          <p:cNvPr id="25" name="Tijdelijke aanduiding voor Subtitel"/>
          <p:cNvSpPr>
            <a:spLocks noGrp="1"/>
          </p:cNvSpPr>
          <p:nvPr>
            <p:ph type="body" idx="14"/>
          </p:nvPr>
        </p:nvSpPr>
        <p:spPr>
          <a:xfrm>
            <a:off x="664109" y="1001348"/>
            <a:ext cx="10870131" cy="317758"/>
          </a:xfrm>
        </p:spPr>
        <p:txBody>
          <a:bodyPr bIns="72000" anchor="t" anchorCtr="0"/>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24" name="Tijdelijke aanduiding voor Titel"/>
          <p:cNvSpPr>
            <a:spLocks noGrp="1"/>
          </p:cNvSpPr>
          <p:nvPr>
            <p:ph type="title"/>
          </p:nvPr>
        </p:nvSpPr>
        <p:spPr>
          <a:xfrm>
            <a:off x="664109" y="464521"/>
            <a:ext cx="10870131" cy="533219"/>
          </a:xfrm>
        </p:spPr>
        <p:txBody>
          <a:bodyPr/>
          <a:lstStyle/>
          <a:p>
            <a:r>
              <a:rPr lang="nl-NL"/>
              <a:t>Klik om stijl te bewerken</a:t>
            </a:r>
            <a:endParaRPr lang="nl-NL" dirty="0"/>
          </a:p>
        </p:txBody>
      </p:sp>
    </p:spTree>
    <p:extLst>
      <p:ext uri="{BB962C8B-B14F-4D97-AF65-F5344CB8AC3E}">
        <p14:creationId xmlns:p14="http://schemas.microsoft.com/office/powerpoint/2010/main" val="2895320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Grafiek 25%">
    <p:spTree>
      <p:nvGrpSpPr>
        <p:cNvPr id="1" name=""/>
        <p:cNvGrpSpPr/>
        <p:nvPr/>
      </p:nvGrpSpPr>
      <p:grpSpPr>
        <a:xfrm>
          <a:off x="0" y="0"/>
          <a:ext cx="0" cy="0"/>
          <a:chOff x="0" y="0"/>
          <a:chExt cx="0" cy="0"/>
        </a:xfrm>
      </p:grpSpPr>
      <p:sp>
        <p:nvSpPr>
          <p:cNvPr id="13" name="Naam indeling - Grafiek 25%"/>
          <p:cNvSpPr txBox="1"/>
          <p:nvPr/>
        </p:nvSpPr>
        <p:spPr>
          <a:xfrm>
            <a:off x="1" y="-453266"/>
            <a:ext cx="3582333" cy="276999"/>
          </a:xfrm>
          <a:prstGeom prst="rect">
            <a:avLst/>
          </a:prstGeom>
          <a:noFill/>
        </p:spPr>
        <p:txBody>
          <a:bodyPr wrap="square" lIns="0" tIns="0" rIns="0" bIns="0" rtlCol="0">
            <a:spAutoFit/>
          </a:bodyPr>
          <a:lstStyle/>
          <a:p>
            <a:pPr defTabSz="914112"/>
            <a:r>
              <a:rPr lang="nl-NL" dirty="0">
                <a:solidFill>
                  <a:srgbClr val="404040"/>
                </a:solidFill>
                <a:latin typeface="Calibri" panose="020F0502020204030204" pitchFamily="34" charset="0"/>
              </a:rPr>
              <a:t>Grafiek 25%</a:t>
            </a:r>
            <a:endParaRPr lang="en-GB" dirty="0">
              <a:solidFill>
                <a:srgbClr val="404040"/>
              </a:solidFill>
              <a:latin typeface="Calibri" panose="020F0502020204030204" pitchFamily="34" charset="0"/>
            </a:endParaRPr>
          </a:p>
        </p:txBody>
      </p:sp>
      <p:grpSp>
        <p:nvGrpSpPr>
          <p:cNvPr id="103" name="Instructie - Grafiek invoegen"/>
          <p:cNvGrpSpPr/>
          <p:nvPr/>
        </p:nvGrpSpPr>
        <p:grpSpPr>
          <a:xfrm>
            <a:off x="12542657" y="1"/>
            <a:ext cx="2717046" cy="3676571"/>
            <a:chOff x="12435216" y="14897"/>
            <a:chExt cx="2716339" cy="3676571"/>
          </a:xfrm>
        </p:grpSpPr>
        <p:sp>
          <p:nvSpPr>
            <p:cNvPr id="104" name="Rechthoek 103"/>
            <p:cNvSpPr/>
            <p:nvPr/>
          </p:nvSpPr>
          <p:spPr>
            <a:xfrm>
              <a:off x="12441150" y="14897"/>
              <a:ext cx="2696270" cy="161771"/>
            </a:xfrm>
            <a:prstGeom prst="rect">
              <a:avLst/>
            </a:prstGeom>
            <a:noFill/>
            <a:ln w="25400" cap="flat" cmpd="sng" algn="ctr">
              <a:noFill/>
              <a:prstDash val="solid"/>
            </a:ln>
            <a:effectLst/>
          </p:spPr>
          <p:txBody>
            <a:bodyPr lIns="0" tIns="0" rIns="0" bIns="0" rtlCol="0" anchor="t"/>
            <a:lstStyle/>
            <a:p>
              <a:pPr defTabSz="914112">
                <a:lnSpc>
                  <a:spcPct val="80000"/>
                </a:lnSpc>
              </a:pPr>
              <a:r>
                <a:rPr lang="nl-NL" sz="1600" b="1" kern="0" cap="all" dirty="0">
                  <a:solidFill>
                    <a:srgbClr val="ED1A3B"/>
                  </a:solidFill>
                  <a:cs typeface="Segoe UI Light" panose="020B0502040204020203" pitchFamily="34" charset="0"/>
                </a:rPr>
                <a:t>Grafiek INVOEGEN</a:t>
              </a:r>
            </a:p>
          </p:txBody>
        </p:sp>
        <p:sp>
          <p:nvSpPr>
            <p:cNvPr id="105" name="Tekstvak 33"/>
            <p:cNvSpPr txBox="1"/>
            <p:nvPr/>
          </p:nvSpPr>
          <p:spPr>
            <a:xfrm>
              <a:off x="12441149" y="814239"/>
              <a:ext cx="2710405" cy="719877"/>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Indien nodig, verwijder de bestaande grafiek. Klik op het pictogram om </a:t>
              </a:r>
              <a:br>
                <a:rPr lang="nl-NL" sz="1200" kern="0" dirty="0">
                  <a:solidFill>
                    <a:srgbClr val="000000"/>
                  </a:solidFill>
                  <a:latin typeface="Trebuchet MS"/>
                  <a:cs typeface="Segoe UI Light" panose="020B0502040204020203" pitchFamily="34" charset="0"/>
                </a:rPr>
              </a:br>
              <a:r>
                <a:rPr lang="nl-NL" sz="1200" kern="0" dirty="0">
                  <a:solidFill>
                    <a:srgbClr val="000000"/>
                  </a:solidFill>
                  <a:latin typeface="Trebuchet MS"/>
                  <a:cs typeface="Segoe UI Light" panose="020B0502040204020203" pitchFamily="34" charset="0"/>
                </a:rPr>
                <a:t>een grafiek in te voegen</a:t>
              </a:r>
              <a:br>
                <a:rPr lang="nl-NL" sz="1200" kern="0" dirty="0">
                  <a:solidFill>
                    <a:srgbClr val="000000"/>
                  </a:solidFill>
                  <a:latin typeface="Trebuchet MS"/>
                  <a:cs typeface="Segoe UI Light" panose="020B0502040204020203" pitchFamily="34" charset="0"/>
                </a:rPr>
              </a:br>
              <a:r>
                <a:rPr lang="nl-NL" sz="1100" i="1" kern="0" dirty="0">
                  <a:solidFill>
                    <a:srgbClr val="000000"/>
                  </a:solidFill>
                  <a:latin typeface="Trebuchet MS"/>
                  <a:cs typeface="Segoe UI Light" panose="020B0502040204020203" pitchFamily="34" charset="0"/>
                </a:rPr>
                <a:t>(zie onderstaand voorbeeld).</a:t>
              </a:r>
            </a:p>
          </p:txBody>
        </p:sp>
        <p:sp>
          <p:nvSpPr>
            <p:cNvPr id="106" name="Tekstvak 33"/>
            <p:cNvSpPr txBox="1"/>
            <p:nvPr/>
          </p:nvSpPr>
          <p:spPr>
            <a:xfrm>
              <a:off x="12441149" y="2793904"/>
              <a:ext cx="2710405" cy="395943"/>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Selecteer de afbeelding die u wilt invoegen en klik op </a:t>
              </a:r>
              <a:r>
                <a:rPr lang="nl-NL" sz="1200" b="1" kern="0" dirty="0">
                  <a:solidFill>
                    <a:srgbClr val="000000"/>
                  </a:solidFill>
                  <a:latin typeface="Trebuchet MS"/>
                  <a:cs typeface="Segoe UI Light" panose="020B0502040204020203" pitchFamily="34" charset="0"/>
                </a:rPr>
                <a:t>‘Invoegen’</a:t>
              </a:r>
            </a:p>
          </p:txBody>
        </p:sp>
        <p:sp>
          <p:nvSpPr>
            <p:cNvPr id="107" name="Ovaal 106"/>
            <p:cNvSpPr/>
            <p:nvPr/>
          </p:nvSpPr>
          <p:spPr>
            <a:xfrm>
              <a:off x="12441150" y="379292"/>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1</a:t>
              </a:r>
            </a:p>
          </p:txBody>
        </p:sp>
        <p:sp>
          <p:nvSpPr>
            <p:cNvPr id="108" name="Ovaal 107"/>
            <p:cNvSpPr/>
            <p:nvPr/>
          </p:nvSpPr>
          <p:spPr>
            <a:xfrm>
              <a:off x="12441150" y="2337208"/>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2</a:t>
              </a:r>
            </a:p>
          </p:txBody>
        </p:sp>
        <p:cxnSp>
          <p:nvCxnSpPr>
            <p:cNvPr id="109" name="Rechte verbindingslijn 108"/>
            <p:cNvCxnSpPr/>
            <p:nvPr/>
          </p:nvCxnSpPr>
          <p:spPr>
            <a:xfrm>
              <a:off x="12441150" y="248176"/>
              <a:ext cx="2710405" cy="0"/>
            </a:xfrm>
            <a:prstGeom prst="line">
              <a:avLst/>
            </a:prstGeom>
            <a:noFill/>
            <a:ln w="9525" cap="flat" cmpd="sng" algn="ctr">
              <a:solidFill>
                <a:schemeClr val="accent1"/>
              </a:solidFill>
              <a:prstDash val="solid"/>
            </a:ln>
            <a:effectLst/>
          </p:spPr>
        </p:cxnSp>
        <p:cxnSp>
          <p:nvCxnSpPr>
            <p:cNvPr id="110" name="Rechte verbindingslijn 109"/>
            <p:cNvCxnSpPr/>
            <p:nvPr/>
          </p:nvCxnSpPr>
          <p:spPr>
            <a:xfrm>
              <a:off x="12441149" y="2212830"/>
              <a:ext cx="2710405" cy="0"/>
            </a:xfrm>
            <a:prstGeom prst="line">
              <a:avLst/>
            </a:prstGeom>
            <a:noFill/>
            <a:ln w="9525" cap="flat" cmpd="sng" algn="ctr">
              <a:solidFill>
                <a:schemeClr val="accent1"/>
              </a:solidFill>
              <a:prstDash val="solid"/>
            </a:ln>
            <a:effectLst/>
          </p:spPr>
        </p:cxnSp>
        <p:cxnSp>
          <p:nvCxnSpPr>
            <p:cNvPr id="111" name="Rechte verbindingslijn 110"/>
            <p:cNvCxnSpPr/>
            <p:nvPr/>
          </p:nvCxnSpPr>
          <p:spPr>
            <a:xfrm>
              <a:off x="12444679" y="3691468"/>
              <a:ext cx="2706875" cy="0"/>
            </a:xfrm>
            <a:prstGeom prst="line">
              <a:avLst/>
            </a:prstGeom>
            <a:noFill/>
            <a:ln w="9525" cap="flat" cmpd="sng" algn="ctr">
              <a:solidFill>
                <a:schemeClr val="accent1"/>
              </a:solidFill>
              <a:prstDash val="solid"/>
            </a:ln>
            <a:effectLst/>
          </p:spPr>
        </p:cxnSp>
        <p:grpSp>
          <p:nvGrpSpPr>
            <p:cNvPr id="112" name="Groep 111"/>
            <p:cNvGrpSpPr/>
            <p:nvPr/>
          </p:nvGrpSpPr>
          <p:grpSpPr>
            <a:xfrm>
              <a:off x="12450571" y="3301369"/>
              <a:ext cx="1002992" cy="267962"/>
              <a:chOff x="13560784" y="3471416"/>
              <a:chExt cx="1114138" cy="297656"/>
            </a:xfrm>
          </p:grpSpPr>
          <p:sp>
            <p:nvSpPr>
              <p:cNvPr id="117" name="Afgeronde rechthoek 88"/>
              <p:cNvSpPr/>
              <p:nvPr/>
            </p:nvSpPr>
            <p:spPr>
              <a:xfrm>
                <a:off x="13560784" y="3471416"/>
                <a:ext cx="1114138" cy="297656"/>
              </a:xfrm>
              <a:prstGeom prst="roundRect">
                <a:avLst/>
              </a:prstGeom>
              <a:gradFill flip="none" rotWithShape="1">
                <a:gsLst>
                  <a:gs pos="4000">
                    <a:srgbClr val="00B0F0"/>
                  </a:gs>
                  <a:gs pos="0">
                    <a:srgbClr val="0070C0"/>
                  </a:gs>
                  <a:gs pos="100000">
                    <a:srgbClr val="0070C0"/>
                  </a:gs>
                  <a:gs pos="12000">
                    <a:srgbClr val="D1EAFF"/>
                  </a:gs>
                  <a:gs pos="96000">
                    <a:srgbClr val="00B0F0"/>
                  </a:gs>
                  <a:gs pos="89000">
                    <a:srgbClr val="DDF4FF"/>
                  </a:gs>
                  <a:gs pos="43000">
                    <a:srgbClr val="D1EAFF"/>
                  </a:gs>
                  <a:gs pos="51000">
                    <a:srgbClr val="DDF4FF"/>
                  </a:gs>
                </a:gsLst>
                <a:lin ang="16200000" scaled="1"/>
                <a:tileRect/>
              </a:gradFill>
              <a:ln w="63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dirty="0">
                  <a:solidFill>
                    <a:srgbClr val="FFFFFF"/>
                  </a:solidFill>
                </a:endParaRPr>
              </a:p>
            </p:txBody>
          </p:sp>
          <p:sp>
            <p:nvSpPr>
              <p:cNvPr id="118" name="Tekstvak 117"/>
              <p:cNvSpPr txBox="1"/>
              <p:nvPr/>
            </p:nvSpPr>
            <p:spPr>
              <a:xfrm>
                <a:off x="13573594" y="3488254"/>
                <a:ext cx="888311" cy="273506"/>
              </a:xfrm>
              <a:prstGeom prst="rect">
                <a:avLst/>
              </a:prstGeom>
              <a:noFill/>
            </p:spPr>
            <p:txBody>
              <a:bodyPr wrap="square" rtlCol="0" anchor="ctr">
                <a:spAutoFit/>
              </a:bodyPr>
              <a:lstStyle>
                <a:defPPr>
                  <a:defRPr lang="nl-NL"/>
                </a:defPPr>
                <a:lvl1pPr marR="0" lvl="0" indent="0" algn="ctr" fontAlgn="auto">
                  <a:lnSpc>
                    <a:spcPct val="100000"/>
                  </a:lnSpc>
                  <a:spcBef>
                    <a:spcPts val="0"/>
                  </a:spcBef>
                  <a:spcAft>
                    <a:spcPts val="0"/>
                  </a:spcAft>
                  <a:buClrTx/>
                  <a:buSzTx/>
                  <a:buFontTx/>
                  <a:buNone/>
                  <a:tabLst/>
                  <a:defRPr kumimoji="0" sz="900" i="0" u="none" strike="noStrike" kern="0" cap="none" spc="0" normalizeH="0" baseline="0">
                    <a:ln>
                      <a:noFill/>
                    </a:ln>
                    <a:effectLst>
                      <a:outerShdw blurRad="25400" algn="ctr" rotWithShape="0">
                        <a:prstClr val="white"/>
                      </a:outerShdw>
                    </a:effectLst>
                    <a:uLnTx/>
                    <a:uFillTx/>
                    <a:latin typeface="Segoe UI Light" panose="020B0502040204020203" pitchFamily="34" charset="0"/>
                    <a:cs typeface="Segoe UI Light" panose="020B0502040204020203" pitchFamily="34" charset="0"/>
                  </a:defRPr>
                </a:lvl1pPr>
                <a:lvl2pPr fontAlgn="base">
                  <a:spcBef>
                    <a:spcPct val="0"/>
                  </a:spcBef>
                  <a:spcAft>
                    <a:spcPct val="0"/>
                  </a:spcAft>
                  <a:defRPr>
                    <a:latin typeface="Arial" charset="0"/>
                    <a:cs typeface="Arial" charset="0"/>
                  </a:defRPr>
                </a:lvl2pPr>
                <a:lvl3pPr fontAlgn="base">
                  <a:spcBef>
                    <a:spcPct val="0"/>
                  </a:spcBef>
                  <a:spcAft>
                    <a:spcPct val="0"/>
                  </a:spcAft>
                  <a:defRPr>
                    <a:latin typeface="Arial" charset="0"/>
                    <a:cs typeface="Arial" charset="0"/>
                  </a:defRPr>
                </a:lvl3pPr>
                <a:lvl4pPr fontAlgn="base">
                  <a:spcBef>
                    <a:spcPct val="0"/>
                  </a:spcBef>
                  <a:spcAft>
                    <a:spcPct val="0"/>
                  </a:spcAft>
                  <a:defRPr>
                    <a:latin typeface="Arial" charset="0"/>
                    <a:cs typeface="Arial" charset="0"/>
                  </a:defRPr>
                </a:lvl4pPr>
                <a:lvl5pPr fontAlgn="base">
                  <a:spcBef>
                    <a:spcPct val="0"/>
                  </a:spcBef>
                  <a:spcAft>
                    <a:spcPct val="0"/>
                  </a:spcAft>
                  <a:defRPr>
                    <a:latin typeface="Arial" charset="0"/>
                    <a:cs typeface="Arial" charset="0"/>
                  </a:defRPr>
                </a:lvl5pPr>
                <a:lvl6pPr>
                  <a:defRPr>
                    <a:latin typeface="Arial" charset="0"/>
                    <a:cs typeface="Arial" charset="0"/>
                  </a:defRPr>
                </a:lvl6pPr>
                <a:lvl7pPr>
                  <a:defRPr>
                    <a:latin typeface="Arial" charset="0"/>
                    <a:cs typeface="Arial" charset="0"/>
                  </a:defRPr>
                </a:lvl7pPr>
                <a:lvl8pPr>
                  <a:defRPr>
                    <a:latin typeface="Arial" charset="0"/>
                    <a:cs typeface="Arial" charset="0"/>
                  </a:defRPr>
                </a:lvl8pPr>
                <a:lvl9pPr>
                  <a:defRPr>
                    <a:latin typeface="Arial" charset="0"/>
                    <a:cs typeface="Arial" charset="0"/>
                  </a:defRPr>
                </a:lvl9pPr>
              </a:lstStyle>
              <a:p>
                <a:pPr defTabSz="914112"/>
                <a:r>
                  <a:rPr lang="nl-NL" sz="1000" dirty="0">
                    <a:solidFill>
                      <a:srgbClr val="000000"/>
                    </a:solidFill>
                    <a:latin typeface="Trebuchet MS"/>
                  </a:rPr>
                  <a:t>Invoegen</a:t>
                </a:r>
              </a:p>
            </p:txBody>
          </p:sp>
          <p:cxnSp>
            <p:nvCxnSpPr>
              <p:cNvPr id="119" name="Rechte verbindingslijn 118"/>
              <p:cNvCxnSpPr/>
              <p:nvPr/>
            </p:nvCxnSpPr>
            <p:spPr>
              <a:xfrm>
                <a:off x="14461905" y="3507058"/>
                <a:ext cx="0" cy="224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0" name="Gelijkbenige driehoek 119"/>
              <p:cNvSpPr/>
              <p:nvPr/>
            </p:nvSpPr>
            <p:spPr>
              <a:xfrm rot="10800000">
                <a:off x="14518584" y="3600521"/>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112"/>
                <a:endParaRPr lang="nl-NL" dirty="0">
                  <a:solidFill>
                    <a:srgbClr val="FFFFFF"/>
                  </a:solidFill>
                </a:endParaRPr>
              </a:p>
            </p:txBody>
          </p:sp>
        </p:grpSp>
        <p:grpSp>
          <p:nvGrpSpPr>
            <p:cNvPr id="113" name="Groep 112"/>
            <p:cNvGrpSpPr/>
            <p:nvPr/>
          </p:nvGrpSpPr>
          <p:grpSpPr>
            <a:xfrm>
              <a:off x="12435216" y="1678012"/>
              <a:ext cx="372535" cy="405517"/>
              <a:chOff x="12468049" y="1754144"/>
              <a:chExt cx="339072" cy="369091"/>
            </a:xfrm>
          </p:grpSpPr>
          <p:sp>
            <p:nvSpPr>
              <p:cNvPr id="114" name="Rechthoek 113"/>
              <p:cNvSpPr/>
              <p:nvPr/>
            </p:nvSpPr>
            <p:spPr>
              <a:xfrm>
                <a:off x="12468049" y="1869625"/>
                <a:ext cx="92751" cy="253609"/>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115" name="Rechthoek 114"/>
              <p:cNvSpPr/>
              <p:nvPr/>
            </p:nvSpPr>
            <p:spPr>
              <a:xfrm>
                <a:off x="12590223" y="1754144"/>
                <a:ext cx="92751" cy="369091"/>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116" name="Rechthoek 115"/>
              <p:cNvSpPr/>
              <p:nvPr/>
            </p:nvSpPr>
            <p:spPr>
              <a:xfrm>
                <a:off x="12714370" y="1836322"/>
                <a:ext cx="92751" cy="286913"/>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grpSp>
      </p:grpSp>
      <p:grpSp>
        <p:nvGrpSpPr>
          <p:cNvPr id="226" name="Instructie - Tekst niveaus"/>
          <p:cNvGrpSpPr/>
          <p:nvPr userDrawn="1"/>
        </p:nvGrpSpPr>
        <p:grpSpPr>
          <a:xfrm>
            <a:off x="-3117849" y="365"/>
            <a:ext cx="2823358" cy="5254722"/>
            <a:chOff x="-2959433" y="-5444"/>
            <a:chExt cx="2822623" cy="5254722"/>
          </a:xfrm>
        </p:grpSpPr>
        <p:sp>
          <p:nvSpPr>
            <p:cNvPr id="227" name="Rechthoek 226"/>
            <p:cNvSpPr/>
            <p:nvPr userDrawn="1"/>
          </p:nvSpPr>
          <p:spPr>
            <a:xfrm>
              <a:off x="-2959433" y="-5444"/>
              <a:ext cx="2572469" cy="280344"/>
            </a:xfrm>
            <a:prstGeom prst="rect">
              <a:avLst/>
            </a:prstGeom>
            <a:noFill/>
            <a:ln w="25400" cap="flat" cmpd="sng" algn="ctr">
              <a:noFill/>
              <a:prstDash val="solid"/>
            </a:ln>
            <a:effectLst/>
          </p:spPr>
          <p:txBody>
            <a:bodyPr lIns="0" tIns="0" rIns="0" bIns="0" rtlCol="0" anchor="t"/>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nl-NL" sz="1600" b="1" kern="0" dirty="0">
                  <a:solidFill>
                    <a:srgbClr val="ED1A3B"/>
                  </a:solidFill>
                  <a:cs typeface="Segoe UI Light" panose="020B0502040204020203" pitchFamily="34" charset="0"/>
                </a:rPr>
                <a:t>TEKST NIVEAUS</a:t>
              </a:r>
            </a:p>
          </p:txBody>
        </p:sp>
        <p:sp>
          <p:nvSpPr>
            <p:cNvPr id="228" name="Textfield placeholder"/>
            <p:cNvSpPr txBox="1">
              <a:spLocks/>
            </p:cNvSpPr>
            <p:nvPr userDrawn="1"/>
          </p:nvSpPr>
          <p:spPr>
            <a:xfrm>
              <a:off x="-2587337" y="2675411"/>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0" lvl="2"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a:solidFill>
                    <a:srgbClr val="404040"/>
                  </a:solidFill>
                </a:rPr>
                <a:t>Sub-bullets (16 pt.)</a:t>
              </a:r>
            </a:p>
          </p:txBody>
        </p:sp>
        <p:sp>
          <p:nvSpPr>
            <p:cNvPr id="229" name="Ovaal 228"/>
            <p:cNvSpPr/>
            <p:nvPr userDrawn="1"/>
          </p:nvSpPr>
          <p:spPr>
            <a:xfrm>
              <a:off x="-2959433" y="196874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1</a:t>
              </a:r>
            </a:p>
          </p:txBody>
        </p:sp>
        <p:sp>
          <p:nvSpPr>
            <p:cNvPr id="230" name="Ovaal 229"/>
            <p:cNvSpPr/>
            <p:nvPr userDrawn="1"/>
          </p:nvSpPr>
          <p:spPr>
            <a:xfrm>
              <a:off x="-2959433" y="232207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2</a:t>
              </a:r>
            </a:p>
          </p:txBody>
        </p:sp>
        <p:sp>
          <p:nvSpPr>
            <p:cNvPr id="231" name="Ovaal 230"/>
            <p:cNvSpPr/>
            <p:nvPr userDrawn="1"/>
          </p:nvSpPr>
          <p:spPr>
            <a:xfrm>
              <a:off x="-2959433" y="267541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3</a:t>
              </a:r>
            </a:p>
          </p:txBody>
        </p:sp>
        <p:sp>
          <p:nvSpPr>
            <p:cNvPr id="232" name="Ovaal 231"/>
            <p:cNvSpPr/>
            <p:nvPr userDrawn="1"/>
          </p:nvSpPr>
          <p:spPr>
            <a:xfrm>
              <a:off x="-2959433" y="302874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4</a:t>
              </a:r>
            </a:p>
          </p:txBody>
        </p:sp>
        <p:sp>
          <p:nvSpPr>
            <p:cNvPr id="233" name="Textfield placeholder"/>
            <p:cNvSpPr txBox="1">
              <a:spLocks/>
            </p:cNvSpPr>
            <p:nvPr userDrawn="1"/>
          </p:nvSpPr>
          <p:spPr>
            <a:xfrm>
              <a:off x="-2571950" y="1966925"/>
              <a:ext cx="2163709" cy="261500"/>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79388">
                <a:lnSpc>
                  <a:spcPct val="120000"/>
                </a:lnSpc>
                <a:spcBef>
                  <a:spcPts val="0"/>
                </a:spcBef>
                <a:spcAft>
                  <a:spcPts val="900"/>
                </a:spcAft>
                <a:buClr>
                  <a:srgbClr val="000000"/>
                </a:buClr>
                <a:buSzPct val="100000"/>
                <a:buFont typeface="Arial" pitchFamily="34" charset="0"/>
                <a:buNone/>
                <a:defRPr/>
              </a:pPr>
              <a:r>
                <a:rPr lang="nl-NL" sz="1200" dirty="0">
                  <a:solidFill>
                    <a:srgbClr val="535353"/>
                  </a:solidFill>
                </a:rPr>
                <a:t>Leestekst (16 pt.)</a:t>
              </a:r>
            </a:p>
          </p:txBody>
        </p:sp>
        <p:sp>
          <p:nvSpPr>
            <p:cNvPr id="234" name="Textfield placeholder"/>
            <p:cNvSpPr txBox="1">
              <a:spLocks/>
            </p:cNvSpPr>
            <p:nvPr userDrawn="1"/>
          </p:nvSpPr>
          <p:spPr>
            <a:xfrm>
              <a:off x="-2571950" y="2322077"/>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70000" lvl="1"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err="1">
                  <a:solidFill>
                    <a:srgbClr val="535353"/>
                  </a:solidFill>
                </a:rPr>
                <a:t>Bullets</a:t>
              </a:r>
              <a:r>
                <a:rPr lang="nl-NL" sz="1200" dirty="0">
                  <a:solidFill>
                    <a:srgbClr val="535353"/>
                  </a:solidFill>
                </a:rPr>
                <a:t> (16 </a:t>
              </a:r>
              <a:r>
                <a:rPr lang="nl-NL" sz="1200" dirty="0" err="1">
                  <a:solidFill>
                    <a:srgbClr val="535353"/>
                  </a:solidFill>
                </a:rPr>
                <a:t>pt</a:t>
              </a:r>
              <a:r>
                <a:rPr lang="nl-NL" sz="1200" dirty="0">
                  <a:solidFill>
                    <a:srgbClr val="535353"/>
                  </a:solidFill>
                </a:rPr>
                <a:t>.)</a:t>
              </a:r>
            </a:p>
          </p:txBody>
        </p:sp>
        <p:sp>
          <p:nvSpPr>
            <p:cNvPr id="235" name="Textfield placeholder"/>
            <p:cNvSpPr txBox="1">
              <a:spLocks/>
            </p:cNvSpPr>
            <p:nvPr userDrawn="1"/>
          </p:nvSpPr>
          <p:spPr>
            <a:xfrm>
              <a:off x="-2571951" y="3028747"/>
              <a:ext cx="2435141"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10000" lvl="3" indent="-270000" algn="l" defTabSz="179388" rtl="0" eaLnBrk="1" latinLnBrk="0" hangingPunct="1">
                <a:lnSpc>
                  <a:spcPct val="120000"/>
                </a:lnSpc>
                <a:spcBef>
                  <a:spcPts val="0"/>
                </a:spcBef>
                <a:spcAft>
                  <a:spcPts val="900"/>
                </a:spcAft>
                <a:buClr>
                  <a:schemeClr val="accent2"/>
                </a:buClr>
                <a:buSzPct val="80000"/>
                <a:buFont typeface="Wingdings 3" panose="05040102010807070707" pitchFamily="18" charset="2"/>
                <a:buChar char=""/>
                <a:defRPr/>
              </a:pPr>
              <a:r>
                <a:rPr lang="nl-NL" sz="1200" b="0" kern="1200" dirty="0">
                  <a:solidFill>
                    <a:srgbClr val="404040"/>
                  </a:solidFill>
                  <a:latin typeface="+mn-lt"/>
                  <a:ea typeface="+mn-ea"/>
                  <a:cs typeface="+mn-cs"/>
                </a:rPr>
                <a:t>Sub-sub-bullets (16 pt.)</a:t>
              </a:r>
            </a:p>
          </p:txBody>
        </p:sp>
        <p:cxnSp>
          <p:nvCxnSpPr>
            <p:cNvPr id="236" name="Rechte verbindingslijn 235"/>
            <p:cNvCxnSpPr/>
            <p:nvPr userDrawn="1"/>
          </p:nvCxnSpPr>
          <p:spPr>
            <a:xfrm>
              <a:off x="-2959100" y="274900"/>
              <a:ext cx="2674470" cy="0"/>
            </a:xfrm>
            <a:prstGeom prst="line">
              <a:avLst/>
            </a:prstGeom>
            <a:noFill/>
            <a:ln w="9525" cap="flat" cmpd="sng" algn="ctr">
              <a:solidFill>
                <a:schemeClr val="accent1"/>
              </a:solidFill>
              <a:prstDash val="solid"/>
            </a:ln>
            <a:effectLst/>
          </p:spPr>
        </p:cxnSp>
        <p:cxnSp>
          <p:nvCxnSpPr>
            <p:cNvPr id="237" name="Rechte verbindingslijn 236"/>
            <p:cNvCxnSpPr/>
            <p:nvPr userDrawn="1"/>
          </p:nvCxnSpPr>
          <p:spPr>
            <a:xfrm>
              <a:off x="-2959100" y="1841989"/>
              <a:ext cx="2661379" cy="0"/>
            </a:xfrm>
            <a:prstGeom prst="line">
              <a:avLst/>
            </a:prstGeom>
            <a:noFill/>
            <a:ln w="9525" cap="flat" cmpd="sng" algn="ctr">
              <a:solidFill>
                <a:schemeClr val="accent1"/>
              </a:solidFill>
              <a:prstDash val="solid"/>
            </a:ln>
            <a:effectLst/>
          </p:spPr>
        </p:cxnSp>
        <p:cxnSp>
          <p:nvCxnSpPr>
            <p:cNvPr id="238" name="Rechte verbindingslijn 237"/>
            <p:cNvCxnSpPr/>
            <p:nvPr userDrawn="1"/>
          </p:nvCxnSpPr>
          <p:spPr>
            <a:xfrm>
              <a:off x="-2959100" y="5249278"/>
              <a:ext cx="2661379" cy="0"/>
            </a:xfrm>
            <a:prstGeom prst="line">
              <a:avLst/>
            </a:prstGeom>
            <a:noFill/>
            <a:ln w="9525" cap="flat" cmpd="sng" algn="ctr">
              <a:solidFill>
                <a:schemeClr val="accent1"/>
              </a:solidFill>
              <a:prstDash val="solid"/>
            </a:ln>
            <a:effectLst/>
          </p:spPr>
        </p:cxnSp>
        <p:grpSp>
          <p:nvGrpSpPr>
            <p:cNvPr id="239" name="Groep 238"/>
            <p:cNvGrpSpPr/>
            <p:nvPr userDrawn="1"/>
          </p:nvGrpSpPr>
          <p:grpSpPr>
            <a:xfrm>
              <a:off x="-1948476" y="816741"/>
              <a:ext cx="409108" cy="427699"/>
              <a:chOff x="-1085063" y="758027"/>
              <a:chExt cx="633799" cy="622540"/>
            </a:xfrm>
          </p:grpSpPr>
          <p:sp>
            <p:nvSpPr>
              <p:cNvPr id="295" name="Afgeronde rechthoek 294"/>
              <p:cNvSpPr/>
              <p:nvPr userDrawn="1"/>
            </p:nvSpPr>
            <p:spPr>
              <a:xfrm>
                <a:off x="-108506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296" name="Groep 295"/>
              <p:cNvGrpSpPr/>
              <p:nvPr userDrawn="1"/>
            </p:nvGrpSpPr>
            <p:grpSpPr>
              <a:xfrm>
                <a:off x="-977739" y="864082"/>
                <a:ext cx="419168" cy="410429"/>
                <a:chOff x="6366933" y="309013"/>
                <a:chExt cx="1901295" cy="1861668"/>
              </a:xfrm>
              <a:solidFill>
                <a:srgbClr val="000000"/>
              </a:solidFill>
            </p:grpSpPr>
            <p:sp>
              <p:nvSpPr>
                <p:cNvPr id="297" name="Rechthoek 296"/>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8" name="Rechthoek 297"/>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9" name="Rechthoek 298"/>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0" name="Rechthoek 299"/>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1" name="Rechthoek 300"/>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2" name="Rechthoek 301"/>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3" name="Rechthoek 302"/>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4" name="Rechthoek 303"/>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5" name="Rechthoek 304"/>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6" name="Rechthoek 305"/>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7" name="Vrije vorm 306"/>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nvGrpSpPr>
            <p:cNvPr id="240" name="Groep 239"/>
            <p:cNvGrpSpPr/>
            <p:nvPr userDrawn="1"/>
          </p:nvGrpSpPr>
          <p:grpSpPr>
            <a:xfrm>
              <a:off x="-2950232" y="1207835"/>
              <a:ext cx="532929" cy="509563"/>
              <a:chOff x="-2880382" y="802341"/>
              <a:chExt cx="532929" cy="509563"/>
            </a:xfrm>
          </p:grpSpPr>
          <p:sp>
            <p:nvSpPr>
              <p:cNvPr id="273" name="Rechthoek 272"/>
              <p:cNvSpPr/>
              <p:nvPr userDrawn="1"/>
            </p:nvSpPr>
            <p:spPr>
              <a:xfrm>
                <a:off x="-2880382" y="802341"/>
                <a:ext cx="532929" cy="509563"/>
              </a:xfrm>
              <a:prstGeom prst="rect">
                <a:avLst/>
              </a:prstGeom>
              <a:solidFill>
                <a:sysClr val="window" lastClr="FFFFFF"/>
              </a:soli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pic>
            <p:nvPicPr>
              <p:cNvPr id="27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635852" y="822181"/>
                <a:ext cx="226442" cy="208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5"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848026" y="822181"/>
                <a:ext cx="207168" cy="213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76" name="Groep 275"/>
              <p:cNvGrpSpPr/>
              <p:nvPr userDrawn="1"/>
            </p:nvGrpSpPr>
            <p:grpSpPr>
              <a:xfrm>
                <a:off x="-2802433" y="1123442"/>
                <a:ext cx="132915" cy="104889"/>
                <a:chOff x="-2796392" y="1123442"/>
                <a:chExt cx="120832" cy="104889"/>
              </a:xfrm>
            </p:grpSpPr>
            <p:sp>
              <p:nvSpPr>
                <p:cNvPr id="290" name="Rechthoek 289"/>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1" name="Rechthoek 290"/>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2" name="Rechthoek 291"/>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3" name="Rechthoek 292"/>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4" name="Rechthoek 293"/>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277" name="Groep 276"/>
              <p:cNvGrpSpPr/>
              <p:nvPr userDrawn="1"/>
            </p:nvGrpSpPr>
            <p:grpSpPr>
              <a:xfrm>
                <a:off x="-2575417" y="1123442"/>
                <a:ext cx="133930" cy="104889"/>
                <a:chOff x="-2556734" y="1123442"/>
                <a:chExt cx="147324" cy="104889"/>
              </a:xfrm>
            </p:grpSpPr>
            <p:grpSp>
              <p:nvGrpSpPr>
                <p:cNvPr id="278" name="Groep 277"/>
                <p:cNvGrpSpPr/>
                <p:nvPr userDrawn="1"/>
              </p:nvGrpSpPr>
              <p:grpSpPr>
                <a:xfrm>
                  <a:off x="-2556734" y="1123442"/>
                  <a:ext cx="68206" cy="104889"/>
                  <a:chOff x="-2796392" y="1123442"/>
                  <a:chExt cx="120832" cy="104889"/>
                </a:xfrm>
              </p:grpSpPr>
              <p:sp>
                <p:nvSpPr>
                  <p:cNvPr id="285" name="Rechthoek 284"/>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6" name="Rechthoek 285"/>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7" name="Rechthoek 286"/>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8" name="Rechthoek 287"/>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9" name="Rechthoek 288"/>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279" name="Groep 278"/>
                <p:cNvGrpSpPr/>
                <p:nvPr userDrawn="1"/>
              </p:nvGrpSpPr>
              <p:grpSpPr>
                <a:xfrm>
                  <a:off x="-2477616" y="1123442"/>
                  <a:ext cx="68206" cy="104889"/>
                  <a:chOff x="-2796392" y="1123442"/>
                  <a:chExt cx="120832" cy="104889"/>
                </a:xfrm>
              </p:grpSpPr>
              <p:sp>
                <p:nvSpPr>
                  <p:cNvPr id="280" name="Rechthoek 279"/>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1" name="Rechthoek 280"/>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2" name="Rechthoek 281"/>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3" name="Rechthoek 282"/>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4" name="Rechthoek 283"/>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grpSp>
          <p:nvGrpSpPr>
            <p:cNvPr id="241" name="Groep 240"/>
            <p:cNvGrpSpPr/>
            <p:nvPr userDrawn="1"/>
          </p:nvGrpSpPr>
          <p:grpSpPr>
            <a:xfrm>
              <a:off x="-1948476" y="1281164"/>
              <a:ext cx="413704" cy="427699"/>
              <a:chOff x="-1845083" y="758027"/>
              <a:chExt cx="633799" cy="622540"/>
            </a:xfrm>
          </p:grpSpPr>
          <p:sp>
            <p:nvSpPr>
              <p:cNvPr id="260" name="Afgeronde rechthoek 259"/>
              <p:cNvSpPr/>
              <p:nvPr userDrawn="1"/>
            </p:nvSpPr>
            <p:spPr>
              <a:xfrm>
                <a:off x="-184508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261" name="Groep 260"/>
              <p:cNvGrpSpPr/>
              <p:nvPr userDrawn="1"/>
            </p:nvGrpSpPr>
            <p:grpSpPr>
              <a:xfrm>
                <a:off x="-1737762" y="864082"/>
                <a:ext cx="419168" cy="410429"/>
                <a:chOff x="3708400" y="309013"/>
                <a:chExt cx="1901295" cy="1861668"/>
              </a:xfrm>
              <a:solidFill>
                <a:srgbClr val="000000"/>
              </a:solidFill>
            </p:grpSpPr>
            <p:sp>
              <p:nvSpPr>
                <p:cNvPr id="262" name="Rechthoek 261"/>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3" name="Rechthoek 262"/>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4" name="Rechthoek 263"/>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5" name="Rechthoek 264"/>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6" name="Rechthoek 265"/>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7" name="Rechthoek 266"/>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8" name="Rechthoek 267"/>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9" name="Rechthoek 268"/>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0" name="Rechthoek 269"/>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1" name="Rechthoek 270"/>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2" name="Vrije vorm 271"/>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cxnSp>
          <p:nvCxnSpPr>
            <p:cNvPr id="242" name="Rechte verbindingslijn 241"/>
            <p:cNvCxnSpPr/>
            <p:nvPr userDrawn="1"/>
          </p:nvCxnSpPr>
          <p:spPr>
            <a:xfrm>
              <a:off x="-2814292" y="1441193"/>
              <a:ext cx="865816" cy="53821"/>
            </a:xfrm>
            <a:prstGeom prst="line">
              <a:avLst/>
            </a:prstGeom>
            <a:noFill/>
            <a:ln w="9525" cap="flat" cmpd="sng" algn="ctr">
              <a:solidFill>
                <a:schemeClr val="accent1"/>
              </a:solidFill>
              <a:prstDash val="solid"/>
              <a:headEnd type="oval"/>
            </a:ln>
            <a:effectLst/>
          </p:spPr>
        </p:cxnSp>
        <p:cxnSp>
          <p:nvCxnSpPr>
            <p:cNvPr id="243" name="Rechte verbindingslijn 242"/>
            <p:cNvCxnSpPr/>
            <p:nvPr userDrawn="1"/>
          </p:nvCxnSpPr>
          <p:spPr>
            <a:xfrm flipV="1">
              <a:off x="-2453902" y="1030591"/>
              <a:ext cx="505426" cy="283623"/>
            </a:xfrm>
            <a:prstGeom prst="line">
              <a:avLst/>
            </a:prstGeom>
            <a:noFill/>
            <a:ln w="9525" cap="flat" cmpd="sng" algn="ctr">
              <a:solidFill>
                <a:schemeClr val="accent1"/>
              </a:solidFill>
              <a:prstDash val="solid"/>
              <a:headEnd type="oval"/>
            </a:ln>
            <a:effectLst/>
          </p:spPr>
        </p:cxnSp>
        <p:sp>
          <p:nvSpPr>
            <p:cNvPr id="244" name="Textfield placeholder"/>
            <p:cNvSpPr txBox="1">
              <a:spLocks/>
            </p:cNvSpPr>
            <p:nvPr userDrawn="1"/>
          </p:nvSpPr>
          <p:spPr>
            <a:xfrm>
              <a:off x="-1341598" y="816743"/>
              <a:ext cx="1056968" cy="427698"/>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hoog</a:t>
              </a:r>
            </a:p>
          </p:txBody>
        </p:sp>
        <p:sp>
          <p:nvSpPr>
            <p:cNvPr id="245" name="Textfield placeholder"/>
            <p:cNvSpPr txBox="1">
              <a:spLocks/>
            </p:cNvSpPr>
            <p:nvPr userDrawn="1"/>
          </p:nvSpPr>
          <p:spPr>
            <a:xfrm>
              <a:off x="-1341599" y="1281164"/>
              <a:ext cx="1070223" cy="427699"/>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laag</a:t>
              </a:r>
            </a:p>
          </p:txBody>
        </p:sp>
        <p:sp>
          <p:nvSpPr>
            <p:cNvPr id="246" name="Ovaal 245"/>
            <p:cNvSpPr/>
            <p:nvPr userDrawn="1"/>
          </p:nvSpPr>
          <p:spPr>
            <a:xfrm>
              <a:off x="-2959433" y="338208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5</a:t>
              </a:r>
            </a:p>
          </p:txBody>
        </p:sp>
        <p:sp>
          <p:nvSpPr>
            <p:cNvPr id="247" name="Textfield placeholder"/>
            <p:cNvSpPr txBox="1">
              <a:spLocks/>
            </p:cNvSpPr>
            <p:nvPr userDrawn="1"/>
          </p:nvSpPr>
          <p:spPr>
            <a:xfrm>
              <a:off x="-2571950" y="3382082"/>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60000" lvl="4" indent="-360000" defTabSz="179388">
                <a:lnSpc>
                  <a:spcPct val="120000"/>
                </a:lnSpc>
                <a:spcBef>
                  <a:spcPts val="0"/>
                </a:spcBef>
                <a:spcAft>
                  <a:spcPts val="900"/>
                </a:spcAft>
                <a:buClr>
                  <a:srgbClr val="ED1A3B"/>
                </a:buClr>
                <a:buFont typeface="+mj-lt"/>
                <a:buAutoNum type="arabicPeriod"/>
                <a:defRPr/>
              </a:pPr>
              <a:r>
                <a:rPr lang="nl-NL" sz="1200" b="0" dirty="0">
                  <a:solidFill>
                    <a:srgbClr val="404040"/>
                  </a:solidFill>
                </a:rPr>
                <a:t>Numeriek (16 pt.)</a:t>
              </a:r>
            </a:p>
          </p:txBody>
        </p:sp>
        <p:grpSp>
          <p:nvGrpSpPr>
            <p:cNvPr id="248" name="Groep 247"/>
            <p:cNvGrpSpPr/>
            <p:nvPr userDrawn="1"/>
          </p:nvGrpSpPr>
          <p:grpSpPr>
            <a:xfrm>
              <a:off x="-2950232" y="816050"/>
              <a:ext cx="528695" cy="344202"/>
              <a:chOff x="-2880382" y="410556"/>
              <a:chExt cx="528695" cy="344202"/>
            </a:xfrm>
          </p:grpSpPr>
          <p:sp>
            <p:nvSpPr>
              <p:cNvPr id="258" name="Afgeronde rechthoek 257"/>
              <p:cNvSpPr/>
              <p:nvPr userDrawn="1"/>
            </p:nvSpPr>
            <p:spPr>
              <a:xfrm>
                <a:off x="-2874214" y="410556"/>
                <a:ext cx="522527" cy="339183"/>
              </a:xfrm>
              <a:prstGeom prst="roundRect">
                <a:avLst>
                  <a:gd name="adj" fmla="val 7565"/>
                </a:avLst>
              </a:prstGeom>
              <a:gradFill>
                <a:gsLst>
                  <a:gs pos="0">
                    <a:srgbClr val="FFEC8F"/>
                  </a:gs>
                  <a:gs pos="100000">
                    <a:srgbClr val="FFFFFF"/>
                  </a:gs>
                </a:gsLst>
                <a:lin ang="5400000" scaled="0"/>
              </a:gra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sp>
            <p:nvSpPr>
              <p:cNvPr id="259" name="Vrije vorm 258"/>
              <p:cNvSpPr/>
              <p:nvPr userDrawn="1"/>
            </p:nvSpPr>
            <p:spPr>
              <a:xfrm>
                <a:off x="-2880382" y="452699"/>
                <a:ext cx="528695" cy="302059"/>
              </a:xfrm>
              <a:custGeom>
                <a:avLst/>
                <a:gdLst>
                  <a:gd name="connsiteX0" fmla="*/ 55524 w 528695"/>
                  <a:gd name="connsiteY0" fmla="*/ 0 h 302059"/>
                  <a:gd name="connsiteX1" fmla="*/ 455496 w 528695"/>
                  <a:gd name="connsiteY1" fmla="*/ 0 h 302059"/>
                  <a:gd name="connsiteX2" fmla="*/ 475205 w 528695"/>
                  <a:gd name="connsiteY2" fmla="*/ 19709 h 302059"/>
                  <a:gd name="connsiteX3" fmla="*/ 475205 w 528695"/>
                  <a:gd name="connsiteY3" fmla="*/ 230056 h 302059"/>
                  <a:gd name="connsiteX4" fmla="*/ 516694 w 528695"/>
                  <a:gd name="connsiteY4" fmla="*/ 230056 h 302059"/>
                  <a:gd name="connsiteX5" fmla="*/ 528695 w 528695"/>
                  <a:gd name="connsiteY5" fmla="*/ 242057 h 302059"/>
                  <a:gd name="connsiteX6" fmla="*/ 528695 w 528695"/>
                  <a:gd name="connsiteY6" fmla="*/ 290058 h 302059"/>
                  <a:gd name="connsiteX7" fmla="*/ 516694 w 528695"/>
                  <a:gd name="connsiteY7" fmla="*/ 302059 h 302059"/>
                  <a:gd name="connsiteX8" fmla="*/ 12001 w 528695"/>
                  <a:gd name="connsiteY8" fmla="*/ 302059 h 302059"/>
                  <a:gd name="connsiteX9" fmla="*/ 0 w 528695"/>
                  <a:gd name="connsiteY9" fmla="*/ 290058 h 302059"/>
                  <a:gd name="connsiteX10" fmla="*/ 0 w 528695"/>
                  <a:gd name="connsiteY10" fmla="*/ 242057 h 302059"/>
                  <a:gd name="connsiteX11" fmla="*/ 12001 w 528695"/>
                  <a:gd name="connsiteY11" fmla="*/ 230056 h 302059"/>
                  <a:gd name="connsiteX12" fmla="*/ 35815 w 528695"/>
                  <a:gd name="connsiteY12" fmla="*/ 230056 h 302059"/>
                  <a:gd name="connsiteX13" fmla="*/ 35815 w 528695"/>
                  <a:gd name="connsiteY13" fmla="*/ 19709 h 302059"/>
                  <a:gd name="connsiteX14" fmla="*/ 55524 w 528695"/>
                  <a:gd name="connsiteY14" fmla="*/ 0 h 3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8695" h="302059">
                    <a:moveTo>
                      <a:pt x="55524" y="0"/>
                    </a:moveTo>
                    <a:lnTo>
                      <a:pt x="455496" y="0"/>
                    </a:lnTo>
                    <a:cubicBezTo>
                      <a:pt x="466381" y="0"/>
                      <a:pt x="475205" y="8824"/>
                      <a:pt x="475205" y="19709"/>
                    </a:cubicBezTo>
                    <a:lnTo>
                      <a:pt x="475205" y="230056"/>
                    </a:lnTo>
                    <a:lnTo>
                      <a:pt x="516694" y="230056"/>
                    </a:lnTo>
                    <a:cubicBezTo>
                      <a:pt x="523322" y="230056"/>
                      <a:pt x="528695" y="235429"/>
                      <a:pt x="528695" y="242057"/>
                    </a:cubicBezTo>
                    <a:lnTo>
                      <a:pt x="528695" y="290058"/>
                    </a:lnTo>
                    <a:cubicBezTo>
                      <a:pt x="528695" y="296686"/>
                      <a:pt x="523322" y="302059"/>
                      <a:pt x="516694" y="302059"/>
                    </a:cubicBezTo>
                    <a:lnTo>
                      <a:pt x="12001" y="302059"/>
                    </a:lnTo>
                    <a:cubicBezTo>
                      <a:pt x="5373" y="302059"/>
                      <a:pt x="0" y="296686"/>
                      <a:pt x="0" y="290058"/>
                    </a:cubicBezTo>
                    <a:lnTo>
                      <a:pt x="0" y="242057"/>
                    </a:lnTo>
                    <a:cubicBezTo>
                      <a:pt x="0" y="235429"/>
                      <a:pt x="5373" y="230056"/>
                      <a:pt x="12001" y="230056"/>
                    </a:cubicBezTo>
                    <a:lnTo>
                      <a:pt x="35815" y="230056"/>
                    </a:lnTo>
                    <a:lnTo>
                      <a:pt x="35815" y="19709"/>
                    </a:lnTo>
                    <a:cubicBezTo>
                      <a:pt x="35815" y="8824"/>
                      <a:pt x="44639" y="0"/>
                      <a:pt x="55524" y="0"/>
                    </a:cubicBezTo>
                    <a:close/>
                  </a:path>
                </a:pathLst>
              </a:custGeom>
              <a:solidFill>
                <a:sysClr val="window" lastClr="FFFFFF">
                  <a:lumMod val="95000"/>
                </a:sysClr>
              </a:solidFill>
              <a:ln w="9525" cap="flat" cmpd="sng" algn="ctr">
                <a:solidFill>
                  <a:srgbClr val="FFFFFF">
                    <a:lumMod val="90000"/>
                  </a:srgbClr>
                </a:solidFill>
                <a:prstDash val="solid"/>
                <a:miter lim="800000"/>
              </a:ln>
              <a:effectLst/>
            </p:spPr>
            <p:txBody>
              <a:bodyPr rot="0" spcFirstLastPara="0" vert="horz" wrap="square" lIns="108000" tIns="36000" rIns="108000" bIns="10800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900" dirty="0">
                    <a:solidFill>
                      <a:prstClr val="black"/>
                    </a:solidFill>
                    <a:latin typeface="Segoe UI Light"/>
                  </a:rPr>
                  <a:t>Start</a:t>
                </a:r>
              </a:p>
            </p:txBody>
          </p:sp>
        </p:grpSp>
        <p:sp>
          <p:nvSpPr>
            <p:cNvPr id="249" name="Tekstvak 65"/>
            <p:cNvSpPr txBox="1"/>
            <p:nvPr userDrawn="1"/>
          </p:nvSpPr>
          <p:spPr>
            <a:xfrm>
              <a:off x="-2959433" y="372104"/>
              <a:ext cx="2679887" cy="453396"/>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nl-NL" sz="1200" kern="0" dirty="0">
                  <a:solidFill>
                    <a:srgbClr val="000000"/>
                  </a:solidFill>
                  <a:latin typeface="Segoe UI Light" panose="020B0502040204020203" pitchFamily="34" charset="0"/>
                  <a:cs typeface="Segoe UI Light" panose="020B0502040204020203" pitchFamily="34" charset="0"/>
                </a:rPr>
                <a:t>Ga naar de tab </a:t>
              </a:r>
              <a:r>
                <a:rPr lang="nl-NL" sz="1200" b="1" kern="0" dirty="0">
                  <a:solidFill>
                    <a:srgbClr val="000000"/>
                  </a:solidFill>
                  <a:latin typeface="Segoe UI Light" panose="020B0502040204020203" pitchFamily="34" charset="0"/>
                  <a:cs typeface="Segoe UI Light" panose="020B0502040204020203" pitchFamily="34" charset="0"/>
                </a:rPr>
                <a:t>Start’ </a:t>
              </a:r>
              <a:r>
                <a:rPr lang="nl-NL" sz="1200" kern="0" dirty="0">
                  <a:solidFill>
                    <a:srgbClr val="000000"/>
                  </a:solidFill>
                  <a:latin typeface="Segoe UI Light" panose="020B0502040204020203" pitchFamily="34" charset="0"/>
                  <a:cs typeface="Segoe UI Light" panose="020B0502040204020203" pitchFamily="34" charset="0"/>
                </a:rPr>
                <a:t>en vind onderstaande knoppen onder </a:t>
              </a:r>
              <a:r>
                <a:rPr lang="nl-NL" sz="1200" b="1" kern="0" dirty="0">
                  <a:solidFill>
                    <a:srgbClr val="000000"/>
                  </a:solidFill>
                  <a:latin typeface="Segoe UI Light" panose="020B0502040204020203" pitchFamily="34" charset="0"/>
                  <a:cs typeface="Segoe UI Light" panose="020B0502040204020203" pitchFamily="34" charset="0"/>
                </a:rPr>
                <a:t>‘Alinea’</a:t>
              </a:r>
            </a:p>
          </p:txBody>
        </p:sp>
        <p:sp>
          <p:nvSpPr>
            <p:cNvPr id="250" name="Ovaal 249"/>
            <p:cNvSpPr/>
            <p:nvPr userDrawn="1"/>
          </p:nvSpPr>
          <p:spPr>
            <a:xfrm>
              <a:off x="-2959433" y="375153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6</a:t>
              </a:r>
            </a:p>
          </p:txBody>
        </p:sp>
        <p:sp>
          <p:nvSpPr>
            <p:cNvPr id="251" name="Textfield placeholder"/>
            <p:cNvSpPr txBox="1">
              <a:spLocks/>
            </p:cNvSpPr>
            <p:nvPr userDrawn="1"/>
          </p:nvSpPr>
          <p:spPr>
            <a:xfrm>
              <a:off x="-2571950" y="3751536"/>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0000" lvl="5" indent="-270000" defTabSz="179388">
                <a:lnSpc>
                  <a:spcPct val="120000"/>
                </a:lnSpc>
                <a:spcAft>
                  <a:spcPts val="900"/>
                </a:spcAft>
                <a:buClr>
                  <a:srgbClr val="ED1A3B"/>
                </a:buClr>
                <a:buSzPct val="80000"/>
                <a:buFont typeface="Wingdings 3" panose="05040102010807070707" pitchFamily="18" charset="2"/>
                <a:buChar char=""/>
                <a:defRPr/>
              </a:pPr>
              <a:r>
                <a:rPr lang="nl-NL" sz="1200" cap="none" dirty="0">
                  <a:solidFill>
                    <a:srgbClr val="535353"/>
                  </a:solidFill>
                </a:rPr>
                <a:t># Bullets (16 pt.)</a:t>
              </a:r>
            </a:p>
          </p:txBody>
        </p:sp>
        <p:sp>
          <p:nvSpPr>
            <p:cNvPr id="252" name="Ovaal 251"/>
            <p:cNvSpPr/>
            <p:nvPr userDrawn="1"/>
          </p:nvSpPr>
          <p:spPr>
            <a:xfrm>
              <a:off x="-2959433" y="414870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7</a:t>
              </a:r>
            </a:p>
          </p:txBody>
        </p:sp>
        <p:sp>
          <p:nvSpPr>
            <p:cNvPr id="253" name="Textfield placeholder"/>
            <p:cNvSpPr txBox="1">
              <a:spLocks/>
            </p:cNvSpPr>
            <p:nvPr userDrawn="1"/>
          </p:nvSpPr>
          <p:spPr>
            <a:xfrm>
              <a:off x="-2571950" y="414870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6" indent="0" defTabSz="179388">
                <a:lnSpc>
                  <a:spcPct val="120000"/>
                </a:lnSpc>
                <a:spcBef>
                  <a:spcPts val="0"/>
                </a:spcBef>
                <a:spcAft>
                  <a:spcPts val="900"/>
                </a:spcAft>
                <a:buClr>
                  <a:srgbClr val="ED1A3B"/>
                </a:buClr>
                <a:buSzPct val="90000"/>
                <a:buFont typeface="+mj-lt"/>
                <a:buNone/>
                <a:defRPr/>
              </a:pPr>
              <a:r>
                <a:rPr lang="nl-NL" sz="1200" i="1" dirty="0">
                  <a:solidFill>
                    <a:srgbClr val="404040"/>
                  </a:solidFill>
                </a:rPr>
                <a:t>Cursief donker (16 pt.)</a:t>
              </a:r>
            </a:p>
          </p:txBody>
        </p:sp>
        <p:sp>
          <p:nvSpPr>
            <p:cNvPr id="254" name="Ovaal 253"/>
            <p:cNvSpPr/>
            <p:nvPr userDrawn="1"/>
          </p:nvSpPr>
          <p:spPr>
            <a:xfrm>
              <a:off x="-2959433" y="454586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8</a:t>
              </a:r>
            </a:p>
          </p:txBody>
        </p:sp>
        <p:sp>
          <p:nvSpPr>
            <p:cNvPr id="255" name="Textfield placeholder"/>
            <p:cNvSpPr txBox="1">
              <a:spLocks/>
            </p:cNvSpPr>
            <p:nvPr userDrawn="1"/>
          </p:nvSpPr>
          <p:spPr>
            <a:xfrm>
              <a:off x="-2571950" y="4545864"/>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7" indent="0" defTabSz="179388">
                <a:lnSpc>
                  <a:spcPct val="80000"/>
                </a:lnSpc>
                <a:spcBef>
                  <a:spcPts val="0"/>
                </a:spcBef>
                <a:spcAft>
                  <a:spcPts val="900"/>
                </a:spcAft>
                <a:buClr>
                  <a:srgbClr val="ED1A3B"/>
                </a:buClr>
                <a:buFont typeface="Arial" pitchFamily="34" charset="0"/>
                <a:buNone/>
                <a:defRPr/>
              </a:pPr>
              <a:r>
                <a:rPr lang="nl-NL" sz="1200" i="1" dirty="0">
                  <a:solidFill>
                    <a:srgbClr val="A3B0C0"/>
                  </a:solidFill>
                </a:rPr>
                <a:t>Cursief Licht (16 pt.)</a:t>
              </a:r>
            </a:p>
          </p:txBody>
        </p:sp>
        <p:sp>
          <p:nvSpPr>
            <p:cNvPr id="256" name="Ovaal 255"/>
            <p:cNvSpPr/>
            <p:nvPr userDrawn="1"/>
          </p:nvSpPr>
          <p:spPr>
            <a:xfrm>
              <a:off x="-2959433" y="488761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9</a:t>
              </a:r>
            </a:p>
          </p:txBody>
        </p:sp>
        <p:sp>
          <p:nvSpPr>
            <p:cNvPr id="257" name="Textfield placeholder"/>
            <p:cNvSpPr txBox="1">
              <a:spLocks/>
            </p:cNvSpPr>
            <p:nvPr userDrawn="1"/>
          </p:nvSpPr>
          <p:spPr>
            <a:xfrm>
              <a:off x="-2571950" y="488761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8" indent="0" defTabSz="179388">
                <a:lnSpc>
                  <a:spcPct val="80000"/>
                </a:lnSpc>
                <a:spcBef>
                  <a:spcPts val="0"/>
                </a:spcBef>
                <a:spcAft>
                  <a:spcPts val="900"/>
                </a:spcAft>
                <a:buClr>
                  <a:srgbClr val="ED1A3B"/>
                </a:buClr>
                <a:buFont typeface="Arial" pitchFamily="34" charset="0"/>
                <a:buNone/>
                <a:defRPr/>
              </a:pPr>
              <a:r>
                <a:rPr lang="nl-NL" sz="1400" b="1" dirty="0">
                  <a:solidFill>
                    <a:srgbClr val="ED1A3B"/>
                  </a:solidFill>
                </a:rPr>
                <a:t>Subtitel (18 pt.)</a:t>
              </a:r>
            </a:p>
          </p:txBody>
        </p:sp>
      </p:grpSp>
      <p:sp>
        <p:nvSpPr>
          <p:cNvPr id="124" name="Hyperlink - Inhoudsopgave">
            <a:hlinkClick r:id="rId4" action="ppaction://hlinksldjump"/>
          </p:cNvPr>
          <p:cNvSpPr/>
          <p:nvPr userDrawn="1"/>
        </p:nvSpPr>
        <p:spPr>
          <a:xfrm>
            <a:off x="10197856" y="5889801"/>
            <a:ext cx="2000494" cy="968199"/>
          </a:xfrm>
          <a:prstGeom prst="rect">
            <a:avLst/>
          </a:prstGeom>
          <a:solidFill>
            <a:srgbClr val="ED1A3B">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122" name="Grijze achtergrond"/>
          <p:cNvSpPr/>
          <p:nvPr userDrawn="1"/>
        </p:nvSpPr>
        <p:spPr>
          <a:xfrm>
            <a:off x="7933303" y="1358671"/>
            <a:ext cx="3600937" cy="444046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en-GB">
              <a:solidFill>
                <a:srgbClr val="FFFFFF"/>
              </a:solidFill>
            </a:endParaRPr>
          </a:p>
        </p:txBody>
      </p:sp>
      <p:cxnSp>
        <p:nvCxnSpPr>
          <p:cNvPr id="25" name="Grijze lijn - onder"/>
          <p:cNvCxnSpPr/>
          <p:nvPr/>
        </p:nvCxnSpPr>
        <p:spPr>
          <a:xfrm flipH="1">
            <a:off x="7933303" y="5776291"/>
            <a:ext cx="3600937"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8" name="Grijze lijn - boven"/>
          <p:cNvCxnSpPr/>
          <p:nvPr/>
        </p:nvCxnSpPr>
        <p:spPr>
          <a:xfrm flipH="1">
            <a:off x="664804" y="1358670"/>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21" name="Tijdelijke aanduiding voor Dianummer"/>
          <p:cNvSpPr>
            <a:spLocks noGrp="1"/>
          </p:cNvSpPr>
          <p:nvPr>
            <p:ph type="sldNum" sz="quarter" idx="4"/>
          </p:nvPr>
        </p:nvSpPr>
        <p:spPr>
          <a:xfrm>
            <a:off x="5770549" y="6295992"/>
            <a:ext cx="657251" cy="365125"/>
          </a:xfrm>
          <a:prstGeom prst="rect">
            <a:avLst/>
          </a:prstGeom>
        </p:spPr>
        <p:txBody>
          <a:bodyPr vert="horz" lIns="91440" tIns="45720" rIns="91440" bIns="45720" rtlCol="0" anchor="ctr"/>
          <a:lstStyle>
            <a:lvl1pPr algn="ctr">
              <a:defRPr sz="800">
                <a:solidFill>
                  <a:schemeClr val="tx1">
                    <a:tint val="75000"/>
                  </a:schemeClr>
                </a:solidFill>
              </a:defRPr>
            </a:lvl1pPr>
          </a:lstStyle>
          <a:p>
            <a:fld id="{1B3FA67A-C720-417A-A072-0CD211FD8662}" type="slidenum">
              <a:rPr lang="nl-NL" smtClean="0">
                <a:solidFill>
                  <a:srgbClr val="000000">
                    <a:tint val="75000"/>
                  </a:srgbClr>
                </a:solidFill>
              </a:rPr>
              <a:pPr/>
              <a:t>‹nr.›</a:t>
            </a:fld>
            <a:endParaRPr lang="nl-NL" dirty="0">
              <a:solidFill>
                <a:srgbClr val="000000">
                  <a:tint val="75000"/>
                </a:srgbClr>
              </a:solidFill>
            </a:endParaRPr>
          </a:p>
        </p:txBody>
      </p:sp>
      <p:sp>
        <p:nvSpPr>
          <p:cNvPr id="16" name="Tijdelijke aanduiding voor Grafiek"/>
          <p:cNvSpPr>
            <a:spLocks noGrp="1"/>
          </p:cNvSpPr>
          <p:nvPr>
            <p:ph type="chart" sz="quarter" idx="17"/>
          </p:nvPr>
        </p:nvSpPr>
        <p:spPr>
          <a:xfrm>
            <a:off x="8274264" y="2227480"/>
            <a:ext cx="2919017" cy="3211296"/>
          </a:xfrm>
        </p:spPr>
        <p:txBody>
          <a:bodyPr anchor="ctr"/>
          <a:lstStyle>
            <a:lvl1pPr algn="ctr">
              <a:defRPr/>
            </a:lvl1pPr>
          </a:lstStyle>
          <a:p>
            <a:r>
              <a:rPr lang="nl-NL"/>
              <a:t>Klik op het pictogram als u een grafiek wilt toevoegen</a:t>
            </a:r>
            <a:endParaRPr lang="en-GB"/>
          </a:p>
        </p:txBody>
      </p:sp>
      <p:sp>
        <p:nvSpPr>
          <p:cNvPr id="20" name="Tijdelijke aanduiding voor Tekst bij Grafiek"/>
          <p:cNvSpPr>
            <a:spLocks noGrp="1"/>
          </p:cNvSpPr>
          <p:nvPr>
            <p:ph type="body" orient="vert" idx="18" hasCustomPrompt="1"/>
          </p:nvPr>
        </p:nvSpPr>
        <p:spPr>
          <a:xfrm>
            <a:off x="7933303" y="1720868"/>
            <a:ext cx="3600937" cy="336533"/>
          </a:xfrm>
        </p:spPr>
        <p:txBody>
          <a:bodyPr vert="horz"/>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nl-NL" dirty="0"/>
              <a:t>Leestekst</a:t>
            </a:r>
          </a:p>
          <a:p>
            <a:pPr lvl="1"/>
            <a:r>
              <a:rPr lang="nl-NL" dirty="0"/>
              <a:t>Bullets</a:t>
            </a:r>
          </a:p>
          <a:p>
            <a:pPr lvl="2"/>
            <a:r>
              <a:rPr lang="nl-NL" dirty="0"/>
              <a:t>Sub-bullets</a:t>
            </a:r>
          </a:p>
          <a:p>
            <a:pPr lvl="3"/>
            <a:r>
              <a:rPr lang="nl-NL" dirty="0"/>
              <a:t>Sub-sub-bullets</a:t>
            </a:r>
          </a:p>
          <a:p>
            <a:pPr lvl="4"/>
            <a:r>
              <a:rPr lang="nl-NL" dirty="0"/>
              <a:t>Numeriek</a:t>
            </a:r>
          </a:p>
          <a:p>
            <a:pPr lvl="5"/>
            <a:r>
              <a:rPr lang="nl-NL" dirty="0"/>
              <a:t># Bullets</a:t>
            </a:r>
          </a:p>
          <a:p>
            <a:pPr lvl="6"/>
            <a:r>
              <a:rPr lang="nl-NL" dirty="0"/>
              <a:t>Cursief donker</a:t>
            </a:r>
          </a:p>
          <a:p>
            <a:pPr lvl="7"/>
            <a:r>
              <a:rPr lang="nl-NL" dirty="0"/>
              <a:t>Cursief licht</a:t>
            </a:r>
          </a:p>
          <a:p>
            <a:pPr lvl="8"/>
            <a:r>
              <a:rPr lang="nl-NL" dirty="0"/>
              <a:t>Subtitel</a:t>
            </a:r>
          </a:p>
        </p:txBody>
      </p:sp>
      <p:sp>
        <p:nvSpPr>
          <p:cNvPr id="3" name="Tijdelijke aanduiding voor Tekst"/>
          <p:cNvSpPr>
            <a:spLocks noGrp="1"/>
          </p:cNvSpPr>
          <p:nvPr>
            <p:ph type="body" orient="vert" idx="1" hasCustomPrompt="1"/>
          </p:nvPr>
        </p:nvSpPr>
        <p:spPr>
          <a:xfrm>
            <a:off x="664108" y="1720867"/>
            <a:ext cx="6841781" cy="3693600"/>
          </a:xfrm>
        </p:spPr>
        <p:txBody>
          <a:bodyPr vert="horz"/>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800"/>
            </a:lvl9pPr>
          </a:lstStyle>
          <a:p>
            <a:pPr lvl="0"/>
            <a:r>
              <a:rPr lang="nl-NL" dirty="0"/>
              <a:t>Leestekst</a:t>
            </a:r>
          </a:p>
          <a:p>
            <a:pPr lvl="1"/>
            <a:r>
              <a:rPr lang="nl-NL" dirty="0"/>
              <a:t>Bullets</a:t>
            </a:r>
          </a:p>
          <a:p>
            <a:pPr lvl="2"/>
            <a:r>
              <a:rPr lang="nl-NL" dirty="0"/>
              <a:t>Sub-bullets</a:t>
            </a:r>
          </a:p>
          <a:p>
            <a:pPr lvl="3"/>
            <a:r>
              <a:rPr lang="nl-NL" dirty="0"/>
              <a:t>Sub-sub-bullets</a:t>
            </a:r>
          </a:p>
          <a:p>
            <a:pPr lvl="4"/>
            <a:r>
              <a:rPr lang="nl-NL" dirty="0"/>
              <a:t>Numeriek</a:t>
            </a:r>
          </a:p>
          <a:p>
            <a:pPr lvl="5"/>
            <a:r>
              <a:rPr lang="nl-NL" dirty="0"/>
              <a:t># Bullets</a:t>
            </a:r>
          </a:p>
          <a:p>
            <a:pPr lvl="6"/>
            <a:r>
              <a:rPr lang="nl-NL" dirty="0"/>
              <a:t>Cursief donker</a:t>
            </a:r>
          </a:p>
          <a:p>
            <a:pPr lvl="7"/>
            <a:r>
              <a:rPr lang="nl-NL" dirty="0"/>
              <a:t>Cursief licht</a:t>
            </a:r>
          </a:p>
          <a:p>
            <a:pPr lvl="8"/>
            <a:r>
              <a:rPr lang="nl-NL" dirty="0"/>
              <a:t>Subtitel</a:t>
            </a:r>
          </a:p>
        </p:txBody>
      </p:sp>
      <p:sp>
        <p:nvSpPr>
          <p:cNvPr id="14" name="Tijdelijke aanduiding voor Subtitel"/>
          <p:cNvSpPr>
            <a:spLocks noGrp="1"/>
          </p:cNvSpPr>
          <p:nvPr>
            <p:ph type="body" idx="14"/>
          </p:nvPr>
        </p:nvSpPr>
        <p:spPr>
          <a:xfrm>
            <a:off x="664109" y="1001348"/>
            <a:ext cx="10870131" cy="317758"/>
          </a:xfrm>
        </p:spPr>
        <p:txBody>
          <a:bodyPr bIns="72000" anchor="t" anchorCtr="0"/>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15" name="Tijdelijke aanduiding voor Titel"/>
          <p:cNvSpPr>
            <a:spLocks noGrp="1"/>
          </p:cNvSpPr>
          <p:nvPr>
            <p:ph type="title"/>
          </p:nvPr>
        </p:nvSpPr>
        <p:spPr>
          <a:xfrm>
            <a:off x="664109" y="464521"/>
            <a:ext cx="10870131" cy="533219"/>
          </a:xfrm>
        </p:spPr>
        <p:txBody>
          <a:bodyPr/>
          <a:lstStyle/>
          <a:p>
            <a:r>
              <a:rPr lang="nl-NL"/>
              <a:t>Klik om stijl te bewerken</a:t>
            </a:r>
            <a:endParaRPr lang="nl-NL" dirty="0"/>
          </a:p>
        </p:txBody>
      </p:sp>
    </p:spTree>
    <p:extLst>
      <p:ext uri="{BB962C8B-B14F-4D97-AF65-F5344CB8AC3E}">
        <p14:creationId xmlns:p14="http://schemas.microsoft.com/office/powerpoint/2010/main" val="703409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Grafiek 50%">
    <p:spTree>
      <p:nvGrpSpPr>
        <p:cNvPr id="1" name=""/>
        <p:cNvGrpSpPr/>
        <p:nvPr/>
      </p:nvGrpSpPr>
      <p:grpSpPr>
        <a:xfrm>
          <a:off x="0" y="0"/>
          <a:ext cx="0" cy="0"/>
          <a:chOff x="0" y="0"/>
          <a:chExt cx="0" cy="0"/>
        </a:xfrm>
      </p:grpSpPr>
      <p:sp>
        <p:nvSpPr>
          <p:cNvPr id="13" name="Naam indeling - Grafiek 50%"/>
          <p:cNvSpPr txBox="1"/>
          <p:nvPr/>
        </p:nvSpPr>
        <p:spPr>
          <a:xfrm>
            <a:off x="1" y="-453266"/>
            <a:ext cx="3582333" cy="276999"/>
          </a:xfrm>
          <a:prstGeom prst="rect">
            <a:avLst/>
          </a:prstGeom>
          <a:noFill/>
        </p:spPr>
        <p:txBody>
          <a:bodyPr wrap="square" lIns="0" tIns="0" rIns="0" bIns="0" rtlCol="0">
            <a:spAutoFit/>
          </a:bodyPr>
          <a:lstStyle/>
          <a:p>
            <a:pPr defTabSz="914112"/>
            <a:r>
              <a:rPr lang="nl-NL" dirty="0">
                <a:solidFill>
                  <a:srgbClr val="404040"/>
                </a:solidFill>
                <a:latin typeface="Calibri" panose="020F0502020204030204" pitchFamily="34" charset="0"/>
              </a:rPr>
              <a:t>Grafiek 50%</a:t>
            </a:r>
            <a:endParaRPr lang="en-GB" dirty="0">
              <a:solidFill>
                <a:srgbClr val="404040"/>
              </a:solidFill>
              <a:latin typeface="Calibri" panose="020F0502020204030204" pitchFamily="34" charset="0"/>
            </a:endParaRPr>
          </a:p>
        </p:txBody>
      </p:sp>
      <p:grpSp>
        <p:nvGrpSpPr>
          <p:cNvPr id="103" name="Instructie - Grafiek invoegen"/>
          <p:cNvGrpSpPr/>
          <p:nvPr/>
        </p:nvGrpSpPr>
        <p:grpSpPr>
          <a:xfrm>
            <a:off x="12542657" y="1"/>
            <a:ext cx="2717046" cy="3676571"/>
            <a:chOff x="12435216" y="14897"/>
            <a:chExt cx="2716339" cy="3676571"/>
          </a:xfrm>
        </p:grpSpPr>
        <p:sp>
          <p:nvSpPr>
            <p:cNvPr id="104" name="Rechthoek 103"/>
            <p:cNvSpPr/>
            <p:nvPr/>
          </p:nvSpPr>
          <p:spPr>
            <a:xfrm>
              <a:off x="12441150" y="14897"/>
              <a:ext cx="2696270" cy="161771"/>
            </a:xfrm>
            <a:prstGeom prst="rect">
              <a:avLst/>
            </a:prstGeom>
            <a:noFill/>
            <a:ln w="25400" cap="flat" cmpd="sng" algn="ctr">
              <a:noFill/>
              <a:prstDash val="solid"/>
            </a:ln>
            <a:effectLst/>
          </p:spPr>
          <p:txBody>
            <a:bodyPr lIns="0" tIns="0" rIns="0" bIns="0" rtlCol="0" anchor="t"/>
            <a:lstStyle/>
            <a:p>
              <a:pPr defTabSz="914112">
                <a:lnSpc>
                  <a:spcPct val="80000"/>
                </a:lnSpc>
              </a:pPr>
              <a:r>
                <a:rPr lang="nl-NL" sz="1600" b="1" kern="0" cap="all" dirty="0">
                  <a:solidFill>
                    <a:srgbClr val="ED1A3B"/>
                  </a:solidFill>
                  <a:cs typeface="Segoe UI Light" panose="020B0502040204020203" pitchFamily="34" charset="0"/>
                </a:rPr>
                <a:t>Grafiek INVOEGEN</a:t>
              </a:r>
            </a:p>
          </p:txBody>
        </p:sp>
        <p:sp>
          <p:nvSpPr>
            <p:cNvPr id="105" name="Tekstvak 33"/>
            <p:cNvSpPr txBox="1"/>
            <p:nvPr/>
          </p:nvSpPr>
          <p:spPr>
            <a:xfrm>
              <a:off x="12441149" y="814239"/>
              <a:ext cx="2710405" cy="719877"/>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Indien nodig, verwijder de bestaande grafiek. Klik op het pictogram om </a:t>
              </a:r>
              <a:br>
                <a:rPr lang="nl-NL" sz="1200" kern="0" dirty="0">
                  <a:solidFill>
                    <a:srgbClr val="000000"/>
                  </a:solidFill>
                  <a:latin typeface="Trebuchet MS"/>
                  <a:cs typeface="Segoe UI Light" panose="020B0502040204020203" pitchFamily="34" charset="0"/>
                </a:rPr>
              </a:br>
              <a:r>
                <a:rPr lang="nl-NL" sz="1200" kern="0" dirty="0">
                  <a:solidFill>
                    <a:srgbClr val="000000"/>
                  </a:solidFill>
                  <a:latin typeface="Trebuchet MS"/>
                  <a:cs typeface="Segoe UI Light" panose="020B0502040204020203" pitchFamily="34" charset="0"/>
                </a:rPr>
                <a:t>een grafiek in te voegen</a:t>
              </a:r>
              <a:br>
                <a:rPr lang="nl-NL" sz="1200" kern="0" dirty="0">
                  <a:solidFill>
                    <a:srgbClr val="000000"/>
                  </a:solidFill>
                  <a:latin typeface="Trebuchet MS"/>
                  <a:cs typeface="Segoe UI Light" panose="020B0502040204020203" pitchFamily="34" charset="0"/>
                </a:rPr>
              </a:br>
              <a:r>
                <a:rPr lang="nl-NL" sz="1100" i="1" kern="0" dirty="0">
                  <a:solidFill>
                    <a:srgbClr val="000000"/>
                  </a:solidFill>
                  <a:latin typeface="Trebuchet MS"/>
                  <a:cs typeface="Segoe UI Light" panose="020B0502040204020203" pitchFamily="34" charset="0"/>
                </a:rPr>
                <a:t>(zie onderstaand voorbeeld).</a:t>
              </a:r>
            </a:p>
          </p:txBody>
        </p:sp>
        <p:sp>
          <p:nvSpPr>
            <p:cNvPr id="106" name="Tekstvak 33"/>
            <p:cNvSpPr txBox="1"/>
            <p:nvPr/>
          </p:nvSpPr>
          <p:spPr>
            <a:xfrm>
              <a:off x="12441149" y="2793904"/>
              <a:ext cx="2710405" cy="395943"/>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Selecteer de afbeelding die u wilt invoegen en klik op </a:t>
              </a:r>
              <a:r>
                <a:rPr lang="nl-NL" sz="1200" b="1" kern="0" dirty="0">
                  <a:solidFill>
                    <a:srgbClr val="000000"/>
                  </a:solidFill>
                  <a:latin typeface="Trebuchet MS"/>
                  <a:cs typeface="Segoe UI Light" panose="020B0502040204020203" pitchFamily="34" charset="0"/>
                </a:rPr>
                <a:t>‘Invoegen’</a:t>
              </a:r>
            </a:p>
          </p:txBody>
        </p:sp>
        <p:sp>
          <p:nvSpPr>
            <p:cNvPr id="107" name="Ovaal 106"/>
            <p:cNvSpPr/>
            <p:nvPr/>
          </p:nvSpPr>
          <p:spPr>
            <a:xfrm>
              <a:off x="12441150" y="379292"/>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1</a:t>
              </a:r>
            </a:p>
          </p:txBody>
        </p:sp>
        <p:sp>
          <p:nvSpPr>
            <p:cNvPr id="108" name="Ovaal 107"/>
            <p:cNvSpPr/>
            <p:nvPr/>
          </p:nvSpPr>
          <p:spPr>
            <a:xfrm>
              <a:off x="12441150" y="2337208"/>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2</a:t>
              </a:r>
            </a:p>
          </p:txBody>
        </p:sp>
        <p:cxnSp>
          <p:nvCxnSpPr>
            <p:cNvPr id="109" name="Rechte verbindingslijn 108"/>
            <p:cNvCxnSpPr/>
            <p:nvPr/>
          </p:nvCxnSpPr>
          <p:spPr>
            <a:xfrm>
              <a:off x="12441150" y="248176"/>
              <a:ext cx="2710405" cy="0"/>
            </a:xfrm>
            <a:prstGeom prst="line">
              <a:avLst/>
            </a:prstGeom>
            <a:noFill/>
            <a:ln w="9525" cap="flat" cmpd="sng" algn="ctr">
              <a:solidFill>
                <a:schemeClr val="accent1"/>
              </a:solidFill>
              <a:prstDash val="solid"/>
            </a:ln>
            <a:effectLst/>
          </p:spPr>
        </p:cxnSp>
        <p:cxnSp>
          <p:nvCxnSpPr>
            <p:cNvPr id="110" name="Rechte verbindingslijn 109"/>
            <p:cNvCxnSpPr/>
            <p:nvPr/>
          </p:nvCxnSpPr>
          <p:spPr>
            <a:xfrm>
              <a:off x="12441149" y="2212830"/>
              <a:ext cx="2710405" cy="0"/>
            </a:xfrm>
            <a:prstGeom prst="line">
              <a:avLst/>
            </a:prstGeom>
            <a:noFill/>
            <a:ln w="9525" cap="flat" cmpd="sng" algn="ctr">
              <a:solidFill>
                <a:schemeClr val="accent1"/>
              </a:solidFill>
              <a:prstDash val="solid"/>
            </a:ln>
            <a:effectLst/>
          </p:spPr>
        </p:cxnSp>
        <p:cxnSp>
          <p:nvCxnSpPr>
            <p:cNvPr id="111" name="Rechte verbindingslijn 110"/>
            <p:cNvCxnSpPr/>
            <p:nvPr/>
          </p:nvCxnSpPr>
          <p:spPr>
            <a:xfrm>
              <a:off x="12444679" y="3691468"/>
              <a:ext cx="2706875" cy="0"/>
            </a:xfrm>
            <a:prstGeom prst="line">
              <a:avLst/>
            </a:prstGeom>
            <a:noFill/>
            <a:ln w="9525" cap="flat" cmpd="sng" algn="ctr">
              <a:solidFill>
                <a:schemeClr val="accent1"/>
              </a:solidFill>
              <a:prstDash val="solid"/>
            </a:ln>
            <a:effectLst/>
          </p:spPr>
        </p:cxnSp>
        <p:grpSp>
          <p:nvGrpSpPr>
            <p:cNvPr id="112" name="Groep 111"/>
            <p:cNvGrpSpPr/>
            <p:nvPr/>
          </p:nvGrpSpPr>
          <p:grpSpPr>
            <a:xfrm>
              <a:off x="12450571" y="3301369"/>
              <a:ext cx="1002992" cy="267962"/>
              <a:chOff x="13560784" y="3471416"/>
              <a:chExt cx="1114138" cy="297656"/>
            </a:xfrm>
          </p:grpSpPr>
          <p:sp>
            <p:nvSpPr>
              <p:cNvPr id="117" name="Afgeronde rechthoek 88"/>
              <p:cNvSpPr/>
              <p:nvPr/>
            </p:nvSpPr>
            <p:spPr>
              <a:xfrm>
                <a:off x="13560784" y="3471416"/>
                <a:ext cx="1114138" cy="297656"/>
              </a:xfrm>
              <a:prstGeom prst="roundRect">
                <a:avLst/>
              </a:prstGeom>
              <a:gradFill flip="none" rotWithShape="1">
                <a:gsLst>
                  <a:gs pos="4000">
                    <a:srgbClr val="00B0F0"/>
                  </a:gs>
                  <a:gs pos="0">
                    <a:srgbClr val="0070C0"/>
                  </a:gs>
                  <a:gs pos="100000">
                    <a:srgbClr val="0070C0"/>
                  </a:gs>
                  <a:gs pos="12000">
                    <a:srgbClr val="D1EAFF"/>
                  </a:gs>
                  <a:gs pos="96000">
                    <a:srgbClr val="00B0F0"/>
                  </a:gs>
                  <a:gs pos="89000">
                    <a:srgbClr val="DDF4FF"/>
                  </a:gs>
                  <a:gs pos="43000">
                    <a:srgbClr val="D1EAFF"/>
                  </a:gs>
                  <a:gs pos="51000">
                    <a:srgbClr val="DDF4FF"/>
                  </a:gs>
                </a:gsLst>
                <a:lin ang="16200000" scaled="1"/>
                <a:tileRect/>
              </a:gradFill>
              <a:ln w="63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dirty="0">
                  <a:solidFill>
                    <a:srgbClr val="FFFFFF"/>
                  </a:solidFill>
                </a:endParaRPr>
              </a:p>
            </p:txBody>
          </p:sp>
          <p:sp>
            <p:nvSpPr>
              <p:cNvPr id="118" name="Tekstvak 117"/>
              <p:cNvSpPr txBox="1"/>
              <p:nvPr/>
            </p:nvSpPr>
            <p:spPr>
              <a:xfrm>
                <a:off x="13573594" y="3488254"/>
                <a:ext cx="888311" cy="273506"/>
              </a:xfrm>
              <a:prstGeom prst="rect">
                <a:avLst/>
              </a:prstGeom>
              <a:noFill/>
            </p:spPr>
            <p:txBody>
              <a:bodyPr wrap="square" rtlCol="0" anchor="ctr">
                <a:spAutoFit/>
              </a:bodyPr>
              <a:lstStyle>
                <a:defPPr>
                  <a:defRPr lang="nl-NL"/>
                </a:defPPr>
                <a:lvl1pPr marR="0" lvl="0" indent="0" algn="ctr" fontAlgn="auto">
                  <a:lnSpc>
                    <a:spcPct val="100000"/>
                  </a:lnSpc>
                  <a:spcBef>
                    <a:spcPts val="0"/>
                  </a:spcBef>
                  <a:spcAft>
                    <a:spcPts val="0"/>
                  </a:spcAft>
                  <a:buClrTx/>
                  <a:buSzTx/>
                  <a:buFontTx/>
                  <a:buNone/>
                  <a:tabLst/>
                  <a:defRPr kumimoji="0" sz="900" i="0" u="none" strike="noStrike" kern="0" cap="none" spc="0" normalizeH="0" baseline="0">
                    <a:ln>
                      <a:noFill/>
                    </a:ln>
                    <a:effectLst>
                      <a:outerShdw blurRad="25400" algn="ctr" rotWithShape="0">
                        <a:prstClr val="white"/>
                      </a:outerShdw>
                    </a:effectLst>
                    <a:uLnTx/>
                    <a:uFillTx/>
                    <a:latin typeface="Segoe UI Light" panose="020B0502040204020203" pitchFamily="34" charset="0"/>
                    <a:cs typeface="Segoe UI Light" panose="020B0502040204020203" pitchFamily="34" charset="0"/>
                  </a:defRPr>
                </a:lvl1pPr>
                <a:lvl2pPr fontAlgn="base">
                  <a:spcBef>
                    <a:spcPct val="0"/>
                  </a:spcBef>
                  <a:spcAft>
                    <a:spcPct val="0"/>
                  </a:spcAft>
                  <a:defRPr>
                    <a:latin typeface="Arial" charset="0"/>
                    <a:cs typeface="Arial" charset="0"/>
                  </a:defRPr>
                </a:lvl2pPr>
                <a:lvl3pPr fontAlgn="base">
                  <a:spcBef>
                    <a:spcPct val="0"/>
                  </a:spcBef>
                  <a:spcAft>
                    <a:spcPct val="0"/>
                  </a:spcAft>
                  <a:defRPr>
                    <a:latin typeface="Arial" charset="0"/>
                    <a:cs typeface="Arial" charset="0"/>
                  </a:defRPr>
                </a:lvl3pPr>
                <a:lvl4pPr fontAlgn="base">
                  <a:spcBef>
                    <a:spcPct val="0"/>
                  </a:spcBef>
                  <a:spcAft>
                    <a:spcPct val="0"/>
                  </a:spcAft>
                  <a:defRPr>
                    <a:latin typeface="Arial" charset="0"/>
                    <a:cs typeface="Arial" charset="0"/>
                  </a:defRPr>
                </a:lvl4pPr>
                <a:lvl5pPr fontAlgn="base">
                  <a:spcBef>
                    <a:spcPct val="0"/>
                  </a:spcBef>
                  <a:spcAft>
                    <a:spcPct val="0"/>
                  </a:spcAft>
                  <a:defRPr>
                    <a:latin typeface="Arial" charset="0"/>
                    <a:cs typeface="Arial" charset="0"/>
                  </a:defRPr>
                </a:lvl5pPr>
                <a:lvl6pPr>
                  <a:defRPr>
                    <a:latin typeface="Arial" charset="0"/>
                    <a:cs typeface="Arial" charset="0"/>
                  </a:defRPr>
                </a:lvl6pPr>
                <a:lvl7pPr>
                  <a:defRPr>
                    <a:latin typeface="Arial" charset="0"/>
                    <a:cs typeface="Arial" charset="0"/>
                  </a:defRPr>
                </a:lvl7pPr>
                <a:lvl8pPr>
                  <a:defRPr>
                    <a:latin typeface="Arial" charset="0"/>
                    <a:cs typeface="Arial" charset="0"/>
                  </a:defRPr>
                </a:lvl8pPr>
                <a:lvl9pPr>
                  <a:defRPr>
                    <a:latin typeface="Arial" charset="0"/>
                    <a:cs typeface="Arial" charset="0"/>
                  </a:defRPr>
                </a:lvl9pPr>
              </a:lstStyle>
              <a:p>
                <a:pPr defTabSz="914112"/>
                <a:r>
                  <a:rPr lang="nl-NL" sz="1000" dirty="0">
                    <a:solidFill>
                      <a:srgbClr val="000000"/>
                    </a:solidFill>
                    <a:latin typeface="Trebuchet MS"/>
                  </a:rPr>
                  <a:t>Invoegen</a:t>
                </a:r>
              </a:p>
            </p:txBody>
          </p:sp>
          <p:cxnSp>
            <p:nvCxnSpPr>
              <p:cNvPr id="119" name="Rechte verbindingslijn 118"/>
              <p:cNvCxnSpPr/>
              <p:nvPr/>
            </p:nvCxnSpPr>
            <p:spPr>
              <a:xfrm>
                <a:off x="14461905" y="3507058"/>
                <a:ext cx="0" cy="224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0" name="Gelijkbenige driehoek 119"/>
              <p:cNvSpPr/>
              <p:nvPr/>
            </p:nvSpPr>
            <p:spPr>
              <a:xfrm rot="10800000">
                <a:off x="14518584" y="3600521"/>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112"/>
                <a:endParaRPr lang="nl-NL" dirty="0">
                  <a:solidFill>
                    <a:srgbClr val="FFFFFF"/>
                  </a:solidFill>
                </a:endParaRPr>
              </a:p>
            </p:txBody>
          </p:sp>
        </p:grpSp>
        <p:grpSp>
          <p:nvGrpSpPr>
            <p:cNvPr id="113" name="Groep 112"/>
            <p:cNvGrpSpPr/>
            <p:nvPr/>
          </p:nvGrpSpPr>
          <p:grpSpPr>
            <a:xfrm>
              <a:off x="12435216" y="1678012"/>
              <a:ext cx="372535" cy="405517"/>
              <a:chOff x="12468049" y="1754144"/>
              <a:chExt cx="339072" cy="369091"/>
            </a:xfrm>
          </p:grpSpPr>
          <p:sp>
            <p:nvSpPr>
              <p:cNvPr id="114" name="Rechthoek 113"/>
              <p:cNvSpPr/>
              <p:nvPr/>
            </p:nvSpPr>
            <p:spPr>
              <a:xfrm>
                <a:off x="12468049" y="1869625"/>
                <a:ext cx="92751" cy="253609"/>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115" name="Rechthoek 114"/>
              <p:cNvSpPr/>
              <p:nvPr/>
            </p:nvSpPr>
            <p:spPr>
              <a:xfrm>
                <a:off x="12590223" y="1754144"/>
                <a:ext cx="92751" cy="369091"/>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116" name="Rechthoek 115"/>
              <p:cNvSpPr/>
              <p:nvPr/>
            </p:nvSpPr>
            <p:spPr>
              <a:xfrm>
                <a:off x="12714370" y="1836322"/>
                <a:ext cx="92751" cy="286913"/>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grpSp>
      </p:grpSp>
      <p:grpSp>
        <p:nvGrpSpPr>
          <p:cNvPr id="226" name="Instructie - Tekst niveaus"/>
          <p:cNvGrpSpPr/>
          <p:nvPr userDrawn="1"/>
        </p:nvGrpSpPr>
        <p:grpSpPr>
          <a:xfrm>
            <a:off x="-3117849" y="365"/>
            <a:ext cx="2823358" cy="5254722"/>
            <a:chOff x="-2959433" y="-5444"/>
            <a:chExt cx="2822623" cy="5254722"/>
          </a:xfrm>
        </p:grpSpPr>
        <p:sp>
          <p:nvSpPr>
            <p:cNvPr id="227" name="Rechthoek 226"/>
            <p:cNvSpPr/>
            <p:nvPr userDrawn="1"/>
          </p:nvSpPr>
          <p:spPr>
            <a:xfrm>
              <a:off x="-2959433" y="-5444"/>
              <a:ext cx="2572469" cy="280344"/>
            </a:xfrm>
            <a:prstGeom prst="rect">
              <a:avLst/>
            </a:prstGeom>
            <a:noFill/>
            <a:ln w="25400" cap="flat" cmpd="sng" algn="ctr">
              <a:noFill/>
              <a:prstDash val="solid"/>
            </a:ln>
            <a:effectLst/>
          </p:spPr>
          <p:txBody>
            <a:bodyPr lIns="0" tIns="0" rIns="0" bIns="0" rtlCol="0" anchor="t"/>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nl-NL" sz="1600" b="1" kern="0" dirty="0">
                  <a:solidFill>
                    <a:srgbClr val="ED1A3B"/>
                  </a:solidFill>
                  <a:cs typeface="Segoe UI Light" panose="020B0502040204020203" pitchFamily="34" charset="0"/>
                </a:rPr>
                <a:t>TEKST NIVEAUS</a:t>
              </a:r>
            </a:p>
          </p:txBody>
        </p:sp>
        <p:sp>
          <p:nvSpPr>
            <p:cNvPr id="228" name="Textfield placeholder"/>
            <p:cNvSpPr txBox="1">
              <a:spLocks/>
            </p:cNvSpPr>
            <p:nvPr userDrawn="1"/>
          </p:nvSpPr>
          <p:spPr>
            <a:xfrm>
              <a:off x="-2587337" y="2675411"/>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0" lvl="2"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a:solidFill>
                    <a:srgbClr val="404040"/>
                  </a:solidFill>
                </a:rPr>
                <a:t>Sub-bullets (16 pt.)</a:t>
              </a:r>
            </a:p>
          </p:txBody>
        </p:sp>
        <p:sp>
          <p:nvSpPr>
            <p:cNvPr id="229" name="Ovaal 228"/>
            <p:cNvSpPr/>
            <p:nvPr userDrawn="1"/>
          </p:nvSpPr>
          <p:spPr>
            <a:xfrm>
              <a:off x="-2959433" y="196874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1</a:t>
              </a:r>
            </a:p>
          </p:txBody>
        </p:sp>
        <p:sp>
          <p:nvSpPr>
            <p:cNvPr id="230" name="Ovaal 229"/>
            <p:cNvSpPr/>
            <p:nvPr userDrawn="1"/>
          </p:nvSpPr>
          <p:spPr>
            <a:xfrm>
              <a:off x="-2959433" y="232207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2</a:t>
              </a:r>
            </a:p>
          </p:txBody>
        </p:sp>
        <p:sp>
          <p:nvSpPr>
            <p:cNvPr id="231" name="Ovaal 230"/>
            <p:cNvSpPr/>
            <p:nvPr userDrawn="1"/>
          </p:nvSpPr>
          <p:spPr>
            <a:xfrm>
              <a:off x="-2959433" y="267541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3</a:t>
              </a:r>
            </a:p>
          </p:txBody>
        </p:sp>
        <p:sp>
          <p:nvSpPr>
            <p:cNvPr id="232" name="Ovaal 231"/>
            <p:cNvSpPr/>
            <p:nvPr userDrawn="1"/>
          </p:nvSpPr>
          <p:spPr>
            <a:xfrm>
              <a:off x="-2959433" y="302874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4</a:t>
              </a:r>
            </a:p>
          </p:txBody>
        </p:sp>
        <p:sp>
          <p:nvSpPr>
            <p:cNvPr id="233" name="Textfield placeholder"/>
            <p:cNvSpPr txBox="1">
              <a:spLocks/>
            </p:cNvSpPr>
            <p:nvPr userDrawn="1"/>
          </p:nvSpPr>
          <p:spPr>
            <a:xfrm>
              <a:off x="-2571950" y="1966925"/>
              <a:ext cx="2163709" cy="261500"/>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79388">
                <a:lnSpc>
                  <a:spcPct val="120000"/>
                </a:lnSpc>
                <a:spcBef>
                  <a:spcPts val="0"/>
                </a:spcBef>
                <a:spcAft>
                  <a:spcPts val="900"/>
                </a:spcAft>
                <a:buClr>
                  <a:srgbClr val="000000"/>
                </a:buClr>
                <a:buSzPct val="100000"/>
                <a:buFont typeface="Arial" pitchFamily="34" charset="0"/>
                <a:buNone/>
                <a:defRPr/>
              </a:pPr>
              <a:r>
                <a:rPr lang="nl-NL" sz="1200" dirty="0">
                  <a:solidFill>
                    <a:srgbClr val="535353"/>
                  </a:solidFill>
                </a:rPr>
                <a:t>Leestekst (16 pt.)</a:t>
              </a:r>
            </a:p>
          </p:txBody>
        </p:sp>
        <p:sp>
          <p:nvSpPr>
            <p:cNvPr id="234" name="Textfield placeholder"/>
            <p:cNvSpPr txBox="1">
              <a:spLocks/>
            </p:cNvSpPr>
            <p:nvPr userDrawn="1"/>
          </p:nvSpPr>
          <p:spPr>
            <a:xfrm>
              <a:off x="-2571950" y="2322077"/>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70000" lvl="1"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err="1">
                  <a:solidFill>
                    <a:srgbClr val="535353"/>
                  </a:solidFill>
                </a:rPr>
                <a:t>Bullets</a:t>
              </a:r>
              <a:r>
                <a:rPr lang="nl-NL" sz="1200" dirty="0">
                  <a:solidFill>
                    <a:srgbClr val="535353"/>
                  </a:solidFill>
                </a:rPr>
                <a:t> (16 </a:t>
              </a:r>
              <a:r>
                <a:rPr lang="nl-NL" sz="1200" dirty="0" err="1">
                  <a:solidFill>
                    <a:srgbClr val="535353"/>
                  </a:solidFill>
                </a:rPr>
                <a:t>pt</a:t>
              </a:r>
              <a:r>
                <a:rPr lang="nl-NL" sz="1200" dirty="0">
                  <a:solidFill>
                    <a:srgbClr val="535353"/>
                  </a:solidFill>
                </a:rPr>
                <a:t>.)</a:t>
              </a:r>
            </a:p>
          </p:txBody>
        </p:sp>
        <p:sp>
          <p:nvSpPr>
            <p:cNvPr id="235" name="Textfield placeholder"/>
            <p:cNvSpPr txBox="1">
              <a:spLocks/>
            </p:cNvSpPr>
            <p:nvPr userDrawn="1"/>
          </p:nvSpPr>
          <p:spPr>
            <a:xfrm>
              <a:off x="-2571951" y="3028747"/>
              <a:ext cx="2435141"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10000" lvl="3" indent="-270000" algn="l" defTabSz="179388" rtl="0" eaLnBrk="1" latinLnBrk="0" hangingPunct="1">
                <a:lnSpc>
                  <a:spcPct val="120000"/>
                </a:lnSpc>
                <a:spcBef>
                  <a:spcPts val="0"/>
                </a:spcBef>
                <a:spcAft>
                  <a:spcPts val="900"/>
                </a:spcAft>
                <a:buClr>
                  <a:schemeClr val="accent2"/>
                </a:buClr>
                <a:buSzPct val="80000"/>
                <a:buFont typeface="Wingdings 3" panose="05040102010807070707" pitchFamily="18" charset="2"/>
                <a:buChar char=""/>
                <a:defRPr/>
              </a:pPr>
              <a:r>
                <a:rPr lang="nl-NL" sz="1200" b="0" kern="1200" dirty="0">
                  <a:solidFill>
                    <a:srgbClr val="404040"/>
                  </a:solidFill>
                  <a:latin typeface="+mn-lt"/>
                  <a:ea typeface="+mn-ea"/>
                  <a:cs typeface="+mn-cs"/>
                </a:rPr>
                <a:t>Sub-sub-bullets (16 pt.)</a:t>
              </a:r>
            </a:p>
          </p:txBody>
        </p:sp>
        <p:cxnSp>
          <p:nvCxnSpPr>
            <p:cNvPr id="236" name="Rechte verbindingslijn 235"/>
            <p:cNvCxnSpPr/>
            <p:nvPr userDrawn="1"/>
          </p:nvCxnSpPr>
          <p:spPr>
            <a:xfrm>
              <a:off x="-2959100" y="274900"/>
              <a:ext cx="2674470" cy="0"/>
            </a:xfrm>
            <a:prstGeom prst="line">
              <a:avLst/>
            </a:prstGeom>
            <a:noFill/>
            <a:ln w="9525" cap="flat" cmpd="sng" algn="ctr">
              <a:solidFill>
                <a:schemeClr val="accent1"/>
              </a:solidFill>
              <a:prstDash val="solid"/>
            </a:ln>
            <a:effectLst/>
          </p:spPr>
        </p:cxnSp>
        <p:cxnSp>
          <p:nvCxnSpPr>
            <p:cNvPr id="237" name="Rechte verbindingslijn 236"/>
            <p:cNvCxnSpPr/>
            <p:nvPr userDrawn="1"/>
          </p:nvCxnSpPr>
          <p:spPr>
            <a:xfrm>
              <a:off x="-2959100" y="1841989"/>
              <a:ext cx="2661379" cy="0"/>
            </a:xfrm>
            <a:prstGeom prst="line">
              <a:avLst/>
            </a:prstGeom>
            <a:noFill/>
            <a:ln w="9525" cap="flat" cmpd="sng" algn="ctr">
              <a:solidFill>
                <a:schemeClr val="accent1"/>
              </a:solidFill>
              <a:prstDash val="solid"/>
            </a:ln>
            <a:effectLst/>
          </p:spPr>
        </p:cxnSp>
        <p:cxnSp>
          <p:nvCxnSpPr>
            <p:cNvPr id="238" name="Rechte verbindingslijn 237"/>
            <p:cNvCxnSpPr/>
            <p:nvPr userDrawn="1"/>
          </p:nvCxnSpPr>
          <p:spPr>
            <a:xfrm>
              <a:off x="-2959100" y="5249278"/>
              <a:ext cx="2661379" cy="0"/>
            </a:xfrm>
            <a:prstGeom prst="line">
              <a:avLst/>
            </a:prstGeom>
            <a:noFill/>
            <a:ln w="9525" cap="flat" cmpd="sng" algn="ctr">
              <a:solidFill>
                <a:schemeClr val="accent1"/>
              </a:solidFill>
              <a:prstDash val="solid"/>
            </a:ln>
            <a:effectLst/>
          </p:spPr>
        </p:cxnSp>
        <p:grpSp>
          <p:nvGrpSpPr>
            <p:cNvPr id="239" name="Groep 238"/>
            <p:cNvGrpSpPr/>
            <p:nvPr userDrawn="1"/>
          </p:nvGrpSpPr>
          <p:grpSpPr>
            <a:xfrm>
              <a:off x="-1948476" y="816741"/>
              <a:ext cx="409108" cy="427699"/>
              <a:chOff x="-1085063" y="758027"/>
              <a:chExt cx="633799" cy="622540"/>
            </a:xfrm>
          </p:grpSpPr>
          <p:sp>
            <p:nvSpPr>
              <p:cNvPr id="295" name="Afgeronde rechthoek 294"/>
              <p:cNvSpPr/>
              <p:nvPr userDrawn="1"/>
            </p:nvSpPr>
            <p:spPr>
              <a:xfrm>
                <a:off x="-108506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296" name="Groep 295"/>
              <p:cNvGrpSpPr/>
              <p:nvPr userDrawn="1"/>
            </p:nvGrpSpPr>
            <p:grpSpPr>
              <a:xfrm>
                <a:off x="-977739" y="864082"/>
                <a:ext cx="419168" cy="410429"/>
                <a:chOff x="6366933" y="309013"/>
                <a:chExt cx="1901295" cy="1861668"/>
              </a:xfrm>
              <a:solidFill>
                <a:srgbClr val="000000"/>
              </a:solidFill>
            </p:grpSpPr>
            <p:sp>
              <p:nvSpPr>
                <p:cNvPr id="297" name="Rechthoek 296"/>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8" name="Rechthoek 297"/>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9" name="Rechthoek 298"/>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0" name="Rechthoek 299"/>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1" name="Rechthoek 300"/>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2" name="Rechthoek 301"/>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3" name="Rechthoek 302"/>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4" name="Rechthoek 303"/>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5" name="Rechthoek 304"/>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6" name="Rechthoek 305"/>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7" name="Vrije vorm 306"/>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nvGrpSpPr>
            <p:cNvPr id="240" name="Groep 239"/>
            <p:cNvGrpSpPr/>
            <p:nvPr userDrawn="1"/>
          </p:nvGrpSpPr>
          <p:grpSpPr>
            <a:xfrm>
              <a:off x="-2950232" y="1207835"/>
              <a:ext cx="532929" cy="509563"/>
              <a:chOff x="-2880382" y="802341"/>
              <a:chExt cx="532929" cy="509563"/>
            </a:xfrm>
          </p:grpSpPr>
          <p:sp>
            <p:nvSpPr>
              <p:cNvPr id="273" name="Rechthoek 272"/>
              <p:cNvSpPr/>
              <p:nvPr userDrawn="1"/>
            </p:nvSpPr>
            <p:spPr>
              <a:xfrm>
                <a:off x="-2880382" y="802341"/>
                <a:ext cx="532929" cy="509563"/>
              </a:xfrm>
              <a:prstGeom prst="rect">
                <a:avLst/>
              </a:prstGeom>
              <a:solidFill>
                <a:sysClr val="window" lastClr="FFFFFF"/>
              </a:soli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pic>
            <p:nvPicPr>
              <p:cNvPr id="27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635852" y="822181"/>
                <a:ext cx="226442" cy="208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5"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848026" y="822181"/>
                <a:ext cx="207168" cy="213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76" name="Groep 275"/>
              <p:cNvGrpSpPr/>
              <p:nvPr userDrawn="1"/>
            </p:nvGrpSpPr>
            <p:grpSpPr>
              <a:xfrm>
                <a:off x="-2802433" y="1123442"/>
                <a:ext cx="132915" cy="104889"/>
                <a:chOff x="-2796392" y="1123442"/>
                <a:chExt cx="120832" cy="104889"/>
              </a:xfrm>
            </p:grpSpPr>
            <p:sp>
              <p:nvSpPr>
                <p:cNvPr id="290" name="Rechthoek 289"/>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1" name="Rechthoek 290"/>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2" name="Rechthoek 291"/>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3" name="Rechthoek 292"/>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4" name="Rechthoek 293"/>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277" name="Groep 276"/>
              <p:cNvGrpSpPr/>
              <p:nvPr userDrawn="1"/>
            </p:nvGrpSpPr>
            <p:grpSpPr>
              <a:xfrm>
                <a:off x="-2575417" y="1123442"/>
                <a:ext cx="133930" cy="104889"/>
                <a:chOff x="-2556734" y="1123442"/>
                <a:chExt cx="147324" cy="104889"/>
              </a:xfrm>
            </p:grpSpPr>
            <p:grpSp>
              <p:nvGrpSpPr>
                <p:cNvPr id="278" name="Groep 277"/>
                <p:cNvGrpSpPr/>
                <p:nvPr userDrawn="1"/>
              </p:nvGrpSpPr>
              <p:grpSpPr>
                <a:xfrm>
                  <a:off x="-2556734" y="1123442"/>
                  <a:ext cx="68206" cy="104889"/>
                  <a:chOff x="-2796392" y="1123442"/>
                  <a:chExt cx="120832" cy="104889"/>
                </a:xfrm>
              </p:grpSpPr>
              <p:sp>
                <p:nvSpPr>
                  <p:cNvPr id="285" name="Rechthoek 284"/>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6" name="Rechthoek 285"/>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7" name="Rechthoek 286"/>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8" name="Rechthoek 287"/>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9" name="Rechthoek 288"/>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279" name="Groep 278"/>
                <p:cNvGrpSpPr/>
                <p:nvPr userDrawn="1"/>
              </p:nvGrpSpPr>
              <p:grpSpPr>
                <a:xfrm>
                  <a:off x="-2477616" y="1123442"/>
                  <a:ext cx="68206" cy="104889"/>
                  <a:chOff x="-2796392" y="1123442"/>
                  <a:chExt cx="120832" cy="104889"/>
                </a:xfrm>
              </p:grpSpPr>
              <p:sp>
                <p:nvSpPr>
                  <p:cNvPr id="280" name="Rechthoek 279"/>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1" name="Rechthoek 280"/>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2" name="Rechthoek 281"/>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3" name="Rechthoek 282"/>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4" name="Rechthoek 283"/>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grpSp>
          <p:nvGrpSpPr>
            <p:cNvPr id="241" name="Groep 240"/>
            <p:cNvGrpSpPr/>
            <p:nvPr userDrawn="1"/>
          </p:nvGrpSpPr>
          <p:grpSpPr>
            <a:xfrm>
              <a:off x="-1948476" y="1281164"/>
              <a:ext cx="413704" cy="427699"/>
              <a:chOff x="-1845083" y="758027"/>
              <a:chExt cx="633799" cy="622540"/>
            </a:xfrm>
          </p:grpSpPr>
          <p:sp>
            <p:nvSpPr>
              <p:cNvPr id="260" name="Afgeronde rechthoek 259"/>
              <p:cNvSpPr/>
              <p:nvPr userDrawn="1"/>
            </p:nvSpPr>
            <p:spPr>
              <a:xfrm>
                <a:off x="-184508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261" name="Groep 260"/>
              <p:cNvGrpSpPr/>
              <p:nvPr userDrawn="1"/>
            </p:nvGrpSpPr>
            <p:grpSpPr>
              <a:xfrm>
                <a:off x="-1737762" y="864082"/>
                <a:ext cx="419168" cy="410429"/>
                <a:chOff x="3708400" y="309013"/>
                <a:chExt cx="1901295" cy="1861668"/>
              </a:xfrm>
              <a:solidFill>
                <a:srgbClr val="000000"/>
              </a:solidFill>
            </p:grpSpPr>
            <p:sp>
              <p:nvSpPr>
                <p:cNvPr id="262" name="Rechthoek 261"/>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3" name="Rechthoek 262"/>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4" name="Rechthoek 263"/>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5" name="Rechthoek 264"/>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6" name="Rechthoek 265"/>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7" name="Rechthoek 266"/>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8" name="Rechthoek 267"/>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9" name="Rechthoek 268"/>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0" name="Rechthoek 269"/>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1" name="Rechthoek 270"/>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2" name="Vrije vorm 271"/>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cxnSp>
          <p:nvCxnSpPr>
            <p:cNvPr id="242" name="Rechte verbindingslijn 241"/>
            <p:cNvCxnSpPr/>
            <p:nvPr userDrawn="1"/>
          </p:nvCxnSpPr>
          <p:spPr>
            <a:xfrm>
              <a:off x="-2814292" y="1441193"/>
              <a:ext cx="865816" cy="53821"/>
            </a:xfrm>
            <a:prstGeom prst="line">
              <a:avLst/>
            </a:prstGeom>
            <a:noFill/>
            <a:ln w="9525" cap="flat" cmpd="sng" algn="ctr">
              <a:solidFill>
                <a:schemeClr val="accent1"/>
              </a:solidFill>
              <a:prstDash val="solid"/>
              <a:headEnd type="oval"/>
            </a:ln>
            <a:effectLst/>
          </p:spPr>
        </p:cxnSp>
        <p:cxnSp>
          <p:nvCxnSpPr>
            <p:cNvPr id="243" name="Rechte verbindingslijn 242"/>
            <p:cNvCxnSpPr/>
            <p:nvPr userDrawn="1"/>
          </p:nvCxnSpPr>
          <p:spPr>
            <a:xfrm flipV="1">
              <a:off x="-2453902" y="1030591"/>
              <a:ext cx="505426" cy="283623"/>
            </a:xfrm>
            <a:prstGeom prst="line">
              <a:avLst/>
            </a:prstGeom>
            <a:noFill/>
            <a:ln w="9525" cap="flat" cmpd="sng" algn="ctr">
              <a:solidFill>
                <a:schemeClr val="accent1"/>
              </a:solidFill>
              <a:prstDash val="solid"/>
              <a:headEnd type="oval"/>
            </a:ln>
            <a:effectLst/>
          </p:spPr>
        </p:cxnSp>
        <p:sp>
          <p:nvSpPr>
            <p:cNvPr id="244" name="Textfield placeholder"/>
            <p:cNvSpPr txBox="1">
              <a:spLocks/>
            </p:cNvSpPr>
            <p:nvPr userDrawn="1"/>
          </p:nvSpPr>
          <p:spPr>
            <a:xfrm>
              <a:off x="-1341598" y="816743"/>
              <a:ext cx="1056968" cy="427698"/>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hoog</a:t>
              </a:r>
            </a:p>
          </p:txBody>
        </p:sp>
        <p:sp>
          <p:nvSpPr>
            <p:cNvPr id="245" name="Textfield placeholder"/>
            <p:cNvSpPr txBox="1">
              <a:spLocks/>
            </p:cNvSpPr>
            <p:nvPr userDrawn="1"/>
          </p:nvSpPr>
          <p:spPr>
            <a:xfrm>
              <a:off x="-1341599" y="1281164"/>
              <a:ext cx="1070223" cy="427699"/>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laag</a:t>
              </a:r>
            </a:p>
          </p:txBody>
        </p:sp>
        <p:sp>
          <p:nvSpPr>
            <p:cNvPr id="246" name="Ovaal 245"/>
            <p:cNvSpPr/>
            <p:nvPr userDrawn="1"/>
          </p:nvSpPr>
          <p:spPr>
            <a:xfrm>
              <a:off x="-2959433" y="338208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5</a:t>
              </a:r>
            </a:p>
          </p:txBody>
        </p:sp>
        <p:sp>
          <p:nvSpPr>
            <p:cNvPr id="247" name="Textfield placeholder"/>
            <p:cNvSpPr txBox="1">
              <a:spLocks/>
            </p:cNvSpPr>
            <p:nvPr userDrawn="1"/>
          </p:nvSpPr>
          <p:spPr>
            <a:xfrm>
              <a:off x="-2571950" y="3382082"/>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60000" lvl="4" indent="-360000" defTabSz="179388">
                <a:lnSpc>
                  <a:spcPct val="120000"/>
                </a:lnSpc>
                <a:spcBef>
                  <a:spcPts val="0"/>
                </a:spcBef>
                <a:spcAft>
                  <a:spcPts val="900"/>
                </a:spcAft>
                <a:buClr>
                  <a:srgbClr val="ED1A3B"/>
                </a:buClr>
                <a:buFont typeface="+mj-lt"/>
                <a:buAutoNum type="arabicPeriod"/>
                <a:defRPr/>
              </a:pPr>
              <a:r>
                <a:rPr lang="nl-NL" sz="1200" b="0" dirty="0">
                  <a:solidFill>
                    <a:srgbClr val="404040"/>
                  </a:solidFill>
                </a:rPr>
                <a:t>Numeriek (16 pt.)</a:t>
              </a:r>
            </a:p>
          </p:txBody>
        </p:sp>
        <p:grpSp>
          <p:nvGrpSpPr>
            <p:cNvPr id="248" name="Groep 247"/>
            <p:cNvGrpSpPr/>
            <p:nvPr userDrawn="1"/>
          </p:nvGrpSpPr>
          <p:grpSpPr>
            <a:xfrm>
              <a:off x="-2950232" y="816050"/>
              <a:ext cx="528695" cy="344202"/>
              <a:chOff x="-2880382" y="410556"/>
              <a:chExt cx="528695" cy="344202"/>
            </a:xfrm>
          </p:grpSpPr>
          <p:sp>
            <p:nvSpPr>
              <p:cNvPr id="258" name="Afgeronde rechthoek 257"/>
              <p:cNvSpPr/>
              <p:nvPr userDrawn="1"/>
            </p:nvSpPr>
            <p:spPr>
              <a:xfrm>
                <a:off x="-2874214" y="410556"/>
                <a:ext cx="522527" cy="339183"/>
              </a:xfrm>
              <a:prstGeom prst="roundRect">
                <a:avLst>
                  <a:gd name="adj" fmla="val 7565"/>
                </a:avLst>
              </a:prstGeom>
              <a:gradFill>
                <a:gsLst>
                  <a:gs pos="0">
                    <a:srgbClr val="FFEC8F"/>
                  </a:gs>
                  <a:gs pos="100000">
                    <a:srgbClr val="FFFFFF"/>
                  </a:gs>
                </a:gsLst>
                <a:lin ang="5400000" scaled="0"/>
              </a:gra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sp>
            <p:nvSpPr>
              <p:cNvPr id="259" name="Vrije vorm 258"/>
              <p:cNvSpPr/>
              <p:nvPr userDrawn="1"/>
            </p:nvSpPr>
            <p:spPr>
              <a:xfrm>
                <a:off x="-2880382" y="452699"/>
                <a:ext cx="528695" cy="302059"/>
              </a:xfrm>
              <a:custGeom>
                <a:avLst/>
                <a:gdLst>
                  <a:gd name="connsiteX0" fmla="*/ 55524 w 528695"/>
                  <a:gd name="connsiteY0" fmla="*/ 0 h 302059"/>
                  <a:gd name="connsiteX1" fmla="*/ 455496 w 528695"/>
                  <a:gd name="connsiteY1" fmla="*/ 0 h 302059"/>
                  <a:gd name="connsiteX2" fmla="*/ 475205 w 528695"/>
                  <a:gd name="connsiteY2" fmla="*/ 19709 h 302059"/>
                  <a:gd name="connsiteX3" fmla="*/ 475205 w 528695"/>
                  <a:gd name="connsiteY3" fmla="*/ 230056 h 302059"/>
                  <a:gd name="connsiteX4" fmla="*/ 516694 w 528695"/>
                  <a:gd name="connsiteY4" fmla="*/ 230056 h 302059"/>
                  <a:gd name="connsiteX5" fmla="*/ 528695 w 528695"/>
                  <a:gd name="connsiteY5" fmla="*/ 242057 h 302059"/>
                  <a:gd name="connsiteX6" fmla="*/ 528695 w 528695"/>
                  <a:gd name="connsiteY6" fmla="*/ 290058 h 302059"/>
                  <a:gd name="connsiteX7" fmla="*/ 516694 w 528695"/>
                  <a:gd name="connsiteY7" fmla="*/ 302059 h 302059"/>
                  <a:gd name="connsiteX8" fmla="*/ 12001 w 528695"/>
                  <a:gd name="connsiteY8" fmla="*/ 302059 h 302059"/>
                  <a:gd name="connsiteX9" fmla="*/ 0 w 528695"/>
                  <a:gd name="connsiteY9" fmla="*/ 290058 h 302059"/>
                  <a:gd name="connsiteX10" fmla="*/ 0 w 528695"/>
                  <a:gd name="connsiteY10" fmla="*/ 242057 h 302059"/>
                  <a:gd name="connsiteX11" fmla="*/ 12001 w 528695"/>
                  <a:gd name="connsiteY11" fmla="*/ 230056 h 302059"/>
                  <a:gd name="connsiteX12" fmla="*/ 35815 w 528695"/>
                  <a:gd name="connsiteY12" fmla="*/ 230056 h 302059"/>
                  <a:gd name="connsiteX13" fmla="*/ 35815 w 528695"/>
                  <a:gd name="connsiteY13" fmla="*/ 19709 h 302059"/>
                  <a:gd name="connsiteX14" fmla="*/ 55524 w 528695"/>
                  <a:gd name="connsiteY14" fmla="*/ 0 h 3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8695" h="302059">
                    <a:moveTo>
                      <a:pt x="55524" y="0"/>
                    </a:moveTo>
                    <a:lnTo>
                      <a:pt x="455496" y="0"/>
                    </a:lnTo>
                    <a:cubicBezTo>
                      <a:pt x="466381" y="0"/>
                      <a:pt x="475205" y="8824"/>
                      <a:pt x="475205" y="19709"/>
                    </a:cubicBezTo>
                    <a:lnTo>
                      <a:pt x="475205" y="230056"/>
                    </a:lnTo>
                    <a:lnTo>
                      <a:pt x="516694" y="230056"/>
                    </a:lnTo>
                    <a:cubicBezTo>
                      <a:pt x="523322" y="230056"/>
                      <a:pt x="528695" y="235429"/>
                      <a:pt x="528695" y="242057"/>
                    </a:cubicBezTo>
                    <a:lnTo>
                      <a:pt x="528695" y="290058"/>
                    </a:lnTo>
                    <a:cubicBezTo>
                      <a:pt x="528695" y="296686"/>
                      <a:pt x="523322" y="302059"/>
                      <a:pt x="516694" y="302059"/>
                    </a:cubicBezTo>
                    <a:lnTo>
                      <a:pt x="12001" y="302059"/>
                    </a:lnTo>
                    <a:cubicBezTo>
                      <a:pt x="5373" y="302059"/>
                      <a:pt x="0" y="296686"/>
                      <a:pt x="0" y="290058"/>
                    </a:cubicBezTo>
                    <a:lnTo>
                      <a:pt x="0" y="242057"/>
                    </a:lnTo>
                    <a:cubicBezTo>
                      <a:pt x="0" y="235429"/>
                      <a:pt x="5373" y="230056"/>
                      <a:pt x="12001" y="230056"/>
                    </a:cubicBezTo>
                    <a:lnTo>
                      <a:pt x="35815" y="230056"/>
                    </a:lnTo>
                    <a:lnTo>
                      <a:pt x="35815" y="19709"/>
                    </a:lnTo>
                    <a:cubicBezTo>
                      <a:pt x="35815" y="8824"/>
                      <a:pt x="44639" y="0"/>
                      <a:pt x="55524" y="0"/>
                    </a:cubicBezTo>
                    <a:close/>
                  </a:path>
                </a:pathLst>
              </a:custGeom>
              <a:solidFill>
                <a:sysClr val="window" lastClr="FFFFFF">
                  <a:lumMod val="95000"/>
                </a:sysClr>
              </a:solidFill>
              <a:ln w="9525" cap="flat" cmpd="sng" algn="ctr">
                <a:solidFill>
                  <a:srgbClr val="FFFFFF">
                    <a:lumMod val="90000"/>
                  </a:srgbClr>
                </a:solidFill>
                <a:prstDash val="solid"/>
                <a:miter lim="800000"/>
              </a:ln>
              <a:effectLst/>
            </p:spPr>
            <p:txBody>
              <a:bodyPr rot="0" spcFirstLastPara="0" vert="horz" wrap="square" lIns="108000" tIns="36000" rIns="108000" bIns="10800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900" dirty="0">
                    <a:solidFill>
                      <a:prstClr val="black"/>
                    </a:solidFill>
                    <a:latin typeface="Segoe UI Light"/>
                  </a:rPr>
                  <a:t>Start</a:t>
                </a:r>
              </a:p>
            </p:txBody>
          </p:sp>
        </p:grpSp>
        <p:sp>
          <p:nvSpPr>
            <p:cNvPr id="249" name="Tekstvak 65"/>
            <p:cNvSpPr txBox="1"/>
            <p:nvPr userDrawn="1"/>
          </p:nvSpPr>
          <p:spPr>
            <a:xfrm>
              <a:off x="-2959433" y="372104"/>
              <a:ext cx="2679887" cy="453396"/>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nl-NL" sz="1200" kern="0" dirty="0">
                  <a:solidFill>
                    <a:srgbClr val="000000"/>
                  </a:solidFill>
                  <a:latin typeface="Segoe UI Light" panose="020B0502040204020203" pitchFamily="34" charset="0"/>
                  <a:cs typeface="Segoe UI Light" panose="020B0502040204020203" pitchFamily="34" charset="0"/>
                </a:rPr>
                <a:t>Ga naar de tab </a:t>
              </a:r>
              <a:r>
                <a:rPr lang="nl-NL" sz="1200" b="1" kern="0" dirty="0">
                  <a:solidFill>
                    <a:srgbClr val="000000"/>
                  </a:solidFill>
                  <a:latin typeface="Segoe UI Light" panose="020B0502040204020203" pitchFamily="34" charset="0"/>
                  <a:cs typeface="Segoe UI Light" panose="020B0502040204020203" pitchFamily="34" charset="0"/>
                </a:rPr>
                <a:t>Start’ </a:t>
              </a:r>
              <a:r>
                <a:rPr lang="nl-NL" sz="1200" kern="0" dirty="0">
                  <a:solidFill>
                    <a:srgbClr val="000000"/>
                  </a:solidFill>
                  <a:latin typeface="Segoe UI Light" panose="020B0502040204020203" pitchFamily="34" charset="0"/>
                  <a:cs typeface="Segoe UI Light" panose="020B0502040204020203" pitchFamily="34" charset="0"/>
                </a:rPr>
                <a:t>en vind onderstaande knoppen onder </a:t>
              </a:r>
              <a:r>
                <a:rPr lang="nl-NL" sz="1200" b="1" kern="0" dirty="0">
                  <a:solidFill>
                    <a:srgbClr val="000000"/>
                  </a:solidFill>
                  <a:latin typeface="Segoe UI Light" panose="020B0502040204020203" pitchFamily="34" charset="0"/>
                  <a:cs typeface="Segoe UI Light" panose="020B0502040204020203" pitchFamily="34" charset="0"/>
                </a:rPr>
                <a:t>‘Alinea’</a:t>
              </a:r>
            </a:p>
          </p:txBody>
        </p:sp>
        <p:sp>
          <p:nvSpPr>
            <p:cNvPr id="250" name="Ovaal 249"/>
            <p:cNvSpPr/>
            <p:nvPr userDrawn="1"/>
          </p:nvSpPr>
          <p:spPr>
            <a:xfrm>
              <a:off x="-2959433" y="375153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6</a:t>
              </a:r>
            </a:p>
          </p:txBody>
        </p:sp>
        <p:sp>
          <p:nvSpPr>
            <p:cNvPr id="251" name="Textfield placeholder"/>
            <p:cNvSpPr txBox="1">
              <a:spLocks/>
            </p:cNvSpPr>
            <p:nvPr userDrawn="1"/>
          </p:nvSpPr>
          <p:spPr>
            <a:xfrm>
              <a:off x="-2571950" y="3751536"/>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0000" lvl="5" indent="-270000" defTabSz="179388">
                <a:lnSpc>
                  <a:spcPct val="120000"/>
                </a:lnSpc>
                <a:spcAft>
                  <a:spcPts val="900"/>
                </a:spcAft>
                <a:buClr>
                  <a:srgbClr val="ED1A3B"/>
                </a:buClr>
                <a:buSzPct val="80000"/>
                <a:buFont typeface="Wingdings 3" panose="05040102010807070707" pitchFamily="18" charset="2"/>
                <a:buChar char=""/>
                <a:defRPr/>
              </a:pPr>
              <a:r>
                <a:rPr lang="nl-NL" sz="1200" cap="none" dirty="0">
                  <a:solidFill>
                    <a:srgbClr val="535353"/>
                  </a:solidFill>
                </a:rPr>
                <a:t># Bullets (16 pt.)</a:t>
              </a:r>
            </a:p>
          </p:txBody>
        </p:sp>
        <p:sp>
          <p:nvSpPr>
            <p:cNvPr id="252" name="Ovaal 251"/>
            <p:cNvSpPr/>
            <p:nvPr userDrawn="1"/>
          </p:nvSpPr>
          <p:spPr>
            <a:xfrm>
              <a:off x="-2959433" y="414870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7</a:t>
              </a:r>
            </a:p>
          </p:txBody>
        </p:sp>
        <p:sp>
          <p:nvSpPr>
            <p:cNvPr id="253" name="Textfield placeholder"/>
            <p:cNvSpPr txBox="1">
              <a:spLocks/>
            </p:cNvSpPr>
            <p:nvPr userDrawn="1"/>
          </p:nvSpPr>
          <p:spPr>
            <a:xfrm>
              <a:off x="-2571950" y="414870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6" indent="0" defTabSz="179388">
                <a:lnSpc>
                  <a:spcPct val="120000"/>
                </a:lnSpc>
                <a:spcBef>
                  <a:spcPts val="0"/>
                </a:spcBef>
                <a:spcAft>
                  <a:spcPts val="900"/>
                </a:spcAft>
                <a:buClr>
                  <a:srgbClr val="ED1A3B"/>
                </a:buClr>
                <a:buSzPct val="90000"/>
                <a:buFont typeface="+mj-lt"/>
                <a:buNone/>
                <a:defRPr/>
              </a:pPr>
              <a:r>
                <a:rPr lang="nl-NL" sz="1200" i="1" dirty="0">
                  <a:solidFill>
                    <a:srgbClr val="404040"/>
                  </a:solidFill>
                </a:rPr>
                <a:t>Cursief donker (16 pt.)</a:t>
              </a:r>
            </a:p>
          </p:txBody>
        </p:sp>
        <p:sp>
          <p:nvSpPr>
            <p:cNvPr id="254" name="Ovaal 253"/>
            <p:cNvSpPr/>
            <p:nvPr userDrawn="1"/>
          </p:nvSpPr>
          <p:spPr>
            <a:xfrm>
              <a:off x="-2959433" y="454586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8</a:t>
              </a:r>
            </a:p>
          </p:txBody>
        </p:sp>
        <p:sp>
          <p:nvSpPr>
            <p:cNvPr id="255" name="Textfield placeholder"/>
            <p:cNvSpPr txBox="1">
              <a:spLocks/>
            </p:cNvSpPr>
            <p:nvPr userDrawn="1"/>
          </p:nvSpPr>
          <p:spPr>
            <a:xfrm>
              <a:off x="-2571950" y="4545864"/>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7" indent="0" defTabSz="179388">
                <a:lnSpc>
                  <a:spcPct val="80000"/>
                </a:lnSpc>
                <a:spcBef>
                  <a:spcPts val="0"/>
                </a:spcBef>
                <a:spcAft>
                  <a:spcPts val="900"/>
                </a:spcAft>
                <a:buClr>
                  <a:srgbClr val="ED1A3B"/>
                </a:buClr>
                <a:buFont typeface="Arial" pitchFamily="34" charset="0"/>
                <a:buNone/>
                <a:defRPr/>
              </a:pPr>
              <a:r>
                <a:rPr lang="nl-NL" sz="1200" i="1" dirty="0">
                  <a:solidFill>
                    <a:srgbClr val="A3B0C0"/>
                  </a:solidFill>
                </a:rPr>
                <a:t>Cursief Licht (16 pt.)</a:t>
              </a:r>
            </a:p>
          </p:txBody>
        </p:sp>
        <p:sp>
          <p:nvSpPr>
            <p:cNvPr id="256" name="Ovaal 255"/>
            <p:cNvSpPr/>
            <p:nvPr userDrawn="1"/>
          </p:nvSpPr>
          <p:spPr>
            <a:xfrm>
              <a:off x="-2959433" y="488761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9</a:t>
              </a:r>
            </a:p>
          </p:txBody>
        </p:sp>
        <p:sp>
          <p:nvSpPr>
            <p:cNvPr id="257" name="Textfield placeholder"/>
            <p:cNvSpPr txBox="1">
              <a:spLocks/>
            </p:cNvSpPr>
            <p:nvPr userDrawn="1"/>
          </p:nvSpPr>
          <p:spPr>
            <a:xfrm>
              <a:off x="-2571950" y="488761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8" indent="0" defTabSz="179388">
                <a:lnSpc>
                  <a:spcPct val="80000"/>
                </a:lnSpc>
                <a:spcBef>
                  <a:spcPts val="0"/>
                </a:spcBef>
                <a:spcAft>
                  <a:spcPts val="900"/>
                </a:spcAft>
                <a:buClr>
                  <a:srgbClr val="ED1A3B"/>
                </a:buClr>
                <a:buFont typeface="Arial" pitchFamily="34" charset="0"/>
                <a:buNone/>
                <a:defRPr/>
              </a:pPr>
              <a:r>
                <a:rPr lang="nl-NL" sz="1400" b="1" dirty="0">
                  <a:solidFill>
                    <a:srgbClr val="ED1A3B"/>
                  </a:solidFill>
                </a:rPr>
                <a:t>Subtitel (18 pt.)</a:t>
              </a:r>
            </a:p>
          </p:txBody>
        </p:sp>
      </p:grpSp>
      <p:sp>
        <p:nvSpPr>
          <p:cNvPr id="124" name="Hyperlink - Inhoudsopgave">
            <a:hlinkClick r:id="rId4" action="ppaction://hlinksldjump"/>
          </p:cNvPr>
          <p:cNvSpPr/>
          <p:nvPr userDrawn="1"/>
        </p:nvSpPr>
        <p:spPr>
          <a:xfrm>
            <a:off x="10197856" y="5889801"/>
            <a:ext cx="2000494" cy="968199"/>
          </a:xfrm>
          <a:prstGeom prst="rect">
            <a:avLst/>
          </a:prstGeom>
          <a:solidFill>
            <a:srgbClr val="ED1A3B">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122" name="Grijze achtergrond"/>
          <p:cNvSpPr/>
          <p:nvPr userDrawn="1"/>
        </p:nvSpPr>
        <p:spPr>
          <a:xfrm>
            <a:off x="6504093" y="1358671"/>
            <a:ext cx="5030147" cy="444046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en-GB">
              <a:solidFill>
                <a:srgbClr val="FFFFFF"/>
              </a:solidFill>
            </a:endParaRPr>
          </a:p>
        </p:txBody>
      </p:sp>
      <p:cxnSp>
        <p:nvCxnSpPr>
          <p:cNvPr id="25" name="Grijze lijn - onder"/>
          <p:cNvCxnSpPr/>
          <p:nvPr/>
        </p:nvCxnSpPr>
        <p:spPr>
          <a:xfrm flipH="1">
            <a:off x="6504093" y="5776291"/>
            <a:ext cx="5030509"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8" name="Grijze lijn - boven"/>
          <p:cNvCxnSpPr/>
          <p:nvPr/>
        </p:nvCxnSpPr>
        <p:spPr>
          <a:xfrm flipH="1">
            <a:off x="664804" y="1358670"/>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21" name="Tijdelijke aanduiding voor Dianummer"/>
          <p:cNvSpPr>
            <a:spLocks noGrp="1"/>
          </p:cNvSpPr>
          <p:nvPr>
            <p:ph type="sldNum" sz="quarter" idx="4"/>
          </p:nvPr>
        </p:nvSpPr>
        <p:spPr>
          <a:xfrm>
            <a:off x="5770549" y="6295992"/>
            <a:ext cx="657251" cy="365125"/>
          </a:xfrm>
          <a:prstGeom prst="rect">
            <a:avLst/>
          </a:prstGeom>
        </p:spPr>
        <p:txBody>
          <a:bodyPr vert="horz" lIns="91440" tIns="45720" rIns="91440" bIns="45720" rtlCol="0" anchor="ctr"/>
          <a:lstStyle>
            <a:lvl1pPr algn="ctr">
              <a:defRPr sz="800">
                <a:solidFill>
                  <a:schemeClr val="tx1">
                    <a:tint val="75000"/>
                  </a:schemeClr>
                </a:solidFill>
              </a:defRPr>
            </a:lvl1pPr>
          </a:lstStyle>
          <a:p>
            <a:fld id="{1B3FA67A-C720-417A-A072-0CD211FD8662}" type="slidenum">
              <a:rPr lang="nl-NL" smtClean="0">
                <a:solidFill>
                  <a:srgbClr val="000000">
                    <a:tint val="75000"/>
                  </a:srgbClr>
                </a:solidFill>
              </a:rPr>
              <a:pPr/>
              <a:t>‹nr.›</a:t>
            </a:fld>
            <a:endParaRPr lang="nl-NL" dirty="0">
              <a:solidFill>
                <a:srgbClr val="000000">
                  <a:tint val="75000"/>
                </a:srgbClr>
              </a:solidFill>
            </a:endParaRPr>
          </a:p>
        </p:txBody>
      </p:sp>
      <p:sp>
        <p:nvSpPr>
          <p:cNvPr id="16" name="Tijdelijke aanduiding voor Grafiek"/>
          <p:cNvSpPr>
            <a:spLocks noGrp="1"/>
          </p:cNvSpPr>
          <p:nvPr>
            <p:ph type="chart" sz="quarter" idx="17"/>
          </p:nvPr>
        </p:nvSpPr>
        <p:spPr>
          <a:xfrm>
            <a:off x="6843708" y="2227480"/>
            <a:ext cx="4350919" cy="3211296"/>
          </a:xfrm>
        </p:spPr>
        <p:txBody>
          <a:bodyPr anchor="ctr"/>
          <a:lstStyle>
            <a:lvl1pPr algn="ctr">
              <a:defRPr/>
            </a:lvl1pPr>
          </a:lstStyle>
          <a:p>
            <a:r>
              <a:rPr lang="nl-NL"/>
              <a:t>Klik op het pictogram als u een grafiek wilt toevoegen</a:t>
            </a:r>
            <a:endParaRPr lang="en-GB" dirty="0"/>
          </a:p>
        </p:txBody>
      </p:sp>
      <p:sp>
        <p:nvSpPr>
          <p:cNvPr id="20" name="Tijdelijke aanduiding voor Tekst bij Grafiek"/>
          <p:cNvSpPr>
            <a:spLocks noGrp="1"/>
          </p:cNvSpPr>
          <p:nvPr>
            <p:ph type="body" orient="vert" idx="18" hasCustomPrompt="1"/>
          </p:nvPr>
        </p:nvSpPr>
        <p:spPr>
          <a:xfrm>
            <a:off x="6504094" y="1720868"/>
            <a:ext cx="5030146" cy="336533"/>
          </a:xfrm>
        </p:spPr>
        <p:txBody>
          <a:bodyPr vert="horz"/>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nl-NL" dirty="0"/>
              <a:t>Leestekst</a:t>
            </a:r>
          </a:p>
          <a:p>
            <a:pPr lvl="1"/>
            <a:r>
              <a:rPr lang="nl-NL" dirty="0"/>
              <a:t>Bullets</a:t>
            </a:r>
          </a:p>
          <a:p>
            <a:pPr lvl="2"/>
            <a:r>
              <a:rPr lang="nl-NL" dirty="0"/>
              <a:t>Sub-bullets</a:t>
            </a:r>
          </a:p>
          <a:p>
            <a:pPr lvl="3"/>
            <a:r>
              <a:rPr lang="nl-NL" dirty="0"/>
              <a:t>Sub-sub-bullets</a:t>
            </a:r>
          </a:p>
          <a:p>
            <a:pPr lvl="4"/>
            <a:r>
              <a:rPr lang="nl-NL" dirty="0"/>
              <a:t>Numeriek</a:t>
            </a:r>
          </a:p>
          <a:p>
            <a:pPr lvl="5"/>
            <a:r>
              <a:rPr lang="nl-NL" dirty="0"/>
              <a:t># Bullets</a:t>
            </a:r>
          </a:p>
          <a:p>
            <a:pPr lvl="6"/>
            <a:r>
              <a:rPr lang="nl-NL" dirty="0"/>
              <a:t>Cursief donker</a:t>
            </a:r>
          </a:p>
          <a:p>
            <a:pPr lvl="7"/>
            <a:r>
              <a:rPr lang="nl-NL" dirty="0"/>
              <a:t>Cursief licht</a:t>
            </a:r>
          </a:p>
          <a:p>
            <a:pPr lvl="8"/>
            <a:r>
              <a:rPr lang="nl-NL" dirty="0"/>
              <a:t>Subtitel</a:t>
            </a:r>
          </a:p>
        </p:txBody>
      </p:sp>
      <p:sp>
        <p:nvSpPr>
          <p:cNvPr id="3" name="Tijdelijke aanduiding voor Tekst"/>
          <p:cNvSpPr>
            <a:spLocks noGrp="1"/>
          </p:cNvSpPr>
          <p:nvPr>
            <p:ph type="body" orient="vert" idx="1" hasCustomPrompt="1"/>
          </p:nvPr>
        </p:nvSpPr>
        <p:spPr>
          <a:xfrm>
            <a:off x="664110" y="1720867"/>
            <a:ext cx="5393498" cy="3693600"/>
          </a:xfrm>
        </p:spPr>
        <p:txBody>
          <a:bodyPr vert="horz"/>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800"/>
            </a:lvl9pPr>
          </a:lstStyle>
          <a:p>
            <a:pPr lvl="0"/>
            <a:r>
              <a:rPr lang="nl-NL" dirty="0"/>
              <a:t>Leestekst</a:t>
            </a:r>
          </a:p>
          <a:p>
            <a:pPr lvl="1"/>
            <a:r>
              <a:rPr lang="nl-NL" dirty="0"/>
              <a:t>Bullets</a:t>
            </a:r>
          </a:p>
          <a:p>
            <a:pPr lvl="2"/>
            <a:r>
              <a:rPr lang="nl-NL" dirty="0"/>
              <a:t>Sub-bullets</a:t>
            </a:r>
          </a:p>
          <a:p>
            <a:pPr lvl="3"/>
            <a:r>
              <a:rPr lang="nl-NL" dirty="0"/>
              <a:t>Sub-sub-bullets</a:t>
            </a:r>
          </a:p>
          <a:p>
            <a:pPr lvl="4"/>
            <a:r>
              <a:rPr lang="nl-NL" dirty="0"/>
              <a:t>Numeriek</a:t>
            </a:r>
          </a:p>
          <a:p>
            <a:pPr lvl="5"/>
            <a:r>
              <a:rPr lang="nl-NL" dirty="0"/>
              <a:t># Bullets</a:t>
            </a:r>
          </a:p>
          <a:p>
            <a:pPr lvl="6"/>
            <a:r>
              <a:rPr lang="nl-NL" dirty="0"/>
              <a:t>Cursief donker</a:t>
            </a:r>
          </a:p>
          <a:p>
            <a:pPr lvl="7"/>
            <a:r>
              <a:rPr lang="nl-NL" dirty="0"/>
              <a:t>Cursief licht</a:t>
            </a:r>
          </a:p>
          <a:p>
            <a:pPr lvl="8"/>
            <a:r>
              <a:rPr lang="nl-NL" dirty="0"/>
              <a:t>Subtitel</a:t>
            </a:r>
          </a:p>
        </p:txBody>
      </p:sp>
      <p:sp>
        <p:nvSpPr>
          <p:cNvPr id="14" name="Tijdelijke aanduiding voor Subtitel"/>
          <p:cNvSpPr>
            <a:spLocks noGrp="1"/>
          </p:cNvSpPr>
          <p:nvPr>
            <p:ph type="body" idx="14"/>
          </p:nvPr>
        </p:nvSpPr>
        <p:spPr>
          <a:xfrm>
            <a:off x="664109" y="1001348"/>
            <a:ext cx="10870131" cy="317758"/>
          </a:xfrm>
        </p:spPr>
        <p:txBody>
          <a:bodyPr bIns="72000" anchor="t" anchorCtr="0"/>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15" name="Tijdelijke aanduiding voor Titel"/>
          <p:cNvSpPr>
            <a:spLocks noGrp="1"/>
          </p:cNvSpPr>
          <p:nvPr>
            <p:ph type="title"/>
          </p:nvPr>
        </p:nvSpPr>
        <p:spPr>
          <a:xfrm>
            <a:off x="664109" y="464521"/>
            <a:ext cx="10870131" cy="533219"/>
          </a:xfrm>
        </p:spPr>
        <p:txBody>
          <a:bodyPr/>
          <a:lstStyle/>
          <a:p>
            <a:r>
              <a:rPr lang="nl-NL"/>
              <a:t>Klik om stijl te bewerken</a:t>
            </a:r>
            <a:endParaRPr lang="nl-NL" dirty="0"/>
          </a:p>
        </p:txBody>
      </p:sp>
    </p:spTree>
    <p:extLst>
      <p:ext uri="{BB962C8B-B14F-4D97-AF65-F5344CB8AC3E}">
        <p14:creationId xmlns:p14="http://schemas.microsoft.com/office/powerpoint/2010/main" val="364109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Grafiek 75%">
    <p:spTree>
      <p:nvGrpSpPr>
        <p:cNvPr id="1" name=""/>
        <p:cNvGrpSpPr/>
        <p:nvPr/>
      </p:nvGrpSpPr>
      <p:grpSpPr>
        <a:xfrm>
          <a:off x="0" y="0"/>
          <a:ext cx="0" cy="0"/>
          <a:chOff x="0" y="0"/>
          <a:chExt cx="0" cy="0"/>
        </a:xfrm>
      </p:grpSpPr>
      <p:sp>
        <p:nvSpPr>
          <p:cNvPr id="18" name="Naam indeling - Grafiek 75%"/>
          <p:cNvSpPr txBox="1"/>
          <p:nvPr/>
        </p:nvSpPr>
        <p:spPr>
          <a:xfrm>
            <a:off x="1" y="-453266"/>
            <a:ext cx="3582333" cy="276999"/>
          </a:xfrm>
          <a:prstGeom prst="rect">
            <a:avLst/>
          </a:prstGeom>
          <a:noFill/>
        </p:spPr>
        <p:txBody>
          <a:bodyPr wrap="square" lIns="0" tIns="0" rIns="0" bIns="0" rtlCol="0">
            <a:spAutoFit/>
          </a:bodyPr>
          <a:lstStyle/>
          <a:p>
            <a:pPr defTabSz="914112"/>
            <a:r>
              <a:rPr lang="nl-NL" dirty="0">
                <a:solidFill>
                  <a:srgbClr val="404040"/>
                </a:solidFill>
                <a:latin typeface="Calibri" panose="020F0502020204030204" pitchFamily="34" charset="0"/>
              </a:rPr>
              <a:t>Grafiek 75%</a:t>
            </a:r>
            <a:endParaRPr lang="en-GB" dirty="0">
              <a:solidFill>
                <a:srgbClr val="404040"/>
              </a:solidFill>
              <a:latin typeface="Calibri" panose="020F0502020204030204" pitchFamily="34" charset="0"/>
            </a:endParaRPr>
          </a:p>
        </p:txBody>
      </p:sp>
      <p:grpSp>
        <p:nvGrpSpPr>
          <p:cNvPr id="14" name="Instructie - Grafiek invoegen"/>
          <p:cNvGrpSpPr/>
          <p:nvPr/>
        </p:nvGrpSpPr>
        <p:grpSpPr>
          <a:xfrm>
            <a:off x="12542657" y="1"/>
            <a:ext cx="2717046" cy="3676571"/>
            <a:chOff x="12435216" y="14897"/>
            <a:chExt cx="2716339" cy="3676571"/>
          </a:xfrm>
        </p:grpSpPr>
        <p:sp>
          <p:nvSpPr>
            <p:cNvPr id="15" name="Rechthoek 14"/>
            <p:cNvSpPr/>
            <p:nvPr/>
          </p:nvSpPr>
          <p:spPr>
            <a:xfrm>
              <a:off x="12441150" y="14897"/>
              <a:ext cx="2696270" cy="161771"/>
            </a:xfrm>
            <a:prstGeom prst="rect">
              <a:avLst/>
            </a:prstGeom>
            <a:noFill/>
            <a:ln w="25400" cap="flat" cmpd="sng" algn="ctr">
              <a:noFill/>
              <a:prstDash val="solid"/>
            </a:ln>
            <a:effectLst/>
          </p:spPr>
          <p:txBody>
            <a:bodyPr lIns="0" tIns="0" rIns="0" bIns="0" rtlCol="0" anchor="t"/>
            <a:lstStyle/>
            <a:p>
              <a:pPr defTabSz="914112">
                <a:lnSpc>
                  <a:spcPct val="80000"/>
                </a:lnSpc>
              </a:pPr>
              <a:r>
                <a:rPr lang="nl-NL" sz="1600" b="1" kern="0" cap="all" dirty="0">
                  <a:solidFill>
                    <a:srgbClr val="ED1A3B"/>
                  </a:solidFill>
                  <a:cs typeface="Segoe UI Light" panose="020B0502040204020203" pitchFamily="34" charset="0"/>
                </a:rPr>
                <a:t>Grafiek INVOEGEN</a:t>
              </a:r>
            </a:p>
          </p:txBody>
        </p:sp>
        <p:sp>
          <p:nvSpPr>
            <p:cNvPr id="21" name="Tekstvak 33"/>
            <p:cNvSpPr txBox="1"/>
            <p:nvPr/>
          </p:nvSpPr>
          <p:spPr>
            <a:xfrm>
              <a:off x="12441149" y="814239"/>
              <a:ext cx="2710405" cy="719877"/>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Indien nodig, verwijder de bestaande grafiek. Klik op het pictogram om </a:t>
              </a:r>
              <a:br>
                <a:rPr lang="nl-NL" sz="1200" kern="0" dirty="0">
                  <a:solidFill>
                    <a:srgbClr val="000000"/>
                  </a:solidFill>
                  <a:latin typeface="Trebuchet MS"/>
                  <a:cs typeface="Segoe UI Light" panose="020B0502040204020203" pitchFamily="34" charset="0"/>
                </a:rPr>
              </a:br>
              <a:r>
                <a:rPr lang="nl-NL" sz="1200" kern="0" dirty="0">
                  <a:solidFill>
                    <a:srgbClr val="000000"/>
                  </a:solidFill>
                  <a:latin typeface="Trebuchet MS"/>
                  <a:cs typeface="Segoe UI Light" panose="020B0502040204020203" pitchFamily="34" charset="0"/>
                </a:rPr>
                <a:t>een grafiek in te voegen</a:t>
              </a:r>
              <a:br>
                <a:rPr lang="nl-NL" sz="1200" kern="0" dirty="0">
                  <a:solidFill>
                    <a:srgbClr val="000000"/>
                  </a:solidFill>
                  <a:latin typeface="Trebuchet MS"/>
                  <a:cs typeface="Segoe UI Light" panose="020B0502040204020203" pitchFamily="34" charset="0"/>
                </a:rPr>
              </a:br>
              <a:r>
                <a:rPr lang="nl-NL" sz="1100" i="1" kern="0" dirty="0">
                  <a:solidFill>
                    <a:srgbClr val="000000"/>
                  </a:solidFill>
                  <a:latin typeface="Trebuchet MS"/>
                  <a:cs typeface="Segoe UI Light" panose="020B0502040204020203" pitchFamily="34" charset="0"/>
                </a:rPr>
                <a:t>(zie onderstaand voorbeeld).</a:t>
              </a:r>
            </a:p>
          </p:txBody>
        </p:sp>
        <p:sp>
          <p:nvSpPr>
            <p:cNvPr id="22" name="Tekstvak 33"/>
            <p:cNvSpPr txBox="1"/>
            <p:nvPr/>
          </p:nvSpPr>
          <p:spPr>
            <a:xfrm>
              <a:off x="12441149" y="2793904"/>
              <a:ext cx="2710405" cy="395943"/>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Selecteer de afbeelding die u wilt invoegen en klik op </a:t>
              </a:r>
              <a:r>
                <a:rPr lang="nl-NL" sz="1200" b="1" kern="0" dirty="0">
                  <a:solidFill>
                    <a:srgbClr val="000000"/>
                  </a:solidFill>
                  <a:latin typeface="Trebuchet MS"/>
                  <a:cs typeface="Segoe UI Light" panose="020B0502040204020203" pitchFamily="34" charset="0"/>
                </a:rPr>
                <a:t>‘Invoegen’</a:t>
              </a:r>
            </a:p>
          </p:txBody>
        </p:sp>
        <p:sp>
          <p:nvSpPr>
            <p:cNvPr id="23" name="Ovaal 22"/>
            <p:cNvSpPr/>
            <p:nvPr/>
          </p:nvSpPr>
          <p:spPr>
            <a:xfrm>
              <a:off x="12441150" y="379292"/>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1</a:t>
              </a:r>
            </a:p>
          </p:txBody>
        </p:sp>
        <p:sp>
          <p:nvSpPr>
            <p:cNvPr id="25" name="Ovaal 24"/>
            <p:cNvSpPr/>
            <p:nvPr/>
          </p:nvSpPr>
          <p:spPr>
            <a:xfrm>
              <a:off x="12441150" y="2337208"/>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2</a:t>
              </a:r>
            </a:p>
          </p:txBody>
        </p:sp>
        <p:cxnSp>
          <p:nvCxnSpPr>
            <p:cNvPr id="27" name="Rechte verbindingslijn 26"/>
            <p:cNvCxnSpPr/>
            <p:nvPr/>
          </p:nvCxnSpPr>
          <p:spPr>
            <a:xfrm>
              <a:off x="12441150" y="248176"/>
              <a:ext cx="2710405" cy="0"/>
            </a:xfrm>
            <a:prstGeom prst="line">
              <a:avLst/>
            </a:prstGeom>
            <a:noFill/>
            <a:ln w="9525" cap="flat" cmpd="sng" algn="ctr">
              <a:solidFill>
                <a:schemeClr val="accent1"/>
              </a:solidFill>
              <a:prstDash val="solid"/>
            </a:ln>
            <a:effectLst/>
          </p:spPr>
        </p:cxnSp>
        <p:cxnSp>
          <p:nvCxnSpPr>
            <p:cNvPr id="28" name="Rechte verbindingslijn 27"/>
            <p:cNvCxnSpPr/>
            <p:nvPr/>
          </p:nvCxnSpPr>
          <p:spPr>
            <a:xfrm>
              <a:off x="12441149" y="2212830"/>
              <a:ext cx="2710405" cy="0"/>
            </a:xfrm>
            <a:prstGeom prst="line">
              <a:avLst/>
            </a:prstGeom>
            <a:noFill/>
            <a:ln w="9525" cap="flat" cmpd="sng" algn="ctr">
              <a:solidFill>
                <a:schemeClr val="accent1"/>
              </a:solidFill>
              <a:prstDash val="solid"/>
            </a:ln>
            <a:effectLst/>
          </p:spPr>
        </p:cxnSp>
        <p:cxnSp>
          <p:nvCxnSpPr>
            <p:cNvPr id="30" name="Rechte verbindingslijn 29"/>
            <p:cNvCxnSpPr/>
            <p:nvPr/>
          </p:nvCxnSpPr>
          <p:spPr>
            <a:xfrm>
              <a:off x="12444679" y="3691468"/>
              <a:ext cx="2706875" cy="0"/>
            </a:xfrm>
            <a:prstGeom prst="line">
              <a:avLst/>
            </a:prstGeom>
            <a:noFill/>
            <a:ln w="9525" cap="flat" cmpd="sng" algn="ctr">
              <a:solidFill>
                <a:schemeClr val="accent1"/>
              </a:solidFill>
              <a:prstDash val="solid"/>
            </a:ln>
            <a:effectLst/>
          </p:spPr>
        </p:cxnSp>
        <p:grpSp>
          <p:nvGrpSpPr>
            <p:cNvPr id="31" name="Groep 30"/>
            <p:cNvGrpSpPr/>
            <p:nvPr/>
          </p:nvGrpSpPr>
          <p:grpSpPr>
            <a:xfrm>
              <a:off x="12450571" y="3301369"/>
              <a:ext cx="1002992" cy="267962"/>
              <a:chOff x="13560784" y="3471416"/>
              <a:chExt cx="1114138" cy="297656"/>
            </a:xfrm>
          </p:grpSpPr>
          <p:sp>
            <p:nvSpPr>
              <p:cNvPr id="36" name="Afgeronde rechthoek 88"/>
              <p:cNvSpPr/>
              <p:nvPr/>
            </p:nvSpPr>
            <p:spPr>
              <a:xfrm>
                <a:off x="13560784" y="3471416"/>
                <a:ext cx="1114138" cy="297656"/>
              </a:xfrm>
              <a:prstGeom prst="roundRect">
                <a:avLst/>
              </a:prstGeom>
              <a:gradFill flip="none" rotWithShape="1">
                <a:gsLst>
                  <a:gs pos="4000">
                    <a:srgbClr val="00B0F0"/>
                  </a:gs>
                  <a:gs pos="0">
                    <a:srgbClr val="0070C0"/>
                  </a:gs>
                  <a:gs pos="100000">
                    <a:srgbClr val="0070C0"/>
                  </a:gs>
                  <a:gs pos="12000">
                    <a:srgbClr val="D1EAFF"/>
                  </a:gs>
                  <a:gs pos="96000">
                    <a:srgbClr val="00B0F0"/>
                  </a:gs>
                  <a:gs pos="89000">
                    <a:srgbClr val="DDF4FF"/>
                  </a:gs>
                  <a:gs pos="43000">
                    <a:srgbClr val="D1EAFF"/>
                  </a:gs>
                  <a:gs pos="51000">
                    <a:srgbClr val="DDF4FF"/>
                  </a:gs>
                </a:gsLst>
                <a:lin ang="16200000" scaled="1"/>
                <a:tileRect/>
              </a:gradFill>
              <a:ln w="63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dirty="0">
                  <a:solidFill>
                    <a:srgbClr val="FFFFFF"/>
                  </a:solidFill>
                </a:endParaRPr>
              </a:p>
            </p:txBody>
          </p:sp>
          <p:sp>
            <p:nvSpPr>
              <p:cNvPr id="37" name="Tekstvak 36"/>
              <p:cNvSpPr txBox="1"/>
              <p:nvPr/>
            </p:nvSpPr>
            <p:spPr>
              <a:xfrm>
                <a:off x="13573594" y="3488254"/>
                <a:ext cx="888311" cy="273506"/>
              </a:xfrm>
              <a:prstGeom prst="rect">
                <a:avLst/>
              </a:prstGeom>
              <a:noFill/>
            </p:spPr>
            <p:txBody>
              <a:bodyPr wrap="square" rtlCol="0" anchor="ctr">
                <a:spAutoFit/>
              </a:bodyPr>
              <a:lstStyle>
                <a:defPPr>
                  <a:defRPr lang="nl-NL"/>
                </a:defPPr>
                <a:lvl1pPr marR="0" lvl="0" indent="0" algn="ctr" fontAlgn="auto">
                  <a:lnSpc>
                    <a:spcPct val="100000"/>
                  </a:lnSpc>
                  <a:spcBef>
                    <a:spcPts val="0"/>
                  </a:spcBef>
                  <a:spcAft>
                    <a:spcPts val="0"/>
                  </a:spcAft>
                  <a:buClrTx/>
                  <a:buSzTx/>
                  <a:buFontTx/>
                  <a:buNone/>
                  <a:tabLst/>
                  <a:defRPr kumimoji="0" sz="900" i="0" u="none" strike="noStrike" kern="0" cap="none" spc="0" normalizeH="0" baseline="0">
                    <a:ln>
                      <a:noFill/>
                    </a:ln>
                    <a:effectLst>
                      <a:outerShdw blurRad="25400" algn="ctr" rotWithShape="0">
                        <a:prstClr val="white"/>
                      </a:outerShdw>
                    </a:effectLst>
                    <a:uLnTx/>
                    <a:uFillTx/>
                    <a:latin typeface="Segoe UI Light" panose="020B0502040204020203" pitchFamily="34" charset="0"/>
                    <a:cs typeface="Segoe UI Light" panose="020B0502040204020203" pitchFamily="34" charset="0"/>
                  </a:defRPr>
                </a:lvl1pPr>
                <a:lvl2pPr fontAlgn="base">
                  <a:spcBef>
                    <a:spcPct val="0"/>
                  </a:spcBef>
                  <a:spcAft>
                    <a:spcPct val="0"/>
                  </a:spcAft>
                  <a:defRPr>
                    <a:latin typeface="Arial" charset="0"/>
                    <a:cs typeface="Arial" charset="0"/>
                  </a:defRPr>
                </a:lvl2pPr>
                <a:lvl3pPr fontAlgn="base">
                  <a:spcBef>
                    <a:spcPct val="0"/>
                  </a:spcBef>
                  <a:spcAft>
                    <a:spcPct val="0"/>
                  </a:spcAft>
                  <a:defRPr>
                    <a:latin typeface="Arial" charset="0"/>
                    <a:cs typeface="Arial" charset="0"/>
                  </a:defRPr>
                </a:lvl3pPr>
                <a:lvl4pPr fontAlgn="base">
                  <a:spcBef>
                    <a:spcPct val="0"/>
                  </a:spcBef>
                  <a:spcAft>
                    <a:spcPct val="0"/>
                  </a:spcAft>
                  <a:defRPr>
                    <a:latin typeface="Arial" charset="0"/>
                    <a:cs typeface="Arial" charset="0"/>
                  </a:defRPr>
                </a:lvl4pPr>
                <a:lvl5pPr fontAlgn="base">
                  <a:spcBef>
                    <a:spcPct val="0"/>
                  </a:spcBef>
                  <a:spcAft>
                    <a:spcPct val="0"/>
                  </a:spcAft>
                  <a:defRPr>
                    <a:latin typeface="Arial" charset="0"/>
                    <a:cs typeface="Arial" charset="0"/>
                  </a:defRPr>
                </a:lvl5pPr>
                <a:lvl6pPr>
                  <a:defRPr>
                    <a:latin typeface="Arial" charset="0"/>
                    <a:cs typeface="Arial" charset="0"/>
                  </a:defRPr>
                </a:lvl6pPr>
                <a:lvl7pPr>
                  <a:defRPr>
                    <a:latin typeface="Arial" charset="0"/>
                    <a:cs typeface="Arial" charset="0"/>
                  </a:defRPr>
                </a:lvl7pPr>
                <a:lvl8pPr>
                  <a:defRPr>
                    <a:latin typeface="Arial" charset="0"/>
                    <a:cs typeface="Arial" charset="0"/>
                  </a:defRPr>
                </a:lvl8pPr>
                <a:lvl9pPr>
                  <a:defRPr>
                    <a:latin typeface="Arial" charset="0"/>
                    <a:cs typeface="Arial" charset="0"/>
                  </a:defRPr>
                </a:lvl9pPr>
              </a:lstStyle>
              <a:p>
                <a:pPr defTabSz="914112"/>
                <a:r>
                  <a:rPr lang="nl-NL" sz="1000" dirty="0">
                    <a:solidFill>
                      <a:srgbClr val="000000"/>
                    </a:solidFill>
                    <a:latin typeface="Trebuchet MS"/>
                  </a:rPr>
                  <a:t>Invoegen</a:t>
                </a:r>
              </a:p>
            </p:txBody>
          </p:sp>
          <p:cxnSp>
            <p:nvCxnSpPr>
              <p:cNvPr id="38" name="Rechte verbindingslijn 37"/>
              <p:cNvCxnSpPr/>
              <p:nvPr/>
            </p:nvCxnSpPr>
            <p:spPr>
              <a:xfrm>
                <a:off x="14461905" y="3507058"/>
                <a:ext cx="0" cy="224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Gelijkbenige driehoek 38"/>
              <p:cNvSpPr/>
              <p:nvPr/>
            </p:nvSpPr>
            <p:spPr>
              <a:xfrm rot="10800000">
                <a:off x="14518584" y="3600521"/>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112"/>
                <a:endParaRPr lang="nl-NL" dirty="0">
                  <a:solidFill>
                    <a:srgbClr val="FFFFFF"/>
                  </a:solidFill>
                </a:endParaRPr>
              </a:p>
            </p:txBody>
          </p:sp>
        </p:grpSp>
        <p:grpSp>
          <p:nvGrpSpPr>
            <p:cNvPr id="32" name="Groep 31"/>
            <p:cNvGrpSpPr/>
            <p:nvPr/>
          </p:nvGrpSpPr>
          <p:grpSpPr>
            <a:xfrm>
              <a:off x="12435216" y="1678012"/>
              <a:ext cx="372535" cy="405517"/>
              <a:chOff x="12468049" y="1754144"/>
              <a:chExt cx="339072" cy="369091"/>
            </a:xfrm>
          </p:grpSpPr>
          <p:sp>
            <p:nvSpPr>
              <p:cNvPr id="33" name="Rechthoek 32"/>
              <p:cNvSpPr/>
              <p:nvPr/>
            </p:nvSpPr>
            <p:spPr>
              <a:xfrm>
                <a:off x="12468049" y="1869625"/>
                <a:ext cx="92751" cy="253609"/>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34" name="Rechthoek 33"/>
              <p:cNvSpPr/>
              <p:nvPr/>
            </p:nvSpPr>
            <p:spPr>
              <a:xfrm>
                <a:off x="12590223" y="1754144"/>
                <a:ext cx="92751" cy="369091"/>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35" name="Rechthoek 34"/>
              <p:cNvSpPr/>
              <p:nvPr/>
            </p:nvSpPr>
            <p:spPr>
              <a:xfrm>
                <a:off x="12714370" y="1836322"/>
                <a:ext cx="92751" cy="286913"/>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grpSp>
      </p:grpSp>
      <p:grpSp>
        <p:nvGrpSpPr>
          <p:cNvPr id="227" name="Instructie - Tekst niveaus"/>
          <p:cNvGrpSpPr/>
          <p:nvPr userDrawn="1"/>
        </p:nvGrpSpPr>
        <p:grpSpPr>
          <a:xfrm>
            <a:off x="-3117849" y="365"/>
            <a:ext cx="2823358" cy="5254722"/>
            <a:chOff x="-2959433" y="-5444"/>
            <a:chExt cx="2822623" cy="5254722"/>
          </a:xfrm>
        </p:grpSpPr>
        <p:sp>
          <p:nvSpPr>
            <p:cNvPr id="228" name="Rechthoek 227"/>
            <p:cNvSpPr/>
            <p:nvPr userDrawn="1"/>
          </p:nvSpPr>
          <p:spPr>
            <a:xfrm>
              <a:off x="-2959433" y="-5444"/>
              <a:ext cx="2572469" cy="280344"/>
            </a:xfrm>
            <a:prstGeom prst="rect">
              <a:avLst/>
            </a:prstGeom>
            <a:noFill/>
            <a:ln w="25400" cap="flat" cmpd="sng" algn="ctr">
              <a:noFill/>
              <a:prstDash val="solid"/>
            </a:ln>
            <a:effectLst/>
          </p:spPr>
          <p:txBody>
            <a:bodyPr lIns="0" tIns="0" rIns="0" bIns="0" rtlCol="0" anchor="t"/>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nl-NL" sz="1600" b="1" kern="0" dirty="0">
                  <a:solidFill>
                    <a:srgbClr val="ED1A3B"/>
                  </a:solidFill>
                  <a:cs typeface="Segoe UI Light" panose="020B0502040204020203" pitchFamily="34" charset="0"/>
                </a:rPr>
                <a:t>TEKST NIVEAUS</a:t>
              </a:r>
            </a:p>
          </p:txBody>
        </p:sp>
        <p:sp>
          <p:nvSpPr>
            <p:cNvPr id="229" name="Textfield placeholder"/>
            <p:cNvSpPr txBox="1">
              <a:spLocks/>
            </p:cNvSpPr>
            <p:nvPr userDrawn="1"/>
          </p:nvSpPr>
          <p:spPr>
            <a:xfrm>
              <a:off x="-2587337" y="2675411"/>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0" lvl="2"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a:solidFill>
                    <a:srgbClr val="404040"/>
                  </a:solidFill>
                </a:rPr>
                <a:t>Sub-bullets (16 pt.)</a:t>
              </a:r>
            </a:p>
          </p:txBody>
        </p:sp>
        <p:sp>
          <p:nvSpPr>
            <p:cNvPr id="230" name="Ovaal 229"/>
            <p:cNvSpPr/>
            <p:nvPr userDrawn="1"/>
          </p:nvSpPr>
          <p:spPr>
            <a:xfrm>
              <a:off x="-2959433" y="196874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1</a:t>
              </a:r>
            </a:p>
          </p:txBody>
        </p:sp>
        <p:sp>
          <p:nvSpPr>
            <p:cNvPr id="231" name="Ovaal 230"/>
            <p:cNvSpPr/>
            <p:nvPr userDrawn="1"/>
          </p:nvSpPr>
          <p:spPr>
            <a:xfrm>
              <a:off x="-2959433" y="232207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2</a:t>
              </a:r>
            </a:p>
          </p:txBody>
        </p:sp>
        <p:sp>
          <p:nvSpPr>
            <p:cNvPr id="232" name="Ovaal 231"/>
            <p:cNvSpPr/>
            <p:nvPr userDrawn="1"/>
          </p:nvSpPr>
          <p:spPr>
            <a:xfrm>
              <a:off x="-2959433" y="267541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3</a:t>
              </a:r>
            </a:p>
          </p:txBody>
        </p:sp>
        <p:sp>
          <p:nvSpPr>
            <p:cNvPr id="233" name="Ovaal 232"/>
            <p:cNvSpPr/>
            <p:nvPr userDrawn="1"/>
          </p:nvSpPr>
          <p:spPr>
            <a:xfrm>
              <a:off x="-2959433" y="302874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4</a:t>
              </a:r>
            </a:p>
          </p:txBody>
        </p:sp>
        <p:sp>
          <p:nvSpPr>
            <p:cNvPr id="234" name="Textfield placeholder"/>
            <p:cNvSpPr txBox="1">
              <a:spLocks/>
            </p:cNvSpPr>
            <p:nvPr userDrawn="1"/>
          </p:nvSpPr>
          <p:spPr>
            <a:xfrm>
              <a:off x="-2571950" y="1966925"/>
              <a:ext cx="2163709" cy="261500"/>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79388">
                <a:lnSpc>
                  <a:spcPct val="120000"/>
                </a:lnSpc>
                <a:spcBef>
                  <a:spcPts val="0"/>
                </a:spcBef>
                <a:spcAft>
                  <a:spcPts val="900"/>
                </a:spcAft>
                <a:buClr>
                  <a:srgbClr val="000000"/>
                </a:buClr>
                <a:buSzPct val="100000"/>
                <a:buFont typeface="Arial" pitchFamily="34" charset="0"/>
                <a:buNone/>
                <a:defRPr/>
              </a:pPr>
              <a:r>
                <a:rPr lang="nl-NL" sz="1200" dirty="0">
                  <a:solidFill>
                    <a:srgbClr val="535353"/>
                  </a:solidFill>
                </a:rPr>
                <a:t>Leestekst (16 pt.)</a:t>
              </a:r>
            </a:p>
          </p:txBody>
        </p:sp>
        <p:sp>
          <p:nvSpPr>
            <p:cNvPr id="235" name="Textfield placeholder"/>
            <p:cNvSpPr txBox="1">
              <a:spLocks/>
            </p:cNvSpPr>
            <p:nvPr userDrawn="1"/>
          </p:nvSpPr>
          <p:spPr>
            <a:xfrm>
              <a:off x="-2571950" y="2322077"/>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70000" lvl="1"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err="1">
                  <a:solidFill>
                    <a:srgbClr val="535353"/>
                  </a:solidFill>
                </a:rPr>
                <a:t>Bullets</a:t>
              </a:r>
              <a:r>
                <a:rPr lang="nl-NL" sz="1200" dirty="0">
                  <a:solidFill>
                    <a:srgbClr val="535353"/>
                  </a:solidFill>
                </a:rPr>
                <a:t> (16 </a:t>
              </a:r>
              <a:r>
                <a:rPr lang="nl-NL" sz="1200" dirty="0" err="1">
                  <a:solidFill>
                    <a:srgbClr val="535353"/>
                  </a:solidFill>
                </a:rPr>
                <a:t>pt</a:t>
              </a:r>
              <a:r>
                <a:rPr lang="nl-NL" sz="1200" dirty="0">
                  <a:solidFill>
                    <a:srgbClr val="535353"/>
                  </a:solidFill>
                </a:rPr>
                <a:t>.)</a:t>
              </a:r>
            </a:p>
          </p:txBody>
        </p:sp>
        <p:sp>
          <p:nvSpPr>
            <p:cNvPr id="236" name="Textfield placeholder"/>
            <p:cNvSpPr txBox="1">
              <a:spLocks/>
            </p:cNvSpPr>
            <p:nvPr userDrawn="1"/>
          </p:nvSpPr>
          <p:spPr>
            <a:xfrm>
              <a:off x="-2571951" y="3028747"/>
              <a:ext cx="2435141"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10000" lvl="3" indent="-270000" algn="l" defTabSz="179388" rtl="0" eaLnBrk="1" latinLnBrk="0" hangingPunct="1">
                <a:lnSpc>
                  <a:spcPct val="120000"/>
                </a:lnSpc>
                <a:spcBef>
                  <a:spcPts val="0"/>
                </a:spcBef>
                <a:spcAft>
                  <a:spcPts val="900"/>
                </a:spcAft>
                <a:buClr>
                  <a:schemeClr val="accent2"/>
                </a:buClr>
                <a:buSzPct val="80000"/>
                <a:buFont typeface="Wingdings 3" panose="05040102010807070707" pitchFamily="18" charset="2"/>
                <a:buChar char=""/>
                <a:defRPr/>
              </a:pPr>
              <a:r>
                <a:rPr lang="nl-NL" sz="1200" b="0" kern="1200" dirty="0">
                  <a:solidFill>
                    <a:srgbClr val="404040"/>
                  </a:solidFill>
                  <a:latin typeface="+mn-lt"/>
                  <a:ea typeface="+mn-ea"/>
                  <a:cs typeface="+mn-cs"/>
                </a:rPr>
                <a:t>Sub-sub-bullets (16 pt.)</a:t>
              </a:r>
            </a:p>
          </p:txBody>
        </p:sp>
        <p:cxnSp>
          <p:nvCxnSpPr>
            <p:cNvPr id="237" name="Rechte verbindingslijn 236"/>
            <p:cNvCxnSpPr/>
            <p:nvPr userDrawn="1"/>
          </p:nvCxnSpPr>
          <p:spPr>
            <a:xfrm>
              <a:off x="-2959100" y="274900"/>
              <a:ext cx="2674470" cy="0"/>
            </a:xfrm>
            <a:prstGeom prst="line">
              <a:avLst/>
            </a:prstGeom>
            <a:noFill/>
            <a:ln w="9525" cap="flat" cmpd="sng" algn="ctr">
              <a:solidFill>
                <a:schemeClr val="accent1"/>
              </a:solidFill>
              <a:prstDash val="solid"/>
            </a:ln>
            <a:effectLst/>
          </p:spPr>
        </p:cxnSp>
        <p:cxnSp>
          <p:nvCxnSpPr>
            <p:cNvPr id="238" name="Rechte verbindingslijn 237"/>
            <p:cNvCxnSpPr/>
            <p:nvPr userDrawn="1"/>
          </p:nvCxnSpPr>
          <p:spPr>
            <a:xfrm>
              <a:off x="-2959100" y="1841989"/>
              <a:ext cx="2661379" cy="0"/>
            </a:xfrm>
            <a:prstGeom prst="line">
              <a:avLst/>
            </a:prstGeom>
            <a:noFill/>
            <a:ln w="9525" cap="flat" cmpd="sng" algn="ctr">
              <a:solidFill>
                <a:schemeClr val="accent1"/>
              </a:solidFill>
              <a:prstDash val="solid"/>
            </a:ln>
            <a:effectLst/>
          </p:spPr>
        </p:cxnSp>
        <p:cxnSp>
          <p:nvCxnSpPr>
            <p:cNvPr id="239" name="Rechte verbindingslijn 238"/>
            <p:cNvCxnSpPr/>
            <p:nvPr userDrawn="1"/>
          </p:nvCxnSpPr>
          <p:spPr>
            <a:xfrm>
              <a:off x="-2959100" y="5249278"/>
              <a:ext cx="2661379" cy="0"/>
            </a:xfrm>
            <a:prstGeom prst="line">
              <a:avLst/>
            </a:prstGeom>
            <a:noFill/>
            <a:ln w="9525" cap="flat" cmpd="sng" algn="ctr">
              <a:solidFill>
                <a:schemeClr val="accent1"/>
              </a:solidFill>
              <a:prstDash val="solid"/>
            </a:ln>
            <a:effectLst/>
          </p:spPr>
        </p:cxnSp>
        <p:grpSp>
          <p:nvGrpSpPr>
            <p:cNvPr id="240" name="Groep 239"/>
            <p:cNvGrpSpPr/>
            <p:nvPr userDrawn="1"/>
          </p:nvGrpSpPr>
          <p:grpSpPr>
            <a:xfrm>
              <a:off x="-1948476" y="816741"/>
              <a:ext cx="409108" cy="427699"/>
              <a:chOff x="-1085063" y="758027"/>
              <a:chExt cx="633799" cy="622540"/>
            </a:xfrm>
          </p:grpSpPr>
          <p:sp>
            <p:nvSpPr>
              <p:cNvPr id="296" name="Afgeronde rechthoek 295"/>
              <p:cNvSpPr/>
              <p:nvPr userDrawn="1"/>
            </p:nvSpPr>
            <p:spPr>
              <a:xfrm>
                <a:off x="-108506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297" name="Groep 296"/>
              <p:cNvGrpSpPr/>
              <p:nvPr userDrawn="1"/>
            </p:nvGrpSpPr>
            <p:grpSpPr>
              <a:xfrm>
                <a:off x="-977739" y="864082"/>
                <a:ext cx="419168" cy="410429"/>
                <a:chOff x="6366933" y="309013"/>
                <a:chExt cx="1901295" cy="1861668"/>
              </a:xfrm>
              <a:solidFill>
                <a:srgbClr val="000000"/>
              </a:solidFill>
            </p:grpSpPr>
            <p:sp>
              <p:nvSpPr>
                <p:cNvPr id="298" name="Rechthoek 297"/>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9" name="Rechthoek 298"/>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0" name="Rechthoek 299"/>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1" name="Rechthoek 300"/>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2" name="Rechthoek 301"/>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3" name="Rechthoek 302"/>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4" name="Rechthoek 303"/>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5" name="Rechthoek 304"/>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6" name="Rechthoek 305"/>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7" name="Rechthoek 306"/>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8" name="Vrije vorm 307"/>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nvGrpSpPr>
            <p:cNvPr id="241" name="Groep 240"/>
            <p:cNvGrpSpPr/>
            <p:nvPr userDrawn="1"/>
          </p:nvGrpSpPr>
          <p:grpSpPr>
            <a:xfrm>
              <a:off x="-2950232" y="1207835"/>
              <a:ext cx="532929" cy="509563"/>
              <a:chOff x="-2880382" y="802341"/>
              <a:chExt cx="532929" cy="509563"/>
            </a:xfrm>
          </p:grpSpPr>
          <p:sp>
            <p:nvSpPr>
              <p:cNvPr id="274" name="Rechthoek 273"/>
              <p:cNvSpPr/>
              <p:nvPr userDrawn="1"/>
            </p:nvSpPr>
            <p:spPr>
              <a:xfrm>
                <a:off x="-2880382" y="802341"/>
                <a:ext cx="532929" cy="509563"/>
              </a:xfrm>
              <a:prstGeom prst="rect">
                <a:avLst/>
              </a:prstGeom>
              <a:solidFill>
                <a:sysClr val="window" lastClr="FFFFFF"/>
              </a:soli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pic>
            <p:nvPicPr>
              <p:cNvPr id="275"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635852" y="822181"/>
                <a:ext cx="226442" cy="208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6"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848026" y="822181"/>
                <a:ext cx="207168" cy="213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77" name="Groep 276"/>
              <p:cNvGrpSpPr/>
              <p:nvPr userDrawn="1"/>
            </p:nvGrpSpPr>
            <p:grpSpPr>
              <a:xfrm>
                <a:off x="-2802433" y="1123442"/>
                <a:ext cx="132915" cy="104889"/>
                <a:chOff x="-2796392" y="1123442"/>
                <a:chExt cx="120832" cy="104889"/>
              </a:xfrm>
            </p:grpSpPr>
            <p:sp>
              <p:nvSpPr>
                <p:cNvPr id="291" name="Rechthoek 290"/>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2" name="Rechthoek 291"/>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3" name="Rechthoek 292"/>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4" name="Rechthoek 293"/>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5" name="Rechthoek 294"/>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278" name="Groep 277"/>
              <p:cNvGrpSpPr/>
              <p:nvPr userDrawn="1"/>
            </p:nvGrpSpPr>
            <p:grpSpPr>
              <a:xfrm>
                <a:off x="-2575417" y="1123442"/>
                <a:ext cx="133930" cy="104889"/>
                <a:chOff x="-2556734" y="1123442"/>
                <a:chExt cx="147324" cy="104889"/>
              </a:xfrm>
            </p:grpSpPr>
            <p:grpSp>
              <p:nvGrpSpPr>
                <p:cNvPr id="279" name="Groep 278"/>
                <p:cNvGrpSpPr/>
                <p:nvPr userDrawn="1"/>
              </p:nvGrpSpPr>
              <p:grpSpPr>
                <a:xfrm>
                  <a:off x="-2556734" y="1123442"/>
                  <a:ext cx="68206" cy="104889"/>
                  <a:chOff x="-2796392" y="1123442"/>
                  <a:chExt cx="120832" cy="104889"/>
                </a:xfrm>
              </p:grpSpPr>
              <p:sp>
                <p:nvSpPr>
                  <p:cNvPr id="286" name="Rechthoek 285"/>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7" name="Rechthoek 286"/>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8" name="Rechthoek 287"/>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9" name="Rechthoek 288"/>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0" name="Rechthoek 289"/>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280" name="Groep 279"/>
                <p:cNvGrpSpPr/>
                <p:nvPr userDrawn="1"/>
              </p:nvGrpSpPr>
              <p:grpSpPr>
                <a:xfrm>
                  <a:off x="-2477616" y="1123442"/>
                  <a:ext cx="68206" cy="104889"/>
                  <a:chOff x="-2796392" y="1123442"/>
                  <a:chExt cx="120832" cy="104889"/>
                </a:xfrm>
              </p:grpSpPr>
              <p:sp>
                <p:nvSpPr>
                  <p:cNvPr id="281" name="Rechthoek 280"/>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2" name="Rechthoek 281"/>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3" name="Rechthoek 282"/>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4" name="Rechthoek 283"/>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5" name="Rechthoek 284"/>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grpSp>
          <p:nvGrpSpPr>
            <p:cNvPr id="242" name="Groep 241"/>
            <p:cNvGrpSpPr/>
            <p:nvPr userDrawn="1"/>
          </p:nvGrpSpPr>
          <p:grpSpPr>
            <a:xfrm>
              <a:off x="-1948476" y="1281164"/>
              <a:ext cx="413704" cy="427699"/>
              <a:chOff x="-1845083" y="758027"/>
              <a:chExt cx="633799" cy="622540"/>
            </a:xfrm>
          </p:grpSpPr>
          <p:sp>
            <p:nvSpPr>
              <p:cNvPr id="261" name="Afgeronde rechthoek 260"/>
              <p:cNvSpPr/>
              <p:nvPr userDrawn="1"/>
            </p:nvSpPr>
            <p:spPr>
              <a:xfrm>
                <a:off x="-184508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262" name="Groep 261"/>
              <p:cNvGrpSpPr/>
              <p:nvPr userDrawn="1"/>
            </p:nvGrpSpPr>
            <p:grpSpPr>
              <a:xfrm>
                <a:off x="-1737762" y="864082"/>
                <a:ext cx="419168" cy="410429"/>
                <a:chOff x="3708400" y="309013"/>
                <a:chExt cx="1901295" cy="1861668"/>
              </a:xfrm>
              <a:solidFill>
                <a:srgbClr val="000000"/>
              </a:solidFill>
            </p:grpSpPr>
            <p:sp>
              <p:nvSpPr>
                <p:cNvPr id="263" name="Rechthoek 262"/>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4" name="Rechthoek 263"/>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5" name="Rechthoek 264"/>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6" name="Rechthoek 265"/>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7" name="Rechthoek 266"/>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8" name="Rechthoek 267"/>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9" name="Rechthoek 268"/>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0" name="Rechthoek 269"/>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1" name="Rechthoek 270"/>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2" name="Rechthoek 271"/>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3" name="Vrije vorm 272"/>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cxnSp>
          <p:nvCxnSpPr>
            <p:cNvPr id="243" name="Rechte verbindingslijn 242"/>
            <p:cNvCxnSpPr/>
            <p:nvPr userDrawn="1"/>
          </p:nvCxnSpPr>
          <p:spPr>
            <a:xfrm>
              <a:off x="-2814292" y="1441193"/>
              <a:ext cx="865816" cy="53821"/>
            </a:xfrm>
            <a:prstGeom prst="line">
              <a:avLst/>
            </a:prstGeom>
            <a:noFill/>
            <a:ln w="9525" cap="flat" cmpd="sng" algn="ctr">
              <a:solidFill>
                <a:schemeClr val="accent1"/>
              </a:solidFill>
              <a:prstDash val="solid"/>
              <a:headEnd type="oval"/>
            </a:ln>
            <a:effectLst/>
          </p:spPr>
        </p:cxnSp>
        <p:cxnSp>
          <p:nvCxnSpPr>
            <p:cNvPr id="244" name="Rechte verbindingslijn 243"/>
            <p:cNvCxnSpPr/>
            <p:nvPr userDrawn="1"/>
          </p:nvCxnSpPr>
          <p:spPr>
            <a:xfrm flipV="1">
              <a:off x="-2453902" y="1030591"/>
              <a:ext cx="505426" cy="283623"/>
            </a:xfrm>
            <a:prstGeom prst="line">
              <a:avLst/>
            </a:prstGeom>
            <a:noFill/>
            <a:ln w="9525" cap="flat" cmpd="sng" algn="ctr">
              <a:solidFill>
                <a:schemeClr val="accent1"/>
              </a:solidFill>
              <a:prstDash val="solid"/>
              <a:headEnd type="oval"/>
            </a:ln>
            <a:effectLst/>
          </p:spPr>
        </p:cxnSp>
        <p:sp>
          <p:nvSpPr>
            <p:cNvPr id="245" name="Textfield placeholder"/>
            <p:cNvSpPr txBox="1">
              <a:spLocks/>
            </p:cNvSpPr>
            <p:nvPr userDrawn="1"/>
          </p:nvSpPr>
          <p:spPr>
            <a:xfrm>
              <a:off x="-1341598" y="816743"/>
              <a:ext cx="1056968" cy="427698"/>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hoog</a:t>
              </a:r>
            </a:p>
          </p:txBody>
        </p:sp>
        <p:sp>
          <p:nvSpPr>
            <p:cNvPr id="246" name="Textfield placeholder"/>
            <p:cNvSpPr txBox="1">
              <a:spLocks/>
            </p:cNvSpPr>
            <p:nvPr userDrawn="1"/>
          </p:nvSpPr>
          <p:spPr>
            <a:xfrm>
              <a:off x="-1341599" y="1281164"/>
              <a:ext cx="1070223" cy="427699"/>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laag</a:t>
              </a:r>
            </a:p>
          </p:txBody>
        </p:sp>
        <p:sp>
          <p:nvSpPr>
            <p:cNvPr id="247" name="Ovaal 246"/>
            <p:cNvSpPr/>
            <p:nvPr userDrawn="1"/>
          </p:nvSpPr>
          <p:spPr>
            <a:xfrm>
              <a:off x="-2959433" y="338208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5</a:t>
              </a:r>
            </a:p>
          </p:txBody>
        </p:sp>
        <p:sp>
          <p:nvSpPr>
            <p:cNvPr id="248" name="Textfield placeholder"/>
            <p:cNvSpPr txBox="1">
              <a:spLocks/>
            </p:cNvSpPr>
            <p:nvPr userDrawn="1"/>
          </p:nvSpPr>
          <p:spPr>
            <a:xfrm>
              <a:off x="-2571950" y="3382082"/>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60000" lvl="4" indent="-360000" defTabSz="179388">
                <a:lnSpc>
                  <a:spcPct val="120000"/>
                </a:lnSpc>
                <a:spcBef>
                  <a:spcPts val="0"/>
                </a:spcBef>
                <a:spcAft>
                  <a:spcPts val="900"/>
                </a:spcAft>
                <a:buClr>
                  <a:srgbClr val="ED1A3B"/>
                </a:buClr>
                <a:buFont typeface="+mj-lt"/>
                <a:buAutoNum type="arabicPeriod"/>
                <a:defRPr/>
              </a:pPr>
              <a:r>
                <a:rPr lang="nl-NL" sz="1200" b="0" dirty="0">
                  <a:solidFill>
                    <a:srgbClr val="404040"/>
                  </a:solidFill>
                </a:rPr>
                <a:t>Numeriek (16 pt.)</a:t>
              </a:r>
            </a:p>
          </p:txBody>
        </p:sp>
        <p:grpSp>
          <p:nvGrpSpPr>
            <p:cNvPr id="249" name="Groep 248"/>
            <p:cNvGrpSpPr/>
            <p:nvPr userDrawn="1"/>
          </p:nvGrpSpPr>
          <p:grpSpPr>
            <a:xfrm>
              <a:off x="-2950232" y="816050"/>
              <a:ext cx="528695" cy="344202"/>
              <a:chOff x="-2880382" y="410556"/>
              <a:chExt cx="528695" cy="344202"/>
            </a:xfrm>
          </p:grpSpPr>
          <p:sp>
            <p:nvSpPr>
              <p:cNvPr id="259" name="Afgeronde rechthoek 258"/>
              <p:cNvSpPr/>
              <p:nvPr userDrawn="1"/>
            </p:nvSpPr>
            <p:spPr>
              <a:xfrm>
                <a:off x="-2874214" y="410556"/>
                <a:ext cx="522527" cy="339183"/>
              </a:xfrm>
              <a:prstGeom prst="roundRect">
                <a:avLst>
                  <a:gd name="adj" fmla="val 7565"/>
                </a:avLst>
              </a:prstGeom>
              <a:gradFill>
                <a:gsLst>
                  <a:gs pos="0">
                    <a:srgbClr val="FFEC8F"/>
                  </a:gs>
                  <a:gs pos="100000">
                    <a:srgbClr val="FFFFFF"/>
                  </a:gs>
                </a:gsLst>
                <a:lin ang="5400000" scaled="0"/>
              </a:gra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sp>
            <p:nvSpPr>
              <p:cNvPr id="260" name="Vrije vorm 259"/>
              <p:cNvSpPr/>
              <p:nvPr userDrawn="1"/>
            </p:nvSpPr>
            <p:spPr>
              <a:xfrm>
                <a:off x="-2880382" y="452699"/>
                <a:ext cx="528695" cy="302059"/>
              </a:xfrm>
              <a:custGeom>
                <a:avLst/>
                <a:gdLst>
                  <a:gd name="connsiteX0" fmla="*/ 55524 w 528695"/>
                  <a:gd name="connsiteY0" fmla="*/ 0 h 302059"/>
                  <a:gd name="connsiteX1" fmla="*/ 455496 w 528695"/>
                  <a:gd name="connsiteY1" fmla="*/ 0 h 302059"/>
                  <a:gd name="connsiteX2" fmla="*/ 475205 w 528695"/>
                  <a:gd name="connsiteY2" fmla="*/ 19709 h 302059"/>
                  <a:gd name="connsiteX3" fmla="*/ 475205 w 528695"/>
                  <a:gd name="connsiteY3" fmla="*/ 230056 h 302059"/>
                  <a:gd name="connsiteX4" fmla="*/ 516694 w 528695"/>
                  <a:gd name="connsiteY4" fmla="*/ 230056 h 302059"/>
                  <a:gd name="connsiteX5" fmla="*/ 528695 w 528695"/>
                  <a:gd name="connsiteY5" fmla="*/ 242057 h 302059"/>
                  <a:gd name="connsiteX6" fmla="*/ 528695 w 528695"/>
                  <a:gd name="connsiteY6" fmla="*/ 290058 h 302059"/>
                  <a:gd name="connsiteX7" fmla="*/ 516694 w 528695"/>
                  <a:gd name="connsiteY7" fmla="*/ 302059 h 302059"/>
                  <a:gd name="connsiteX8" fmla="*/ 12001 w 528695"/>
                  <a:gd name="connsiteY8" fmla="*/ 302059 h 302059"/>
                  <a:gd name="connsiteX9" fmla="*/ 0 w 528695"/>
                  <a:gd name="connsiteY9" fmla="*/ 290058 h 302059"/>
                  <a:gd name="connsiteX10" fmla="*/ 0 w 528695"/>
                  <a:gd name="connsiteY10" fmla="*/ 242057 h 302059"/>
                  <a:gd name="connsiteX11" fmla="*/ 12001 w 528695"/>
                  <a:gd name="connsiteY11" fmla="*/ 230056 h 302059"/>
                  <a:gd name="connsiteX12" fmla="*/ 35815 w 528695"/>
                  <a:gd name="connsiteY12" fmla="*/ 230056 h 302059"/>
                  <a:gd name="connsiteX13" fmla="*/ 35815 w 528695"/>
                  <a:gd name="connsiteY13" fmla="*/ 19709 h 302059"/>
                  <a:gd name="connsiteX14" fmla="*/ 55524 w 528695"/>
                  <a:gd name="connsiteY14" fmla="*/ 0 h 3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8695" h="302059">
                    <a:moveTo>
                      <a:pt x="55524" y="0"/>
                    </a:moveTo>
                    <a:lnTo>
                      <a:pt x="455496" y="0"/>
                    </a:lnTo>
                    <a:cubicBezTo>
                      <a:pt x="466381" y="0"/>
                      <a:pt x="475205" y="8824"/>
                      <a:pt x="475205" y="19709"/>
                    </a:cubicBezTo>
                    <a:lnTo>
                      <a:pt x="475205" y="230056"/>
                    </a:lnTo>
                    <a:lnTo>
                      <a:pt x="516694" y="230056"/>
                    </a:lnTo>
                    <a:cubicBezTo>
                      <a:pt x="523322" y="230056"/>
                      <a:pt x="528695" y="235429"/>
                      <a:pt x="528695" y="242057"/>
                    </a:cubicBezTo>
                    <a:lnTo>
                      <a:pt x="528695" y="290058"/>
                    </a:lnTo>
                    <a:cubicBezTo>
                      <a:pt x="528695" y="296686"/>
                      <a:pt x="523322" y="302059"/>
                      <a:pt x="516694" y="302059"/>
                    </a:cubicBezTo>
                    <a:lnTo>
                      <a:pt x="12001" y="302059"/>
                    </a:lnTo>
                    <a:cubicBezTo>
                      <a:pt x="5373" y="302059"/>
                      <a:pt x="0" y="296686"/>
                      <a:pt x="0" y="290058"/>
                    </a:cubicBezTo>
                    <a:lnTo>
                      <a:pt x="0" y="242057"/>
                    </a:lnTo>
                    <a:cubicBezTo>
                      <a:pt x="0" y="235429"/>
                      <a:pt x="5373" y="230056"/>
                      <a:pt x="12001" y="230056"/>
                    </a:cubicBezTo>
                    <a:lnTo>
                      <a:pt x="35815" y="230056"/>
                    </a:lnTo>
                    <a:lnTo>
                      <a:pt x="35815" y="19709"/>
                    </a:lnTo>
                    <a:cubicBezTo>
                      <a:pt x="35815" y="8824"/>
                      <a:pt x="44639" y="0"/>
                      <a:pt x="55524" y="0"/>
                    </a:cubicBezTo>
                    <a:close/>
                  </a:path>
                </a:pathLst>
              </a:custGeom>
              <a:solidFill>
                <a:sysClr val="window" lastClr="FFFFFF">
                  <a:lumMod val="95000"/>
                </a:sysClr>
              </a:solidFill>
              <a:ln w="9525" cap="flat" cmpd="sng" algn="ctr">
                <a:solidFill>
                  <a:srgbClr val="FFFFFF">
                    <a:lumMod val="90000"/>
                  </a:srgbClr>
                </a:solidFill>
                <a:prstDash val="solid"/>
                <a:miter lim="800000"/>
              </a:ln>
              <a:effectLst/>
            </p:spPr>
            <p:txBody>
              <a:bodyPr rot="0" spcFirstLastPara="0" vert="horz" wrap="square" lIns="108000" tIns="36000" rIns="108000" bIns="10800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900" dirty="0">
                    <a:solidFill>
                      <a:prstClr val="black"/>
                    </a:solidFill>
                    <a:latin typeface="Segoe UI Light"/>
                  </a:rPr>
                  <a:t>Start</a:t>
                </a:r>
              </a:p>
            </p:txBody>
          </p:sp>
        </p:grpSp>
        <p:sp>
          <p:nvSpPr>
            <p:cNvPr id="250" name="Tekstvak 65"/>
            <p:cNvSpPr txBox="1"/>
            <p:nvPr userDrawn="1"/>
          </p:nvSpPr>
          <p:spPr>
            <a:xfrm>
              <a:off x="-2959433" y="372104"/>
              <a:ext cx="2679887" cy="453396"/>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nl-NL" sz="1200" kern="0" dirty="0">
                  <a:solidFill>
                    <a:srgbClr val="000000"/>
                  </a:solidFill>
                  <a:latin typeface="Segoe UI Light" panose="020B0502040204020203" pitchFamily="34" charset="0"/>
                  <a:cs typeface="Segoe UI Light" panose="020B0502040204020203" pitchFamily="34" charset="0"/>
                </a:rPr>
                <a:t>Ga naar de tab </a:t>
              </a:r>
              <a:r>
                <a:rPr lang="nl-NL" sz="1200" b="1" kern="0" dirty="0">
                  <a:solidFill>
                    <a:srgbClr val="000000"/>
                  </a:solidFill>
                  <a:latin typeface="Segoe UI Light" panose="020B0502040204020203" pitchFamily="34" charset="0"/>
                  <a:cs typeface="Segoe UI Light" panose="020B0502040204020203" pitchFamily="34" charset="0"/>
                </a:rPr>
                <a:t>Start’ </a:t>
              </a:r>
              <a:r>
                <a:rPr lang="nl-NL" sz="1200" kern="0" dirty="0">
                  <a:solidFill>
                    <a:srgbClr val="000000"/>
                  </a:solidFill>
                  <a:latin typeface="Segoe UI Light" panose="020B0502040204020203" pitchFamily="34" charset="0"/>
                  <a:cs typeface="Segoe UI Light" panose="020B0502040204020203" pitchFamily="34" charset="0"/>
                </a:rPr>
                <a:t>en vind onderstaande knoppen onder </a:t>
              </a:r>
              <a:r>
                <a:rPr lang="nl-NL" sz="1200" b="1" kern="0" dirty="0">
                  <a:solidFill>
                    <a:srgbClr val="000000"/>
                  </a:solidFill>
                  <a:latin typeface="Segoe UI Light" panose="020B0502040204020203" pitchFamily="34" charset="0"/>
                  <a:cs typeface="Segoe UI Light" panose="020B0502040204020203" pitchFamily="34" charset="0"/>
                </a:rPr>
                <a:t>‘Alinea’</a:t>
              </a:r>
            </a:p>
          </p:txBody>
        </p:sp>
        <p:sp>
          <p:nvSpPr>
            <p:cNvPr id="251" name="Ovaal 250"/>
            <p:cNvSpPr/>
            <p:nvPr userDrawn="1"/>
          </p:nvSpPr>
          <p:spPr>
            <a:xfrm>
              <a:off x="-2959433" y="375153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6</a:t>
              </a:r>
            </a:p>
          </p:txBody>
        </p:sp>
        <p:sp>
          <p:nvSpPr>
            <p:cNvPr id="252" name="Textfield placeholder"/>
            <p:cNvSpPr txBox="1">
              <a:spLocks/>
            </p:cNvSpPr>
            <p:nvPr userDrawn="1"/>
          </p:nvSpPr>
          <p:spPr>
            <a:xfrm>
              <a:off x="-2571950" y="3751536"/>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0000" lvl="5" indent="-270000" defTabSz="179388">
                <a:lnSpc>
                  <a:spcPct val="120000"/>
                </a:lnSpc>
                <a:spcAft>
                  <a:spcPts val="900"/>
                </a:spcAft>
                <a:buClr>
                  <a:srgbClr val="ED1A3B"/>
                </a:buClr>
                <a:buSzPct val="80000"/>
                <a:buFont typeface="Wingdings 3" panose="05040102010807070707" pitchFamily="18" charset="2"/>
                <a:buChar char=""/>
                <a:defRPr/>
              </a:pPr>
              <a:r>
                <a:rPr lang="nl-NL" sz="1200" cap="none" dirty="0">
                  <a:solidFill>
                    <a:srgbClr val="535353"/>
                  </a:solidFill>
                </a:rPr>
                <a:t># Bullets (16 pt.)</a:t>
              </a:r>
            </a:p>
          </p:txBody>
        </p:sp>
        <p:sp>
          <p:nvSpPr>
            <p:cNvPr id="253" name="Ovaal 252"/>
            <p:cNvSpPr/>
            <p:nvPr userDrawn="1"/>
          </p:nvSpPr>
          <p:spPr>
            <a:xfrm>
              <a:off x="-2959433" y="414870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7</a:t>
              </a:r>
            </a:p>
          </p:txBody>
        </p:sp>
        <p:sp>
          <p:nvSpPr>
            <p:cNvPr id="254" name="Textfield placeholder"/>
            <p:cNvSpPr txBox="1">
              <a:spLocks/>
            </p:cNvSpPr>
            <p:nvPr userDrawn="1"/>
          </p:nvSpPr>
          <p:spPr>
            <a:xfrm>
              <a:off x="-2571950" y="414870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6" indent="0" defTabSz="179388">
                <a:lnSpc>
                  <a:spcPct val="120000"/>
                </a:lnSpc>
                <a:spcBef>
                  <a:spcPts val="0"/>
                </a:spcBef>
                <a:spcAft>
                  <a:spcPts val="900"/>
                </a:spcAft>
                <a:buClr>
                  <a:srgbClr val="ED1A3B"/>
                </a:buClr>
                <a:buSzPct val="90000"/>
                <a:buFont typeface="+mj-lt"/>
                <a:buNone/>
                <a:defRPr/>
              </a:pPr>
              <a:r>
                <a:rPr lang="nl-NL" sz="1200" i="1" dirty="0">
                  <a:solidFill>
                    <a:srgbClr val="404040"/>
                  </a:solidFill>
                </a:rPr>
                <a:t>Cursief donker (16 pt.)</a:t>
              </a:r>
            </a:p>
          </p:txBody>
        </p:sp>
        <p:sp>
          <p:nvSpPr>
            <p:cNvPr id="255" name="Ovaal 254"/>
            <p:cNvSpPr/>
            <p:nvPr userDrawn="1"/>
          </p:nvSpPr>
          <p:spPr>
            <a:xfrm>
              <a:off x="-2959433" y="454586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8</a:t>
              </a:r>
            </a:p>
          </p:txBody>
        </p:sp>
        <p:sp>
          <p:nvSpPr>
            <p:cNvPr id="256" name="Textfield placeholder"/>
            <p:cNvSpPr txBox="1">
              <a:spLocks/>
            </p:cNvSpPr>
            <p:nvPr userDrawn="1"/>
          </p:nvSpPr>
          <p:spPr>
            <a:xfrm>
              <a:off x="-2571950" y="4545864"/>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7" indent="0" defTabSz="179388">
                <a:lnSpc>
                  <a:spcPct val="80000"/>
                </a:lnSpc>
                <a:spcBef>
                  <a:spcPts val="0"/>
                </a:spcBef>
                <a:spcAft>
                  <a:spcPts val="900"/>
                </a:spcAft>
                <a:buClr>
                  <a:srgbClr val="ED1A3B"/>
                </a:buClr>
                <a:buFont typeface="Arial" pitchFamily="34" charset="0"/>
                <a:buNone/>
                <a:defRPr/>
              </a:pPr>
              <a:r>
                <a:rPr lang="nl-NL" sz="1200" i="1" dirty="0">
                  <a:solidFill>
                    <a:srgbClr val="A3B0C0"/>
                  </a:solidFill>
                </a:rPr>
                <a:t>Cursief Licht (16 pt.)</a:t>
              </a:r>
            </a:p>
          </p:txBody>
        </p:sp>
        <p:sp>
          <p:nvSpPr>
            <p:cNvPr id="257" name="Ovaal 256"/>
            <p:cNvSpPr/>
            <p:nvPr userDrawn="1"/>
          </p:nvSpPr>
          <p:spPr>
            <a:xfrm>
              <a:off x="-2959433" y="488761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9</a:t>
              </a:r>
            </a:p>
          </p:txBody>
        </p:sp>
        <p:sp>
          <p:nvSpPr>
            <p:cNvPr id="258" name="Textfield placeholder"/>
            <p:cNvSpPr txBox="1">
              <a:spLocks/>
            </p:cNvSpPr>
            <p:nvPr userDrawn="1"/>
          </p:nvSpPr>
          <p:spPr>
            <a:xfrm>
              <a:off x="-2571950" y="488761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8" indent="0" defTabSz="179388">
                <a:lnSpc>
                  <a:spcPct val="80000"/>
                </a:lnSpc>
                <a:spcBef>
                  <a:spcPts val="0"/>
                </a:spcBef>
                <a:spcAft>
                  <a:spcPts val="900"/>
                </a:spcAft>
                <a:buClr>
                  <a:srgbClr val="ED1A3B"/>
                </a:buClr>
                <a:buFont typeface="Arial" pitchFamily="34" charset="0"/>
                <a:buNone/>
                <a:defRPr/>
              </a:pPr>
              <a:r>
                <a:rPr lang="nl-NL" sz="1400" b="1" dirty="0">
                  <a:solidFill>
                    <a:srgbClr val="ED1A3B"/>
                  </a:solidFill>
                </a:rPr>
                <a:t>Subtitel (18 pt.)</a:t>
              </a:r>
            </a:p>
          </p:txBody>
        </p:sp>
      </p:grpSp>
      <p:sp>
        <p:nvSpPr>
          <p:cNvPr id="114" name="Hyperlink - Inhoudsopgave">
            <a:hlinkClick r:id="rId4" action="ppaction://hlinksldjump"/>
          </p:cNvPr>
          <p:cNvSpPr/>
          <p:nvPr userDrawn="1"/>
        </p:nvSpPr>
        <p:spPr>
          <a:xfrm>
            <a:off x="10197856" y="5889801"/>
            <a:ext cx="2000494" cy="968199"/>
          </a:xfrm>
          <a:prstGeom prst="rect">
            <a:avLst/>
          </a:prstGeom>
          <a:solidFill>
            <a:srgbClr val="ED1A3B">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123" name="Grijze achtergrond"/>
          <p:cNvSpPr/>
          <p:nvPr userDrawn="1"/>
        </p:nvSpPr>
        <p:spPr>
          <a:xfrm>
            <a:off x="4276781" y="1358671"/>
            <a:ext cx="7257460" cy="444046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en-GB">
              <a:solidFill>
                <a:srgbClr val="FFFFFF"/>
              </a:solidFill>
            </a:endParaRPr>
          </a:p>
        </p:txBody>
      </p:sp>
      <p:cxnSp>
        <p:nvCxnSpPr>
          <p:cNvPr id="29" name="Grijze lijn - onder"/>
          <p:cNvCxnSpPr/>
          <p:nvPr/>
        </p:nvCxnSpPr>
        <p:spPr>
          <a:xfrm flipH="1">
            <a:off x="4276780" y="5776291"/>
            <a:ext cx="7255889"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 name="Grijze lijn - boven"/>
          <p:cNvCxnSpPr/>
          <p:nvPr/>
        </p:nvCxnSpPr>
        <p:spPr>
          <a:xfrm flipH="1">
            <a:off x="664804" y="1358670"/>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22" name="Tijdelijke aanduiding voor Dianummer"/>
          <p:cNvSpPr>
            <a:spLocks noGrp="1"/>
          </p:cNvSpPr>
          <p:nvPr>
            <p:ph type="sldNum" sz="quarter" idx="4"/>
          </p:nvPr>
        </p:nvSpPr>
        <p:spPr>
          <a:xfrm>
            <a:off x="5770549" y="6295992"/>
            <a:ext cx="657251" cy="365125"/>
          </a:xfrm>
          <a:prstGeom prst="rect">
            <a:avLst/>
          </a:prstGeom>
        </p:spPr>
        <p:txBody>
          <a:bodyPr vert="horz" lIns="91440" tIns="45720" rIns="91440" bIns="45720" rtlCol="0" anchor="ctr"/>
          <a:lstStyle>
            <a:lvl1pPr algn="ctr">
              <a:defRPr sz="800">
                <a:solidFill>
                  <a:schemeClr val="tx1">
                    <a:tint val="75000"/>
                  </a:schemeClr>
                </a:solidFill>
              </a:defRPr>
            </a:lvl1pPr>
          </a:lstStyle>
          <a:p>
            <a:fld id="{1B3FA67A-C720-417A-A072-0CD211FD8662}" type="slidenum">
              <a:rPr lang="nl-NL" smtClean="0">
                <a:solidFill>
                  <a:srgbClr val="000000">
                    <a:tint val="75000"/>
                  </a:srgbClr>
                </a:solidFill>
              </a:rPr>
              <a:pPr/>
              <a:t>‹nr.›</a:t>
            </a:fld>
            <a:endParaRPr lang="nl-NL" dirty="0">
              <a:solidFill>
                <a:srgbClr val="000000">
                  <a:tint val="75000"/>
                </a:srgbClr>
              </a:solidFill>
            </a:endParaRPr>
          </a:p>
        </p:txBody>
      </p:sp>
      <p:sp>
        <p:nvSpPr>
          <p:cNvPr id="16" name="Tijdelijke aanduiding voor Grafiek"/>
          <p:cNvSpPr>
            <a:spLocks noGrp="1"/>
          </p:cNvSpPr>
          <p:nvPr>
            <p:ph type="chart" sz="quarter" idx="17"/>
          </p:nvPr>
        </p:nvSpPr>
        <p:spPr>
          <a:xfrm>
            <a:off x="4606666" y="2227480"/>
            <a:ext cx="6589969" cy="3211295"/>
          </a:xfrm>
        </p:spPr>
        <p:txBody>
          <a:bodyPr anchor="ctr"/>
          <a:lstStyle>
            <a:lvl1pPr algn="ctr">
              <a:defRPr/>
            </a:lvl1pPr>
          </a:lstStyle>
          <a:p>
            <a:r>
              <a:rPr lang="nl-NL"/>
              <a:t>Klik op het pictogram als u een grafiek wilt toevoegen</a:t>
            </a:r>
            <a:endParaRPr lang="en-GB" dirty="0"/>
          </a:p>
        </p:txBody>
      </p:sp>
      <p:sp>
        <p:nvSpPr>
          <p:cNvPr id="20" name="Tijdelijke aanduiding voor Tekst bij Grafiek"/>
          <p:cNvSpPr>
            <a:spLocks noGrp="1"/>
          </p:cNvSpPr>
          <p:nvPr>
            <p:ph type="body" orient="vert" idx="18" hasCustomPrompt="1"/>
          </p:nvPr>
        </p:nvSpPr>
        <p:spPr>
          <a:xfrm>
            <a:off x="4276781" y="1720868"/>
            <a:ext cx="7257459" cy="336533"/>
          </a:xfrm>
        </p:spPr>
        <p:txBody>
          <a:bodyPr vert="horz"/>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nl-NL" dirty="0"/>
              <a:t>Leestekst</a:t>
            </a:r>
          </a:p>
          <a:p>
            <a:pPr lvl="1"/>
            <a:r>
              <a:rPr lang="nl-NL" dirty="0"/>
              <a:t>Bullets</a:t>
            </a:r>
          </a:p>
          <a:p>
            <a:pPr lvl="2"/>
            <a:r>
              <a:rPr lang="nl-NL" dirty="0"/>
              <a:t>Sub-bullets</a:t>
            </a:r>
          </a:p>
          <a:p>
            <a:pPr lvl="3"/>
            <a:r>
              <a:rPr lang="nl-NL" dirty="0"/>
              <a:t>Sub-sub-bullets</a:t>
            </a:r>
          </a:p>
          <a:p>
            <a:pPr lvl="4"/>
            <a:r>
              <a:rPr lang="nl-NL" dirty="0"/>
              <a:t>Numeriek</a:t>
            </a:r>
          </a:p>
          <a:p>
            <a:pPr lvl="5"/>
            <a:r>
              <a:rPr lang="nl-NL" dirty="0"/>
              <a:t># Bullets</a:t>
            </a:r>
          </a:p>
          <a:p>
            <a:pPr lvl="6"/>
            <a:r>
              <a:rPr lang="nl-NL" dirty="0"/>
              <a:t>Cursief donker</a:t>
            </a:r>
          </a:p>
          <a:p>
            <a:pPr lvl="7"/>
            <a:r>
              <a:rPr lang="nl-NL" dirty="0"/>
              <a:t>Cursief licht</a:t>
            </a:r>
          </a:p>
          <a:p>
            <a:pPr lvl="8"/>
            <a:r>
              <a:rPr lang="nl-NL" dirty="0"/>
              <a:t>Subtitel</a:t>
            </a:r>
          </a:p>
        </p:txBody>
      </p:sp>
      <p:sp>
        <p:nvSpPr>
          <p:cNvPr id="3" name="Tijdelijke aanduiding voor Tekst"/>
          <p:cNvSpPr>
            <a:spLocks noGrp="1"/>
          </p:cNvSpPr>
          <p:nvPr>
            <p:ph type="body" orient="vert" idx="1" hasCustomPrompt="1"/>
          </p:nvPr>
        </p:nvSpPr>
        <p:spPr>
          <a:xfrm>
            <a:off x="664110" y="1720867"/>
            <a:ext cx="3166184" cy="3693600"/>
          </a:xfrm>
        </p:spPr>
        <p:txBody>
          <a:bodyPr vert="horz"/>
          <a:lstStyle/>
          <a:p>
            <a:pPr lvl="0"/>
            <a:r>
              <a:rPr lang="nl-NL" dirty="0"/>
              <a:t>Leestekst</a:t>
            </a:r>
          </a:p>
          <a:p>
            <a:pPr lvl="1"/>
            <a:r>
              <a:rPr lang="nl-NL" dirty="0"/>
              <a:t>Bullets</a:t>
            </a:r>
          </a:p>
          <a:p>
            <a:pPr lvl="2"/>
            <a:r>
              <a:rPr lang="nl-NL" dirty="0"/>
              <a:t>Sub-bullets</a:t>
            </a:r>
          </a:p>
          <a:p>
            <a:pPr lvl="3"/>
            <a:r>
              <a:rPr lang="nl-NL" dirty="0"/>
              <a:t>Sub-sub-bullets</a:t>
            </a:r>
          </a:p>
          <a:p>
            <a:pPr lvl="4"/>
            <a:r>
              <a:rPr lang="nl-NL" dirty="0"/>
              <a:t>Numeriek</a:t>
            </a:r>
          </a:p>
          <a:p>
            <a:pPr lvl="5"/>
            <a:r>
              <a:rPr lang="nl-NL" dirty="0"/>
              <a:t># Bullets</a:t>
            </a:r>
          </a:p>
          <a:p>
            <a:pPr lvl="6"/>
            <a:r>
              <a:rPr lang="nl-NL" dirty="0"/>
              <a:t>Cursief donker</a:t>
            </a:r>
          </a:p>
          <a:p>
            <a:pPr lvl="7"/>
            <a:r>
              <a:rPr lang="nl-NL" dirty="0"/>
              <a:t>Cursief licht</a:t>
            </a:r>
          </a:p>
          <a:p>
            <a:pPr lvl="8"/>
            <a:r>
              <a:rPr lang="nl-NL" dirty="0"/>
              <a:t>Subtitel</a:t>
            </a:r>
          </a:p>
        </p:txBody>
      </p:sp>
      <p:sp>
        <p:nvSpPr>
          <p:cNvPr id="19" name="Tijdelijke aanduiding voor Subtitel"/>
          <p:cNvSpPr>
            <a:spLocks noGrp="1"/>
          </p:cNvSpPr>
          <p:nvPr>
            <p:ph type="body" idx="14"/>
          </p:nvPr>
        </p:nvSpPr>
        <p:spPr>
          <a:xfrm>
            <a:off x="664109" y="1001348"/>
            <a:ext cx="10870131" cy="317758"/>
          </a:xfrm>
        </p:spPr>
        <p:txBody>
          <a:bodyPr bIns="72000" anchor="t" anchorCtr="0"/>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24" name="Tijdelijke aanduiding voor Titel"/>
          <p:cNvSpPr>
            <a:spLocks noGrp="1"/>
          </p:cNvSpPr>
          <p:nvPr>
            <p:ph type="title"/>
          </p:nvPr>
        </p:nvSpPr>
        <p:spPr>
          <a:xfrm>
            <a:off x="664109" y="464521"/>
            <a:ext cx="10870131" cy="533219"/>
          </a:xfrm>
        </p:spPr>
        <p:txBody>
          <a:bodyPr/>
          <a:lstStyle/>
          <a:p>
            <a:r>
              <a:rPr lang="nl-NL"/>
              <a:t>Klik om stijl te bewerken</a:t>
            </a:r>
            <a:endParaRPr lang="nl-NL" dirty="0"/>
          </a:p>
        </p:txBody>
      </p:sp>
    </p:spTree>
    <p:extLst>
      <p:ext uri="{BB962C8B-B14F-4D97-AF65-F5344CB8AC3E}">
        <p14:creationId xmlns:p14="http://schemas.microsoft.com/office/powerpoint/2010/main" val="2467887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Grafiek 100%">
    <p:spTree>
      <p:nvGrpSpPr>
        <p:cNvPr id="1" name=""/>
        <p:cNvGrpSpPr/>
        <p:nvPr/>
      </p:nvGrpSpPr>
      <p:grpSpPr>
        <a:xfrm>
          <a:off x="0" y="0"/>
          <a:ext cx="0" cy="0"/>
          <a:chOff x="0" y="0"/>
          <a:chExt cx="0" cy="0"/>
        </a:xfrm>
      </p:grpSpPr>
      <p:sp>
        <p:nvSpPr>
          <p:cNvPr id="12" name="Naam indeling - Grafiek 100%"/>
          <p:cNvSpPr txBox="1"/>
          <p:nvPr/>
        </p:nvSpPr>
        <p:spPr>
          <a:xfrm>
            <a:off x="1" y="-453266"/>
            <a:ext cx="3582333" cy="276999"/>
          </a:xfrm>
          <a:prstGeom prst="rect">
            <a:avLst/>
          </a:prstGeom>
          <a:noFill/>
        </p:spPr>
        <p:txBody>
          <a:bodyPr wrap="square" lIns="0" tIns="0" rIns="0" bIns="0" rtlCol="0">
            <a:spAutoFit/>
          </a:bodyPr>
          <a:lstStyle/>
          <a:p>
            <a:pPr defTabSz="914112"/>
            <a:r>
              <a:rPr lang="nl-NL" dirty="0">
                <a:solidFill>
                  <a:srgbClr val="404040"/>
                </a:solidFill>
                <a:latin typeface="Calibri" panose="020F0502020204030204" pitchFamily="34" charset="0"/>
              </a:rPr>
              <a:t>Grafiek 100%</a:t>
            </a:r>
            <a:endParaRPr lang="en-GB" dirty="0">
              <a:solidFill>
                <a:srgbClr val="404040"/>
              </a:solidFill>
              <a:latin typeface="Calibri" panose="020F0502020204030204" pitchFamily="34" charset="0"/>
            </a:endParaRPr>
          </a:p>
        </p:txBody>
      </p:sp>
      <p:grpSp>
        <p:nvGrpSpPr>
          <p:cNvPr id="99" name="Instructie - Grafiek invoegen"/>
          <p:cNvGrpSpPr/>
          <p:nvPr/>
        </p:nvGrpSpPr>
        <p:grpSpPr>
          <a:xfrm>
            <a:off x="12542657" y="1"/>
            <a:ext cx="2717046" cy="3676571"/>
            <a:chOff x="12435216" y="14897"/>
            <a:chExt cx="2716339" cy="3676571"/>
          </a:xfrm>
        </p:grpSpPr>
        <p:sp>
          <p:nvSpPr>
            <p:cNvPr id="100" name="Rechthoek 99"/>
            <p:cNvSpPr/>
            <p:nvPr/>
          </p:nvSpPr>
          <p:spPr>
            <a:xfrm>
              <a:off x="12441150" y="14897"/>
              <a:ext cx="2696270" cy="161771"/>
            </a:xfrm>
            <a:prstGeom prst="rect">
              <a:avLst/>
            </a:prstGeom>
            <a:noFill/>
            <a:ln w="25400" cap="flat" cmpd="sng" algn="ctr">
              <a:noFill/>
              <a:prstDash val="solid"/>
            </a:ln>
            <a:effectLst/>
          </p:spPr>
          <p:txBody>
            <a:bodyPr lIns="0" tIns="0" rIns="0" bIns="0" rtlCol="0" anchor="t"/>
            <a:lstStyle/>
            <a:p>
              <a:pPr defTabSz="914112">
                <a:lnSpc>
                  <a:spcPct val="80000"/>
                </a:lnSpc>
              </a:pPr>
              <a:r>
                <a:rPr lang="nl-NL" sz="1600" b="1" kern="0" cap="all" dirty="0">
                  <a:solidFill>
                    <a:srgbClr val="ED1A3B"/>
                  </a:solidFill>
                  <a:cs typeface="Segoe UI Light" panose="020B0502040204020203" pitchFamily="34" charset="0"/>
                </a:rPr>
                <a:t>Grafiek INVOEGEN</a:t>
              </a:r>
            </a:p>
          </p:txBody>
        </p:sp>
        <p:sp>
          <p:nvSpPr>
            <p:cNvPr id="101" name="Tekstvak 33"/>
            <p:cNvSpPr txBox="1"/>
            <p:nvPr/>
          </p:nvSpPr>
          <p:spPr>
            <a:xfrm>
              <a:off x="12441149" y="814239"/>
              <a:ext cx="2710405" cy="719877"/>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Indien nodig, verwijder de bestaande grafiek. Klik op het pictogram om </a:t>
              </a:r>
              <a:br>
                <a:rPr lang="nl-NL" sz="1200" kern="0" dirty="0">
                  <a:solidFill>
                    <a:srgbClr val="000000"/>
                  </a:solidFill>
                  <a:latin typeface="Trebuchet MS"/>
                  <a:cs typeface="Segoe UI Light" panose="020B0502040204020203" pitchFamily="34" charset="0"/>
                </a:rPr>
              </a:br>
              <a:r>
                <a:rPr lang="nl-NL" sz="1200" kern="0" dirty="0">
                  <a:solidFill>
                    <a:srgbClr val="000000"/>
                  </a:solidFill>
                  <a:latin typeface="Trebuchet MS"/>
                  <a:cs typeface="Segoe UI Light" panose="020B0502040204020203" pitchFamily="34" charset="0"/>
                </a:rPr>
                <a:t>een grafiek in te voegen</a:t>
              </a:r>
              <a:br>
                <a:rPr lang="nl-NL" sz="1200" kern="0" dirty="0">
                  <a:solidFill>
                    <a:srgbClr val="000000"/>
                  </a:solidFill>
                  <a:latin typeface="Trebuchet MS"/>
                  <a:cs typeface="Segoe UI Light" panose="020B0502040204020203" pitchFamily="34" charset="0"/>
                </a:rPr>
              </a:br>
              <a:r>
                <a:rPr lang="nl-NL" sz="1100" i="1" kern="0" dirty="0">
                  <a:solidFill>
                    <a:srgbClr val="000000"/>
                  </a:solidFill>
                  <a:latin typeface="Trebuchet MS"/>
                  <a:cs typeface="Segoe UI Light" panose="020B0502040204020203" pitchFamily="34" charset="0"/>
                </a:rPr>
                <a:t>(zie onderstaand voorbeeld).</a:t>
              </a:r>
            </a:p>
          </p:txBody>
        </p:sp>
        <p:sp>
          <p:nvSpPr>
            <p:cNvPr id="102" name="Tekstvak 33"/>
            <p:cNvSpPr txBox="1"/>
            <p:nvPr/>
          </p:nvSpPr>
          <p:spPr>
            <a:xfrm>
              <a:off x="12441149" y="2793904"/>
              <a:ext cx="2710405" cy="395943"/>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Selecteer de afbeelding die u wilt invoegen en klik op </a:t>
              </a:r>
              <a:r>
                <a:rPr lang="nl-NL" sz="1200" b="1" kern="0" dirty="0">
                  <a:solidFill>
                    <a:srgbClr val="000000"/>
                  </a:solidFill>
                  <a:latin typeface="Trebuchet MS"/>
                  <a:cs typeface="Segoe UI Light" panose="020B0502040204020203" pitchFamily="34" charset="0"/>
                </a:rPr>
                <a:t>‘Invoegen’</a:t>
              </a:r>
            </a:p>
          </p:txBody>
        </p:sp>
        <p:sp>
          <p:nvSpPr>
            <p:cNvPr id="103" name="Ovaal 102"/>
            <p:cNvSpPr/>
            <p:nvPr/>
          </p:nvSpPr>
          <p:spPr>
            <a:xfrm>
              <a:off x="12441150" y="379292"/>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1</a:t>
              </a:r>
            </a:p>
          </p:txBody>
        </p:sp>
        <p:sp>
          <p:nvSpPr>
            <p:cNvPr id="104" name="Ovaal 103"/>
            <p:cNvSpPr/>
            <p:nvPr/>
          </p:nvSpPr>
          <p:spPr>
            <a:xfrm>
              <a:off x="12441150" y="2337208"/>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2</a:t>
              </a:r>
            </a:p>
          </p:txBody>
        </p:sp>
        <p:cxnSp>
          <p:nvCxnSpPr>
            <p:cNvPr id="105" name="Rechte verbindingslijn 104"/>
            <p:cNvCxnSpPr/>
            <p:nvPr/>
          </p:nvCxnSpPr>
          <p:spPr>
            <a:xfrm>
              <a:off x="12441150" y="248176"/>
              <a:ext cx="2710405" cy="0"/>
            </a:xfrm>
            <a:prstGeom prst="line">
              <a:avLst/>
            </a:prstGeom>
            <a:noFill/>
            <a:ln w="9525" cap="flat" cmpd="sng" algn="ctr">
              <a:solidFill>
                <a:schemeClr val="accent1"/>
              </a:solidFill>
              <a:prstDash val="solid"/>
            </a:ln>
            <a:effectLst/>
          </p:spPr>
        </p:cxnSp>
        <p:cxnSp>
          <p:nvCxnSpPr>
            <p:cNvPr id="106" name="Rechte verbindingslijn 105"/>
            <p:cNvCxnSpPr/>
            <p:nvPr/>
          </p:nvCxnSpPr>
          <p:spPr>
            <a:xfrm>
              <a:off x="12441149" y="2212830"/>
              <a:ext cx="2710405" cy="0"/>
            </a:xfrm>
            <a:prstGeom prst="line">
              <a:avLst/>
            </a:prstGeom>
            <a:noFill/>
            <a:ln w="9525" cap="flat" cmpd="sng" algn="ctr">
              <a:solidFill>
                <a:schemeClr val="accent1"/>
              </a:solidFill>
              <a:prstDash val="solid"/>
            </a:ln>
            <a:effectLst/>
          </p:spPr>
        </p:cxnSp>
        <p:cxnSp>
          <p:nvCxnSpPr>
            <p:cNvPr id="107" name="Rechte verbindingslijn 106"/>
            <p:cNvCxnSpPr/>
            <p:nvPr/>
          </p:nvCxnSpPr>
          <p:spPr>
            <a:xfrm>
              <a:off x="12444679" y="3691468"/>
              <a:ext cx="2706875" cy="0"/>
            </a:xfrm>
            <a:prstGeom prst="line">
              <a:avLst/>
            </a:prstGeom>
            <a:noFill/>
            <a:ln w="9525" cap="flat" cmpd="sng" algn="ctr">
              <a:solidFill>
                <a:schemeClr val="accent1"/>
              </a:solidFill>
              <a:prstDash val="solid"/>
            </a:ln>
            <a:effectLst/>
          </p:spPr>
        </p:cxnSp>
        <p:grpSp>
          <p:nvGrpSpPr>
            <p:cNvPr id="108" name="Groep 107"/>
            <p:cNvGrpSpPr/>
            <p:nvPr/>
          </p:nvGrpSpPr>
          <p:grpSpPr>
            <a:xfrm>
              <a:off x="12450571" y="3301369"/>
              <a:ext cx="1002992" cy="267962"/>
              <a:chOff x="13560784" y="3471416"/>
              <a:chExt cx="1114138" cy="297656"/>
            </a:xfrm>
          </p:grpSpPr>
          <p:sp>
            <p:nvSpPr>
              <p:cNvPr id="113" name="Afgeronde rechthoek 88"/>
              <p:cNvSpPr/>
              <p:nvPr/>
            </p:nvSpPr>
            <p:spPr>
              <a:xfrm>
                <a:off x="13560784" y="3471416"/>
                <a:ext cx="1114138" cy="297656"/>
              </a:xfrm>
              <a:prstGeom prst="roundRect">
                <a:avLst/>
              </a:prstGeom>
              <a:gradFill flip="none" rotWithShape="1">
                <a:gsLst>
                  <a:gs pos="4000">
                    <a:srgbClr val="00B0F0"/>
                  </a:gs>
                  <a:gs pos="0">
                    <a:srgbClr val="0070C0"/>
                  </a:gs>
                  <a:gs pos="100000">
                    <a:srgbClr val="0070C0"/>
                  </a:gs>
                  <a:gs pos="12000">
                    <a:srgbClr val="D1EAFF"/>
                  </a:gs>
                  <a:gs pos="96000">
                    <a:srgbClr val="00B0F0"/>
                  </a:gs>
                  <a:gs pos="89000">
                    <a:srgbClr val="DDF4FF"/>
                  </a:gs>
                  <a:gs pos="43000">
                    <a:srgbClr val="D1EAFF"/>
                  </a:gs>
                  <a:gs pos="51000">
                    <a:srgbClr val="DDF4FF"/>
                  </a:gs>
                </a:gsLst>
                <a:lin ang="16200000" scaled="1"/>
                <a:tileRect/>
              </a:gradFill>
              <a:ln w="63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dirty="0">
                  <a:solidFill>
                    <a:srgbClr val="FFFFFF"/>
                  </a:solidFill>
                </a:endParaRPr>
              </a:p>
            </p:txBody>
          </p:sp>
          <p:sp>
            <p:nvSpPr>
              <p:cNvPr id="114" name="Tekstvak 113"/>
              <p:cNvSpPr txBox="1"/>
              <p:nvPr/>
            </p:nvSpPr>
            <p:spPr>
              <a:xfrm>
                <a:off x="13573594" y="3488254"/>
                <a:ext cx="888311" cy="273506"/>
              </a:xfrm>
              <a:prstGeom prst="rect">
                <a:avLst/>
              </a:prstGeom>
              <a:noFill/>
            </p:spPr>
            <p:txBody>
              <a:bodyPr wrap="square" rtlCol="0" anchor="ctr">
                <a:spAutoFit/>
              </a:bodyPr>
              <a:lstStyle>
                <a:defPPr>
                  <a:defRPr lang="nl-NL"/>
                </a:defPPr>
                <a:lvl1pPr marR="0" lvl="0" indent="0" algn="ctr" fontAlgn="auto">
                  <a:lnSpc>
                    <a:spcPct val="100000"/>
                  </a:lnSpc>
                  <a:spcBef>
                    <a:spcPts val="0"/>
                  </a:spcBef>
                  <a:spcAft>
                    <a:spcPts val="0"/>
                  </a:spcAft>
                  <a:buClrTx/>
                  <a:buSzTx/>
                  <a:buFontTx/>
                  <a:buNone/>
                  <a:tabLst/>
                  <a:defRPr kumimoji="0" sz="900" i="0" u="none" strike="noStrike" kern="0" cap="none" spc="0" normalizeH="0" baseline="0">
                    <a:ln>
                      <a:noFill/>
                    </a:ln>
                    <a:effectLst>
                      <a:outerShdw blurRad="25400" algn="ctr" rotWithShape="0">
                        <a:prstClr val="white"/>
                      </a:outerShdw>
                    </a:effectLst>
                    <a:uLnTx/>
                    <a:uFillTx/>
                    <a:latin typeface="Segoe UI Light" panose="020B0502040204020203" pitchFamily="34" charset="0"/>
                    <a:cs typeface="Segoe UI Light" panose="020B0502040204020203" pitchFamily="34" charset="0"/>
                  </a:defRPr>
                </a:lvl1pPr>
                <a:lvl2pPr fontAlgn="base">
                  <a:spcBef>
                    <a:spcPct val="0"/>
                  </a:spcBef>
                  <a:spcAft>
                    <a:spcPct val="0"/>
                  </a:spcAft>
                  <a:defRPr>
                    <a:latin typeface="Arial" charset="0"/>
                    <a:cs typeface="Arial" charset="0"/>
                  </a:defRPr>
                </a:lvl2pPr>
                <a:lvl3pPr fontAlgn="base">
                  <a:spcBef>
                    <a:spcPct val="0"/>
                  </a:spcBef>
                  <a:spcAft>
                    <a:spcPct val="0"/>
                  </a:spcAft>
                  <a:defRPr>
                    <a:latin typeface="Arial" charset="0"/>
                    <a:cs typeface="Arial" charset="0"/>
                  </a:defRPr>
                </a:lvl3pPr>
                <a:lvl4pPr fontAlgn="base">
                  <a:spcBef>
                    <a:spcPct val="0"/>
                  </a:spcBef>
                  <a:spcAft>
                    <a:spcPct val="0"/>
                  </a:spcAft>
                  <a:defRPr>
                    <a:latin typeface="Arial" charset="0"/>
                    <a:cs typeface="Arial" charset="0"/>
                  </a:defRPr>
                </a:lvl4pPr>
                <a:lvl5pPr fontAlgn="base">
                  <a:spcBef>
                    <a:spcPct val="0"/>
                  </a:spcBef>
                  <a:spcAft>
                    <a:spcPct val="0"/>
                  </a:spcAft>
                  <a:defRPr>
                    <a:latin typeface="Arial" charset="0"/>
                    <a:cs typeface="Arial" charset="0"/>
                  </a:defRPr>
                </a:lvl5pPr>
                <a:lvl6pPr>
                  <a:defRPr>
                    <a:latin typeface="Arial" charset="0"/>
                    <a:cs typeface="Arial" charset="0"/>
                  </a:defRPr>
                </a:lvl6pPr>
                <a:lvl7pPr>
                  <a:defRPr>
                    <a:latin typeface="Arial" charset="0"/>
                    <a:cs typeface="Arial" charset="0"/>
                  </a:defRPr>
                </a:lvl7pPr>
                <a:lvl8pPr>
                  <a:defRPr>
                    <a:latin typeface="Arial" charset="0"/>
                    <a:cs typeface="Arial" charset="0"/>
                  </a:defRPr>
                </a:lvl8pPr>
                <a:lvl9pPr>
                  <a:defRPr>
                    <a:latin typeface="Arial" charset="0"/>
                    <a:cs typeface="Arial" charset="0"/>
                  </a:defRPr>
                </a:lvl9pPr>
              </a:lstStyle>
              <a:p>
                <a:pPr defTabSz="914112"/>
                <a:r>
                  <a:rPr lang="nl-NL" sz="1000" dirty="0">
                    <a:solidFill>
                      <a:srgbClr val="000000"/>
                    </a:solidFill>
                    <a:latin typeface="Trebuchet MS"/>
                  </a:rPr>
                  <a:t>Invoegen</a:t>
                </a:r>
              </a:p>
            </p:txBody>
          </p:sp>
          <p:cxnSp>
            <p:nvCxnSpPr>
              <p:cNvPr id="115" name="Rechte verbindingslijn 114"/>
              <p:cNvCxnSpPr/>
              <p:nvPr/>
            </p:nvCxnSpPr>
            <p:spPr>
              <a:xfrm>
                <a:off x="14461905" y="3507058"/>
                <a:ext cx="0" cy="224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6" name="Gelijkbenige driehoek 115"/>
              <p:cNvSpPr/>
              <p:nvPr/>
            </p:nvSpPr>
            <p:spPr>
              <a:xfrm rot="10800000">
                <a:off x="14518584" y="3600521"/>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112"/>
                <a:endParaRPr lang="nl-NL" dirty="0">
                  <a:solidFill>
                    <a:srgbClr val="FFFFFF"/>
                  </a:solidFill>
                </a:endParaRPr>
              </a:p>
            </p:txBody>
          </p:sp>
        </p:grpSp>
        <p:grpSp>
          <p:nvGrpSpPr>
            <p:cNvPr id="109" name="Groep 108"/>
            <p:cNvGrpSpPr/>
            <p:nvPr/>
          </p:nvGrpSpPr>
          <p:grpSpPr>
            <a:xfrm>
              <a:off x="12435216" y="1678012"/>
              <a:ext cx="372535" cy="405517"/>
              <a:chOff x="12468049" y="1754144"/>
              <a:chExt cx="339072" cy="369091"/>
            </a:xfrm>
          </p:grpSpPr>
          <p:sp>
            <p:nvSpPr>
              <p:cNvPr id="110" name="Rechthoek 109"/>
              <p:cNvSpPr/>
              <p:nvPr/>
            </p:nvSpPr>
            <p:spPr>
              <a:xfrm>
                <a:off x="12468049" y="1869625"/>
                <a:ext cx="92751" cy="253609"/>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111" name="Rechthoek 110"/>
              <p:cNvSpPr/>
              <p:nvPr/>
            </p:nvSpPr>
            <p:spPr>
              <a:xfrm>
                <a:off x="12590223" y="1754144"/>
                <a:ext cx="92751" cy="369091"/>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112" name="Rechthoek 111"/>
              <p:cNvSpPr/>
              <p:nvPr/>
            </p:nvSpPr>
            <p:spPr>
              <a:xfrm>
                <a:off x="12714370" y="1836322"/>
                <a:ext cx="92751" cy="286913"/>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grpSp>
      </p:grpSp>
      <p:grpSp>
        <p:nvGrpSpPr>
          <p:cNvPr id="222" name="Instructie - Tekst niveaus"/>
          <p:cNvGrpSpPr/>
          <p:nvPr userDrawn="1"/>
        </p:nvGrpSpPr>
        <p:grpSpPr>
          <a:xfrm>
            <a:off x="-3117849" y="365"/>
            <a:ext cx="2823358" cy="5254722"/>
            <a:chOff x="-2959433" y="-5444"/>
            <a:chExt cx="2822623" cy="5254722"/>
          </a:xfrm>
        </p:grpSpPr>
        <p:sp>
          <p:nvSpPr>
            <p:cNvPr id="223" name="Rechthoek 222"/>
            <p:cNvSpPr/>
            <p:nvPr userDrawn="1"/>
          </p:nvSpPr>
          <p:spPr>
            <a:xfrm>
              <a:off x="-2959433" y="-5444"/>
              <a:ext cx="2572469" cy="280344"/>
            </a:xfrm>
            <a:prstGeom prst="rect">
              <a:avLst/>
            </a:prstGeom>
            <a:noFill/>
            <a:ln w="25400" cap="flat" cmpd="sng" algn="ctr">
              <a:noFill/>
              <a:prstDash val="solid"/>
            </a:ln>
            <a:effectLst/>
          </p:spPr>
          <p:txBody>
            <a:bodyPr lIns="0" tIns="0" rIns="0" bIns="0" rtlCol="0" anchor="t"/>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nl-NL" sz="1600" b="1" kern="0" dirty="0">
                  <a:solidFill>
                    <a:srgbClr val="ED1A3B"/>
                  </a:solidFill>
                  <a:cs typeface="Segoe UI Light" panose="020B0502040204020203" pitchFamily="34" charset="0"/>
                </a:rPr>
                <a:t>TEKST NIVEAUS</a:t>
              </a:r>
            </a:p>
          </p:txBody>
        </p:sp>
        <p:sp>
          <p:nvSpPr>
            <p:cNvPr id="224" name="Textfield placeholder"/>
            <p:cNvSpPr txBox="1">
              <a:spLocks/>
            </p:cNvSpPr>
            <p:nvPr userDrawn="1"/>
          </p:nvSpPr>
          <p:spPr>
            <a:xfrm>
              <a:off x="-2587337" y="2675411"/>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0" lvl="2"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a:solidFill>
                    <a:srgbClr val="404040"/>
                  </a:solidFill>
                </a:rPr>
                <a:t>Sub-bullets (16 pt.)</a:t>
              </a:r>
            </a:p>
          </p:txBody>
        </p:sp>
        <p:sp>
          <p:nvSpPr>
            <p:cNvPr id="225" name="Ovaal 224"/>
            <p:cNvSpPr/>
            <p:nvPr userDrawn="1"/>
          </p:nvSpPr>
          <p:spPr>
            <a:xfrm>
              <a:off x="-2959433" y="196874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1</a:t>
              </a:r>
            </a:p>
          </p:txBody>
        </p:sp>
        <p:sp>
          <p:nvSpPr>
            <p:cNvPr id="226" name="Ovaal 225"/>
            <p:cNvSpPr/>
            <p:nvPr userDrawn="1"/>
          </p:nvSpPr>
          <p:spPr>
            <a:xfrm>
              <a:off x="-2959433" y="232207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2</a:t>
              </a:r>
            </a:p>
          </p:txBody>
        </p:sp>
        <p:sp>
          <p:nvSpPr>
            <p:cNvPr id="227" name="Ovaal 226"/>
            <p:cNvSpPr/>
            <p:nvPr userDrawn="1"/>
          </p:nvSpPr>
          <p:spPr>
            <a:xfrm>
              <a:off x="-2959433" y="267541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3</a:t>
              </a:r>
            </a:p>
          </p:txBody>
        </p:sp>
        <p:sp>
          <p:nvSpPr>
            <p:cNvPr id="228" name="Ovaal 227"/>
            <p:cNvSpPr/>
            <p:nvPr userDrawn="1"/>
          </p:nvSpPr>
          <p:spPr>
            <a:xfrm>
              <a:off x="-2959433" y="302874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4</a:t>
              </a:r>
            </a:p>
          </p:txBody>
        </p:sp>
        <p:sp>
          <p:nvSpPr>
            <p:cNvPr id="229" name="Textfield placeholder"/>
            <p:cNvSpPr txBox="1">
              <a:spLocks/>
            </p:cNvSpPr>
            <p:nvPr userDrawn="1"/>
          </p:nvSpPr>
          <p:spPr>
            <a:xfrm>
              <a:off x="-2571950" y="1966925"/>
              <a:ext cx="2163709" cy="261500"/>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79388">
                <a:lnSpc>
                  <a:spcPct val="120000"/>
                </a:lnSpc>
                <a:spcBef>
                  <a:spcPts val="0"/>
                </a:spcBef>
                <a:spcAft>
                  <a:spcPts val="900"/>
                </a:spcAft>
                <a:buClr>
                  <a:srgbClr val="000000"/>
                </a:buClr>
                <a:buSzPct val="100000"/>
                <a:buFont typeface="Arial" pitchFamily="34" charset="0"/>
                <a:buNone/>
                <a:defRPr/>
              </a:pPr>
              <a:r>
                <a:rPr lang="nl-NL" sz="1200" dirty="0">
                  <a:solidFill>
                    <a:srgbClr val="535353"/>
                  </a:solidFill>
                </a:rPr>
                <a:t>Leestekst (16 pt.)</a:t>
              </a:r>
            </a:p>
          </p:txBody>
        </p:sp>
        <p:sp>
          <p:nvSpPr>
            <p:cNvPr id="230" name="Textfield placeholder"/>
            <p:cNvSpPr txBox="1">
              <a:spLocks/>
            </p:cNvSpPr>
            <p:nvPr userDrawn="1"/>
          </p:nvSpPr>
          <p:spPr>
            <a:xfrm>
              <a:off x="-2571950" y="2322077"/>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70000" lvl="1"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err="1">
                  <a:solidFill>
                    <a:srgbClr val="535353"/>
                  </a:solidFill>
                </a:rPr>
                <a:t>Bullets</a:t>
              </a:r>
              <a:r>
                <a:rPr lang="nl-NL" sz="1200" dirty="0">
                  <a:solidFill>
                    <a:srgbClr val="535353"/>
                  </a:solidFill>
                </a:rPr>
                <a:t> (16 </a:t>
              </a:r>
              <a:r>
                <a:rPr lang="nl-NL" sz="1200" dirty="0" err="1">
                  <a:solidFill>
                    <a:srgbClr val="535353"/>
                  </a:solidFill>
                </a:rPr>
                <a:t>pt</a:t>
              </a:r>
              <a:r>
                <a:rPr lang="nl-NL" sz="1200" dirty="0">
                  <a:solidFill>
                    <a:srgbClr val="535353"/>
                  </a:solidFill>
                </a:rPr>
                <a:t>.)</a:t>
              </a:r>
            </a:p>
          </p:txBody>
        </p:sp>
        <p:sp>
          <p:nvSpPr>
            <p:cNvPr id="231" name="Textfield placeholder"/>
            <p:cNvSpPr txBox="1">
              <a:spLocks/>
            </p:cNvSpPr>
            <p:nvPr userDrawn="1"/>
          </p:nvSpPr>
          <p:spPr>
            <a:xfrm>
              <a:off x="-2571951" y="3028747"/>
              <a:ext cx="2435141"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10000" lvl="3" indent="-270000" algn="l" defTabSz="179388" rtl="0" eaLnBrk="1" latinLnBrk="0" hangingPunct="1">
                <a:lnSpc>
                  <a:spcPct val="120000"/>
                </a:lnSpc>
                <a:spcBef>
                  <a:spcPts val="0"/>
                </a:spcBef>
                <a:spcAft>
                  <a:spcPts val="900"/>
                </a:spcAft>
                <a:buClr>
                  <a:schemeClr val="accent2"/>
                </a:buClr>
                <a:buSzPct val="80000"/>
                <a:buFont typeface="Wingdings 3" panose="05040102010807070707" pitchFamily="18" charset="2"/>
                <a:buChar char=""/>
                <a:defRPr/>
              </a:pPr>
              <a:r>
                <a:rPr lang="nl-NL" sz="1200" b="0" kern="1200" dirty="0">
                  <a:solidFill>
                    <a:srgbClr val="404040"/>
                  </a:solidFill>
                  <a:latin typeface="+mn-lt"/>
                  <a:ea typeface="+mn-ea"/>
                  <a:cs typeface="+mn-cs"/>
                </a:rPr>
                <a:t>Sub-sub-bullets (16 pt.)</a:t>
              </a:r>
            </a:p>
          </p:txBody>
        </p:sp>
        <p:cxnSp>
          <p:nvCxnSpPr>
            <p:cNvPr id="232" name="Rechte verbindingslijn 231"/>
            <p:cNvCxnSpPr/>
            <p:nvPr userDrawn="1"/>
          </p:nvCxnSpPr>
          <p:spPr>
            <a:xfrm>
              <a:off x="-2959100" y="274900"/>
              <a:ext cx="2674470" cy="0"/>
            </a:xfrm>
            <a:prstGeom prst="line">
              <a:avLst/>
            </a:prstGeom>
            <a:noFill/>
            <a:ln w="9525" cap="flat" cmpd="sng" algn="ctr">
              <a:solidFill>
                <a:schemeClr val="accent1"/>
              </a:solidFill>
              <a:prstDash val="solid"/>
            </a:ln>
            <a:effectLst/>
          </p:spPr>
        </p:cxnSp>
        <p:cxnSp>
          <p:nvCxnSpPr>
            <p:cNvPr id="233" name="Rechte verbindingslijn 232"/>
            <p:cNvCxnSpPr/>
            <p:nvPr userDrawn="1"/>
          </p:nvCxnSpPr>
          <p:spPr>
            <a:xfrm>
              <a:off x="-2959100" y="1841989"/>
              <a:ext cx="2661379" cy="0"/>
            </a:xfrm>
            <a:prstGeom prst="line">
              <a:avLst/>
            </a:prstGeom>
            <a:noFill/>
            <a:ln w="9525" cap="flat" cmpd="sng" algn="ctr">
              <a:solidFill>
                <a:schemeClr val="accent1"/>
              </a:solidFill>
              <a:prstDash val="solid"/>
            </a:ln>
            <a:effectLst/>
          </p:spPr>
        </p:cxnSp>
        <p:cxnSp>
          <p:nvCxnSpPr>
            <p:cNvPr id="234" name="Rechte verbindingslijn 233"/>
            <p:cNvCxnSpPr/>
            <p:nvPr userDrawn="1"/>
          </p:nvCxnSpPr>
          <p:spPr>
            <a:xfrm>
              <a:off x="-2959100" y="5249278"/>
              <a:ext cx="2661379" cy="0"/>
            </a:xfrm>
            <a:prstGeom prst="line">
              <a:avLst/>
            </a:prstGeom>
            <a:noFill/>
            <a:ln w="9525" cap="flat" cmpd="sng" algn="ctr">
              <a:solidFill>
                <a:schemeClr val="accent1"/>
              </a:solidFill>
              <a:prstDash val="solid"/>
            </a:ln>
            <a:effectLst/>
          </p:spPr>
        </p:cxnSp>
        <p:grpSp>
          <p:nvGrpSpPr>
            <p:cNvPr id="235" name="Groep 234"/>
            <p:cNvGrpSpPr/>
            <p:nvPr userDrawn="1"/>
          </p:nvGrpSpPr>
          <p:grpSpPr>
            <a:xfrm>
              <a:off x="-1948476" y="816741"/>
              <a:ext cx="409108" cy="427699"/>
              <a:chOff x="-1085063" y="758027"/>
              <a:chExt cx="633799" cy="622540"/>
            </a:xfrm>
          </p:grpSpPr>
          <p:sp>
            <p:nvSpPr>
              <p:cNvPr id="291" name="Afgeronde rechthoek 290"/>
              <p:cNvSpPr/>
              <p:nvPr userDrawn="1"/>
            </p:nvSpPr>
            <p:spPr>
              <a:xfrm>
                <a:off x="-108506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292" name="Groep 291"/>
              <p:cNvGrpSpPr/>
              <p:nvPr userDrawn="1"/>
            </p:nvGrpSpPr>
            <p:grpSpPr>
              <a:xfrm>
                <a:off x="-977739" y="864082"/>
                <a:ext cx="419168" cy="410429"/>
                <a:chOff x="6366933" y="309013"/>
                <a:chExt cx="1901295" cy="1861668"/>
              </a:xfrm>
              <a:solidFill>
                <a:srgbClr val="000000"/>
              </a:solidFill>
            </p:grpSpPr>
            <p:sp>
              <p:nvSpPr>
                <p:cNvPr id="293" name="Rechthoek 292"/>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4" name="Rechthoek 293"/>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5" name="Rechthoek 294"/>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6" name="Rechthoek 295"/>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7" name="Rechthoek 296"/>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8" name="Rechthoek 297"/>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9" name="Rechthoek 298"/>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0" name="Rechthoek 299"/>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1" name="Rechthoek 300"/>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2" name="Rechthoek 301"/>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3" name="Vrije vorm 302"/>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nvGrpSpPr>
            <p:cNvPr id="236" name="Groep 235"/>
            <p:cNvGrpSpPr/>
            <p:nvPr userDrawn="1"/>
          </p:nvGrpSpPr>
          <p:grpSpPr>
            <a:xfrm>
              <a:off x="-2950232" y="1207835"/>
              <a:ext cx="532929" cy="509563"/>
              <a:chOff x="-2880382" y="802341"/>
              <a:chExt cx="532929" cy="509563"/>
            </a:xfrm>
          </p:grpSpPr>
          <p:sp>
            <p:nvSpPr>
              <p:cNvPr id="269" name="Rechthoek 268"/>
              <p:cNvSpPr/>
              <p:nvPr userDrawn="1"/>
            </p:nvSpPr>
            <p:spPr>
              <a:xfrm>
                <a:off x="-2880382" y="802341"/>
                <a:ext cx="532929" cy="509563"/>
              </a:xfrm>
              <a:prstGeom prst="rect">
                <a:avLst/>
              </a:prstGeom>
              <a:solidFill>
                <a:sysClr val="window" lastClr="FFFFFF"/>
              </a:soli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pic>
            <p:nvPicPr>
              <p:cNvPr id="27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635852" y="822181"/>
                <a:ext cx="226442" cy="208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1"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848026" y="822181"/>
                <a:ext cx="207168" cy="213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72" name="Groep 271"/>
              <p:cNvGrpSpPr/>
              <p:nvPr userDrawn="1"/>
            </p:nvGrpSpPr>
            <p:grpSpPr>
              <a:xfrm>
                <a:off x="-2802433" y="1123442"/>
                <a:ext cx="132915" cy="104889"/>
                <a:chOff x="-2796392" y="1123442"/>
                <a:chExt cx="120832" cy="104889"/>
              </a:xfrm>
            </p:grpSpPr>
            <p:sp>
              <p:nvSpPr>
                <p:cNvPr id="286" name="Rechthoek 285"/>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7" name="Rechthoek 286"/>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8" name="Rechthoek 287"/>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9" name="Rechthoek 288"/>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0" name="Rechthoek 289"/>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273" name="Groep 272"/>
              <p:cNvGrpSpPr/>
              <p:nvPr userDrawn="1"/>
            </p:nvGrpSpPr>
            <p:grpSpPr>
              <a:xfrm>
                <a:off x="-2575417" y="1123442"/>
                <a:ext cx="133930" cy="104889"/>
                <a:chOff x="-2556734" y="1123442"/>
                <a:chExt cx="147324" cy="104889"/>
              </a:xfrm>
            </p:grpSpPr>
            <p:grpSp>
              <p:nvGrpSpPr>
                <p:cNvPr id="274" name="Groep 273"/>
                <p:cNvGrpSpPr/>
                <p:nvPr userDrawn="1"/>
              </p:nvGrpSpPr>
              <p:grpSpPr>
                <a:xfrm>
                  <a:off x="-2556734" y="1123442"/>
                  <a:ext cx="68206" cy="104889"/>
                  <a:chOff x="-2796392" y="1123442"/>
                  <a:chExt cx="120832" cy="104889"/>
                </a:xfrm>
              </p:grpSpPr>
              <p:sp>
                <p:nvSpPr>
                  <p:cNvPr id="281" name="Rechthoek 280"/>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2" name="Rechthoek 281"/>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3" name="Rechthoek 282"/>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4" name="Rechthoek 283"/>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5" name="Rechthoek 284"/>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275" name="Groep 274"/>
                <p:cNvGrpSpPr/>
                <p:nvPr userDrawn="1"/>
              </p:nvGrpSpPr>
              <p:grpSpPr>
                <a:xfrm>
                  <a:off x="-2477616" y="1123442"/>
                  <a:ext cx="68206" cy="104889"/>
                  <a:chOff x="-2796392" y="1123442"/>
                  <a:chExt cx="120832" cy="104889"/>
                </a:xfrm>
              </p:grpSpPr>
              <p:sp>
                <p:nvSpPr>
                  <p:cNvPr id="276" name="Rechthoek 275"/>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7" name="Rechthoek 276"/>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8" name="Rechthoek 277"/>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9" name="Rechthoek 278"/>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0" name="Rechthoek 279"/>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grpSp>
          <p:nvGrpSpPr>
            <p:cNvPr id="237" name="Groep 236"/>
            <p:cNvGrpSpPr/>
            <p:nvPr userDrawn="1"/>
          </p:nvGrpSpPr>
          <p:grpSpPr>
            <a:xfrm>
              <a:off x="-1948476" y="1281164"/>
              <a:ext cx="413704" cy="427699"/>
              <a:chOff x="-1845083" y="758027"/>
              <a:chExt cx="633799" cy="622540"/>
            </a:xfrm>
          </p:grpSpPr>
          <p:sp>
            <p:nvSpPr>
              <p:cNvPr id="256" name="Afgeronde rechthoek 255"/>
              <p:cNvSpPr/>
              <p:nvPr userDrawn="1"/>
            </p:nvSpPr>
            <p:spPr>
              <a:xfrm>
                <a:off x="-184508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257" name="Groep 256"/>
              <p:cNvGrpSpPr/>
              <p:nvPr userDrawn="1"/>
            </p:nvGrpSpPr>
            <p:grpSpPr>
              <a:xfrm>
                <a:off x="-1737762" y="864082"/>
                <a:ext cx="419168" cy="410429"/>
                <a:chOff x="3708400" y="309013"/>
                <a:chExt cx="1901295" cy="1861668"/>
              </a:xfrm>
              <a:solidFill>
                <a:srgbClr val="000000"/>
              </a:solidFill>
            </p:grpSpPr>
            <p:sp>
              <p:nvSpPr>
                <p:cNvPr id="258" name="Rechthoek 257"/>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9" name="Rechthoek 258"/>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0" name="Rechthoek 259"/>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1" name="Rechthoek 260"/>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2" name="Rechthoek 261"/>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3" name="Rechthoek 262"/>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4" name="Rechthoek 263"/>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5" name="Rechthoek 264"/>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6" name="Rechthoek 265"/>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7" name="Rechthoek 266"/>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8" name="Vrije vorm 267"/>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cxnSp>
          <p:nvCxnSpPr>
            <p:cNvPr id="238" name="Rechte verbindingslijn 237"/>
            <p:cNvCxnSpPr/>
            <p:nvPr userDrawn="1"/>
          </p:nvCxnSpPr>
          <p:spPr>
            <a:xfrm>
              <a:off x="-2814292" y="1441193"/>
              <a:ext cx="865816" cy="53821"/>
            </a:xfrm>
            <a:prstGeom prst="line">
              <a:avLst/>
            </a:prstGeom>
            <a:noFill/>
            <a:ln w="9525" cap="flat" cmpd="sng" algn="ctr">
              <a:solidFill>
                <a:schemeClr val="accent1"/>
              </a:solidFill>
              <a:prstDash val="solid"/>
              <a:headEnd type="oval"/>
            </a:ln>
            <a:effectLst/>
          </p:spPr>
        </p:cxnSp>
        <p:cxnSp>
          <p:nvCxnSpPr>
            <p:cNvPr id="239" name="Rechte verbindingslijn 238"/>
            <p:cNvCxnSpPr/>
            <p:nvPr userDrawn="1"/>
          </p:nvCxnSpPr>
          <p:spPr>
            <a:xfrm flipV="1">
              <a:off x="-2453902" y="1030591"/>
              <a:ext cx="505426" cy="283623"/>
            </a:xfrm>
            <a:prstGeom prst="line">
              <a:avLst/>
            </a:prstGeom>
            <a:noFill/>
            <a:ln w="9525" cap="flat" cmpd="sng" algn="ctr">
              <a:solidFill>
                <a:schemeClr val="accent1"/>
              </a:solidFill>
              <a:prstDash val="solid"/>
              <a:headEnd type="oval"/>
            </a:ln>
            <a:effectLst/>
          </p:spPr>
        </p:cxnSp>
        <p:sp>
          <p:nvSpPr>
            <p:cNvPr id="240" name="Textfield placeholder"/>
            <p:cNvSpPr txBox="1">
              <a:spLocks/>
            </p:cNvSpPr>
            <p:nvPr userDrawn="1"/>
          </p:nvSpPr>
          <p:spPr>
            <a:xfrm>
              <a:off x="-1341598" y="816743"/>
              <a:ext cx="1056968" cy="427698"/>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hoog</a:t>
              </a:r>
            </a:p>
          </p:txBody>
        </p:sp>
        <p:sp>
          <p:nvSpPr>
            <p:cNvPr id="241" name="Textfield placeholder"/>
            <p:cNvSpPr txBox="1">
              <a:spLocks/>
            </p:cNvSpPr>
            <p:nvPr userDrawn="1"/>
          </p:nvSpPr>
          <p:spPr>
            <a:xfrm>
              <a:off x="-1341599" y="1281164"/>
              <a:ext cx="1070223" cy="427699"/>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laag</a:t>
              </a:r>
            </a:p>
          </p:txBody>
        </p:sp>
        <p:sp>
          <p:nvSpPr>
            <p:cNvPr id="242" name="Ovaal 241"/>
            <p:cNvSpPr/>
            <p:nvPr userDrawn="1"/>
          </p:nvSpPr>
          <p:spPr>
            <a:xfrm>
              <a:off x="-2959433" y="338208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5</a:t>
              </a:r>
            </a:p>
          </p:txBody>
        </p:sp>
        <p:sp>
          <p:nvSpPr>
            <p:cNvPr id="243" name="Textfield placeholder"/>
            <p:cNvSpPr txBox="1">
              <a:spLocks/>
            </p:cNvSpPr>
            <p:nvPr userDrawn="1"/>
          </p:nvSpPr>
          <p:spPr>
            <a:xfrm>
              <a:off x="-2571950" y="3382082"/>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60000" lvl="4" indent="-360000" defTabSz="179388">
                <a:lnSpc>
                  <a:spcPct val="120000"/>
                </a:lnSpc>
                <a:spcBef>
                  <a:spcPts val="0"/>
                </a:spcBef>
                <a:spcAft>
                  <a:spcPts val="900"/>
                </a:spcAft>
                <a:buClr>
                  <a:srgbClr val="ED1A3B"/>
                </a:buClr>
                <a:buFont typeface="+mj-lt"/>
                <a:buAutoNum type="arabicPeriod"/>
                <a:defRPr/>
              </a:pPr>
              <a:r>
                <a:rPr lang="nl-NL" sz="1200" b="0" dirty="0">
                  <a:solidFill>
                    <a:srgbClr val="404040"/>
                  </a:solidFill>
                </a:rPr>
                <a:t>Numeriek (16 pt.)</a:t>
              </a:r>
            </a:p>
          </p:txBody>
        </p:sp>
        <p:grpSp>
          <p:nvGrpSpPr>
            <p:cNvPr id="244" name="Groep 243"/>
            <p:cNvGrpSpPr/>
            <p:nvPr userDrawn="1"/>
          </p:nvGrpSpPr>
          <p:grpSpPr>
            <a:xfrm>
              <a:off x="-2950232" y="816050"/>
              <a:ext cx="528695" cy="344202"/>
              <a:chOff x="-2880382" y="410556"/>
              <a:chExt cx="528695" cy="344202"/>
            </a:xfrm>
          </p:grpSpPr>
          <p:sp>
            <p:nvSpPr>
              <p:cNvPr id="254" name="Afgeronde rechthoek 253"/>
              <p:cNvSpPr/>
              <p:nvPr userDrawn="1"/>
            </p:nvSpPr>
            <p:spPr>
              <a:xfrm>
                <a:off x="-2874214" y="410556"/>
                <a:ext cx="522527" cy="339183"/>
              </a:xfrm>
              <a:prstGeom prst="roundRect">
                <a:avLst>
                  <a:gd name="adj" fmla="val 7565"/>
                </a:avLst>
              </a:prstGeom>
              <a:gradFill>
                <a:gsLst>
                  <a:gs pos="0">
                    <a:srgbClr val="FFEC8F"/>
                  </a:gs>
                  <a:gs pos="100000">
                    <a:srgbClr val="FFFFFF"/>
                  </a:gs>
                </a:gsLst>
                <a:lin ang="5400000" scaled="0"/>
              </a:gra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sp>
            <p:nvSpPr>
              <p:cNvPr id="255" name="Vrije vorm 254"/>
              <p:cNvSpPr/>
              <p:nvPr userDrawn="1"/>
            </p:nvSpPr>
            <p:spPr>
              <a:xfrm>
                <a:off x="-2880382" y="452699"/>
                <a:ext cx="528695" cy="302059"/>
              </a:xfrm>
              <a:custGeom>
                <a:avLst/>
                <a:gdLst>
                  <a:gd name="connsiteX0" fmla="*/ 55524 w 528695"/>
                  <a:gd name="connsiteY0" fmla="*/ 0 h 302059"/>
                  <a:gd name="connsiteX1" fmla="*/ 455496 w 528695"/>
                  <a:gd name="connsiteY1" fmla="*/ 0 h 302059"/>
                  <a:gd name="connsiteX2" fmla="*/ 475205 w 528695"/>
                  <a:gd name="connsiteY2" fmla="*/ 19709 h 302059"/>
                  <a:gd name="connsiteX3" fmla="*/ 475205 w 528695"/>
                  <a:gd name="connsiteY3" fmla="*/ 230056 h 302059"/>
                  <a:gd name="connsiteX4" fmla="*/ 516694 w 528695"/>
                  <a:gd name="connsiteY4" fmla="*/ 230056 h 302059"/>
                  <a:gd name="connsiteX5" fmla="*/ 528695 w 528695"/>
                  <a:gd name="connsiteY5" fmla="*/ 242057 h 302059"/>
                  <a:gd name="connsiteX6" fmla="*/ 528695 w 528695"/>
                  <a:gd name="connsiteY6" fmla="*/ 290058 h 302059"/>
                  <a:gd name="connsiteX7" fmla="*/ 516694 w 528695"/>
                  <a:gd name="connsiteY7" fmla="*/ 302059 h 302059"/>
                  <a:gd name="connsiteX8" fmla="*/ 12001 w 528695"/>
                  <a:gd name="connsiteY8" fmla="*/ 302059 h 302059"/>
                  <a:gd name="connsiteX9" fmla="*/ 0 w 528695"/>
                  <a:gd name="connsiteY9" fmla="*/ 290058 h 302059"/>
                  <a:gd name="connsiteX10" fmla="*/ 0 w 528695"/>
                  <a:gd name="connsiteY10" fmla="*/ 242057 h 302059"/>
                  <a:gd name="connsiteX11" fmla="*/ 12001 w 528695"/>
                  <a:gd name="connsiteY11" fmla="*/ 230056 h 302059"/>
                  <a:gd name="connsiteX12" fmla="*/ 35815 w 528695"/>
                  <a:gd name="connsiteY12" fmla="*/ 230056 h 302059"/>
                  <a:gd name="connsiteX13" fmla="*/ 35815 w 528695"/>
                  <a:gd name="connsiteY13" fmla="*/ 19709 h 302059"/>
                  <a:gd name="connsiteX14" fmla="*/ 55524 w 528695"/>
                  <a:gd name="connsiteY14" fmla="*/ 0 h 3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8695" h="302059">
                    <a:moveTo>
                      <a:pt x="55524" y="0"/>
                    </a:moveTo>
                    <a:lnTo>
                      <a:pt x="455496" y="0"/>
                    </a:lnTo>
                    <a:cubicBezTo>
                      <a:pt x="466381" y="0"/>
                      <a:pt x="475205" y="8824"/>
                      <a:pt x="475205" y="19709"/>
                    </a:cubicBezTo>
                    <a:lnTo>
                      <a:pt x="475205" y="230056"/>
                    </a:lnTo>
                    <a:lnTo>
                      <a:pt x="516694" y="230056"/>
                    </a:lnTo>
                    <a:cubicBezTo>
                      <a:pt x="523322" y="230056"/>
                      <a:pt x="528695" y="235429"/>
                      <a:pt x="528695" y="242057"/>
                    </a:cubicBezTo>
                    <a:lnTo>
                      <a:pt x="528695" y="290058"/>
                    </a:lnTo>
                    <a:cubicBezTo>
                      <a:pt x="528695" y="296686"/>
                      <a:pt x="523322" y="302059"/>
                      <a:pt x="516694" y="302059"/>
                    </a:cubicBezTo>
                    <a:lnTo>
                      <a:pt x="12001" y="302059"/>
                    </a:lnTo>
                    <a:cubicBezTo>
                      <a:pt x="5373" y="302059"/>
                      <a:pt x="0" y="296686"/>
                      <a:pt x="0" y="290058"/>
                    </a:cubicBezTo>
                    <a:lnTo>
                      <a:pt x="0" y="242057"/>
                    </a:lnTo>
                    <a:cubicBezTo>
                      <a:pt x="0" y="235429"/>
                      <a:pt x="5373" y="230056"/>
                      <a:pt x="12001" y="230056"/>
                    </a:cubicBezTo>
                    <a:lnTo>
                      <a:pt x="35815" y="230056"/>
                    </a:lnTo>
                    <a:lnTo>
                      <a:pt x="35815" y="19709"/>
                    </a:lnTo>
                    <a:cubicBezTo>
                      <a:pt x="35815" y="8824"/>
                      <a:pt x="44639" y="0"/>
                      <a:pt x="55524" y="0"/>
                    </a:cubicBezTo>
                    <a:close/>
                  </a:path>
                </a:pathLst>
              </a:custGeom>
              <a:solidFill>
                <a:sysClr val="window" lastClr="FFFFFF">
                  <a:lumMod val="95000"/>
                </a:sysClr>
              </a:solidFill>
              <a:ln w="9525" cap="flat" cmpd="sng" algn="ctr">
                <a:solidFill>
                  <a:srgbClr val="FFFFFF">
                    <a:lumMod val="90000"/>
                  </a:srgbClr>
                </a:solidFill>
                <a:prstDash val="solid"/>
                <a:miter lim="800000"/>
              </a:ln>
              <a:effectLst/>
            </p:spPr>
            <p:txBody>
              <a:bodyPr rot="0" spcFirstLastPara="0" vert="horz" wrap="square" lIns="108000" tIns="36000" rIns="108000" bIns="10800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900" dirty="0">
                    <a:solidFill>
                      <a:prstClr val="black"/>
                    </a:solidFill>
                    <a:latin typeface="Segoe UI Light"/>
                  </a:rPr>
                  <a:t>Start</a:t>
                </a:r>
              </a:p>
            </p:txBody>
          </p:sp>
        </p:grpSp>
        <p:sp>
          <p:nvSpPr>
            <p:cNvPr id="245" name="Tekstvak 65"/>
            <p:cNvSpPr txBox="1"/>
            <p:nvPr userDrawn="1"/>
          </p:nvSpPr>
          <p:spPr>
            <a:xfrm>
              <a:off x="-2959433" y="372104"/>
              <a:ext cx="2679887" cy="453396"/>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nl-NL" sz="1200" kern="0" dirty="0">
                  <a:solidFill>
                    <a:srgbClr val="000000"/>
                  </a:solidFill>
                  <a:latin typeface="Segoe UI Light" panose="020B0502040204020203" pitchFamily="34" charset="0"/>
                  <a:cs typeface="Segoe UI Light" panose="020B0502040204020203" pitchFamily="34" charset="0"/>
                </a:rPr>
                <a:t>Ga naar de tab </a:t>
              </a:r>
              <a:r>
                <a:rPr lang="nl-NL" sz="1200" b="1" kern="0" dirty="0">
                  <a:solidFill>
                    <a:srgbClr val="000000"/>
                  </a:solidFill>
                  <a:latin typeface="Segoe UI Light" panose="020B0502040204020203" pitchFamily="34" charset="0"/>
                  <a:cs typeface="Segoe UI Light" panose="020B0502040204020203" pitchFamily="34" charset="0"/>
                </a:rPr>
                <a:t>Start’ </a:t>
              </a:r>
              <a:r>
                <a:rPr lang="nl-NL" sz="1200" kern="0" dirty="0">
                  <a:solidFill>
                    <a:srgbClr val="000000"/>
                  </a:solidFill>
                  <a:latin typeface="Segoe UI Light" panose="020B0502040204020203" pitchFamily="34" charset="0"/>
                  <a:cs typeface="Segoe UI Light" panose="020B0502040204020203" pitchFamily="34" charset="0"/>
                </a:rPr>
                <a:t>en vind onderstaande knoppen onder </a:t>
              </a:r>
              <a:r>
                <a:rPr lang="nl-NL" sz="1200" b="1" kern="0" dirty="0">
                  <a:solidFill>
                    <a:srgbClr val="000000"/>
                  </a:solidFill>
                  <a:latin typeface="Segoe UI Light" panose="020B0502040204020203" pitchFamily="34" charset="0"/>
                  <a:cs typeface="Segoe UI Light" panose="020B0502040204020203" pitchFamily="34" charset="0"/>
                </a:rPr>
                <a:t>‘Alinea’</a:t>
              </a:r>
            </a:p>
          </p:txBody>
        </p:sp>
        <p:sp>
          <p:nvSpPr>
            <p:cNvPr id="246" name="Ovaal 245"/>
            <p:cNvSpPr/>
            <p:nvPr userDrawn="1"/>
          </p:nvSpPr>
          <p:spPr>
            <a:xfrm>
              <a:off x="-2959433" y="375153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6</a:t>
              </a:r>
            </a:p>
          </p:txBody>
        </p:sp>
        <p:sp>
          <p:nvSpPr>
            <p:cNvPr id="247" name="Textfield placeholder"/>
            <p:cNvSpPr txBox="1">
              <a:spLocks/>
            </p:cNvSpPr>
            <p:nvPr userDrawn="1"/>
          </p:nvSpPr>
          <p:spPr>
            <a:xfrm>
              <a:off x="-2571950" y="3751536"/>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0000" lvl="5" indent="-270000" defTabSz="179388">
                <a:lnSpc>
                  <a:spcPct val="120000"/>
                </a:lnSpc>
                <a:spcAft>
                  <a:spcPts val="900"/>
                </a:spcAft>
                <a:buClr>
                  <a:srgbClr val="ED1A3B"/>
                </a:buClr>
                <a:buSzPct val="80000"/>
                <a:buFont typeface="Wingdings 3" panose="05040102010807070707" pitchFamily="18" charset="2"/>
                <a:buChar char=""/>
                <a:defRPr/>
              </a:pPr>
              <a:r>
                <a:rPr lang="nl-NL" sz="1200" cap="none" dirty="0">
                  <a:solidFill>
                    <a:srgbClr val="535353"/>
                  </a:solidFill>
                </a:rPr>
                <a:t># Bullets (16 pt.)</a:t>
              </a:r>
            </a:p>
          </p:txBody>
        </p:sp>
        <p:sp>
          <p:nvSpPr>
            <p:cNvPr id="248" name="Ovaal 247"/>
            <p:cNvSpPr/>
            <p:nvPr userDrawn="1"/>
          </p:nvSpPr>
          <p:spPr>
            <a:xfrm>
              <a:off x="-2959433" y="414870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7</a:t>
              </a:r>
            </a:p>
          </p:txBody>
        </p:sp>
        <p:sp>
          <p:nvSpPr>
            <p:cNvPr id="249" name="Textfield placeholder"/>
            <p:cNvSpPr txBox="1">
              <a:spLocks/>
            </p:cNvSpPr>
            <p:nvPr userDrawn="1"/>
          </p:nvSpPr>
          <p:spPr>
            <a:xfrm>
              <a:off x="-2571950" y="414870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6" indent="0" defTabSz="179388">
                <a:lnSpc>
                  <a:spcPct val="120000"/>
                </a:lnSpc>
                <a:spcBef>
                  <a:spcPts val="0"/>
                </a:spcBef>
                <a:spcAft>
                  <a:spcPts val="900"/>
                </a:spcAft>
                <a:buClr>
                  <a:srgbClr val="ED1A3B"/>
                </a:buClr>
                <a:buSzPct val="90000"/>
                <a:buFont typeface="+mj-lt"/>
                <a:buNone/>
                <a:defRPr/>
              </a:pPr>
              <a:r>
                <a:rPr lang="nl-NL" sz="1200" i="1" dirty="0">
                  <a:solidFill>
                    <a:srgbClr val="404040"/>
                  </a:solidFill>
                </a:rPr>
                <a:t>Cursief donker (16 pt.)</a:t>
              </a:r>
            </a:p>
          </p:txBody>
        </p:sp>
        <p:sp>
          <p:nvSpPr>
            <p:cNvPr id="250" name="Ovaal 249"/>
            <p:cNvSpPr/>
            <p:nvPr userDrawn="1"/>
          </p:nvSpPr>
          <p:spPr>
            <a:xfrm>
              <a:off x="-2959433" y="454586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8</a:t>
              </a:r>
            </a:p>
          </p:txBody>
        </p:sp>
        <p:sp>
          <p:nvSpPr>
            <p:cNvPr id="251" name="Textfield placeholder"/>
            <p:cNvSpPr txBox="1">
              <a:spLocks/>
            </p:cNvSpPr>
            <p:nvPr userDrawn="1"/>
          </p:nvSpPr>
          <p:spPr>
            <a:xfrm>
              <a:off x="-2571950" y="4545864"/>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7" indent="0" defTabSz="179388">
                <a:lnSpc>
                  <a:spcPct val="80000"/>
                </a:lnSpc>
                <a:spcBef>
                  <a:spcPts val="0"/>
                </a:spcBef>
                <a:spcAft>
                  <a:spcPts val="900"/>
                </a:spcAft>
                <a:buClr>
                  <a:srgbClr val="ED1A3B"/>
                </a:buClr>
                <a:buFont typeface="Arial" pitchFamily="34" charset="0"/>
                <a:buNone/>
                <a:defRPr/>
              </a:pPr>
              <a:r>
                <a:rPr lang="nl-NL" sz="1200" i="1" dirty="0">
                  <a:solidFill>
                    <a:srgbClr val="A3B0C0"/>
                  </a:solidFill>
                </a:rPr>
                <a:t>Cursief Licht (16 pt.)</a:t>
              </a:r>
            </a:p>
          </p:txBody>
        </p:sp>
        <p:sp>
          <p:nvSpPr>
            <p:cNvPr id="252" name="Ovaal 251"/>
            <p:cNvSpPr/>
            <p:nvPr userDrawn="1"/>
          </p:nvSpPr>
          <p:spPr>
            <a:xfrm>
              <a:off x="-2959433" y="488761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9</a:t>
              </a:r>
            </a:p>
          </p:txBody>
        </p:sp>
        <p:sp>
          <p:nvSpPr>
            <p:cNvPr id="253" name="Textfield placeholder"/>
            <p:cNvSpPr txBox="1">
              <a:spLocks/>
            </p:cNvSpPr>
            <p:nvPr userDrawn="1"/>
          </p:nvSpPr>
          <p:spPr>
            <a:xfrm>
              <a:off x="-2571950" y="488761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8" indent="0" defTabSz="179388">
                <a:lnSpc>
                  <a:spcPct val="80000"/>
                </a:lnSpc>
                <a:spcBef>
                  <a:spcPts val="0"/>
                </a:spcBef>
                <a:spcAft>
                  <a:spcPts val="900"/>
                </a:spcAft>
                <a:buClr>
                  <a:srgbClr val="ED1A3B"/>
                </a:buClr>
                <a:buFont typeface="Arial" pitchFamily="34" charset="0"/>
                <a:buNone/>
                <a:defRPr/>
              </a:pPr>
              <a:r>
                <a:rPr lang="nl-NL" sz="1400" b="1" dirty="0">
                  <a:solidFill>
                    <a:srgbClr val="ED1A3B"/>
                  </a:solidFill>
                </a:rPr>
                <a:t>Subtitel (18 pt.)</a:t>
              </a:r>
            </a:p>
          </p:txBody>
        </p:sp>
      </p:grpSp>
      <p:sp>
        <p:nvSpPr>
          <p:cNvPr id="120" name="Hyperlink - Inhoudsopgave">
            <a:hlinkClick r:id="rId4" action="ppaction://hlinksldjump"/>
          </p:cNvPr>
          <p:cNvSpPr/>
          <p:nvPr userDrawn="1"/>
        </p:nvSpPr>
        <p:spPr>
          <a:xfrm>
            <a:off x="10197856" y="5889801"/>
            <a:ext cx="2000494" cy="968199"/>
          </a:xfrm>
          <a:prstGeom prst="rect">
            <a:avLst/>
          </a:prstGeom>
          <a:solidFill>
            <a:srgbClr val="ED1A3B">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118" name="Grijze achtergrond"/>
          <p:cNvSpPr/>
          <p:nvPr userDrawn="1"/>
        </p:nvSpPr>
        <p:spPr>
          <a:xfrm>
            <a:off x="663748" y="1358671"/>
            <a:ext cx="10870492" cy="444046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en-GB">
              <a:solidFill>
                <a:srgbClr val="FFFFFF"/>
              </a:solidFill>
            </a:endParaRPr>
          </a:p>
        </p:txBody>
      </p:sp>
      <p:cxnSp>
        <p:nvCxnSpPr>
          <p:cNvPr id="20" name="Grijze lijn  - onder"/>
          <p:cNvCxnSpPr/>
          <p:nvPr/>
        </p:nvCxnSpPr>
        <p:spPr>
          <a:xfrm flipH="1">
            <a:off x="664804" y="5776291"/>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Grijze lijn - boven"/>
          <p:cNvCxnSpPr/>
          <p:nvPr/>
        </p:nvCxnSpPr>
        <p:spPr>
          <a:xfrm flipH="1">
            <a:off x="664804" y="1358670"/>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7" name="Tijdelijke aanduiding voor Dianummer"/>
          <p:cNvSpPr>
            <a:spLocks noGrp="1"/>
          </p:cNvSpPr>
          <p:nvPr>
            <p:ph type="sldNum" sz="quarter" idx="4"/>
          </p:nvPr>
        </p:nvSpPr>
        <p:spPr>
          <a:xfrm>
            <a:off x="5770549" y="6295992"/>
            <a:ext cx="657251" cy="365125"/>
          </a:xfrm>
          <a:prstGeom prst="rect">
            <a:avLst/>
          </a:prstGeom>
        </p:spPr>
        <p:txBody>
          <a:bodyPr vert="horz" lIns="91440" tIns="45720" rIns="91440" bIns="45720" rtlCol="0" anchor="ctr"/>
          <a:lstStyle>
            <a:lvl1pPr algn="ctr">
              <a:defRPr sz="800">
                <a:solidFill>
                  <a:schemeClr val="tx1">
                    <a:tint val="75000"/>
                  </a:schemeClr>
                </a:solidFill>
              </a:defRPr>
            </a:lvl1pPr>
          </a:lstStyle>
          <a:p>
            <a:fld id="{1B3FA67A-C720-417A-A072-0CD211FD8662}" type="slidenum">
              <a:rPr lang="nl-NL" smtClean="0">
                <a:solidFill>
                  <a:srgbClr val="000000">
                    <a:tint val="75000"/>
                  </a:srgbClr>
                </a:solidFill>
              </a:rPr>
              <a:pPr/>
              <a:t>‹nr.›</a:t>
            </a:fld>
            <a:endParaRPr lang="nl-NL" dirty="0">
              <a:solidFill>
                <a:srgbClr val="000000">
                  <a:tint val="75000"/>
                </a:srgbClr>
              </a:solidFill>
            </a:endParaRPr>
          </a:p>
        </p:txBody>
      </p:sp>
      <p:sp>
        <p:nvSpPr>
          <p:cNvPr id="9" name="Tijdelijke aanduiding voor Grafiek"/>
          <p:cNvSpPr>
            <a:spLocks noGrp="1"/>
          </p:cNvSpPr>
          <p:nvPr>
            <p:ph type="chart" sz="quarter" idx="15"/>
          </p:nvPr>
        </p:nvSpPr>
        <p:spPr>
          <a:xfrm>
            <a:off x="996646" y="2227480"/>
            <a:ext cx="10205056" cy="3211296"/>
          </a:xfrm>
        </p:spPr>
        <p:txBody>
          <a:bodyPr anchor="ctr"/>
          <a:lstStyle>
            <a:lvl1pPr algn="ctr">
              <a:defRPr/>
            </a:lvl1pPr>
          </a:lstStyle>
          <a:p>
            <a:r>
              <a:rPr lang="nl-NL"/>
              <a:t>Klik op het pictogram als u een grafiek wilt toevoegen</a:t>
            </a:r>
            <a:endParaRPr lang="en-GB" dirty="0"/>
          </a:p>
        </p:txBody>
      </p:sp>
      <p:sp>
        <p:nvSpPr>
          <p:cNvPr id="3" name="Tijdelijke aanduiding voor Tekst bij Grafiek"/>
          <p:cNvSpPr>
            <a:spLocks noGrp="1"/>
          </p:cNvSpPr>
          <p:nvPr>
            <p:ph type="body" orient="vert" idx="1" hasCustomPrompt="1"/>
          </p:nvPr>
        </p:nvSpPr>
        <p:spPr>
          <a:xfrm>
            <a:off x="664109" y="1720868"/>
            <a:ext cx="10870131" cy="336533"/>
          </a:xfrm>
        </p:spPr>
        <p:txBody>
          <a:bodyPr vert="horz"/>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nl-NL" dirty="0"/>
              <a:t>Leestekst</a:t>
            </a:r>
          </a:p>
          <a:p>
            <a:pPr lvl="1"/>
            <a:r>
              <a:rPr lang="nl-NL" dirty="0"/>
              <a:t>Bullets</a:t>
            </a:r>
          </a:p>
          <a:p>
            <a:pPr lvl="2"/>
            <a:r>
              <a:rPr lang="nl-NL" dirty="0"/>
              <a:t>Sub-bullets</a:t>
            </a:r>
          </a:p>
          <a:p>
            <a:pPr lvl="3"/>
            <a:r>
              <a:rPr lang="nl-NL" dirty="0"/>
              <a:t>Sub-sub-bullets</a:t>
            </a:r>
          </a:p>
          <a:p>
            <a:pPr lvl="4"/>
            <a:r>
              <a:rPr lang="nl-NL" dirty="0"/>
              <a:t>Numeriek</a:t>
            </a:r>
          </a:p>
          <a:p>
            <a:pPr lvl="5"/>
            <a:r>
              <a:rPr lang="nl-NL" dirty="0"/>
              <a:t># Bullets</a:t>
            </a:r>
          </a:p>
          <a:p>
            <a:pPr lvl="6"/>
            <a:r>
              <a:rPr lang="nl-NL" dirty="0"/>
              <a:t>Cursief donker</a:t>
            </a:r>
          </a:p>
          <a:p>
            <a:pPr lvl="7"/>
            <a:r>
              <a:rPr lang="nl-NL" dirty="0"/>
              <a:t>Cursief licht</a:t>
            </a:r>
          </a:p>
          <a:p>
            <a:pPr lvl="8"/>
            <a:r>
              <a:rPr lang="nl-NL" dirty="0"/>
              <a:t>Subtitel</a:t>
            </a:r>
          </a:p>
        </p:txBody>
      </p:sp>
      <p:sp>
        <p:nvSpPr>
          <p:cNvPr id="13" name="Tijdelijke aanduiding voor Subtitel"/>
          <p:cNvSpPr>
            <a:spLocks noGrp="1"/>
          </p:cNvSpPr>
          <p:nvPr>
            <p:ph type="body" idx="14"/>
          </p:nvPr>
        </p:nvSpPr>
        <p:spPr>
          <a:xfrm>
            <a:off x="664109" y="1001348"/>
            <a:ext cx="10870131" cy="317758"/>
          </a:xfrm>
        </p:spPr>
        <p:txBody>
          <a:bodyPr bIns="72000" anchor="t" anchorCtr="0"/>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15" name="Tijdelijke aanduiding voor Titel"/>
          <p:cNvSpPr>
            <a:spLocks noGrp="1"/>
          </p:cNvSpPr>
          <p:nvPr>
            <p:ph type="title"/>
          </p:nvPr>
        </p:nvSpPr>
        <p:spPr>
          <a:xfrm>
            <a:off x="664109" y="464521"/>
            <a:ext cx="10870131" cy="533219"/>
          </a:xfrm>
        </p:spPr>
        <p:txBody>
          <a:bodyPr/>
          <a:lstStyle/>
          <a:p>
            <a:r>
              <a:rPr lang="nl-NL"/>
              <a:t>Klik om stijl te bewerken</a:t>
            </a:r>
            <a:endParaRPr lang="nl-NL" dirty="0"/>
          </a:p>
        </p:txBody>
      </p:sp>
    </p:spTree>
    <p:extLst>
      <p:ext uri="{BB962C8B-B14F-4D97-AF65-F5344CB8AC3E}">
        <p14:creationId xmlns:p14="http://schemas.microsoft.com/office/powerpoint/2010/main" val="717976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abel 25%">
    <p:spTree>
      <p:nvGrpSpPr>
        <p:cNvPr id="1" name=""/>
        <p:cNvGrpSpPr/>
        <p:nvPr/>
      </p:nvGrpSpPr>
      <p:grpSpPr>
        <a:xfrm>
          <a:off x="0" y="0"/>
          <a:ext cx="0" cy="0"/>
          <a:chOff x="0" y="0"/>
          <a:chExt cx="0" cy="0"/>
        </a:xfrm>
      </p:grpSpPr>
      <p:sp>
        <p:nvSpPr>
          <p:cNvPr id="12" name="Naam indeling - Tabel 25%"/>
          <p:cNvSpPr txBox="1"/>
          <p:nvPr/>
        </p:nvSpPr>
        <p:spPr>
          <a:xfrm>
            <a:off x="1" y="-453266"/>
            <a:ext cx="3582333" cy="276999"/>
          </a:xfrm>
          <a:prstGeom prst="rect">
            <a:avLst/>
          </a:prstGeom>
          <a:noFill/>
        </p:spPr>
        <p:txBody>
          <a:bodyPr wrap="square" lIns="0" tIns="0" rIns="0" bIns="0" rtlCol="0">
            <a:spAutoFit/>
          </a:bodyPr>
          <a:lstStyle/>
          <a:p>
            <a:pPr defTabSz="914112"/>
            <a:r>
              <a:rPr lang="nl-NL" dirty="0">
                <a:solidFill>
                  <a:srgbClr val="404040"/>
                </a:solidFill>
                <a:latin typeface="Calibri" panose="020F0502020204030204" pitchFamily="34" charset="0"/>
              </a:rPr>
              <a:t>Tabel 25%</a:t>
            </a:r>
            <a:endParaRPr lang="en-GB" dirty="0">
              <a:solidFill>
                <a:srgbClr val="404040"/>
              </a:solidFill>
              <a:latin typeface="Calibri" panose="020F0502020204030204" pitchFamily="34" charset="0"/>
            </a:endParaRPr>
          </a:p>
        </p:txBody>
      </p:sp>
      <p:grpSp>
        <p:nvGrpSpPr>
          <p:cNvPr id="119" name="Instructie - Tabel invoegen"/>
          <p:cNvGrpSpPr/>
          <p:nvPr/>
        </p:nvGrpSpPr>
        <p:grpSpPr>
          <a:xfrm>
            <a:off x="12578756" y="-1669"/>
            <a:ext cx="2711113" cy="3676571"/>
            <a:chOff x="12441148" y="14897"/>
            <a:chExt cx="2710407" cy="3676571"/>
          </a:xfrm>
        </p:grpSpPr>
        <p:sp>
          <p:nvSpPr>
            <p:cNvPr id="120" name="Rechthoek 119"/>
            <p:cNvSpPr/>
            <p:nvPr/>
          </p:nvSpPr>
          <p:spPr>
            <a:xfrm>
              <a:off x="12441150" y="14897"/>
              <a:ext cx="2696270" cy="161771"/>
            </a:xfrm>
            <a:prstGeom prst="rect">
              <a:avLst/>
            </a:prstGeom>
            <a:noFill/>
            <a:ln w="25400" cap="flat" cmpd="sng" algn="ctr">
              <a:noFill/>
              <a:prstDash val="solid"/>
            </a:ln>
            <a:effectLst/>
          </p:spPr>
          <p:txBody>
            <a:bodyPr lIns="0" tIns="0" rIns="0" bIns="0" rtlCol="0" anchor="t"/>
            <a:lstStyle/>
            <a:p>
              <a:pPr defTabSz="914112">
                <a:lnSpc>
                  <a:spcPct val="80000"/>
                </a:lnSpc>
              </a:pPr>
              <a:r>
                <a:rPr lang="nl-NL" sz="1600" b="1" kern="0" cap="all" dirty="0">
                  <a:solidFill>
                    <a:srgbClr val="ED1A3B"/>
                  </a:solidFill>
                  <a:cs typeface="Segoe UI Light" panose="020B0502040204020203" pitchFamily="34" charset="0"/>
                </a:rPr>
                <a:t>Tabel INVOEGEN</a:t>
              </a:r>
            </a:p>
          </p:txBody>
        </p:sp>
        <p:sp>
          <p:nvSpPr>
            <p:cNvPr id="121" name="Tekstvak 33"/>
            <p:cNvSpPr txBox="1"/>
            <p:nvPr/>
          </p:nvSpPr>
          <p:spPr>
            <a:xfrm>
              <a:off x="12441149" y="814239"/>
              <a:ext cx="2710405" cy="719877"/>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Indien nodig, verwijder de bestaande tabel. Klik op het pictogram om </a:t>
              </a:r>
              <a:br>
                <a:rPr lang="nl-NL" sz="1200" kern="0" dirty="0">
                  <a:solidFill>
                    <a:srgbClr val="000000"/>
                  </a:solidFill>
                  <a:latin typeface="Trebuchet MS"/>
                  <a:cs typeface="Segoe UI Light" panose="020B0502040204020203" pitchFamily="34" charset="0"/>
                </a:rPr>
              </a:br>
              <a:r>
                <a:rPr lang="nl-NL" sz="1200" kern="0" dirty="0">
                  <a:solidFill>
                    <a:srgbClr val="000000"/>
                  </a:solidFill>
                  <a:latin typeface="Trebuchet MS"/>
                  <a:cs typeface="Segoe UI Light" panose="020B0502040204020203" pitchFamily="34" charset="0"/>
                </a:rPr>
                <a:t>een tabel in te voegen</a:t>
              </a:r>
              <a:br>
                <a:rPr lang="nl-NL" sz="1200" kern="0" dirty="0">
                  <a:solidFill>
                    <a:srgbClr val="000000"/>
                  </a:solidFill>
                  <a:latin typeface="Trebuchet MS"/>
                  <a:cs typeface="Segoe UI Light" panose="020B0502040204020203" pitchFamily="34" charset="0"/>
                </a:rPr>
              </a:br>
              <a:r>
                <a:rPr lang="nl-NL" sz="1100" i="1" kern="0" dirty="0">
                  <a:solidFill>
                    <a:srgbClr val="000000"/>
                  </a:solidFill>
                  <a:latin typeface="Trebuchet MS"/>
                  <a:cs typeface="Segoe UI Light" panose="020B0502040204020203" pitchFamily="34" charset="0"/>
                </a:rPr>
                <a:t>(zie onderstaand voorbeeld).</a:t>
              </a:r>
            </a:p>
          </p:txBody>
        </p:sp>
        <p:sp>
          <p:nvSpPr>
            <p:cNvPr id="122" name="Tekstvak 33"/>
            <p:cNvSpPr txBox="1"/>
            <p:nvPr/>
          </p:nvSpPr>
          <p:spPr>
            <a:xfrm>
              <a:off x="12441149" y="2793904"/>
              <a:ext cx="2710405" cy="395943"/>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Selecteer de tabel die u wilt invoegen en klik op </a:t>
              </a:r>
              <a:r>
                <a:rPr lang="nl-NL" sz="1200" b="1" kern="0" dirty="0">
                  <a:solidFill>
                    <a:srgbClr val="000000"/>
                  </a:solidFill>
                  <a:latin typeface="Trebuchet MS"/>
                  <a:cs typeface="Segoe UI Light" panose="020B0502040204020203" pitchFamily="34" charset="0"/>
                </a:rPr>
                <a:t>‘Invoegen’</a:t>
              </a:r>
            </a:p>
          </p:txBody>
        </p:sp>
        <p:sp>
          <p:nvSpPr>
            <p:cNvPr id="123" name="Ovaal 122"/>
            <p:cNvSpPr/>
            <p:nvPr/>
          </p:nvSpPr>
          <p:spPr>
            <a:xfrm>
              <a:off x="12441150" y="379292"/>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1</a:t>
              </a:r>
            </a:p>
          </p:txBody>
        </p:sp>
        <p:sp>
          <p:nvSpPr>
            <p:cNvPr id="124" name="Ovaal 123"/>
            <p:cNvSpPr/>
            <p:nvPr/>
          </p:nvSpPr>
          <p:spPr>
            <a:xfrm>
              <a:off x="12441150" y="2337208"/>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2</a:t>
              </a:r>
            </a:p>
          </p:txBody>
        </p:sp>
        <p:cxnSp>
          <p:nvCxnSpPr>
            <p:cNvPr id="125" name="Rechte verbindingslijn 124"/>
            <p:cNvCxnSpPr/>
            <p:nvPr/>
          </p:nvCxnSpPr>
          <p:spPr>
            <a:xfrm>
              <a:off x="12441150" y="248176"/>
              <a:ext cx="2710405" cy="0"/>
            </a:xfrm>
            <a:prstGeom prst="line">
              <a:avLst/>
            </a:prstGeom>
            <a:noFill/>
            <a:ln w="9525" cap="flat" cmpd="sng" algn="ctr">
              <a:solidFill>
                <a:schemeClr val="accent1"/>
              </a:solidFill>
              <a:prstDash val="solid"/>
            </a:ln>
            <a:effectLst/>
          </p:spPr>
        </p:cxnSp>
        <p:cxnSp>
          <p:nvCxnSpPr>
            <p:cNvPr id="126" name="Rechte verbindingslijn 125"/>
            <p:cNvCxnSpPr/>
            <p:nvPr/>
          </p:nvCxnSpPr>
          <p:spPr>
            <a:xfrm>
              <a:off x="12441149" y="2212830"/>
              <a:ext cx="2710405" cy="0"/>
            </a:xfrm>
            <a:prstGeom prst="line">
              <a:avLst/>
            </a:prstGeom>
            <a:noFill/>
            <a:ln w="9525" cap="flat" cmpd="sng" algn="ctr">
              <a:solidFill>
                <a:schemeClr val="accent1"/>
              </a:solidFill>
              <a:prstDash val="solid"/>
            </a:ln>
            <a:effectLst/>
          </p:spPr>
        </p:cxnSp>
        <p:cxnSp>
          <p:nvCxnSpPr>
            <p:cNvPr id="127" name="Rechte verbindingslijn 126"/>
            <p:cNvCxnSpPr/>
            <p:nvPr/>
          </p:nvCxnSpPr>
          <p:spPr>
            <a:xfrm>
              <a:off x="12444679" y="3691468"/>
              <a:ext cx="2706875" cy="0"/>
            </a:xfrm>
            <a:prstGeom prst="line">
              <a:avLst/>
            </a:prstGeom>
            <a:noFill/>
            <a:ln w="9525" cap="flat" cmpd="sng" algn="ctr">
              <a:solidFill>
                <a:schemeClr val="accent1"/>
              </a:solidFill>
              <a:prstDash val="solid"/>
            </a:ln>
            <a:effectLst/>
          </p:spPr>
        </p:cxnSp>
        <p:grpSp>
          <p:nvGrpSpPr>
            <p:cNvPr id="128" name="Groep 127"/>
            <p:cNvGrpSpPr/>
            <p:nvPr/>
          </p:nvGrpSpPr>
          <p:grpSpPr>
            <a:xfrm>
              <a:off x="12450571" y="3301369"/>
              <a:ext cx="1002992" cy="267962"/>
              <a:chOff x="13560784" y="3471416"/>
              <a:chExt cx="1114138" cy="297656"/>
            </a:xfrm>
          </p:grpSpPr>
          <p:sp>
            <p:nvSpPr>
              <p:cNvPr id="138" name="Afgeronde rechthoek 88"/>
              <p:cNvSpPr/>
              <p:nvPr/>
            </p:nvSpPr>
            <p:spPr>
              <a:xfrm>
                <a:off x="13560784" y="3471416"/>
                <a:ext cx="1114138" cy="297656"/>
              </a:xfrm>
              <a:prstGeom prst="roundRect">
                <a:avLst/>
              </a:prstGeom>
              <a:gradFill flip="none" rotWithShape="1">
                <a:gsLst>
                  <a:gs pos="4000">
                    <a:srgbClr val="00B0F0"/>
                  </a:gs>
                  <a:gs pos="0">
                    <a:srgbClr val="0070C0"/>
                  </a:gs>
                  <a:gs pos="100000">
                    <a:srgbClr val="0070C0"/>
                  </a:gs>
                  <a:gs pos="12000">
                    <a:srgbClr val="D1EAFF"/>
                  </a:gs>
                  <a:gs pos="96000">
                    <a:srgbClr val="00B0F0"/>
                  </a:gs>
                  <a:gs pos="89000">
                    <a:srgbClr val="DDF4FF"/>
                  </a:gs>
                  <a:gs pos="43000">
                    <a:srgbClr val="D1EAFF"/>
                  </a:gs>
                  <a:gs pos="51000">
                    <a:srgbClr val="DDF4FF"/>
                  </a:gs>
                </a:gsLst>
                <a:lin ang="16200000" scaled="1"/>
                <a:tileRect/>
              </a:gradFill>
              <a:ln w="63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dirty="0">
                  <a:solidFill>
                    <a:srgbClr val="FFFFFF"/>
                  </a:solidFill>
                </a:endParaRPr>
              </a:p>
            </p:txBody>
          </p:sp>
          <p:sp>
            <p:nvSpPr>
              <p:cNvPr id="139" name="Tekstvak 138"/>
              <p:cNvSpPr txBox="1"/>
              <p:nvPr/>
            </p:nvSpPr>
            <p:spPr>
              <a:xfrm>
                <a:off x="13573594" y="3488254"/>
                <a:ext cx="888311" cy="273506"/>
              </a:xfrm>
              <a:prstGeom prst="rect">
                <a:avLst/>
              </a:prstGeom>
              <a:noFill/>
            </p:spPr>
            <p:txBody>
              <a:bodyPr wrap="square" rtlCol="0" anchor="ctr">
                <a:spAutoFit/>
              </a:bodyPr>
              <a:lstStyle>
                <a:defPPr>
                  <a:defRPr lang="nl-NL"/>
                </a:defPPr>
                <a:lvl1pPr marR="0" lvl="0" indent="0" algn="ctr" fontAlgn="auto">
                  <a:lnSpc>
                    <a:spcPct val="100000"/>
                  </a:lnSpc>
                  <a:spcBef>
                    <a:spcPts val="0"/>
                  </a:spcBef>
                  <a:spcAft>
                    <a:spcPts val="0"/>
                  </a:spcAft>
                  <a:buClrTx/>
                  <a:buSzTx/>
                  <a:buFontTx/>
                  <a:buNone/>
                  <a:tabLst/>
                  <a:defRPr kumimoji="0" sz="900" i="0" u="none" strike="noStrike" kern="0" cap="none" spc="0" normalizeH="0" baseline="0">
                    <a:ln>
                      <a:noFill/>
                    </a:ln>
                    <a:effectLst>
                      <a:outerShdw blurRad="25400" algn="ctr" rotWithShape="0">
                        <a:prstClr val="white"/>
                      </a:outerShdw>
                    </a:effectLst>
                    <a:uLnTx/>
                    <a:uFillTx/>
                    <a:latin typeface="Segoe UI Light" panose="020B0502040204020203" pitchFamily="34" charset="0"/>
                    <a:cs typeface="Segoe UI Light" panose="020B0502040204020203" pitchFamily="34" charset="0"/>
                  </a:defRPr>
                </a:lvl1pPr>
                <a:lvl2pPr fontAlgn="base">
                  <a:spcBef>
                    <a:spcPct val="0"/>
                  </a:spcBef>
                  <a:spcAft>
                    <a:spcPct val="0"/>
                  </a:spcAft>
                  <a:defRPr>
                    <a:latin typeface="Arial" charset="0"/>
                    <a:cs typeface="Arial" charset="0"/>
                  </a:defRPr>
                </a:lvl2pPr>
                <a:lvl3pPr fontAlgn="base">
                  <a:spcBef>
                    <a:spcPct val="0"/>
                  </a:spcBef>
                  <a:spcAft>
                    <a:spcPct val="0"/>
                  </a:spcAft>
                  <a:defRPr>
                    <a:latin typeface="Arial" charset="0"/>
                    <a:cs typeface="Arial" charset="0"/>
                  </a:defRPr>
                </a:lvl3pPr>
                <a:lvl4pPr fontAlgn="base">
                  <a:spcBef>
                    <a:spcPct val="0"/>
                  </a:spcBef>
                  <a:spcAft>
                    <a:spcPct val="0"/>
                  </a:spcAft>
                  <a:defRPr>
                    <a:latin typeface="Arial" charset="0"/>
                    <a:cs typeface="Arial" charset="0"/>
                  </a:defRPr>
                </a:lvl4pPr>
                <a:lvl5pPr fontAlgn="base">
                  <a:spcBef>
                    <a:spcPct val="0"/>
                  </a:spcBef>
                  <a:spcAft>
                    <a:spcPct val="0"/>
                  </a:spcAft>
                  <a:defRPr>
                    <a:latin typeface="Arial" charset="0"/>
                    <a:cs typeface="Arial" charset="0"/>
                  </a:defRPr>
                </a:lvl5pPr>
                <a:lvl6pPr>
                  <a:defRPr>
                    <a:latin typeface="Arial" charset="0"/>
                    <a:cs typeface="Arial" charset="0"/>
                  </a:defRPr>
                </a:lvl6pPr>
                <a:lvl7pPr>
                  <a:defRPr>
                    <a:latin typeface="Arial" charset="0"/>
                    <a:cs typeface="Arial" charset="0"/>
                  </a:defRPr>
                </a:lvl7pPr>
                <a:lvl8pPr>
                  <a:defRPr>
                    <a:latin typeface="Arial" charset="0"/>
                    <a:cs typeface="Arial" charset="0"/>
                  </a:defRPr>
                </a:lvl8pPr>
                <a:lvl9pPr>
                  <a:defRPr>
                    <a:latin typeface="Arial" charset="0"/>
                    <a:cs typeface="Arial" charset="0"/>
                  </a:defRPr>
                </a:lvl9pPr>
              </a:lstStyle>
              <a:p>
                <a:pPr defTabSz="914112"/>
                <a:r>
                  <a:rPr lang="nl-NL" sz="1000" dirty="0">
                    <a:solidFill>
                      <a:srgbClr val="000000"/>
                    </a:solidFill>
                    <a:latin typeface="Trebuchet MS"/>
                  </a:rPr>
                  <a:t>Invoegen</a:t>
                </a:r>
              </a:p>
            </p:txBody>
          </p:sp>
          <p:cxnSp>
            <p:nvCxnSpPr>
              <p:cNvPr id="140" name="Rechte verbindingslijn 139"/>
              <p:cNvCxnSpPr/>
              <p:nvPr/>
            </p:nvCxnSpPr>
            <p:spPr>
              <a:xfrm>
                <a:off x="14461905" y="3507058"/>
                <a:ext cx="0" cy="224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1" name="Gelijkbenige driehoek 140"/>
              <p:cNvSpPr/>
              <p:nvPr/>
            </p:nvSpPr>
            <p:spPr>
              <a:xfrm rot="10800000">
                <a:off x="14518584" y="3600521"/>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112"/>
                <a:endParaRPr lang="nl-NL" dirty="0">
                  <a:solidFill>
                    <a:srgbClr val="FFFFFF"/>
                  </a:solidFill>
                </a:endParaRPr>
              </a:p>
            </p:txBody>
          </p:sp>
        </p:grpSp>
        <p:grpSp>
          <p:nvGrpSpPr>
            <p:cNvPr id="129" name="Groep 128"/>
            <p:cNvGrpSpPr/>
            <p:nvPr/>
          </p:nvGrpSpPr>
          <p:grpSpPr>
            <a:xfrm>
              <a:off x="12441148" y="1674386"/>
              <a:ext cx="445181" cy="402106"/>
              <a:chOff x="6072040" y="3376043"/>
              <a:chExt cx="1227920" cy="1109109"/>
            </a:xfrm>
          </p:grpSpPr>
          <p:sp>
            <p:nvSpPr>
              <p:cNvPr id="130" name="Rechthoek 129"/>
              <p:cNvSpPr/>
              <p:nvPr/>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131" name="Rechthoek 130"/>
              <p:cNvSpPr/>
              <p:nvPr/>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cxnSp>
            <p:nvCxnSpPr>
              <p:cNvPr id="132" name="Rechte verbindingslijn 131"/>
              <p:cNvCxnSpPr/>
              <p:nvPr/>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3" name="Rechte verbindingslijn 132"/>
              <p:cNvCxnSpPr/>
              <p:nvPr/>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4" name="Rechte verbindingslijn 133"/>
              <p:cNvCxnSpPr/>
              <p:nvPr/>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5" name="Rechte verbindingslijn 134"/>
              <p:cNvCxnSpPr/>
              <p:nvPr/>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135"/>
              <p:cNvCxnSpPr/>
              <p:nvPr/>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37" name="Rechthoek 136"/>
              <p:cNvSpPr/>
              <p:nvPr/>
            </p:nvSpPr>
            <p:spPr>
              <a:xfrm>
                <a:off x="6072040" y="3376043"/>
                <a:ext cx="1227920" cy="1109109"/>
              </a:xfrm>
              <a:prstGeom prst="rect">
                <a:avLst/>
              </a:prstGeom>
              <a:noFill/>
              <a:ln w="1905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grpSp>
      </p:grpSp>
      <p:grpSp>
        <p:nvGrpSpPr>
          <p:cNvPr id="248" name="Instructie - Tekst niveaus"/>
          <p:cNvGrpSpPr/>
          <p:nvPr userDrawn="1"/>
        </p:nvGrpSpPr>
        <p:grpSpPr>
          <a:xfrm>
            <a:off x="-3117849" y="365"/>
            <a:ext cx="2823358" cy="5254722"/>
            <a:chOff x="-2959433" y="-5444"/>
            <a:chExt cx="2822623" cy="5254722"/>
          </a:xfrm>
        </p:grpSpPr>
        <p:sp>
          <p:nvSpPr>
            <p:cNvPr id="249" name="Rechthoek 248"/>
            <p:cNvSpPr/>
            <p:nvPr userDrawn="1"/>
          </p:nvSpPr>
          <p:spPr>
            <a:xfrm>
              <a:off x="-2959433" y="-5444"/>
              <a:ext cx="2572469" cy="280344"/>
            </a:xfrm>
            <a:prstGeom prst="rect">
              <a:avLst/>
            </a:prstGeom>
            <a:noFill/>
            <a:ln w="25400" cap="flat" cmpd="sng" algn="ctr">
              <a:noFill/>
              <a:prstDash val="solid"/>
            </a:ln>
            <a:effectLst/>
          </p:spPr>
          <p:txBody>
            <a:bodyPr lIns="0" tIns="0" rIns="0" bIns="0" rtlCol="0" anchor="t"/>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nl-NL" sz="1600" b="1" kern="0" dirty="0">
                  <a:solidFill>
                    <a:srgbClr val="ED1A3B"/>
                  </a:solidFill>
                  <a:cs typeface="Segoe UI Light" panose="020B0502040204020203" pitchFamily="34" charset="0"/>
                </a:rPr>
                <a:t>TEKST NIVEAUS</a:t>
              </a:r>
            </a:p>
          </p:txBody>
        </p:sp>
        <p:sp>
          <p:nvSpPr>
            <p:cNvPr id="250" name="Textfield placeholder"/>
            <p:cNvSpPr txBox="1">
              <a:spLocks/>
            </p:cNvSpPr>
            <p:nvPr userDrawn="1"/>
          </p:nvSpPr>
          <p:spPr>
            <a:xfrm>
              <a:off x="-2587337" y="2675411"/>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0" lvl="2"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a:solidFill>
                    <a:srgbClr val="404040"/>
                  </a:solidFill>
                </a:rPr>
                <a:t>Sub-bullets (16 pt.)</a:t>
              </a:r>
            </a:p>
          </p:txBody>
        </p:sp>
        <p:sp>
          <p:nvSpPr>
            <p:cNvPr id="251" name="Ovaal 250"/>
            <p:cNvSpPr/>
            <p:nvPr userDrawn="1"/>
          </p:nvSpPr>
          <p:spPr>
            <a:xfrm>
              <a:off x="-2959433" y="196874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1</a:t>
              </a:r>
            </a:p>
          </p:txBody>
        </p:sp>
        <p:sp>
          <p:nvSpPr>
            <p:cNvPr id="252" name="Ovaal 251"/>
            <p:cNvSpPr/>
            <p:nvPr userDrawn="1"/>
          </p:nvSpPr>
          <p:spPr>
            <a:xfrm>
              <a:off x="-2959433" y="232207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2</a:t>
              </a:r>
            </a:p>
          </p:txBody>
        </p:sp>
        <p:sp>
          <p:nvSpPr>
            <p:cNvPr id="253" name="Ovaal 252"/>
            <p:cNvSpPr/>
            <p:nvPr userDrawn="1"/>
          </p:nvSpPr>
          <p:spPr>
            <a:xfrm>
              <a:off x="-2959433" y="267541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3</a:t>
              </a:r>
            </a:p>
          </p:txBody>
        </p:sp>
        <p:sp>
          <p:nvSpPr>
            <p:cNvPr id="254" name="Ovaal 253"/>
            <p:cNvSpPr/>
            <p:nvPr userDrawn="1"/>
          </p:nvSpPr>
          <p:spPr>
            <a:xfrm>
              <a:off x="-2959433" y="302874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4</a:t>
              </a:r>
            </a:p>
          </p:txBody>
        </p:sp>
        <p:sp>
          <p:nvSpPr>
            <p:cNvPr id="255" name="Textfield placeholder"/>
            <p:cNvSpPr txBox="1">
              <a:spLocks/>
            </p:cNvSpPr>
            <p:nvPr userDrawn="1"/>
          </p:nvSpPr>
          <p:spPr>
            <a:xfrm>
              <a:off x="-2571950" y="1966925"/>
              <a:ext cx="2163709" cy="261500"/>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79388">
                <a:lnSpc>
                  <a:spcPct val="120000"/>
                </a:lnSpc>
                <a:spcBef>
                  <a:spcPts val="0"/>
                </a:spcBef>
                <a:spcAft>
                  <a:spcPts val="900"/>
                </a:spcAft>
                <a:buClr>
                  <a:srgbClr val="000000"/>
                </a:buClr>
                <a:buSzPct val="100000"/>
                <a:buFont typeface="Arial" pitchFamily="34" charset="0"/>
                <a:buNone/>
                <a:defRPr/>
              </a:pPr>
              <a:r>
                <a:rPr lang="nl-NL" sz="1200" dirty="0">
                  <a:solidFill>
                    <a:srgbClr val="535353"/>
                  </a:solidFill>
                </a:rPr>
                <a:t>Leestekst (16 pt.)</a:t>
              </a:r>
            </a:p>
          </p:txBody>
        </p:sp>
        <p:sp>
          <p:nvSpPr>
            <p:cNvPr id="256" name="Textfield placeholder"/>
            <p:cNvSpPr txBox="1">
              <a:spLocks/>
            </p:cNvSpPr>
            <p:nvPr userDrawn="1"/>
          </p:nvSpPr>
          <p:spPr>
            <a:xfrm>
              <a:off x="-2571950" y="2322077"/>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70000" lvl="1"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err="1">
                  <a:solidFill>
                    <a:srgbClr val="535353"/>
                  </a:solidFill>
                </a:rPr>
                <a:t>Bullets</a:t>
              </a:r>
              <a:r>
                <a:rPr lang="nl-NL" sz="1200" dirty="0">
                  <a:solidFill>
                    <a:srgbClr val="535353"/>
                  </a:solidFill>
                </a:rPr>
                <a:t> (16 </a:t>
              </a:r>
              <a:r>
                <a:rPr lang="nl-NL" sz="1200" dirty="0" err="1">
                  <a:solidFill>
                    <a:srgbClr val="535353"/>
                  </a:solidFill>
                </a:rPr>
                <a:t>pt</a:t>
              </a:r>
              <a:r>
                <a:rPr lang="nl-NL" sz="1200" dirty="0">
                  <a:solidFill>
                    <a:srgbClr val="535353"/>
                  </a:solidFill>
                </a:rPr>
                <a:t>.)</a:t>
              </a:r>
            </a:p>
          </p:txBody>
        </p:sp>
        <p:sp>
          <p:nvSpPr>
            <p:cNvPr id="257" name="Textfield placeholder"/>
            <p:cNvSpPr txBox="1">
              <a:spLocks/>
            </p:cNvSpPr>
            <p:nvPr userDrawn="1"/>
          </p:nvSpPr>
          <p:spPr>
            <a:xfrm>
              <a:off x="-2571951" y="3028747"/>
              <a:ext cx="2435141"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10000" lvl="3" indent="-270000" algn="l" defTabSz="179388" rtl="0" eaLnBrk="1" latinLnBrk="0" hangingPunct="1">
                <a:lnSpc>
                  <a:spcPct val="120000"/>
                </a:lnSpc>
                <a:spcBef>
                  <a:spcPts val="0"/>
                </a:spcBef>
                <a:spcAft>
                  <a:spcPts val="900"/>
                </a:spcAft>
                <a:buClr>
                  <a:schemeClr val="accent2"/>
                </a:buClr>
                <a:buSzPct val="80000"/>
                <a:buFont typeface="Wingdings 3" panose="05040102010807070707" pitchFamily="18" charset="2"/>
                <a:buChar char=""/>
                <a:defRPr/>
              </a:pPr>
              <a:r>
                <a:rPr lang="nl-NL" sz="1200" b="0" kern="1200" dirty="0">
                  <a:solidFill>
                    <a:srgbClr val="404040"/>
                  </a:solidFill>
                  <a:latin typeface="+mn-lt"/>
                  <a:ea typeface="+mn-ea"/>
                  <a:cs typeface="+mn-cs"/>
                </a:rPr>
                <a:t>Sub-sub-bullets (16 pt.)</a:t>
              </a:r>
            </a:p>
          </p:txBody>
        </p:sp>
        <p:cxnSp>
          <p:nvCxnSpPr>
            <p:cNvPr id="258" name="Rechte verbindingslijn 257"/>
            <p:cNvCxnSpPr/>
            <p:nvPr userDrawn="1"/>
          </p:nvCxnSpPr>
          <p:spPr>
            <a:xfrm>
              <a:off x="-2959100" y="274900"/>
              <a:ext cx="2674470" cy="0"/>
            </a:xfrm>
            <a:prstGeom prst="line">
              <a:avLst/>
            </a:prstGeom>
            <a:noFill/>
            <a:ln w="9525" cap="flat" cmpd="sng" algn="ctr">
              <a:solidFill>
                <a:schemeClr val="accent1"/>
              </a:solidFill>
              <a:prstDash val="solid"/>
            </a:ln>
            <a:effectLst/>
          </p:spPr>
        </p:cxnSp>
        <p:cxnSp>
          <p:nvCxnSpPr>
            <p:cNvPr id="259" name="Rechte verbindingslijn 258"/>
            <p:cNvCxnSpPr/>
            <p:nvPr userDrawn="1"/>
          </p:nvCxnSpPr>
          <p:spPr>
            <a:xfrm>
              <a:off x="-2959100" y="1841989"/>
              <a:ext cx="2661379" cy="0"/>
            </a:xfrm>
            <a:prstGeom prst="line">
              <a:avLst/>
            </a:prstGeom>
            <a:noFill/>
            <a:ln w="9525" cap="flat" cmpd="sng" algn="ctr">
              <a:solidFill>
                <a:schemeClr val="accent1"/>
              </a:solidFill>
              <a:prstDash val="solid"/>
            </a:ln>
            <a:effectLst/>
          </p:spPr>
        </p:cxnSp>
        <p:cxnSp>
          <p:nvCxnSpPr>
            <p:cNvPr id="260" name="Rechte verbindingslijn 259"/>
            <p:cNvCxnSpPr/>
            <p:nvPr userDrawn="1"/>
          </p:nvCxnSpPr>
          <p:spPr>
            <a:xfrm>
              <a:off x="-2959100" y="5249278"/>
              <a:ext cx="2661379" cy="0"/>
            </a:xfrm>
            <a:prstGeom prst="line">
              <a:avLst/>
            </a:prstGeom>
            <a:noFill/>
            <a:ln w="9525" cap="flat" cmpd="sng" algn="ctr">
              <a:solidFill>
                <a:schemeClr val="accent1"/>
              </a:solidFill>
              <a:prstDash val="solid"/>
            </a:ln>
            <a:effectLst/>
          </p:spPr>
        </p:cxnSp>
        <p:grpSp>
          <p:nvGrpSpPr>
            <p:cNvPr id="261" name="Groep 260"/>
            <p:cNvGrpSpPr/>
            <p:nvPr userDrawn="1"/>
          </p:nvGrpSpPr>
          <p:grpSpPr>
            <a:xfrm>
              <a:off x="-1948476" y="816741"/>
              <a:ext cx="409108" cy="427699"/>
              <a:chOff x="-1085063" y="758027"/>
              <a:chExt cx="633799" cy="622540"/>
            </a:xfrm>
          </p:grpSpPr>
          <p:sp>
            <p:nvSpPr>
              <p:cNvPr id="317" name="Afgeronde rechthoek 316"/>
              <p:cNvSpPr/>
              <p:nvPr userDrawn="1"/>
            </p:nvSpPr>
            <p:spPr>
              <a:xfrm>
                <a:off x="-108506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318" name="Groep 317"/>
              <p:cNvGrpSpPr/>
              <p:nvPr userDrawn="1"/>
            </p:nvGrpSpPr>
            <p:grpSpPr>
              <a:xfrm>
                <a:off x="-977739" y="864082"/>
                <a:ext cx="419168" cy="410429"/>
                <a:chOff x="6366933" y="309013"/>
                <a:chExt cx="1901295" cy="1861668"/>
              </a:xfrm>
              <a:solidFill>
                <a:srgbClr val="000000"/>
              </a:solidFill>
            </p:grpSpPr>
            <p:sp>
              <p:nvSpPr>
                <p:cNvPr id="319" name="Rechthoek 318"/>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20" name="Rechthoek 319"/>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21" name="Rechthoek 320"/>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22" name="Rechthoek 321"/>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23" name="Rechthoek 322"/>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24" name="Rechthoek 323"/>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25" name="Rechthoek 324"/>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26" name="Rechthoek 325"/>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27" name="Rechthoek 326"/>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28" name="Rechthoek 327"/>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29" name="Vrije vorm 328"/>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nvGrpSpPr>
            <p:cNvPr id="262" name="Groep 261"/>
            <p:cNvGrpSpPr/>
            <p:nvPr userDrawn="1"/>
          </p:nvGrpSpPr>
          <p:grpSpPr>
            <a:xfrm>
              <a:off x="-2950232" y="1207835"/>
              <a:ext cx="532929" cy="509563"/>
              <a:chOff x="-2880382" y="802341"/>
              <a:chExt cx="532929" cy="509563"/>
            </a:xfrm>
          </p:grpSpPr>
          <p:sp>
            <p:nvSpPr>
              <p:cNvPr id="295" name="Rechthoek 294"/>
              <p:cNvSpPr/>
              <p:nvPr userDrawn="1"/>
            </p:nvSpPr>
            <p:spPr>
              <a:xfrm>
                <a:off x="-2880382" y="802341"/>
                <a:ext cx="532929" cy="509563"/>
              </a:xfrm>
              <a:prstGeom prst="rect">
                <a:avLst/>
              </a:prstGeom>
              <a:solidFill>
                <a:sysClr val="window" lastClr="FFFFFF"/>
              </a:soli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pic>
            <p:nvPicPr>
              <p:cNvPr id="29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635852" y="822181"/>
                <a:ext cx="226442" cy="208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7"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848026" y="822181"/>
                <a:ext cx="207168" cy="213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98" name="Groep 297"/>
              <p:cNvGrpSpPr/>
              <p:nvPr userDrawn="1"/>
            </p:nvGrpSpPr>
            <p:grpSpPr>
              <a:xfrm>
                <a:off x="-2802433" y="1123442"/>
                <a:ext cx="132915" cy="104889"/>
                <a:chOff x="-2796392" y="1123442"/>
                <a:chExt cx="120832" cy="104889"/>
              </a:xfrm>
            </p:grpSpPr>
            <p:sp>
              <p:nvSpPr>
                <p:cNvPr id="312" name="Rechthoek 311"/>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3" name="Rechthoek 312"/>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4" name="Rechthoek 313"/>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5" name="Rechthoek 314"/>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6" name="Rechthoek 315"/>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299" name="Groep 298"/>
              <p:cNvGrpSpPr/>
              <p:nvPr userDrawn="1"/>
            </p:nvGrpSpPr>
            <p:grpSpPr>
              <a:xfrm>
                <a:off x="-2575417" y="1123442"/>
                <a:ext cx="133930" cy="104889"/>
                <a:chOff x="-2556734" y="1123442"/>
                <a:chExt cx="147324" cy="104889"/>
              </a:xfrm>
            </p:grpSpPr>
            <p:grpSp>
              <p:nvGrpSpPr>
                <p:cNvPr id="300" name="Groep 299"/>
                <p:cNvGrpSpPr/>
                <p:nvPr userDrawn="1"/>
              </p:nvGrpSpPr>
              <p:grpSpPr>
                <a:xfrm>
                  <a:off x="-2556734" y="1123442"/>
                  <a:ext cx="68206" cy="104889"/>
                  <a:chOff x="-2796392" y="1123442"/>
                  <a:chExt cx="120832" cy="104889"/>
                </a:xfrm>
              </p:grpSpPr>
              <p:sp>
                <p:nvSpPr>
                  <p:cNvPr id="307" name="Rechthoek 306"/>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8" name="Rechthoek 307"/>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9" name="Rechthoek 308"/>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0" name="Rechthoek 309"/>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1" name="Rechthoek 310"/>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301" name="Groep 300"/>
                <p:cNvGrpSpPr/>
                <p:nvPr userDrawn="1"/>
              </p:nvGrpSpPr>
              <p:grpSpPr>
                <a:xfrm>
                  <a:off x="-2477616" y="1123442"/>
                  <a:ext cx="68206" cy="104889"/>
                  <a:chOff x="-2796392" y="1123442"/>
                  <a:chExt cx="120832" cy="104889"/>
                </a:xfrm>
              </p:grpSpPr>
              <p:sp>
                <p:nvSpPr>
                  <p:cNvPr id="302" name="Rechthoek 301"/>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3" name="Rechthoek 302"/>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4" name="Rechthoek 303"/>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5" name="Rechthoek 304"/>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6" name="Rechthoek 305"/>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grpSp>
          <p:nvGrpSpPr>
            <p:cNvPr id="263" name="Groep 262"/>
            <p:cNvGrpSpPr/>
            <p:nvPr userDrawn="1"/>
          </p:nvGrpSpPr>
          <p:grpSpPr>
            <a:xfrm>
              <a:off x="-1948476" y="1281164"/>
              <a:ext cx="413704" cy="427699"/>
              <a:chOff x="-1845083" y="758027"/>
              <a:chExt cx="633799" cy="622540"/>
            </a:xfrm>
          </p:grpSpPr>
          <p:sp>
            <p:nvSpPr>
              <p:cNvPr id="282" name="Afgeronde rechthoek 281"/>
              <p:cNvSpPr/>
              <p:nvPr userDrawn="1"/>
            </p:nvSpPr>
            <p:spPr>
              <a:xfrm>
                <a:off x="-184508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283" name="Groep 282"/>
              <p:cNvGrpSpPr/>
              <p:nvPr userDrawn="1"/>
            </p:nvGrpSpPr>
            <p:grpSpPr>
              <a:xfrm>
                <a:off x="-1737762" y="864082"/>
                <a:ext cx="419168" cy="410429"/>
                <a:chOff x="3708400" y="309013"/>
                <a:chExt cx="1901295" cy="1861668"/>
              </a:xfrm>
              <a:solidFill>
                <a:srgbClr val="000000"/>
              </a:solidFill>
            </p:grpSpPr>
            <p:sp>
              <p:nvSpPr>
                <p:cNvPr id="284" name="Rechthoek 283"/>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5" name="Rechthoek 284"/>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6" name="Rechthoek 285"/>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7" name="Rechthoek 286"/>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8" name="Rechthoek 287"/>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9" name="Rechthoek 288"/>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0" name="Rechthoek 289"/>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1" name="Rechthoek 290"/>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2" name="Rechthoek 291"/>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3" name="Rechthoek 292"/>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4" name="Vrije vorm 293"/>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cxnSp>
          <p:nvCxnSpPr>
            <p:cNvPr id="264" name="Rechte verbindingslijn 263"/>
            <p:cNvCxnSpPr/>
            <p:nvPr userDrawn="1"/>
          </p:nvCxnSpPr>
          <p:spPr>
            <a:xfrm>
              <a:off x="-2814292" y="1441193"/>
              <a:ext cx="865816" cy="53821"/>
            </a:xfrm>
            <a:prstGeom prst="line">
              <a:avLst/>
            </a:prstGeom>
            <a:noFill/>
            <a:ln w="9525" cap="flat" cmpd="sng" algn="ctr">
              <a:solidFill>
                <a:schemeClr val="accent1"/>
              </a:solidFill>
              <a:prstDash val="solid"/>
              <a:headEnd type="oval"/>
            </a:ln>
            <a:effectLst/>
          </p:spPr>
        </p:cxnSp>
        <p:cxnSp>
          <p:nvCxnSpPr>
            <p:cNvPr id="265" name="Rechte verbindingslijn 264"/>
            <p:cNvCxnSpPr/>
            <p:nvPr userDrawn="1"/>
          </p:nvCxnSpPr>
          <p:spPr>
            <a:xfrm flipV="1">
              <a:off x="-2453902" y="1030591"/>
              <a:ext cx="505426" cy="283623"/>
            </a:xfrm>
            <a:prstGeom prst="line">
              <a:avLst/>
            </a:prstGeom>
            <a:noFill/>
            <a:ln w="9525" cap="flat" cmpd="sng" algn="ctr">
              <a:solidFill>
                <a:schemeClr val="accent1"/>
              </a:solidFill>
              <a:prstDash val="solid"/>
              <a:headEnd type="oval"/>
            </a:ln>
            <a:effectLst/>
          </p:spPr>
        </p:cxnSp>
        <p:sp>
          <p:nvSpPr>
            <p:cNvPr id="266" name="Textfield placeholder"/>
            <p:cNvSpPr txBox="1">
              <a:spLocks/>
            </p:cNvSpPr>
            <p:nvPr userDrawn="1"/>
          </p:nvSpPr>
          <p:spPr>
            <a:xfrm>
              <a:off x="-1341598" y="816743"/>
              <a:ext cx="1056968" cy="427698"/>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hoog</a:t>
              </a:r>
            </a:p>
          </p:txBody>
        </p:sp>
        <p:sp>
          <p:nvSpPr>
            <p:cNvPr id="267" name="Textfield placeholder"/>
            <p:cNvSpPr txBox="1">
              <a:spLocks/>
            </p:cNvSpPr>
            <p:nvPr userDrawn="1"/>
          </p:nvSpPr>
          <p:spPr>
            <a:xfrm>
              <a:off x="-1341599" y="1281164"/>
              <a:ext cx="1070223" cy="427699"/>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laag</a:t>
              </a:r>
            </a:p>
          </p:txBody>
        </p:sp>
        <p:sp>
          <p:nvSpPr>
            <p:cNvPr id="268" name="Ovaal 267"/>
            <p:cNvSpPr/>
            <p:nvPr userDrawn="1"/>
          </p:nvSpPr>
          <p:spPr>
            <a:xfrm>
              <a:off x="-2959433" y="338208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5</a:t>
              </a:r>
            </a:p>
          </p:txBody>
        </p:sp>
        <p:sp>
          <p:nvSpPr>
            <p:cNvPr id="269" name="Textfield placeholder"/>
            <p:cNvSpPr txBox="1">
              <a:spLocks/>
            </p:cNvSpPr>
            <p:nvPr userDrawn="1"/>
          </p:nvSpPr>
          <p:spPr>
            <a:xfrm>
              <a:off x="-2571950" y="3382082"/>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60000" lvl="4" indent="-360000" defTabSz="179388">
                <a:lnSpc>
                  <a:spcPct val="120000"/>
                </a:lnSpc>
                <a:spcBef>
                  <a:spcPts val="0"/>
                </a:spcBef>
                <a:spcAft>
                  <a:spcPts val="900"/>
                </a:spcAft>
                <a:buClr>
                  <a:srgbClr val="ED1A3B"/>
                </a:buClr>
                <a:buFont typeface="+mj-lt"/>
                <a:buAutoNum type="arabicPeriod"/>
                <a:defRPr/>
              </a:pPr>
              <a:r>
                <a:rPr lang="nl-NL" sz="1200" b="0" dirty="0">
                  <a:solidFill>
                    <a:srgbClr val="404040"/>
                  </a:solidFill>
                </a:rPr>
                <a:t>Numeriek (16 pt.)</a:t>
              </a:r>
            </a:p>
          </p:txBody>
        </p:sp>
        <p:grpSp>
          <p:nvGrpSpPr>
            <p:cNvPr id="270" name="Groep 269"/>
            <p:cNvGrpSpPr/>
            <p:nvPr userDrawn="1"/>
          </p:nvGrpSpPr>
          <p:grpSpPr>
            <a:xfrm>
              <a:off x="-2950232" y="816050"/>
              <a:ext cx="528695" cy="344202"/>
              <a:chOff x="-2880382" y="410556"/>
              <a:chExt cx="528695" cy="344202"/>
            </a:xfrm>
          </p:grpSpPr>
          <p:sp>
            <p:nvSpPr>
              <p:cNvPr id="280" name="Afgeronde rechthoek 279"/>
              <p:cNvSpPr/>
              <p:nvPr userDrawn="1"/>
            </p:nvSpPr>
            <p:spPr>
              <a:xfrm>
                <a:off x="-2874214" y="410556"/>
                <a:ext cx="522527" cy="339183"/>
              </a:xfrm>
              <a:prstGeom prst="roundRect">
                <a:avLst>
                  <a:gd name="adj" fmla="val 7565"/>
                </a:avLst>
              </a:prstGeom>
              <a:gradFill>
                <a:gsLst>
                  <a:gs pos="0">
                    <a:srgbClr val="FFEC8F"/>
                  </a:gs>
                  <a:gs pos="100000">
                    <a:srgbClr val="FFFFFF"/>
                  </a:gs>
                </a:gsLst>
                <a:lin ang="5400000" scaled="0"/>
              </a:gra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sp>
            <p:nvSpPr>
              <p:cNvPr id="281" name="Vrije vorm 280"/>
              <p:cNvSpPr/>
              <p:nvPr userDrawn="1"/>
            </p:nvSpPr>
            <p:spPr>
              <a:xfrm>
                <a:off x="-2880382" y="452699"/>
                <a:ext cx="528695" cy="302059"/>
              </a:xfrm>
              <a:custGeom>
                <a:avLst/>
                <a:gdLst>
                  <a:gd name="connsiteX0" fmla="*/ 55524 w 528695"/>
                  <a:gd name="connsiteY0" fmla="*/ 0 h 302059"/>
                  <a:gd name="connsiteX1" fmla="*/ 455496 w 528695"/>
                  <a:gd name="connsiteY1" fmla="*/ 0 h 302059"/>
                  <a:gd name="connsiteX2" fmla="*/ 475205 w 528695"/>
                  <a:gd name="connsiteY2" fmla="*/ 19709 h 302059"/>
                  <a:gd name="connsiteX3" fmla="*/ 475205 w 528695"/>
                  <a:gd name="connsiteY3" fmla="*/ 230056 h 302059"/>
                  <a:gd name="connsiteX4" fmla="*/ 516694 w 528695"/>
                  <a:gd name="connsiteY4" fmla="*/ 230056 h 302059"/>
                  <a:gd name="connsiteX5" fmla="*/ 528695 w 528695"/>
                  <a:gd name="connsiteY5" fmla="*/ 242057 h 302059"/>
                  <a:gd name="connsiteX6" fmla="*/ 528695 w 528695"/>
                  <a:gd name="connsiteY6" fmla="*/ 290058 h 302059"/>
                  <a:gd name="connsiteX7" fmla="*/ 516694 w 528695"/>
                  <a:gd name="connsiteY7" fmla="*/ 302059 h 302059"/>
                  <a:gd name="connsiteX8" fmla="*/ 12001 w 528695"/>
                  <a:gd name="connsiteY8" fmla="*/ 302059 h 302059"/>
                  <a:gd name="connsiteX9" fmla="*/ 0 w 528695"/>
                  <a:gd name="connsiteY9" fmla="*/ 290058 h 302059"/>
                  <a:gd name="connsiteX10" fmla="*/ 0 w 528695"/>
                  <a:gd name="connsiteY10" fmla="*/ 242057 h 302059"/>
                  <a:gd name="connsiteX11" fmla="*/ 12001 w 528695"/>
                  <a:gd name="connsiteY11" fmla="*/ 230056 h 302059"/>
                  <a:gd name="connsiteX12" fmla="*/ 35815 w 528695"/>
                  <a:gd name="connsiteY12" fmla="*/ 230056 h 302059"/>
                  <a:gd name="connsiteX13" fmla="*/ 35815 w 528695"/>
                  <a:gd name="connsiteY13" fmla="*/ 19709 h 302059"/>
                  <a:gd name="connsiteX14" fmla="*/ 55524 w 528695"/>
                  <a:gd name="connsiteY14" fmla="*/ 0 h 3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8695" h="302059">
                    <a:moveTo>
                      <a:pt x="55524" y="0"/>
                    </a:moveTo>
                    <a:lnTo>
                      <a:pt x="455496" y="0"/>
                    </a:lnTo>
                    <a:cubicBezTo>
                      <a:pt x="466381" y="0"/>
                      <a:pt x="475205" y="8824"/>
                      <a:pt x="475205" y="19709"/>
                    </a:cubicBezTo>
                    <a:lnTo>
                      <a:pt x="475205" y="230056"/>
                    </a:lnTo>
                    <a:lnTo>
                      <a:pt x="516694" y="230056"/>
                    </a:lnTo>
                    <a:cubicBezTo>
                      <a:pt x="523322" y="230056"/>
                      <a:pt x="528695" y="235429"/>
                      <a:pt x="528695" y="242057"/>
                    </a:cubicBezTo>
                    <a:lnTo>
                      <a:pt x="528695" y="290058"/>
                    </a:lnTo>
                    <a:cubicBezTo>
                      <a:pt x="528695" y="296686"/>
                      <a:pt x="523322" y="302059"/>
                      <a:pt x="516694" y="302059"/>
                    </a:cubicBezTo>
                    <a:lnTo>
                      <a:pt x="12001" y="302059"/>
                    </a:lnTo>
                    <a:cubicBezTo>
                      <a:pt x="5373" y="302059"/>
                      <a:pt x="0" y="296686"/>
                      <a:pt x="0" y="290058"/>
                    </a:cubicBezTo>
                    <a:lnTo>
                      <a:pt x="0" y="242057"/>
                    </a:lnTo>
                    <a:cubicBezTo>
                      <a:pt x="0" y="235429"/>
                      <a:pt x="5373" y="230056"/>
                      <a:pt x="12001" y="230056"/>
                    </a:cubicBezTo>
                    <a:lnTo>
                      <a:pt x="35815" y="230056"/>
                    </a:lnTo>
                    <a:lnTo>
                      <a:pt x="35815" y="19709"/>
                    </a:lnTo>
                    <a:cubicBezTo>
                      <a:pt x="35815" y="8824"/>
                      <a:pt x="44639" y="0"/>
                      <a:pt x="55524" y="0"/>
                    </a:cubicBezTo>
                    <a:close/>
                  </a:path>
                </a:pathLst>
              </a:custGeom>
              <a:solidFill>
                <a:sysClr val="window" lastClr="FFFFFF">
                  <a:lumMod val="95000"/>
                </a:sysClr>
              </a:solidFill>
              <a:ln w="9525" cap="flat" cmpd="sng" algn="ctr">
                <a:solidFill>
                  <a:srgbClr val="FFFFFF">
                    <a:lumMod val="90000"/>
                  </a:srgbClr>
                </a:solidFill>
                <a:prstDash val="solid"/>
                <a:miter lim="800000"/>
              </a:ln>
              <a:effectLst/>
            </p:spPr>
            <p:txBody>
              <a:bodyPr rot="0" spcFirstLastPara="0" vert="horz" wrap="square" lIns="108000" tIns="36000" rIns="108000" bIns="10800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900" dirty="0">
                    <a:solidFill>
                      <a:prstClr val="black"/>
                    </a:solidFill>
                    <a:latin typeface="Segoe UI Light"/>
                  </a:rPr>
                  <a:t>Start</a:t>
                </a:r>
              </a:p>
            </p:txBody>
          </p:sp>
        </p:grpSp>
        <p:sp>
          <p:nvSpPr>
            <p:cNvPr id="271" name="Tekstvak 65"/>
            <p:cNvSpPr txBox="1"/>
            <p:nvPr userDrawn="1"/>
          </p:nvSpPr>
          <p:spPr>
            <a:xfrm>
              <a:off x="-2959433" y="372104"/>
              <a:ext cx="2679887" cy="453396"/>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nl-NL" sz="1200" kern="0" dirty="0">
                  <a:solidFill>
                    <a:srgbClr val="000000"/>
                  </a:solidFill>
                  <a:latin typeface="Segoe UI Light" panose="020B0502040204020203" pitchFamily="34" charset="0"/>
                  <a:cs typeface="Segoe UI Light" panose="020B0502040204020203" pitchFamily="34" charset="0"/>
                </a:rPr>
                <a:t>Ga naar de tab </a:t>
              </a:r>
              <a:r>
                <a:rPr lang="nl-NL" sz="1200" b="1" kern="0" dirty="0">
                  <a:solidFill>
                    <a:srgbClr val="000000"/>
                  </a:solidFill>
                  <a:latin typeface="Segoe UI Light" panose="020B0502040204020203" pitchFamily="34" charset="0"/>
                  <a:cs typeface="Segoe UI Light" panose="020B0502040204020203" pitchFamily="34" charset="0"/>
                </a:rPr>
                <a:t>Start’ </a:t>
              </a:r>
              <a:r>
                <a:rPr lang="nl-NL" sz="1200" kern="0" dirty="0">
                  <a:solidFill>
                    <a:srgbClr val="000000"/>
                  </a:solidFill>
                  <a:latin typeface="Segoe UI Light" panose="020B0502040204020203" pitchFamily="34" charset="0"/>
                  <a:cs typeface="Segoe UI Light" panose="020B0502040204020203" pitchFamily="34" charset="0"/>
                </a:rPr>
                <a:t>en vind onderstaande knoppen onder </a:t>
              </a:r>
              <a:r>
                <a:rPr lang="nl-NL" sz="1200" b="1" kern="0" dirty="0">
                  <a:solidFill>
                    <a:srgbClr val="000000"/>
                  </a:solidFill>
                  <a:latin typeface="Segoe UI Light" panose="020B0502040204020203" pitchFamily="34" charset="0"/>
                  <a:cs typeface="Segoe UI Light" panose="020B0502040204020203" pitchFamily="34" charset="0"/>
                </a:rPr>
                <a:t>‘Alinea’</a:t>
              </a:r>
            </a:p>
          </p:txBody>
        </p:sp>
        <p:sp>
          <p:nvSpPr>
            <p:cNvPr id="272" name="Ovaal 271"/>
            <p:cNvSpPr/>
            <p:nvPr userDrawn="1"/>
          </p:nvSpPr>
          <p:spPr>
            <a:xfrm>
              <a:off x="-2959433" y="375153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6</a:t>
              </a:r>
            </a:p>
          </p:txBody>
        </p:sp>
        <p:sp>
          <p:nvSpPr>
            <p:cNvPr id="273" name="Textfield placeholder"/>
            <p:cNvSpPr txBox="1">
              <a:spLocks/>
            </p:cNvSpPr>
            <p:nvPr userDrawn="1"/>
          </p:nvSpPr>
          <p:spPr>
            <a:xfrm>
              <a:off x="-2571950" y="3751536"/>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0000" lvl="5" indent="-270000" defTabSz="179388">
                <a:lnSpc>
                  <a:spcPct val="120000"/>
                </a:lnSpc>
                <a:spcAft>
                  <a:spcPts val="900"/>
                </a:spcAft>
                <a:buClr>
                  <a:srgbClr val="ED1A3B"/>
                </a:buClr>
                <a:buSzPct val="80000"/>
                <a:buFont typeface="Wingdings 3" panose="05040102010807070707" pitchFamily="18" charset="2"/>
                <a:buChar char=""/>
                <a:defRPr/>
              </a:pPr>
              <a:r>
                <a:rPr lang="nl-NL" sz="1200" cap="none" dirty="0">
                  <a:solidFill>
                    <a:srgbClr val="535353"/>
                  </a:solidFill>
                </a:rPr>
                <a:t># Bullets (16 pt.)</a:t>
              </a:r>
            </a:p>
          </p:txBody>
        </p:sp>
        <p:sp>
          <p:nvSpPr>
            <p:cNvPr id="274" name="Ovaal 273"/>
            <p:cNvSpPr/>
            <p:nvPr userDrawn="1"/>
          </p:nvSpPr>
          <p:spPr>
            <a:xfrm>
              <a:off x="-2959433" y="414870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7</a:t>
              </a:r>
            </a:p>
          </p:txBody>
        </p:sp>
        <p:sp>
          <p:nvSpPr>
            <p:cNvPr id="275" name="Textfield placeholder"/>
            <p:cNvSpPr txBox="1">
              <a:spLocks/>
            </p:cNvSpPr>
            <p:nvPr userDrawn="1"/>
          </p:nvSpPr>
          <p:spPr>
            <a:xfrm>
              <a:off x="-2571950" y="414870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6" indent="0" defTabSz="179388">
                <a:lnSpc>
                  <a:spcPct val="120000"/>
                </a:lnSpc>
                <a:spcBef>
                  <a:spcPts val="0"/>
                </a:spcBef>
                <a:spcAft>
                  <a:spcPts val="900"/>
                </a:spcAft>
                <a:buClr>
                  <a:srgbClr val="ED1A3B"/>
                </a:buClr>
                <a:buSzPct val="90000"/>
                <a:buFont typeface="+mj-lt"/>
                <a:buNone/>
                <a:defRPr/>
              </a:pPr>
              <a:r>
                <a:rPr lang="nl-NL" sz="1200" i="1" dirty="0">
                  <a:solidFill>
                    <a:srgbClr val="404040"/>
                  </a:solidFill>
                </a:rPr>
                <a:t>Cursief donker (16 pt.)</a:t>
              </a:r>
            </a:p>
          </p:txBody>
        </p:sp>
        <p:sp>
          <p:nvSpPr>
            <p:cNvPr id="276" name="Ovaal 275"/>
            <p:cNvSpPr/>
            <p:nvPr userDrawn="1"/>
          </p:nvSpPr>
          <p:spPr>
            <a:xfrm>
              <a:off x="-2959433" y="454586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8</a:t>
              </a:r>
            </a:p>
          </p:txBody>
        </p:sp>
        <p:sp>
          <p:nvSpPr>
            <p:cNvPr id="277" name="Textfield placeholder"/>
            <p:cNvSpPr txBox="1">
              <a:spLocks/>
            </p:cNvSpPr>
            <p:nvPr userDrawn="1"/>
          </p:nvSpPr>
          <p:spPr>
            <a:xfrm>
              <a:off x="-2571950" y="4545864"/>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7" indent="0" defTabSz="179388">
                <a:lnSpc>
                  <a:spcPct val="80000"/>
                </a:lnSpc>
                <a:spcBef>
                  <a:spcPts val="0"/>
                </a:spcBef>
                <a:spcAft>
                  <a:spcPts val="900"/>
                </a:spcAft>
                <a:buClr>
                  <a:srgbClr val="ED1A3B"/>
                </a:buClr>
                <a:buFont typeface="Arial" pitchFamily="34" charset="0"/>
                <a:buNone/>
                <a:defRPr/>
              </a:pPr>
              <a:r>
                <a:rPr lang="nl-NL" sz="1200" i="1" dirty="0">
                  <a:solidFill>
                    <a:srgbClr val="A3B0C0"/>
                  </a:solidFill>
                </a:rPr>
                <a:t>Cursief Licht (16 pt.)</a:t>
              </a:r>
            </a:p>
          </p:txBody>
        </p:sp>
        <p:sp>
          <p:nvSpPr>
            <p:cNvPr id="278" name="Ovaal 277"/>
            <p:cNvSpPr/>
            <p:nvPr userDrawn="1"/>
          </p:nvSpPr>
          <p:spPr>
            <a:xfrm>
              <a:off x="-2959433" y="488761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9</a:t>
              </a:r>
            </a:p>
          </p:txBody>
        </p:sp>
        <p:sp>
          <p:nvSpPr>
            <p:cNvPr id="279" name="Textfield placeholder"/>
            <p:cNvSpPr txBox="1">
              <a:spLocks/>
            </p:cNvSpPr>
            <p:nvPr userDrawn="1"/>
          </p:nvSpPr>
          <p:spPr>
            <a:xfrm>
              <a:off x="-2571950" y="488761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8" indent="0" defTabSz="179388">
                <a:lnSpc>
                  <a:spcPct val="80000"/>
                </a:lnSpc>
                <a:spcBef>
                  <a:spcPts val="0"/>
                </a:spcBef>
                <a:spcAft>
                  <a:spcPts val="900"/>
                </a:spcAft>
                <a:buClr>
                  <a:srgbClr val="ED1A3B"/>
                </a:buClr>
                <a:buFont typeface="Arial" pitchFamily="34" charset="0"/>
                <a:buNone/>
                <a:defRPr/>
              </a:pPr>
              <a:r>
                <a:rPr lang="nl-NL" sz="1400" b="1" dirty="0">
                  <a:solidFill>
                    <a:srgbClr val="ED1A3B"/>
                  </a:solidFill>
                </a:rPr>
                <a:t>Subtitel (18 pt.)</a:t>
              </a:r>
            </a:p>
          </p:txBody>
        </p:sp>
      </p:grpSp>
      <p:sp>
        <p:nvSpPr>
          <p:cNvPr id="118" name="Hyperlink - Inhoudsopgave">
            <a:hlinkClick r:id="rId4" action="ppaction://hlinksldjump"/>
          </p:cNvPr>
          <p:cNvSpPr/>
          <p:nvPr userDrawn="1"/>
        </p:nvSpPr>
        <p:spPr>
          <a:xfrm>
            <a:off x="10197856" y="5889801"/>
            <a:ext cx="2000494" cy="968199"/>
          </a:xfrm>
          <a:prstGeom prst="rect">
            <a:avLst/>
          </a:prstGeom>
          <a:solidFill>
            <a:srgbClr val="ED1A3B">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116" name="Grijze achtergrond"/>
          <p:cNvSpPr/>
          <p:nvPr userDrawn="1"/>
        </p:nvSpPr>
        <p:spPr>
          <a:xfrm>
            <a:off x="7933303" y="1358671"/>
            <a:ext cx="3600937" cy="444046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en-GB">
              <a:solidFill>
                <a:srgbClr val="FFFFFF"/>
              </a:solidFill>
            </a:endParaRPr>
          </a:p>
        </p:txBody>
      </p:sp>
      <p:cxnSp>
        <p:nvCxnSpPr>
          <p:cNvPr id="19" name="Grijze lijn - onder"/>
          <p:cNvCxnSpPr/>
          <p:nvPr/>
        </p:nvCxnSpPr>
        <p:spPr>
          <a:xfrm flipH="1">
            <a:off x="7933303" y="5776291"/>
            <a:ext cx="3600937"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6" name="Grijze lijn - boven"/>
          <p:cNvCxnSpPr/>
          <p:nvPr/>
        </p:nvCxnSpPr>
        <p:spPr>
          <a:xfrm flipH="1">
            <a:off x="664804" y="1358670"/>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5" name="Tijdelijke aanduiding voor Dianummer"/>
          <p:cNvSpPr>
            <a:spLocks noGrp="1"/>
          </p:cNvSpPr>
          <p:nvPr>
            <p:ph type="sldNum" sz="quarter" idx="4"/>
          </p:nvPr>
        </p:nvSpPr>
        <p:spPr>
          <a:xfrm>
            <a:off x="5770549" y="6295992"/>
            <a:ext cx="657251" cy="365125"/>
          </a:xfrm>
          <a:prstGeom prst="rect">
            <a:avLst/>
          </a:prstGeom>
        </p:spPr>
        <p:txBody>
          <a:bodyPr vert="horz" lIns="91440" tIns="45720" rIns="91440" bIns="45720" rtlCol="0" anchor="ctr"/>
          <a:lstStyle>
            <a:lvl1pPr algn="ctr">
              <a:defRPr sz="800">
                <a:solidFill>
                  <a:schemeClr val="tx1">
                    <a:tint val="75000"/>
                  </a:schemeClr>
                </a:solidFill>
              </a:defRPr>
            </a:lvl1pPr>
          </a:lstStyle>
          <a:p>
            <a:fld id="{1B3FA67A-C720-417A-A072-0CD211FD8662}" type="slidenum">
              <a:rPr lang="nl-NL" smtClean="0">
                <a:solidFill>
                  <a:srgbClr val="000000">
                    <a:tint val="75000"/>
                  </a:srgbClr>
                </a:solidFill>
              </a:rPr>
              <a:pPr/>
              <a:t>‹nr.›</a:t>
            </a:fld>
            <a:endParaRPr lang="nl-NL" dirty="0">
              <a:solidFill>
                <a:srgbClr val="000000">
                  <a:tint val="75000"/>
                </a:srgbClr>
              </a:solidFill>
            </a:endParaRPr>
          </a:p>
        </p:txBody>
      </p:sp>
      <p:sp>
        <p:nvSpPr>
          <p:cNvPr id="21" name="Tijdelijke aanduiding voor Tabel"/>
          <p:cNvSpPr>
            <a:spLocks noGrp="1"/>
          </p:cNvSpPr>
          <p:nvPr>
            <p:ph type="tbl" sz="quarter" idx="17"/>
          </p:nvPr>
        </p:nvSpPr>
        <p:spPr>
          <a:xfrm>
            <a:off x="8274267" y="1720867"/>
            <a:ext cx="2919011" cy="3693600"/>
          </a:xfrm>
        </p:spPr>
        <p:txBody>
          <a:bodyPr anchor="ctr"/>
          <a:lstStyle>
            <a:lvl1pPr algn="ctr">
              <a:defRPr/>
            </a:lvl1pPr>
          </a:lstStyle>
          <a:p>
            <a:r>
              <a:rPr lang="nl-NL"/>
              <a:t>Klik op het pictogram als u een tabel wilt toevoegen</a:t>
            </a:r>
            <a:endParaRPr lang="nl-NL" dirty="0"/>
          </a:p>
        </p:txBody>
      </p:sp>
      <p:sp>
        <p:nvSpPr>
          <p:cNvPr id="3" name="Tijdelijke aanduiding voor Tekst"/>
          <p:cNvSpPr>
            <a:spLocks noGrp="1"/>
          </p:cNvSpPr>
          <p:nvPr>
            <p:ph type="body" orient="vert" idx="1" hasCustomPrompt="1"/>
          </p:nvPr>
        </p:nvSpPr>
        <p:spPr>
          <a:xfrm>
            <a:off x="664109" y="1720867"/>
            <a:ext cx="6841781" cy="3693600"/>
          </a:xfrm>
        </p:spPr>
        <p:txBody>
          <a:bodyPr vert="horz"/>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800"/>
            </a:lvl9pPr>
          </a:lstStyle>
          <a:p>
            <a:pPr lvl="0"/>
            <a:r>
              <a:rPr lang="nl-NL" dirty="0"/>
              <a:t>Leestekst</a:t>
            </a:r>
          </a:p>
          <a:p>
            <a:pPr lvl="1"/>
            <a:r>
              <a:rPr lang="nl-NL" dirty="0"/>
              <a:t>Bullets</a:t>
            </a:r>
          </a:p>
          <a:p>
            <a:pPr lvl="2"/>
            <a:r>
              <a:rPr lang="nl-NL" dirty="0"/>
              <a:t>Sub-bullets</a:t>
            </a:r>
          </a:p>
          <a:p>
            <a:pPr lvl="3"/>
            <a:r>
              <a:rPr lang="nl-NL" dirty="0"/>
              <a:t>Sub-sub-bullets</a:t>
            </a:r>
          </a:p>
          <a:p>
            <a:pPr lvl="4"/>
            <a:r>
              <a:rPr lang="nl-NL" dirty="0"/>
              <a:t>Numeriek</a:t>
            </a:r>
          </a:p>
          <a:p>
            <a:pPr lvl="5"/>
            <a:r>
              <a:rPr lang="nl-NL" dirty="0"/>
              <a:t># Bullets</a:t>
            </a:r>
          </a:p>
          <a:p>
            <a:pPr lvl="6"/>
            <a:r>
              <a:rPr lang="nl-NL" dirty="0"/>
              <a:t>Cursief donker</a:t>
            </a:r>
          </a:p>
          <a:p>
            <a:pPr lvl="7"/>
            <a:r>
              <a:rPr lang="nl-NL" dirty="0"/>
              <a:t>Cursief licht</a:t>
            </a:r>
          </a:p>
          <a:p>
            <a:pPr lvl="8"/>
            <a:r>
              <a:rPr lang="nl-NL" dirty="0"/>
              <a:t>Subtitel</a:t>
            </a:r>
          </a:p>
        </p:txBody>
      </p:sp>
      <p:sp>
        <p:nvSpPr>
          <p:cNvPr id="13" name="Tijdelijke aanduiding voor Subtitel"/>
          <p:cNvSpPr>
            <a:spLocks noGrp="1"/>
          </p:cNvSpPr>
          <p:nvPr>
            <p:ph type="body" idx="14"/>
          </p:nvPr>
        </p:nvSpPr>
        <p:spPr>
          <a:xfrm>
            <a:off x="664109" y="1001348"/>
            <a:ext cx="10870131" cy="317758"/>
          </a:xfrm>
        </p:spPr>
        <p:txBody>
          <a:bodyPr bIns="72000" anchor="t" anchorCtr="0"/>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14" name="Tijdelijke aanduiding voor Titel"/>
          <p:cNvSpPr>
            <a:spLocks noGrp="1"/>
          </p:cNvSpPr>
          <p:nvPr>
            <p:ph type="title"/>
          </p:nvPr>
        </p:nvSpPr>
        <p:spPr>
          <a:xfrm>
            <a:off x="664109" y="464521"/>
            <a:ext cx="10870131" cy="533219"/>
          </a:xfrm>
        </p:spPr>
        <p:txBody>
          <a:bodyPr/>
          <a:lstStyle/>
          <a:p>
            <a:r>
              <a:rPr lang="nl-NL"/>
              <a:t>Klik om stijl te bewerken</a:t>
            </a:r>
            <a:endParaRPr lang="nl-NL" dirty="0"/>
          </a:p>
        </p:txBody>
      </p:sp>
    </p:spTree>
    <p:extLst>
      <p:ext uri="{BB962C8B-B14F-4D97-AF65-F5344CB8AC3E}">
        <p14:creationId xmlns:p14="http://schemas.microsoft.com/office/powerpoint/2010/main" val="2557179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abel 50%">
    <p:spTree>
      <p:nvGrpSpPr>
        <p:cNvPr id="1" name=""/>
        <p:cNvGrpSpPr/>
        <p:nvPr/>
      </p:nvGrpSpPr>
      <p:grpSpPr>
        <a:xfrm>
          <a:off x="0" y="0"/>
          <a:ext cx="0" cy="0"/>
          <a:chOff x="0" y="0"/>
          <a:chExt cx="0" cy="0"/>
        </a:xfrm>
      </p:grpSpPr>
      <p:sp>
        <p:nvSpPr>
          <p:cNvPr id="12" name="Naam indeling - Tabel 50%"/>
          <p:cNvSpPr txBox="1"/>
          <p:nvPr/>
        </p:nvSpPr>
        <p:spPr>
          <a:xfrm>
            <a:off x="1" y="-453266"/>
            <a:ext cx="3582333" cy="276999"/>
          </a:xfrm>
          <a:prstGeom prst="rect">
            <a:avLst/>
          </a:prstGeom>
          <a:noFill/>
        </p:spPr>
        <p:txBody>
          <a:bodyPr wrap="square" lIns="0" tIns="0" rIns="0" bIns="0" rtlCol="0">
            <a:spAutoFit/>
          </a:bodyPr>
          <a:lstStyle/>
          <a:p>
            <a:pPr defTabSz="914112"/>
            <a:r>
              <a:rPr lang="nl-NL" dirty="0">
                <a:solidFill>
                  <a:srgbClr val="404040"/>
                </a:solidFill>
                <a:latin typeface="Calibri" panose="020F0502020204030204" pitchFamily="34" charset="0"/>
              </a:rPr>
              <a:t>Tabel 50%</a:t>
            </a:r>
            <a:endParaRPr lang="en-GB" dirty="0">
              <a:solidFill>
                <a:srgbClr val="404040"/>
              </a:solidFill>
              <a:latin typeface="Calibri" panose="020F0502020204030204" pitchFamily="34" charset="0"/>
            </a:endParaRPr>
          </a:p>
        </p:txBody>
      </p:sp>
      <p:grpSp>
        <p:nvGrpSpPr>
          <p:cNvPr id="101" name="Instructie - Tabel invoegen"/>
          <p:cNvGrpSpPr/>
          <p:nvPr/>
        </p:nvGrpSpPr>
        <p:grpSpPr>
          <a:xfrm>
            <a:off x="12578756" y="-1669"/>
            <a:ext cx="2711113" cy="3676571"/>
            <a:chOff x="12441148" y="14897"/>
            <a:chExt cx="2710407" cy="3676571"/>
          </a:xfrm>
        </p:grpSpPr>
        <p:sp>
          <p:nvSpPr>
            <p:cNvPr id="102" name="Rechthoek 101"/>
            <p:cNvSpPr/>
            <p:nvPr/>
          </p:nvSpPr>
          <p:spPr>
            <a:xfrm>
              <a:off x="12441150" y="14897"/>
              <a:ext cx="2696270" cy="161771"/>
            </a:xfrm>
            <a:prstGeom prst="rect">
              <a:avLst/>
            </a:prstGeom>
            <a:noFill/>
            <a:ln w="25400" cap="flat" cmpd="sng" algn="ctr">
              <a:noFill/>
              <a:prstDash val="solid"/>
            </a:ln>
            <a:effectLst/>
          </p:spPr>
          <p:txBody>
            <a:bodyPr lIns="0" tIns="0" rIns="0" bIns="0" rtlCol="0" anchor="t"/>
            <a:lstStyle/>
            <a:p>
              <a:pPr defTabSz="914112">
                <a:lnSpc>
                  <a:spcPct val="80000"/>
                </a:lnSpc>
              </a:pPr>
              <a:r>
                <a:rPr lang="nl-NL" sz="1600" b="1" kern="0" cap="all" dirty="0">
                  <a:solidFill>
                    <a:srgbClr val="ED1A3B"/>
                  </a:solidFill>
                  <a:cs typeface="Segoe UI Light" panose="020B0502040204020203" pitchFamily="34" charset="0"/>
                </a:rPr>
                <a:t>Tabel INVOEGEN</a:t>
              </a:r>
            </a:p>
          </p:txBody>
        </p:sp>
        <p:sp>
          <p:nvSpPr>
            <p:cNvPr id="103" name="Tekstvak 33"/>
            <p:cNvSpPr txBox="1"/>
            <p:nvPr/>
          </p:nvSpPr>
          <p:spPr>
            <a:xfrm>
              <a:off x="12441149" y="814239"/>
              <a:ext cx="2710405" cy="719877"/>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Indien nodig, verwijder de bestaande tabel. Klik op het pictogram om </a:t>
              </a:r>
              <a:br>
                <a:rPr lang="nl-NL" sz="1200" kern="0" dirty="0">
                  <a:solidFill>
                    <a:srgbClr val="000000"/>
                  </a:solidFill>
                  <a:latin typeface="Trebuchet MS"/>
                  <a:cs typeface="Segoe UI Light" panose="020B0502040204020203" pitchFamily="34" charset="0"/>
                </a:rPr>
              </a:br>
              <a:r>
                <a:rPr lang="nl-NL" sz="1200" kern="0" dirty="0">
                  <a:solidFill>
                    <a:srgbClr val="000000"/>
                  </a:solidFill>
                  <a:latin typeface="Trebuchet MS"/>
                  <a:cs typeface="Segoe UI Light" panose="020B0502040204020203" pitchFamily="34" charset="0"/>
                </a:rPr>
                <a:t>een tabel in te voegen</a:t>
              </a:r>
              <a:br>
                <a:rPr lang="nl-NL" sz="1200" kern="0" dirty="0">
                  <a:solidFill>
                    <a:srgbClr val="000000"/>
                  </a:solidFill>
                  <a:latin typeface="Trebuchet MS"/>
                  <a:cs typeface="Segoe UI Light" panose="020B0502040204020203" pitchFamily="34" charset="0"/>
                </a:rPr>
              </a:br>
              <a:r>
                <a:rPr lang="nl-NL" sz="1100" i="1" kern="0" dirty="0">
                  <a:solidFill>
                    <a:srgbClr val="000000"/>
                  </a:solidFill>
                  <a:latin typeface="Trebuchet MS"/>
                  <a:cs typeface="Segoe UI Light" panose="020B0502040204020203" pitchFamily="34" charset="0"/>
                </a:rPr>
                <a:t>(zie onderstaand voorbeeld).</a:t>
              </a:r>
            </a:p>
          </p:txBody>
        </p:sp>
        <p:sp>
          <p:nvSpPr>
            <p:cNvPr id="104" name="Tekstvak 33"/>
            <p:cNvSpPr txBox="1"/>
            <p:nvPr/>
          </p:nvSpPr>
          <p:spPr>
            <a:xfrm>
              <a:off x="12441149" y="2793904"/>
              <a:ext cx="2710405" cy="395943"/>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Selecteer de tabel die u wilt invoegen en klik op </a:t>
              </a:r>
              <a:r>
                <a:rPr lang="nl-NL" sz="1200" b="1" kern="0" dirty="0">
                  <a:solidFill>
                    <a:srgbClr val="000000"/>
                  </a:solidFill>
                  <a:latin typeface="Trebuchet MS"/>
                  <a:cs typeface="Segoe UI Light" panose="020B0502040204020203" pitchFamily="34" charset="0"/>
                </a:rPr>
                <a:t>‘Invoegen’</a:t>
              </a:r>
            </a:p>
          </p:txBody>
        </p:sp>
        <p:sp>
          <p:nvSpPr>
            <p:cNvPr id="105" name="Ovaal 104"/>
            <p:cNvSpPr/>
            <p:nvPr/>
          </p:nvSpPr>
          <p:spPr>
            <a:xfrm>
              <a:off x="12441150" y="379292"/>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1</a:t>
              </a:r>
            </a:p>
          </p:txBody>
        </p:sp>
        <p:sp>
          <p:nvSpPr>
            <p:cNvPr id="106" name="Ovaal 105"/>
            <p:cNvSpPr/>
            <p:nvPr/>
          </p:nvSpPr>
          <p:spPr>
            <a:xfrm>
              <a:off x="12441150" y="2337208"/>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2</a:t>
              </a:r>
            </a:p>
          </p:txBody>
        </p:sp>
        <p:cxnSp>
          <p:nvCxnSpPr>
            <p:cNvPr id="107" name="Rechte verbindingslijn 106"/>
            <p:cNvCxnSpPr/>
            <p:nvPr/>
          </p:nvCxnSpPr>
          <p:spPr>
            <a:xfrm>
              <a:off x="12441150" y="248176"/>
              <a:ext cx="2710405" cy="0"/>
            </a:xfrm>
            <a:prstGeom prst="line">
              <a:avLst/>
            </a:prstGeom>
            <a:noFill/>
            <a:ln w="9525" cap="flat" cmpd="sng" algn="ctr">
              <a:solidFill>
                <a:schemeClr val="accent1"/>
              </a:solidFill>
              <a:prstDash val="solid"/>
            </a:ln>
            <a:effectLst/>
          </p:spPr>
        </p:cxnSp>
        <p:cxnSp>
          <p:nvCxnSpPr>
            <p:cNvPr id="108" name="Rechte verbindingslijn 107"/>
            <p:cNvCxnSpPr/>
            <p:nvPr/>
          </p:nvCxnSpPr>
          <p:spPr>
            <a:xfrm>
              <a:off x="12441149" y="2212830"/>
              <a:ext cx="2710405" cy="0"/>
            </a:xfrm>
            <a:prstGeom prst="line">
              <a:avLst/>
            </a:prstGeom>
            <a:noFill/>
            <a:ln w="9525" cap="flat" cmpd="sng" algn="ctr">
              <a:solidFill>
                <a:schemeClr val="accent1"/>
              </a:solidFill>
              <a:prstDash val="solid"/>
            </a:ln>
            <a:effectLst/>
          </p:spPr>
        </p:cxnSp>
        <p:cxnSp>
          <p:nvCxnSpPr>
            <p:cNvPr id="109" name="Rechte verbindingslijn 108"/>
            <p:cNvCxnSpPr/>
            <p:nvPr/>
          </p:nvCxnSpPr>
          <p:spPr>
            <a:xfrm>
              <a:off x="12444679" y="3691468"/>
              <a:ext cx="2706875" cy="0"/>
            </a:xfrm>
            <a:prstGeom prst="line">
              <a:avLst/>
            </a:prstGeom>
            <a:noFill/>
            <a:ln w="9525" cap="flat" cmpd="sng" algn="ctr">
              <a:solidFill>
                <a:schemeClr val="accent1"/>
              </a:solidFill>
              <a:prstDash val="solid"/>
            </a:ln>
            <a:effectLst/>
          </p:spPr>
        </p:cxnSp>
        <p:grpSp>
          <p:nvGrpSpPr>
            <p:cNvPr id="110" name="Groep 109"/>
            <p:cNvGrpSpPr/>
            <p:nvPr/>
          </p:nvGrpSpPr>
          <p:grpSpPr>
            <a:xfrm>
              <a:off x="12450571" y="3301369"/>
              <a:ext cx="1002992" cy="267962"/>
              <a:chOff x="13560784" y="3471416"/>
              <a:chExt cx="1114138" cy="297656"/>
            </a:xfrm>
          </p:grpSpPr>
          <p:sp>
            <p:nvSpPr>
              <p:cNvPr id="120" name="Afgeronde rechthoek 88"/>
              <p:cNvSpPr/>
              <p:nvPr/>
            </p:nvSpPr>
            <p:spPr>
              <a:xfrm>
                <a:off x="13560784" y="3471416"/>
                <a:ext cx="1114138" cy="297656"/>
              </a:xfrm>
              <a:prstGeom prst="roundRect">
                <a:avLst/>
              </a:prstGeom>
              <a:gradFill flip="none" rotWithShape="1">
                <a:gsLst>
                  <a:gs pos="4000">
                    <a:srgbClr val="00B0F0"/>
                  </a:gs>
                  <a:gs pos="0">
                    <a:srgbClr val="0070C0"/>
                  </a:gs>
                  <a:gs pos="100000">
                    <a:srgbClr val="0070C0"/>
                  </a:gs>
                  <a:gs pos="12000">
                    <a:srgbClr val="D1EAFF"/>
                  </a:gs>
                  <a:gs pos="96000">
                    <a:srgbClr val="00B0F0"/>
                  </a:gs>
                  <a:gs pos="89000">
                    <a:srgbClr val="DDF4FF"/>
                  </a:gs>
                  <a:gs pos="43000">
                    <a:srgbClr val="D1EAFF"/>
                  </a:gs>
                  <a:gs pos="51000">
                    <a:srgbClr val="DDF4FF"/>
                  </a:gs>
                </a:gsLst>
                <a:lin ang="16200000" scaled="1"/>
                <a:tileRect/>
              </a:gradFill>
              <a:ln w="63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dirty="0">
                  <a:solidFill>
                    <a:srgbClr val="FFFFFF"/>
                  </a:solidFill>
                </a:endParaRPr>
              </a:p>
            </p:txBody>
          </p:sp>
          <p:sp>
            <p:nvSpPr>
              <p:cNvPr id="121" name="Tekstvak 120"/>
              <p:cNvSpPr txBox="1"/>
              <p:nvPr/>
            </p:nvSpPr>
            <p:spPr>
              <a:xfrm>
                <a:off x="13573594" y="3488254"/>
                <a:ext cx="888311" cy="273506"/>
              </a:xfrm>
              <a:prstGeom prst="rect">
                <a:avLst/>
              </a:prstGeom>
              <a:noFill/>
            </p:spPr>
            <p:txBody>
              <a:bodyPr wrap="square" rtlCol="0" anchor="ctr">
                <a:spAutoFit/>
              </a:bodyPr>
              <a:lstStyle>
                <a:defPPr>
                  <a:defRPr lang="nl-NL"/>
                </a:defPPr>
                <a:lvl1pPr marR="0" lvl="0" indent="0" algn="ctr" fontAlgn="auto">
                  <a:lnSpc>
                    <a:spcPct val="100000"/>
                  </a:lnSpc>
                  <a:spcBef>
                    <a:spcPts val="0"/>
                  </a:spcBef>
                  <a:spcAft>
                    <a:spcPts val="0"/>
                  </a:spcAft>
                  <a:buClrTx/>
                  <a:buSzTx/>
                  <a:buFontTx/>
                  <a:buNone/>
                  <a:tabLst/>
                  <a:defRPr kumimoji="0" sz="900" i="0" u="none" strike="noStrike" kern="0" cap="none" spc="0" normalizeH="0" baseline="0">
                    <a:ln>
                      <a:noFill/>
                    </a:ln>
                    <a:effectLst>
                      <a:outerShdw blurRad="25400" algn="ctr" rotWithShape="0">
                        <a:prstClr val="white"/>
                      </a:outerShdw>
                    </a:effectLst>
                    <a:uLnTx/>
                    <a:uFillTx/>
                    <a:latin typeface="Segoe UI Light" panose="020B0502040204020203" pitchFamily="34" charset="0"/>
                    <a:cs typeface="Segoe UI Light" panose="020B0502040204020203" pitchFamily="34" charset="0"/>
                  </a:defRPr>
                </a:lvl1pPr>
                <a:lvl2pPr fontAlgn="base">
                  <a:spcBef>
                    <a:spcPct val="0"/>
                  </a:spcBef>
                  <a:spcAft>
                    <a:spcPct val="0"/>
                  </a:spcAft>
                  <a:defRPr>
                    <a:latin typeface="Arial" charset="0"/>
                    <a:cs typeface="Arial" charset="0"/>
                  </a:defRPr>
                </a:lvl2pPr>
                <a:lvl3pPr fontAlgn="base">
                  <a:spcBef>
                    <a:spcPct val="0"/>
                  </a:spcBef>
                  <a:spcAft>
                    <a:spcPct val="0"/>
                  </a:spcAft>
                  <a:defRPr>
                    <a:latin typeface="Arial" charset="0"/>
                    <a:cs typeface="Arial" charset="0"/>
                  </a:defRPr>
                </a:lvl3pPr>
                <a:lvl4pPr fontAlgn="base">
                  <a:spcBef>
                    <a:spcPct val="0"/>
                  </a:spcBef>
                  <a:spcAft>
                    <a:spcPct val="0"/>
                  </a:spcAft>
                  <a:defRPr>
                    <a:latin typeface="Arial" charset="0"/>
                    <a:cs typeface="Arial" charset="0"/>
                  </a:defRPr>
                </a:lvl4pPr>
                <a:lvl5pPr fontAlgn="base">
                  <a:spcBef>
                    <a:spcPct val="0"/>
                  </a:spcBef>
                  <a:spcAft>
                    <a:spcPct val="0"/>
                  </a:spcAft>
                  <a:defRPr>
                    <a:latin typeface="Arial" charset="0"/>
                    <a:cs typeface="Arial" charset="0"/>
                  </a:defRPr>
                </a:lvl5pPr>
                <a:lvl6pPr>
                  <a:defRPr>
                    <a:latin typeface="Arial" charset="0"/>
                    <a:cs typeface="Arial" charset="0"/>
                  </a:defRPr>
                </a:lvl6pPr>
                <a:lvl7pPr>
                  <a:defRPr>
                    <a:latin typeface="Arial" charset="0"/>
                    <a:cs typeface="Arial" charset="0"/>
                  </a:defRPr>
                </a:lvl7pPr>
                <a:lvl8pPr>
                  <a:defRPr>
                    <a:latin typeface="Arial" charset="0"/>
                    <a:cs typeface="Arial" charset="0"/>
                  </a:defRPr>
                </a:lvl8pPr>
                <a:lvl9pPr>
                  <a:defRPr>
                    <a:latin typeface="Arial" charset="0"/>
                    <a:cs typeface="Arial" charset="0"/>
                  </a:defRPr>
                </a:lvl9pPr>
              </a:lstStyle>
              <a:p>
                <a:pPr defTabSz="914112"/>
                <a:r>
                  <a:rPr lang="nl-NL" sz="1000" dirty="0">
                    <a:solidFill>
                      <a:srgbClr val="000000"/>
                    </a:solidFill>
                    <a:latin typeface="Trebuchet MS"/>
                  </a:rPr>
                  <a:t>Invoegen</a:t>
                </a:r>
              </a:p>
            </p:txBody>
          </p:sp>
          <p:cxnSp>
            <p:nvCxnSpPr>
              <p:cNvPr id="122" name="Rechte verbindingslijn 121"/>
              <p:cNvCxnSpPr/>
              <p:nvPr/>
            </p:nvCxnSpPr>
            <p:spPr>
              <a:xfrm>
                <a:off x="14461905" y="3507058"/>
                <a:ext cx="0" cy="224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3" name="Gelijkbenige driehoek 122"/>
              <p:cNvSpPr/>
              <p:nvPr/>
            </p:nvSpPr>
            <p:spPr>
              <a:xfrm rot="10800000">
                <a:off x="14518584" y="3600521"/>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112"/>
                <a:endParaRPr lang="nl-NL" dirty="0">
                  <a:solidFill>
                    <a:srgbClr val="FFFFFF"/>
                  </a:solidFill>
                </a:endParaRPr>
              </a:p>
            </p:txBody>
          </p:sp>
        </p:grpSp>
        <p:grpSp>
          <p:nvGrpSpPr>
            <p:cNvPr id="111" name="Groep 110"/>
            <p:cNvGrpSpPr/>
            <p:nvPr/>
          </p:nvGrpSpPr>
          <p:grpSpPr>
            <a:xfrm>
              <a:off x="12441148" y="1674386"/>
              <a:ext cx="445181" cy="402106"/>
              <a:chOff x="6072040" y="3376043"/>
              <a:chExt cx="1227920" cy="1109109"/>
            </a:xfrm>
          </p:grpSpPr>
          <p:sp>
            <p:nvSpPr>
              <p:cNvPr id="112" name="Rechthoek 111"/>
              <p:cNvSpPr/>
              <p:nvPr/>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113" name="Rechthoek 112"/>
              <p:cNvSpPr/>
              <p:nvPr/>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cxnSp>
            <p:nvCxnSpPr>
              <p:cNvPr id="114" name="Rechte verbindingslijn 113"/>
              <p:cNvCxnSpPr/>
              <p:nvPr/>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5" name="Rechte verbindingslijn 114"/>
              <p:cNvCxnSpPr/>
              <p:nvPr/>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6" name="Rechte verbindingslijn 115"/>
              <p:cNvCxnSpPr/>
              <p:nvPr/>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7" name="Rechte verbindingslijn 116"/>
              <p:cNvCxnSpPr/>
              <p:nvPr/>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8" name="Rechte verbindingslijn 117"/>
              <p:cNvCxnSpPr/>
              <p:nvPr/>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19" name="Rechthoek 118"/>
              <p:cNvSpPr/>
              <p:nvPr/>
            </p:nvSpPr>
            <p:spPr>
              <a:xfrm>
                <a:off x="6072040" y="3376043"/>
                <a:ext cx="1227920" cy="1109109"/>
              </a:xfrm>
              <a:prstGeom prst="rect">
                <a:avLst/>
              </a:prstGeom>
              <a:noFill/>
              <a:ln w="1905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grpSp>
      </p:grpSp>
      <p:grpSp>
        <p:nvGrpSpPr>
          <p:cNvPr id="234" name="Instructie - Tekst niveaus"/>
          <p:cNvGrpSpPr/>
          <p:nvPr userDrawn="1"/>
        </p:nvGrpSpPr>
        <p:grpSpPr>
          <a:xfrm>
            <a:off x="-3117849" y="365"/>
            <a:ext cx="2823358" cy="5254722"/>
            <a:chOff x="-2959433" y="-5444"/>
            <a:chExt cx="2822623" cy="5254722"/>
          </a:xfrm>
        </p:grpSpPr>
        <p:sp>
          <p:nvSpPr>
            <p:cNvPr id="235" name="Rechthoek 234"/>
            <p:cNvSpPr/>
            <p:nvPr userDrawn="1"/>
          </p:nvSpPr>
          <p:spPr>
            <a:xfrm>
              <a:off x="-2959433" y="-5444"/>
              <a:ext cx="2572469" cy="280344"/>
            </a:xfrm>
            <a:prstGeom prst="rect">
              <a:avLst/>
            </a:prstGeom>
            <a:noFill/>
            <a:ln w="25400" cap="flat" cmpd="sng" algn="ctr">
              <a:noFill/>
              <a:prstDash val="solid"/>
            </a:ln>
            <a:effectLst/>
          </p:spPr>
          <p:txBody>
            <a:bodyPr lIns="0" tIns="0" rIns="0" bIns="0" rtlCol="0" anchor="t"/>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nl-NL" sz="1600" b="1" kern="0" dirty="0">
                  <a:solidFill>
                    <a:srgbClr val="ED1A3B"/>
                  </a:solidFill>
                  <a:cs typeface="Segoe UI Light" panose="020B0502040204020203" pitchFamily="34" charset="0"/>
                </a:rPr>
                <a:t>TEKST NIVEAUS</a:t>
              </a:r>
            </a:p>
          </p:txBody>
        </p:sp>
        <p:sp>
          <p:nvSpPr>
            <p:cNvPr id="236" name="Textfield placeholder"/>
            <p:cNvSpPr txBox="1">
              <a:spLocks/>
            </p:cNvSpPr>
            <p:nvPr userDrawn="1"/>
          </p:nvSpPr>
          <p:spPr>
            <a:xfrm>
              <a:off x="-2587337" y="2675411"/>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0" lvl="2"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a:solidFill>
                    <a:srgbClr val="404040"/>
                  </a:solidFill>
                </a:rPr>
                <a:t>Sub-bullets (16 pt.)</a:t>
              </a:r>
            </a:p>
          </p:txBody>
        </p:sp>
        <p:sp>
          <p:nvSpPr>
            <p:cNvPr id="237" name="Ovaal 236"/>
            <p:cNvSpPr/>
            <p:nvPr userDrawn="1"/>
          </p:nvSpPr>
          <p:spPr>
            <a:xfrm>
              <a:off x="-2959433" y="196874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1</a:t>
              </a:r>
            </a:p>
          </p:txBody>
        </p:sp>
        <p:sp>
          <p:nvSpPr>
            <p:cNvPr id="238" name="Ovaal 237"/>
            <p:cNvSpPr/>
            <p:nvPr userDrawn="1"/>
          </p:nvSpPr>
          <p:spPr>
            <a:xfrm>
              <a:off x="-2959433" y="232207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2</a:t>
              </a:r>
            </a:p>
          </p:txBody>
        </p:sp>
        <p:sp>
          <p:nvSpPr>
            <p:cNvPr id="239" name="Ovaal 238"/>
            <p:cNvSpPr/>
            <p:nvPr userDrawn="1"/>
          </p:nvSpPr>
          <p:spPr>
            <a:xfrm>
              <a:off x="-2959433" y="267541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3</a:t>
              </a:r>
            </a:p>
          </p:txBody>
        </p:sp>
        <p:sp>
          <p:nvSpPr>
            <p:cNvPr id="240" name="Ovaal 239"/>
            <p:cNvSpPr/>
            <p:nvPr userDrawn="1"/>
          </p:nvSpPr>
          <p:spPr>
            <a:xfrm>
              <a:off x="-2959433" y="302874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4</a:t>
              </a:r>
            </a:p>
          </p:txBody>
        </p:sp>
        <p:sp>
          <p:nvSpPr>
            <p:cNvPr id="241" name="Textfield placeholder"/>
            <p:cNvSpPr txBox="1">
              <a:spLocks/>
            </p:cNvSpPr>
            <p:nvPr userDrawn="1"/>
          </p:nvSpPr>
          <p:spPr>
            <a:xfrm>
              <a:off x="-2571950" y="1966925"/>
              <a:ext cx="2163709" cy="261500"/>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79388">
                <a:lnSpc>
                  <a:spcPct val="120000"/>
                </a:lnSpc>
                <a:spcBef>
                  <a:spcPts val="0"/>
                </a:spcBef>
                <a:spcAft>
                  <a:spcPts val="900"/>
                </a:spcAft>
                <a:buClr>
                  <a:srgbClr val="000000"/>
                </a:buClr>
                <a:buSzPct val="100000"/>
                <a:buFont typeface="Arial" pitchFamily="34" charset="0"/>
                <a:buNone/>
                <a:defRPr/>
              </a:pPr>
              <a:r>
                <a:rPr lang="nl-NL" sz="1200" dirty="0">
                  <a:solidFill>
                    <a:srgbClr val="535353"/>
                  </a:solidFill>
                </a:rPr>
                <a:t>Leestekst (16 pt.)</a:t>
              </a:r>
            </a:p>
          </p:txBody>
        </p:sp>
        <p:sp>
          <p:nvSpPr>
            <p:cNvPr id="242" name="Textfield placeholder"/>
            <p:cNvSpPr txBox="1">
              <a:spLocks/>
            </p:cNvSpPr>
            <p:nvPr userDrawn="1"/>
          </p:nvSpPr>
          <p:spPr>
            <a:xfrm>
              <a:off x="-2571950" y="2322077"/>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70000" lvl="1"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err="1">
                  <a:solidFill>
                    <a:srgbClr val="535353"/>
                  </a:solidFill>
                </a:rPr>
                <a:t>Bullets</a:t>
              </a:r>
              <a:r>
                <a:rPr lang="nl-NL" sz="1200" dirty="0">
                  <a:solidFill>
                    <a:srgbClr val="535353"/>
                  </a:solidFill>
                </a:rPr>
                <a:t> (16 </a:t>
              </a:r>
              <a:r>
                <a:rPr lang="nl-NL" sz="1200" dirty="0" err="1">
                  <a:solidFill>
                    <a:srgbClr val="535353"/>
                  </a:solidFill>
                </a:rPr>
                <a:t>pt</a:t>
              </a:r>
              <a:r>
                <a:rPr lang="nl-NL" sz="1200" dirty="0">
                  <a:solidFill>
                    <a:srgbClr val="535353"/>
                  </a:solidFill>
                </a:rPr>
                <a:t>.)</a:t>
              </a:r>
            </a:p>
          </p:txBody>
        </p:sp>
        <p:sp>
          <p:nvSpPr>
            <p:cNvPr id="243" name="Textfield placeholder"/>
            <p:cNvSpPr txBox="1">
              <a:spLocks/>
            </p:cNvSpPr>
            <p:nvPr userDrawn="1"/>
          </p:nvSpPr>
          <p:spPr>
            <a:xfrm>
              <a:off x="-2571951" y="3028747"/>
              <a:ext cx="2435141"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10000" lvl="3" indent="-270000" algn="l" defTabSz="179388" rtl="0" eaLnBrk="1" latinLnBrk="0" hangingPunct="1">
                <a:lnSpc>
                  <a:spcPct val="120000"/>
                </a:lnSpc>
                <a:spcBef>
                  <a:spcPts val="0"/>
                </a:spcBef>
                <a:spcAft>
                  <a:spcPts val="900"/>
                </a:spcAft>
                <a:buClr>
                  <a:schemeClr val="accent2"/>
                </a:buClr>
                <a:buSzPct val="80000"/>
                <a:buFont typeface="Wingdings 3" panose="05040102010807070707" pitchFamily="18" charset="2"/>
                <a:buChar char=""/>
                <a:defRPr/>
              </a:pPr>
              <a:r>
                <a:rPr lang="nl-NL" sz="1200" b="0" kern="1200" dirty="0">
                  <a:solidFill>
                    <a:srgbClr val="404040"/>
                  </a:solidFill>
                  <a:latin typeface="+mn-lt"/>
                  <a:ea typeface="+mn-ea"/>
                  <a:cs typeface="+mn-cs"/>
                </a:rPr>
                <a:t>Sub-sub-bullets (16 pt.)</a:t>
              </a:r>
            </a:p>
          </p:txBody>
        </p:sp>
        <p:cxnSp>
          <p:nvCxnSpPr>
            <p:cNvPr id="244" name="Rechte verbindingslijn 243"/>
            <p:cNvCxnSpPr/>
            <p:nvPr userDrawn="1"/>
          </p:nvCxnSpPr>
          <p:spPr>
            <a:xfrm>
              <a:off x="-2959100" y="274900"/>
              <a:ext cx="2674470" cy="0"/>
            </a:xfrm>
            <a:prstGeom prst="line">
              <a:avLst/>
            </a:prstGeom>
            <a:noFill/>
            <a:ln w="9525" cap="flat" cmpd="sng" algn="ctr">
              <a:solidFill>
                <a:schemeClr val="accent1"/>
              </a:solidFill>
              <a:prstDash val="solid"/>
            </a:ln>
            <a:effectLst/>
          </p:spPr>
        </p:cxnSp>
        <p:cxnSp>
          <p:nvCxnSpPr>
            <p:cNvPr id="245" name="Rechte verbindingslijn 244"/>
            <p:cNvCxnSpPr/>
            <p:nvPr userDrawn="1"/>
          </p:nvCxnSpPr>
          <p:spPr>
            <a:xfrm>
              <a:off x="-2959100" y="1841989"/>
              <a:ext cx="2661379" cy="0"/>
            </a:xfrm>
            <a:prstGeom prst="line">
              <a:avLst/>
            </a:prstGeom>
            <a:noFill/>
            <a:ln w="9525" cap="flat" cmpd="sng" algn="ctr">
              <a:solidFill>
                <a:schemeClr val="accent1"/>
              </a:solidFill>
              <a:prstDash val="solid"/>
            </a:ln>
            <a:effectLst/>
          </p:spPr>
        </p:cxnSp>
        <p:cxnSp>
          <p:nvCxnSpPr>
            <p:cNvPr id="246" name="Rechte verbindingslijn 245"/>
            <p:cNvCxnSpPr/>
            <p:nvPr userDrawn="1"/>
          </p:nvCxnSpPr>
          <p:spPr>
            <a:xfrm>
              <a:off x="-2959100" y="5249278"/>
              <a:ext cx="2661379" cy="0"/>
            </a:xfrm>
            <a:prstGeom prst="line">
              <a:avLst/>
            </a:prstGeom>
            <a:noFill/>
            <a:ln w="9525" cap="flat" cmpd="sng" algn="ctr">
              <a:solidFill>
                <a:schemeClr val="accent1"/>
              </a:solidFill>
              <a:prstDash val="solid"/>
            </a:ln>
            <a:effectLst/>
          </p:spPr>
        </p:cxnSp>
        <p:grpSp>
          <p:nvGrpSpPr>
            <p:cNvPr id="247" name="Groep 246"/>
            <p:cNvGrpSpPr/>
            <p:nvPr userDrawn="1"/>
          </p:nvGrpSpPr>
          <p:grpSpPr>
            <a:xfrm>
              <a:off x="-1948476" y="816741"/>
              <a:ext cx="409108" cy="427699"/>
              <a:chOff x="-1085063" y="758027"/>
              <a:chExt cx="633799" cy="622540"/>
            </a:xfrm>
          </p:grpSpPr>
          <p:sp>
            <p:nvSpPr>
              <p:cNvPr id="303" name="Afgeronde rechthoek 302"/>
              <p:cNvSpPr/>
              <p:nvPr userDrawn="1"/>
            </p:nvSpPr>
            <p:spPr>
              <a:xfrm>
                <a:off x="-108506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304" name="Groep 303"/>
              <p:cNvGrpSpPr/>
              <p:nvPr userDrawn="1"/>
            </p:nvGrpSpPr>
            <p:grpSpPr>
              <a:xfrm>
                <a:off x="-977739" y="864082"/>
                <a:ext cx="419168" cy="410429"/>
                <a:chOff x="6366933" y="309013"/>
                <a:chExt cx="1901295" cy="1861668"/>
              </a:xfrm>
              <a:solidFill>
                <a:srgbClr val="000000"/>
              </a:solidFill>
            </p:grpSpPr>
            <p:sp>
              <p:nvSpPr>
                <p:cNvPr id="305" name="Rechthoek 304"/>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6" name="Rechthoek 305"/>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7" name="Rechthoek 306"/>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8" name="Rechthoek 307"/>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9" name="Rechthoek 308"/>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0" name="Rechthoek 309"/>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1" name="Rechthoek 310"/>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2" name="Rechthoek 311"/>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3" name="Rechthoek 312"/>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4" name="Rechthoek 313"/>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5" name="Vrije vorm 314"/>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nvGrpSpPr>
            <p:cNvPr id="248" name="Groep 247"/>
            <p:cNvGrpSpPr/>
            <p:nvPr userDrawn="1"/>
          </p:nvGrpSpPr>
          <p:grpSpPr>
            <a:xfrm>
              <a:off x="-2950232" y="1207835"/>
              <a:ext cx="532929" cy="509563"/>
              <a:chOff x="-2880382" y="802341"/>
              <a:chExt cx="532929" cy="509563"/>
            </a:xfrm>
          </p:grpSpPr>
          <p:sp>
            <p:nvSpPr>
              <p:cNvPr id="281" name="Rechthoek 280"/>
              <p:cNvSpPr/>
              <p:nvPr userDrawn="1"/>
            </p:nvSpPr>
            <p:spPr>
              <a:xfrm>
                <a:off x="-2880382" y="802341"/>
                <a:ext cx="532929" cy="509563"/>
              </a:xfrm>
              <a:prstGeom prst="rect">
                <a:avLst/>
              </a:prstGeom>
              <a:solidFill>
                <a:sysClr val="window" lastClr="FFFFFF"/>
              </a:soli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pic>
            <p:nvPicPr>
              <p:cNvPr id="282"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635852" y="822181"/>
                <a:ext cx="226442" cy="208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3"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848026" y="822181"/>
                <a:ext cx="207168" cy="213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84" name="Groep 283"/>
              <p:cNvGrpSpPr/>
              <p:nvPr userDrawn="1"/>
            </p:nvGrpSpPr>
            <p:grpSpPr>
              <a:xfrm>
                <a:off x="-2802433" y="1123442"/>
                <a:ext cx="132915" cy="104889"/>
                <a:chOff x="-2796392" y="1123442"/>
                <a:chExt cx="120832" cy="104889"/>
              </a:xfrm>
            </p:grpSpPr>
            <p:sp>
              <p:nvSpPr>
                <p:cNvPr id="298" name="Rechthoek 297"/>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9" name="Rechthoek 298"/>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0" name="Rechthoek 299"/>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1" name="Rechthoek 300"/>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2" name="Rechthoek 301"/>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285" name="Groep 284"/>
              <p:cNvGrpSpPr/>
              <p:nvPr userDrawn="1"/>
            </p:nvGrpSpPr>
            <p:grpSpPr>
              <a:xfrm>
                <a:off x="-2575417" y="1123442"/>
                <a:ext cx="133930" cy="104889"/>
                <a:chOff x="-2556734" y="1123442"/>
                <a:chExt cx="147324" cy="104889"/>
              </a:xfrm>
            </p:grpSpPr>
            <p:grpSp>
              <p:nvGrpSpPr>
                <p:cNvPr id="286" name="Groep 285"/>
                <p:cNvGrpSpPr/>
                <p:nvPr userDrawn="1"/>
              </p:nvGrpSpPr>
              <p:grpSpPr>
                <a:xfrm>
                  <a:off x="-2556734" y="1123442"/>
                  <a:ext cx="68206" cy="104889"/>
                  <a:chOff x="-2796392" y="1123442"/>
                  <a:chExt cx="120832" cy="104889"/>
                </a:xfrm>
              </p:grpSpPr>
              <p:sp>
                <p:nvSpPr>
                  <p:cNvPr id="293" name="Rechthoek 292"/>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4" name="Rechthoek 293"/>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5" name="Rechthoek 294"/>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6" name="Rechthoek 295"/>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7" name="Rechthoek 296"/>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287" name="Groep 286"/>
                <p:cNvGrpSpPr/>
                <p:nvPr userDrawn="1"/>
              </p:nvGrpSpPr>
              <p:grpSpPr>
                <a:xfrm>
                  <a:off x="-2477616" y="1123442"/>
                  <a:ext cx="68206" cy="104889"/>
                  <a:chOff x="-2796392" y="1123442"/>
                  <a:chExt cx="120832" cy="104889"/>
                </a:xfrm>
              </p:grpSpPr>
              <p:sp>
                <p:nvSpPr>
                  <p:cNvPr id="288" name="Rechthoek 287"/>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9" name="Rechthoek 288"/>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0" name="Rechthoek 289"/>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1" name="Rechthoek 290"/>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2" name="Rechthoek 291"/>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grpSp>
          <p:nvGrpSpPr>
            <p:cNvPr id="249" name="Groep 248"/>
            <p:cNvGrpSpPr/>
            <p:nvPr userDrawn="1"/>
          </p:nvGrpSpPr>
          <p:grpSpPr>
            <a:xfrm>
              <a:off x="-1948476" y="1281164"/>
              <a:ext cx="413704" cy="427699"/>
              <a:chOff x="-1845083" y="758027"/>
              <a:chExt cx="633799" cy="622540"/>
            </a:xfrm>
          </p:grpSpPr>
          <p:sp>
            <p:nvSpPr>
              <p:cNvPr id="268" name="Afgeronde rechthoek 267"/>
              <p:cNvSpPr/>
              <p:nvPr userDrawn="1"/>
            </p:nvSpPr>
            <p:spPr>
              <a:xfrm>
                <a:off x="-184508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269" name="Groep 268"/>
              <p:cNvGrpSpPr/>
              <p:nvPr userDrawn="1"/>
            </p:nvGrpSpPr>
            <p:grpSpPr>
              <a:xfrm>
                <a:off x="-1737762" y="864082"/>
                <a:ext cx="419168" cy="410429"/>
                <a:chOff x="3708400" y="309013"/>
                <a:chExt cx="1901295" cy="1861668"/>
              </a:xfrm>
              <a:solidFill>
                <a:srgbClr val="000000"/>
              </a:solidFill>
            </p:grpSpPr>
            <p:sp>
              <p:nvSpPr>
                <p:cNvPr id="270" name="Rechthoek 269"/>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1" name="Rechthoek 270"/>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2" name="Rechthoek 271"/>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3" name="Rechthoek 272"/>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4" name="Rechthoek 273"/>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5" name="Rechthoek 274"/>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6" name="Rechthoek 275"/>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7" name="Rechthoek 276"/>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8" name="Rechthoek 277"/>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9" name="Rechthoek 278"/>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0" name="Vrije vorm 279"/>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cxnSp>
          <p:nvCxnSpPr>
            <p:cNvPr id="250" name="Rechte verbindingslijn 249"/>
            <p:cNvCxnSpPr/>
            <p:nvPr userDrawn="1"/>
          </p:nvCxnSpPr>
          <p:spPr>
            <a:xfrm>
              <a:off x="-2814292" y="1441193"/>
              <a:ext cx="865816" cy="53821"/>
            </a:xfrm>
            <a:prstGeom prst="line">
              <a:avLst/>
            </a:prstGeom>
            <a:noFill/>
            <a:ln w="9525" cap="flat" cmpd="sng" algn="ctr">
              <a:solidFill>
                <a:schemeClr val="accent1"/>
              </a:solidFill>
              <a:prstDash val="solid"/>
              <a:headEnd type="oval"/>
            </a:ln>
            <a:effectLst/>
          </p:spPr>
        </p:cxnSp>
        <p:cxnSp>
          <p:nvCxnSpPr>
            <p:cNvPr id="251" name="Rechte verbindingslijn 250"/>
            <p:cNvCxnSpPr/>
            <p:nvPr userDrawn="1"/>
          </p:nvCxnSpPr>
          <p:spPr>
            <a:xfrm flipV="1">
              <a:off x="-2453902" y="1030591"/>
              <a:ext cx="505426" cy="283623"/>
            </a:xfrm>
            <a:prstGeom prst="line">
              <a:avLst/>
            </a:prstGeom>
            <a:noFill/>
            <a:ln w="9525" cap="flat" cmpd="sng" algn="ctr">
              <a:solidFill>
                <a:schemeClr val="accent1"/>
              </a:solidFill>
              <a:prstDash val="solid"/>
              <a:headEnd type="oval"/>
            </a:ln>
            <a:effectLst/>
          </p:spPr>
        </p:cxnSp>
        <p:sp>
          <p:nvSpPr>
            <p:cNvPr id="252" name="Textfield placeholder"/>
            <p:cNvSpPr txBox="1">
              <a:spLocks/>
            </p:cNvSpPr>
            <p:nvPr userDrawn="1"/>
          </p:nvSpPr>
          <p:spPr>
            <a:xfrm>
              <a:off x="-1341598" y="816743"/>
              <a:ext cx="1056968" cy="427698"/>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hoog</a:t>
              </a:r>
            </a:p>
          </p:txBody>
        </p:sp>
        <p:sp>
          <p:nvSpPr>
            <p:cNvPr id="253" name="Textfield placeholder"/>
            <p:cNvSpPr txBox="1">
              <a:spLocks/>
            </p:cNvSpPr>
            <p:nvPr userDrawn="1"/>
          </p:nvSpPr>
          <p:spPr>
            <a:xfrm>
              <a:off x="-1341599" y="1281164"/>
              <a:ext cx="1070223" cy="427699"/>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laag</a:t>
              </a:r>
            </a:p>
          </p:txBody>
        </p:sp>
        <p:sp>
          <p:nvSpPr>
            <p:cNvPr id="254" name="Ovaal 253"/>
            <p:cNvSpPr/>
            <p:nvPr userDrawn="1"/>
          </p:nvSpPr>
          <p:spPr>
            <a:xfrm>
              <a:off x="-2959433" y="338208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5</a:t>
              </a:r>
            </a:p>
          </p:txBody>
        </p:sp>
        <p:sp>
          <p:nvSpPr>
            <p:cNvPr id="255" name="Textfield placeholder"/>
            <p:cNvSpPr txBox="1">
              <a:spLocks/>
            </p:cNvSpPr>
            <p:nvPr userDrawn="1"/>
          </p:nvSpPr>
          <p:spPr>
            <a:xfrm>
              <a:off x="-2571950" y="3382082"/>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60000" lvl="4" indent="-360000" defTabSz="179388">
                <a:lnSpc>
                  <a:spcPct val="120000"/>
                </a:lnSpc>
                <a:spcBef>
                  <a:spcPts val="0"/>
                </a:spcBef>
                <a:spcAft>
                  <a:spcPts val="900"/>
                </a:spcAft>
                <a:buClr>
                  <a:srgbClr val="ED1A3B"/>
                </a:buClr>
                <a:buFont typeface="+mj-lt"/>
                <a:buAutoNum type="arabicPeriod"/>
                <a:defRPr/>
              </a:pPr>
              <a:r>
                <a:rPr lang="nl-NL" sz="1200" b="0" dirty="0">
                  <a:solidFill>
                    <a:srgbClr val="404040"/>
                  </a:solidFill>
                </a:rPr>
                <a:t>Numeriek (16 pt.)</a:t>
              </a:r>
            </a:p>
          </p:txBody>
        </p:sp>
        <p:grpSp>
          <p:nvGrpSpPr>
            <p:cNvPr id="256" name="Groep 255"/>
            <p:cNvGrpSpPr/>
            <p:nvPr userDrawn="1"/>
          </p:nvGrpSpPr>
          <p:grpSpPr>
            <a:xfrm>
              <a:off x="-2950232" y="816050"/>
              <a:ext cx="528695" cy="344202"/>
              <a:chOff x="-2880382" y="410556"/>
              <a:chExt cx="528695" cy="344202"/>
            </a:xfrm>
          </p:grpSpPr>
          <p:sp>
            <p:nvSpPr>
              <p:cNvPr id="266" name="Afgeronde rechthoek 265"/>
              <p:cNvSpPr/>
              <p:nvPr userDrawn="1"/>
            </p:nvSpPr>
            <p:spPr>
              <a:xfrm>
                <a:off x="-2874214" y="410556"/>
                <a:ext cx="522527" cy="339183"/>
              </a:xfrm>
              <a:prstGeom prst="roundRect">
                <a:avLst>
                  <a:gd name="adj" fmla="val 7565"/>
                </a:avLst>
              </a:prstGeom>
              <a:gradFill>
                <a:gsLst>
                  <a:gs pos="0">
                    <a:srgbClr val="FFEC8F"/>
                  </a:gs>
                  <a:gs pos="100000">
                    <a:srgbClr val="FFFFFF"/>
                  </a:gs>
                </a:gsLst>
                <a:lin ang="5400000" scaled="0"/>
              </a:gra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sp>
            <p:nvSpPr>
              <p:cNvPr id="267" name="Vrije vorm 266"/>
              <p:cNvSpPr/>
              <p:nvPr userDrawn="1"/>
            </p:nvSpPr>
            <p:spPr>
              <a:xfrm>
                <a:off x="-2880382" y="452699"/>
                <a:ext cx="528695" cy="302059"/>
              </a:xfrm>
              <a:custGeom>
                <a:avLst/>
                <a:gdLst>
                  <a:gd name="connsiteX0" fmla="*/ 55524 w 528695"/>
                  <a:gd name="connsiteY0" fmla="*/ 0 h 302059"/>
                  <a:gd name="connsiteX1" fmla="*/ 455496 w 528695"/>
                  <a:gd name="connsiteY1" fmla="*/ 0 h 302059"/>
                  <a:gd name="connsiteX2" fmla="*/ 475205 w 528695"/>
                  <a:gd name="connsiteY2" fmla="*/ 19709 h 302059"/>
                  <a:gd name="connsiteX3" fmla="*/ 475205 w 528695"/>
                  <a:gd name="connsiteY3" fmla="*/ 230056 h 302059"/>
                  <a:gd name="connsiteX4" fmla="*/ 516694 w 528695"/>
                  <a:gd name="connsiteY4" fmla="*/ 230056 h 302059"/>
                  <a:gd name="connsiteX5" fmla="*/ 528695 w 528695"/>
                  <a:gd name="connsiteY5" fmla="*/ 242057 h 302059"/>
                  <a:gd name="connsiteX6" fmla="*/ 528695 w 528695"/>
                  <a:gd name="connsiteY6" fmla="*/ 290058 h 302059"/>
                  <a:gd name="connsiteX7" fmla="*/ 516694 w 528695"/>
                  <a:gd name="connsiteY7" fmla="*/ 302059 h 302059"/>
                  <a:gd name="connsiteX8" fmla="*/ 12001 w 528695"/>
                  <a:gd name="connsiteY8" fmla="*/ 302059 h 302059"/>
                  <a:gd name="connsiteX9" fmla="*/ 0 w 528695"/>
                  <a:gd name="connsiteY9" fmla="*/ 290058 h 302059"/>
                  <a:gd name="connsiteX10" fmla="*/ 0 w 528695"/>
                  <a:gd name="connsiteY10" fmla="*/ 242057 h 302059"/>
                  <a:gd name="connsiteX11" fmla="*/ 12001 w 528695"/>
                  <a:gd name="connsiteY11" fmla="*/ 230056 h 302059"/>
                  <a:gd name="connsiteX12" fmla="*/ 35815 w 528695"/>
                  <a:gd name="connsiteY12" fmla="*/ 230056 h 302059"/>
                  <a:gd name="connsiteX13" fmla="*/ 35815 w 528695"/>
                  <a:gd name="connsiteY13" fmla="*/ 19709 h 302059"/>
                  <a:gd name="connsiteX14" fmla="*/ 55524 w 528695"/>
                  <a:gd name="connsiteY14" fmla="*/ 0 h 3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8695" h="302059">
                    <a:moveTo>
                      <a:pt x="55524" y="0"/>
                    </a:moveTo>
                    <a:lnTo>
                      <a:pt x="455496" y="0"/>
                    </a:lnTo>
                    <a:cubicBezTo>
                      <a:pt x="466381" y="0"/>
                      <a:pt x="475205" y="8824"/>
                      <a:pt x="475205" y="19709"/>
                    </a:cubicBezTo>
                    <a:lnTo>
                      <a:pt x="475205" y="230056"/>
                    </a:lnTo>
                    <a:lnTo>
                      <a:pt x="516694" y="230056"/>
                    </a:lnTo>
                    <a:cubicBezTo>
                      <a:pt x="523322" y="230056"/>
                      <a:pt x="528695" y="235429"/>
                      <a:pt x="528695" y="242057"/>
                    </a:cubicBezTo>
                    <a:lnTo>
                      <a:pt x="528695" y="290058"/>
                    </a:lnTo>
                    <a:cubicBezTo>
                      <a:pt x="528695" y="296686"/>
                      <a:pt x="523322" y="302059"/>
                      <a:pt x="516694" y="302059"/>
                    </a:cubicBezTo>
                    <a:lnTo>
                      <a:pt x="12001" y="302059"/>
                    </a:lnTo>
                    <a:cubicBezTo>
                      <a:pt x="5373" y="302059"/>
                      <a:pt x="0" y="296686"/>
                      <a:pt x="0" y="290058"/>
                    </a:cubicBezTo>
                    <a:lnTo>
                      <a:pt x="0" y="242057"/>
                    </a:lnTo>
                    <a:cubicBezTo>
                      <a:pt x="0" y="235429"/>
                      <a:pt x="5373" y="230056"/>
                      <a:pt x="12001" y="230056"/>
                    </a:cubicBezTo>
                    <a:lnTo>
                      <a:pt x="35815" y="230056"/>
                    </a:lnTo>
                    <a:lnTo>
                      <a:pt x="35815" y="19709"/>
                    </a:lnTo>
                    <a:cubicBezTo>
                      <a:pt x="35815" y="8824"/>
                      <a:pt x="44639" y="0"/>
                      <a:pt x="55524" y="0"/>
                    </a:cubicBezTo>
                    <a:close/>
                  </a:path>
                </a:pathLst>
              </a:custGeom>
              <a:solidFill>
                <a:sysClr val="window" lastClr="FFFFFF">
                  <a:lumMod val="95000"/>
                </a:sysClr>
              </a:solidFill>
              <a:ln w="9525" cap="flat" cmpd="sng" algn="ctr">
                <a:solidFill>
                  <a:srgbClr val="FFFFFF">
                    <a:lumMod val="90000"/>
                  </a:srgbClr>
                </a:solidFill>
                <a:prstDash val="solid"/>
                <a:miter lim="800000"/>
              </a:ln>
              <a:effectLst/>
            </p:spPr>
            <p:txBody>
              <a:bodyPr rot="0" spcFirstLastPara="0" vert="horz" wrap="square" lIns="108000" tIns="36000" rIns="108000" bIns="10800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900" dirty="0">
                    <a:solidFill>
                      <a:prstClr val="black"/>
                    </a:solidFill>
                    <a:latin typeface="Segoe UI Light"/>
                  </a:rPr>
                  <a:t>Start</a:t>
                </a:r>
              </a:p>
            </p:txBody>
          </p:sp>
        </p:grpSp>
        <p:sp>
          <p:nvSpPr>
            <p:cNvPr id="257" name="Tekstvak 65"/>
            <p:cNvSpPr txBox="1"/>
            <p:nvPr userDrawn="1"/>
          </p:nvSpPr>
          <p:spPr>
            <a:xfrm>
              <a:off x="-2959433" y="372104"/>
              <a:ext cx="2679887" cy="453396"/>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nl-NL" sz="1200" kern="0" dirty="0">
                  <a:solidFill>
                    <a:srgbClr val="000000"/>
                  </a:solidFill>
                  <a:latin typeface="Segoe UI Light" panose="020B0502040204020203" pitchFamily="34" charset="0"/>
                  <a:cs typeface="Segoe UI Light" panose="020B0502040204020203" pitchFamily="34" charset="0"/>
                </a:rPr>
                <a:t>Ga naar de tab </a:t>
              </a:r>
              <a:r>
                <a:rPr lang="nl-NL" sz="1200" b="1" kern="0" dirty="0">
                  <a:solidFill>
                    <a:srgbClr val="000000"/>
                  </a:solidFill>
                  <a:latin typeface="Segoe UI Light" panose="020B0502040204020203" pitchFamily="34" charset="0"/>
                  <a:cs typeface="Segoe UI Light" panose="020B0502040204020203" pitchFamily="34" charset="0"/>
                </a:rPr>
                <a:t>Start’ </a:t>
              </a:r>
              <a:r>
                <a:rPr lang="nl-NL" sz="1200" kern="0" dirty="0">
                  <a:solidFill>
                    <a:srgbClr val="000000"/>
                  </a:solidFill>
                  <a:latin typeface="Segoe UI Light" panose="020B0502040204020203" pitchFamily="34" charset="0"/>
                  <a:cs typeface="Segoe UI Light" panose="020B0502040204020203" pitchFamily="34" charset="0"/>
                </a:rPr>
                <a:t>en vind onderstaande knoppen onder </a:t>
              </a:r>
              <a:r>
                <a:rPr lang="nl-NL" sz="1200" b="1" kern="0" dirty="0">
                  <a:solidFill>
                    <a:srgbClr val="000000"/>
                  </a:solidFill>
                  <a:latin typeface="Segoe UI Light" panose="020B0502040204020203" pitchFamily="34" charset="0"/>
                  <a:cs typeface="Segoe UI Light" panose="020B0502040204020203" pitchFamily="34" charset="0"/>
                </a:rPr>
                <a:t>‘Alinea’</a:t>
              </a:r>
            </a:p>
          </p:txBody>
        </p:sp>
        <p:sp>
          <p:nvSpPr>
            <p:cNvPr id="258" name="Ovaal 257"/>
            <p:cNvSpPr/>
            <p:nvPr userDrawn="1"/>
          </p:nvSpPr>
          <p:spPr>
            <a:xfrm>
              <a:off x="-2959433" y="375153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6</a:t>
              </a:r>
            </a:p>
          </p:txBody>
        </p:sp>
        <p:sp>
          <p:nvSpPr>
            <p:cNvPr id="259" name="Textfield placeholder"/>
            <p:cNvSpPr txBox="1">
              <a:spLocks/>
            </p:cNvSpPr>
            <p:nvPr userDrawn="1"/>
          </p:nvSpPr>
          <p:spPr>
            <a:xfrm>
              <a:off x="-2571950" y="3751536"/>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0000" lvl="5" indent="-270000" defTabSz="179388">
                <a:lnSpc>
                  <a:spcPct val="120000"/>
                </a:lnSpc>
                <a:spcAft>
                  <a:spcPts val="900"/>
                </a:spcAft>
                <a:buClr>
                  <a:srgbClr val="ED1A3B"/>
                </a:buClr>
                <a:buSzPct val="80000"/>
                <a:buFont typeface="Wingdings 3" panose="05040102010807070707" pitchFamily="18" charset="2"/>
                <a:buChar char=""/>
                <a:defRPr/>
              </a:pPr>
              <a:r>
                <a:rPr lang="nl-NL" sz="1200" cap="none" dirty="0">
                  <a:solidFill>
                    <a:srgbClr val="535353"/>
                  </a:solidFill>
                </a:rPr>
                <a:t># Bullets (16 pt.)</a:t>
              </a:r>
            </a:p>
          </p:txBody>
        </p:sp>
        <p:sp>
          <p:nvSpPr>
            <p:cNvPr id="260" name="Ovaal 259"/>
            <p:cNvSpPr/>
            <p:nvPr userDrawn="1"/>
          </p:nvSpPr>
          <p:spPr>
            <a:xfrm>
              <a:off x="-2959433" y="414870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7</a:t>
              </a:r>
            </a:p>
          </p:txBody>
        </p:sp>
        <p:sp>
          <p:nvSpPr>
            <p:cNvPr id="261" name="Textfield placeholder"/>
            <p:cNvSpPr txBox="1">
              <a:spLocks/>
            </p:cNvSpPr>
            <p:nvPr userDrawn="1"/>
          </p:nvSpPr>
          <p:spPr>
            <a:xfrm>
              <a:off x="-2571950" y="414870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6" indent="0" defTabSz="179388">
                <a:lnSpc>
                  <a:spcPct val="120000"/>
                </a:lnSpc>
                <a:spcBef>
                  <a:spcPts val="0"/>
                </a:spcBef>
                <a:spcAft>
                  <a:spcPts val="900"/>
                </a:spcAft>
                <a:buClr>
                  <a:srgbClr val="ED1A3B"/>
                </a:buClr>
                <a:buSzPct val="90000"/>
                <a:buFont typeface="+mj-lt"/>
                <a:buNone/>
                <a:defRPr/>
              </a:pPr>
              <a:r>
                <a:rPr lang="nl-NL" sz="1200" i="1" dirty="0">
                  <a:solidFill>
                    <a:srgbClr val="404040"/>
                  </a:solidFill>
                </a:rPr>
                <a:t>Cursief donker (16 pt.)</a:t>
              </a:r>
            </a:p>
          </p:txBody>
        </p:sp>
        <p:sp>
          <p:nvSpPr>
            <p:cNvPr id="262" name="Ovaal 261"/>
            <p:cNvSpPr/>
            <p:nvPr userDrawn="1"/>
          </p:nvSpPr>
          <p:spPr>
            <a:xfrm>
              <a:off x="-2959433" y="454586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8</a:t>
              </a:r>
            </a:p>
          </p:txBody>
        </p:sp>
        <p:sp>
          <p:nvSpPr>
            <p:cNvPr id="263" name="Textfield placeholder"/>
            <p:cNvSpPr txBox="1">
              <a:spLocks/>
            </p:cNvSpPr>
            <p:nvPr userDrawn="1"/>
          </p:nvSpPr>
          <p:spPr>
            <a:xfrm>
              <a:off x="-2571950" y="4545864"/>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7" indent="0" defTabSz="179388">
                <a:lnSpc>
                  <a:spcPct val="80000"/>
                </a:lnSpc>
                <a:spcBef>
                  <a:spcPts val="0"/>
                </a:spcBef>
                <a:spcAft>
                  <a:spcPts val="900"/>
                </a:spcAft>
                <a:buClr>
                  <a:srgbClr val="ED1A3B"/>
                </a:buClr>
                <a:buFont typeface="Arial" pitchFamily="34" charset="0"/>
                <a:buNone/>
                <a:defRPr/>
              </a:pPr>
              <a:r>
                <a:rPr lang="nl-NL" sz="1200" i="1" dirty="0">
                  <a:solidFill>
                    <a:srgbClr val="A3B0C0"/>
                  </a:solidFill>
                </a:rPr>
                <a:t>Cursief Licht (16 pt.)</a:t>
              </a:r>
            </a:p>
          </p:txBody>
        </p:sp>
        <p:sp>
          <p:nvSpPr>
            <p:cNvPr id="264" name="Ovaal 263"/>
            <p:cNvSpPr/>
            <p:nvPr userDrawn="1"/>
          </p:nvSpPr>
          <p:spPr>
            <a:xfrm>
              <a:off x="-2959433" y="488761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9</a:t>
              </a:r>
            </a:p>
          </p:txBody>
        </p:sp>
        <p:sp>
          <p:nvSpPr>
            <p:cNvPr id="265" name="Textfield placeholder"/>
            <p:cNvSpPr txBox="1">
              <a:spLocks/>
            </p:cNvSpPr>
            <p:nvPr userDrawn="1"/>
          </p:nvSpPr>
          <p:spPr>
            <a:xfrm>
              <a:off x="-2571950" y="488761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8" indent="0" defTabSz="179388">
                <a:lnSpc>
                  <a:spcPct val="80000"/>
                </a:lnSpc>
                <a:spcBef>
                  <a:spcPts val="0"/>
                </a:spcBef>
                <a:spcAft>
                  <a:spcPts val="900"/>
                </a:spcAft>
                <a:buClr>
                  <a:srgbClr val="ED1A3B"/>
                </a:buClr>
                <a:buFont typeface="Arial" pitchFamily="34" charset="0"/>
                <a:buNone/>
                <a:defRPr/>
              </a:pPr>
              <a:r>
                <a:rPr lang="nl-NL" sz="1400" b="1" dirty="0">
                  <a:solidFill>
                    <a:srgbClr val="ED1A3B"/>
                  </a:solidFill>
                </a:rPr>
                <a:t>Subtitel (18 pt.)</a:t>
              </a:r>
            </a:p>
          </p:txBody>
        </p:sp>
      </p:grpSp>
      <p:sp>
        <p:nvSpPr>
          <p:cNvPr id="127" name="Hyperlink - Inhoudsopgave">
            <a:hlinkClick r:id="rId4" action="ppaction://hlinksldjump"/>
          </p:cNvPr>
          <p:cNvSpPr/>
          <p:nvPr userDrawn="1"/>
        </p:nvSpPr>
        <p:spPr>
          <a:xfrm>
            <a:off x="10197856" y="5889801"/>
            <a:ext cx="2000494" cy="968199"/>
          </a:xfrm>
          <a:prstGeom prst="rect">
            <a:avLst/>
          </a:prstGeom>
          <a:solidFill>
            <a:srgbClr val="ED1A3B">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125" name="Grijze achtergrond"/>
          <p:cNvSpPr/>
          <p:nvPr userDrawn="1"/>
        </p:nvSpPr>
        <p:spPr>
          <a:xfrm>
            <a:off x="6504093" y="1358671"/>
            <a:ext cx="5030147" cy="444046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en-GB">
              <a:solidFill>
                <a:srgbClr val="FFFFFF"/>
              </a:solidFill>
            </a:endParaRPr>
          </a:p>
        </p:txBody>
      </p:sp>
      <p:cxnSp>
        <p:nvCxnSpPr>
          <p:cNvPr id="19" name="Grijze lijn - onder"/>
          <p:cNvCxnSpPr/>
          <p:nvPr/>
        </p:nvCxnSpPr>
        <p:spPr>
          <a:xfrm flipH="1">
            <a:off x="6504093" y="5776291"/>
            <a:ext cx="5030509"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6" name="Grijze lijn - boven"/>
          <p:cNvCxnSpPr/>
          <p:nvPr/>
        </p:nvCxnSpPr>
        <p:spPr>
          <a:xfrm flipH="1">
            <a:off x="664804" y="1358670"/>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24" name="Tijdelijke aanduiding voor Dianummer"/>
          <p:cNvSpPr>
            <a:spLocks noGrp="1"/>
          </p:cNvSpPr>
          <p:nvPr>
            <p:ph type="sldNum" sz="quarter" idx="4"/>
          </p:nvPr>
        </p:nvSpPr>
        <p:spPr>
          <a:xfrm>
            <a:off x="5770549" y="6295992"/>
            <a:ext cx="657251" cy="365125"/>
          </a:xfrm>
          <a:prstGeom prst="rect">
            <a:avLst/>
          </a:prstGeom>
        </p:spPr>
        <p:txBody>
          <a:bodyPr vert="horz" lIns="91440" tIns="45720" rIns="91440" bIns="45720" rtlCol="0" anchor="ctr"/>
          <a:lstStyle>
            <a:lvl1pPr algn="ctr">
              <a:defRPr sz="800">
                <a:solidFill>
                  <a:schemeClr val="tx1">
                    <a:tint val="75000"/>
                  </a:schemeClr>
                </a:solidFill>
              </a:defRPr>
            </a:lvl1pPr>
          </a:lstStyle>
          <a:p>
            <a:fld id="{1B3FA67A-C720-417A-A072-0CD211FD8662}" type="slidenum">
              <a:rPr lang="nl-NL" smtClean="0">
                <a:solidFill>
                  <a:srgbClr val="000000">
                    <a:tint val="75000"/>
                  </a:srgbClr>
                </a:solidFill>
              </a:rPr>
              <a:pPr/>
              <a:t>‹nr.›</a:t>
            </a:fld>
            <a:endParaRPr lang="nl-NL" dirty="0">
              <a:solidFill>
                <a:srgbClr val="000000">
                  <a:tint val="75000"/>
                </a:srgbClr>
              </a:solidFill>
            </a:endParaRPr>
          </a:p>
        </p:txBody>
      </p:sp>
      <p:sp>
        <p:nvSpPr>
          <p:cNvPr id="21" name="Tijdelijke aanduiding voor Tabel"/>
          <p:cNvSpPr>
            <a:spLocks noGrp="1"/>
          </p:cNvSpPr>
          <p:nvPr>
            <p:ph type="tbl" sz="quarter" idx="17"/>
          </p:nvPr>
        </p:nvSpPr>
        <p:spPr>
          <a:xfrm>
            <a:off x="6844201" y="1720867"/>
            <a:ext cx="4349932" cy="3693600"/>
          </a:xfrm>
        </p:spPr>
        <p:txBody>
          <a:bodyPr anchor="ctr"/>
          <a:lstStyle>
            <a:lvl1pPr algn="ctr">
              <a:defRPr/>
            </a:lvl1pPr>
          </a:lstStyle>
          <a:p>
            <a:r>
              <a:rPr lang="nl-NL"/>
              <a:t>Klik op het pictogram als u een tabel wilt toevoegen</a:t>
            </a:r>
            <a:endParaRPr lang="nl-NL" dirty="0"/>
          </a:p>
        </p:txBody>
      </p:sp>
      <p:sp>
        <p:nvSpPr>
          <p:cNvPr id="3" name="Tijdelijke aanduiding voor Tekst"/>
          <p:cNvSpPr>
            <a:spLocks noGrp="1"/>
          </p:cNvSpPr>
          <p:nvPr>
            <p:ph type="body" orient="vert" idx="1" hasCustomPrompt="1"/>
          </p:nvPr>
        </p:nvSpPr>
        <p:spPr>
          <a:xfrm>
            <a:off x="664110" y="1720867"/>
            <a:ext cx="5393498" cy="3693600"/>
          </a:xfrm>
        </p:spPr>
        <p:txBody>
          <a:bodyPr vert="horz"/>
          <a:lstStyle>
            <a:lvl1pPr>
              <a:defRPr sz="1600"/>
            </a:lvl1pPr>
            <a:lvl2pPr>
              <a:defRPr sz="1600"/>
            </a:lvl2pPr>
            <a:lvl3pPr>
              <a:defRPr sz="1600"/>
            </a:lvl3pPr>
            <a:lvl4pPr>
              <a:defRPr sz="1600"/>
            </a:lvl4pPr>
            <a:lvl5pPr>
              <a:defRPr sz="1600"/>
            </a:lvl5pPr>
            <a:lvl6pPr>
              <a:defRPr sz="1600"/>
            </a:lvl6pPr>
            <a:lvl7pPr>
              <a:defRPr sz="1600"/>
            </a:lvl7pPr>
            <a:lvl8pPr>
              <a:defRPr sz="1600"/>
            </a:lvl8pPr>
          </a:lstStyle>
          <a:p>
            <a:pPr lvl="0"/>
            <a:r>
              <a:rPr lang="nl-NL" dirty="0"/>
              <a:t>Leestekst</a:t>
            </a:r>
          </a:p>
          <a:p>
            <a:pPr lvl="1"/>
            <a:r>
              <a:rPr lang="nl-NL" dirty="0"/>
              <a:t>Bullets</a:t>
            </a:r>
          </a:p>
          <a:p>
            <a:pPr lvl="2"/>
            <a:r>
              <a:rPr lang="nl-NL" dirty="0"/>
              <a:t>Sub-bullets</a:t>
            </a:r>
          </a:p>
          <a:p>
            <a:pPr lvl="3"/>
            <a:r>
              <a:rPr lang="nl-NL" dirty="0"/>
              <a:t>Sub-sub-bullets</a:t>
            </a:r>
          </a:p>
          <a:p>
            <a:pPr lvl="4"/>
            <a:r>
              <a:rPr lang="nl-NL" dirty="0"/>
              <a:t>Numeriek</a:t>
            </a:r>
          </a:p>
          <a:p>
            <a:pPr lvl="5"/>
            <a:r>
              <a:rPr lang="nl-NL" dirty="0"/>
              <a:t># Bullets</a:t>
            </a:r>
          </a:p>
          <a:p>
            <a:pPr lvl="6"/>
            <a:r>
              <a:rPr lang="nl-NL" dirty="0"/>
              <a:t>Cursief donker</a:t>
            </a:r>
          </a:p>
          <a:p>
            <a:pPr lvl="7"/>
            <a:r>
              <a:rPr lang="nl-NL" dirty="0"/>
              <a:t>Cursief licht</a:t>
            </a:r>
          </a:p>
          <a:p>
            <a:pPr lvl="8"/>
            <a:r>
              <a:rPr lang="nl-NL" dirty="0"/>
              <a:t>Subtitel</a:t>
            </a:r>
          </a:p>
        </p:txBody>
      </p:sp>
      <p:sp>
        <p:nvSpPr>
          <p:cNvPr id="13" name="Tijdelijke aanduiding voor Subtitel"/>
          <p:cNvSpPr>
            <a:spLocks noGrp="1"/>
          </p:cNvSpPr>
          <p:nvPr>
            <p:ph type="body" idx="14"/>
          </p:nvPr>
        </p:nvSpPr>
        <p:spPr>
          <a:xfrm>
            <a:off x="664109" y="1001348"/>
            <a:ext cx="10870131" cy="317758"/>
          </a:xfrm>
        </p:spPr>
        <p:txBody>
          <a:bodyPr bIns="72000" anchor="t" anchorCtr="0"/>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14" name="Tijdelijke aanduiding voor Titel"/>
          <p:cNvSpPr>
            <a:spLocks noGrp="1"/>
          </p:cNvSpPr>
          <p:nvPr>
            <p:ph type="title"/>
          </p:nvPr>
        </p:nvSpPr>
        <p:spPr>
          <a:xfrm>
            <a:off x="664109" y="464521"/>
            <a:ext cx="10870131" cy="533219"/>
          </a:xfrm>
        </p:spPr>
        <p:txBody>
          <a:bodyPr/>
          <a:lstStyle/>
          <a:p>
            <a:r>
              <a:rPr lang="nl-NL"/>
              <a:t>Klik om stijl te bewerken</a:t>
            </a:r>
            <a:endParaRPr lang="nl-NL" dirty="0"/>
          </a:p>
        </p:txBody>
      </p:sp>
    </p:spTree>
    <p:extLst>
      <p:ext uri="{BB962C8B-B14F-4D97-AF65-F5344CB8AC3E}">
        <p14:creationId xmlns:p14="http://schemas.microsoft.com/office/powerpoint/2010/main" val="3819341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abel 75%">
    <p:spTree>
      <p:nvGrpSpPr>
        <p:cNvPr id="1" name=""/>
        <p:cNvGrpSpPr/>
        <p:nvPr/>
      </p:nvGrpSpPr>
      <p:grpSpPr>
        <a:xfrm>
          <a:off x="0" y="0"/>
          <a:ext cx="0" cy="0"/>
          <a:chOff x="0" y="0"/>
          <a:chExt cx="0" cy="0"/>
        </a:xfrm>
      </p:grpSpPr>
      <p:sp>
        <p:nvSpPr>
          <p:cNvPr id="12" name="Naam indeling - Tabel 75%"/>
          <p:cNvSpPr txBox="1"/>
          <p:nvPr/>
        </p:nvSpPr>
        <p:spPr>
          <a:xfrm>
            <a:off x="1" y="-453266"/>
            <a:ext cx="3582333" cy="276999"/>
          </a:xfrm>
          <a:prstGeom prst="rect">
            <a:avLst/>
          </a:prstGeom>
          <a:noFill/>
        </p:spPr>
        <p:txBody>
          <a:bodyPr wrap="square" lIns="0" tIns="0" rIns="0" bIns="0" rtlCol="0">
            <a:spAutoFit/>
          </a:bodyPr>
          <a:lstStyle/>
          <a:p>
            <a:pPr defTabSz="914112"/>
            <a:r>
              <a:rPr lang="nl-NL" dirty="0">
                <a:solidFill>
                  <a:srgbClr val="404040"/>
                </a:solidFill>
                <a:latin typeface="Calibri" panose="020F0502020204030204" pitchFamily="34" charset="0"/>
              </a:rPr>
              <a:t>Tabel 75%</a:t>
            </a:r>
            <a:endParaRPr lang="en-GB" dirty="0">
              <a:solidFill>
                <a:srgbClr val="404040"/>
              </a:solidFill>
              <a:latin typeface="Calibri" panose="020F0502020204030204" pitchFamily="34" charset="0"/>
            </a:endParaRPr>
          </a:p>
        </p:txBody>
      </p:sp>
      <p:grpSp>
        <p:nvGrpSpPr>
          <p:cNvPr id="101" name="Instructie - Tabel invoegen"/>
          <p:cNvGrpSpPr/>
          <p:nvPr/>
        </p:nvGrpSpPr>
        <p:grpSpPr>
          <a:xfrm>
            <a:off x="12578756" y="-1669"/>
            <a:ext cx="2711113" cy="3676571"/>
            <a:chOff x="12441148" y="14897"/>
            <a:chExt cx="2710407" cy="3676571"/>
          </a:xfrm>
        </p:grpSpPr>
        <p:sp>
          <p:nvSpPr>
            <p:cNvPr id="102" name="Rechthoek 101"/>
            <p:cNvSpPr/>
            <p:nvPr/>
          </p:nvSpPr>
          <p:spPr>
            <a:xfrm>
              <a:off x="12441150" y="14897"/>
              <a:ext cx="2696270" cy="161771"/>
            </a:xfrm>
            <a:prstGeom prst="rect">
              <a:avLst/>
            </a:prstGeom>
            <a:noFill/>
            <a:ln w="25400" cap="flat" cmpd="sng" algn="ctr">
              <a:noFill/>
              <a:prstDash val="solid"/>
            </a:ln>
            <a:effectLst/>
          </p:spPr>
          <p:txBody>
            <a:bodyPr lIns="0" tIns="0" rIns="0" bIns="0" rtlCol="0" anchor="t"/>
            <a:lstStyle/>
            <a:p>
              <a:pPr defTabSz="914112">
                <a:lnSpc>
                  <a:spcPct val="80000"/>
                </a:lnSpc>
              </a:pPr>
              <a:r>
                <a:rPr lang="nl-NL" sz="1600" b="1" kern="0" cap="all" dirty="0">
                  <a:solidFill>
                    <a:srgbClr val="ED1A3B"/>
                  </a:solidFill>
                  <a:cs typeface="Segoe UI Light" panose="020B0502040204020203" pitchFamily="34" charset="0"/>
                </a:rPr>
                <a:t>Tabel INVOEGEN</a:t>
              </a:r>
            </a:p>
          </p:txBody>
        </p:sp>
        <p:sp>
          <p:nvSpPr>
            <p:cNvPr id="103" name="Tekstvak 33"/>
            <p:cNvSpPr txBox="1"/>
            <p:nvPr/>
          </p:nvSpPr>
          <p:spPr>
            <a:xfrm>
              <a:off x="12441149" y="814239"/>
              <a:ext cx="2710405" cy="719877"/>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Indien nodig, verwijder de bestaande tabel. Klik op het pictogram om </a:t>
              </a:r>
              <a:br>
                <a:rPr lang="nl-NL" sz="1200" kern="0" dirty="0">
                  <a:solidFill>
                    <a:srgbClr val="000000"/>
                  </a:solidFill>
                  <a:latin typeface="Trebuchet MS"/>
                  <a:cs typeface="Segoe UI Light" panose="020B0502040204020203" pitchFamily="34" charset="0"/>
                </a:rPr>
              </a:br>
              <a:r>
                <a:rPr lang="nl-NL" sz="1200" kern="0" dirty="0">
                  <a:solidFill>
                    <a:srgbClr val="000000"/>
                  </a:solidFill>
                  <a:latin typeface="Trebuchet MS"/>
                  <a:cs typeface="Segoe UI Light" panose="020B0502040204020203" pitchFamily="34" charset="0"/>
                </a:rPr>
                <a:t>een tabel in te voegen</a:t>
              </a:r>
              <a:br>
                <a:rPr lang="nl-NL" sz="1200" kern="0" dirty="0">
                  <a:solidFill>
                    <a:srgbClr val="000000"/>
                  </a:solidFill>
                  <a:latin typeface="Trebuchet MS"/>
                  <a:cs typeface="Segoe UI Light" panose="020B0502040204020203" pitchFamily="34" charset="0"/>
                </a:rPr>
              </a:br>
              <a:r>
                <a:rPr lang="nl-NL" sz="1100" i="1" kern="0" dirty="0">
                  <a:solidFill>
                    <a:srgbClr val="000000"/>
                  </a:solidFill>
                  <a:latin typeface="Trebuchet MS"/>
                  <a:cs typeface="Segoe UI Light" panose="020B0502040204020203" pitchFamily="34" charset="0"/>
                </a:rPr>
                <a:t>(zie onderstaand voorbeeld).</a:t>
              </a:r>
            </a:p>
          </p:txBody>
        </p:sp>
        <p:sp>
          <p:nvSpPr>
            <p:cNvPr id="104" name="Tekstvak 33"/>
            <p:cNvSpPr txBox="1"/>
            <p:nvPr/>
          </p:nvSpPr>
          <p:spPr>
            <a:xfrm>
              <a:off x="12441149" y="2793904"/>
              <a:ext cx="2710405" cy="395943"/>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Selecteer de tabel die u wilt invoegen en klik op </a:t>
              </a:r>
              <a:r>
                <a:rPr lang="nl-NL" sz="1200" b="1" kern="0" dirty="0">
                  <a:solidFill>
                    <a:srgbClr val="000000"/>
                  </a:solidFill>
                  <a:latin typeface="Trebuchet MS"/>
                  <a:cs typeface="Segoe UI Light" panose="020B0502040204020203" pitchFamily="34" charset="0"/>
                </a:rPr>
                <a:t>‘Invoegen’</a:t>
              </a:r>
            </a:p>
          </p:txBody>
        </p:sp>
        <p:sp>
          <p:nvSpPr>
            <p:cNvPr id="105" name="Ovaal 104"/>
            <p:cNvSpPr/>
            <p:nvPr/>
          </p:nvSpPr>
          <p:spPr>
            <a:xfrm>
              <a:off x="12441150" y="379292"/>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1</a:t>
              </a:r>
            </a:p>
          </p:txBody>
        </p:sp>
        <p:sp>
          <p:nvSpPr>
            <p:cNvPr id="106" name="Ovaal 105"/>
            <p:cNvSpPr/>
            <p:nvPr/>
          </p:nvSpPr>
          <p:spPr>
            <a:xfrm>
              <a:off x="12441150" y="2337208"/>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2</a:t>
              </a:r>
            </a:p>
          </p:txBody>
        </p:sp>
        <p:cxnSp>
          <p:nvCxnSpPr>
            <p:cNvPr id="107" name="Rechte verbindingslijn 106"/>
            <p:cNvCxnSpPr/>
            <p:nvPr/>
          </p:nvCxnSpPr>
          <p:spPr>
            <a:xfrm>
              <a:off x="12441150" y="248176"/>
              <a:ext cx="2710405" cy="0"/>
            </a:xfrm>
            <a:prstGeom prst="line">
              <a:avLst/>
            </a:prstGeom>
            <a:noFill/>
            <a:ln w="9525" cap="flat" cmpd="sng" algn="ctr">
              <a:solidFill>
                <a:schemeClr val="accent1"/>
              </a:solidFill>
              <a:prstDash val="solid"/>
            </a:ln>
            <a:effectLst/>
          </p:spPr>
        </p:cxnSp>
        <p:cxnSp>
          <p:nvCxnSpPr>
            <p:cNvPr id="108" name="Rechte verbindingslijn 107"/>
            <p:cNvCxnSpPr/>
            <p:nvPr/>
          </p:nvCxnSpPr>
          <p:spPr>
            <a:xfrm>
              <a:off x="12441149" y="2212830"/>
              <a:ext cx="2710405" cy="0"/>
            </a:xfrm>
            <a:prstGeom prst="line">
              <a:avLst/>
            </a:prstGeom>
            <a:noFill/>
            <a:ln w="9525" cap="flat" cmpd="sng" algn="ctr">
              <a:solidFill>
                <a:schemeClr val="accent1"/>
              </a:solidFill>
              <a:prstDash val="solid"/>
            </a:ln>
            <a:effectLst/>
          </p:spPr>
        </p:cxnSp>
        <p:cxnSp>
          <p:nvCxnSpPr>
            <p:cNvPr id="109" name="Rechte verbindingslijn 108"/>
            <p:cNvCxnSpPr/>
            <p:nvPr/>
          </p:nvCxnSpPr>
          <p:spPr>
            <a:xfrm>
              <a:off x="12444679" y="3691468"/>
              <a:ext cx="2706875" cy="0"/>
            </a:xfrm>
            <a:prstGeom prst="line">
              <a:avLst/>
            </a:prstGeom>
            <a:noFill/>
            <a:ln w="9525" cap="flat" cmpd="sng" algn="ctr">
              <a:solidFill>
                <a:schemeClr val="accent1"/>
              </a:solidFill>
              <a:prstDash val="solid"/>
            </a:ln>
            <a:effectLst/>
          </p:spPr>
        </p:cxnSp>
        <p:grpSp>
          <p:nvGrpSpPr>
            <p:cNvPr id="110" name="Groep 109"/>
            <p:cNvGrpSpPr/>
            <p:nvPr/>
          </p:nvGrpSpPr>
          <p:grpSpPr>
            <a:xfrm>
              <a:off x="12450571" y="3301369"/>
              <a:ext cx="1002992" cy="267962"/>
              <a:chOff x="13560784" y="3471416"/>
              <a:chExt cx="1114138" cy="297656"/>
            </a:xfrm>
          </p:grpSpPr>
          <p:sp>
            <p:nvSpPr>
              <p:cNvPr id="120" name="Afgeronde rechthoek 88"/>
              <p:cNvSpPr/>
              <p:nvPr/>
            </p:nvSpPr>
            <p:spPr>
              <a:xfrm>
                <a:off x="13560784" y="3471416"/>
                <a:ext cx="1114138" cy="297656"/>
              </a:xfrm>
              <a:prstGeom prst="roundRect">
                <a:avLst/>
              </a:prstGeom>
              <a:gradFill flip="none" rotWithShape="1">
                <a:gsLst>
                  <a:gs pos="4000">
                    <a:srgbClr val="00B0F0"/>
                  </a:gs>
                  <a:gs pos="0">
                    <a:srgbClr val="0070C0"/>
                  </a:gs>
                  <a:gs pos="100000">
                    <a:srgbClr val="0070C0"/>
                  </a:gs>
                  <a:gs pos="12000">
                    <a:srgbClr val="D1EAFF"/>
                  </a:gs>
                  <a:gs pos="96000">
                    <a:srgbClr val="00B0F0"/>
                  </a:gs>
                  <a:gs pos="89000">
                    <a:srgbClr val="DDF4FF"/>
                  </a:gs>
                  <a:gs pos="43000">
                    <a:srgbClr val="D1EAFF"/>
                  </a:gs>
                  <a:gs pos="51000">
                    <a:srgbClr val="DDF4FF"/>
                  </a:gs>
                </a:gsLst>
                <a:lin ang="16200000" scaled="1"/>
                <a:tileRect/>
              </a:gradFill>
              <a:ln w="63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dirty="0">
                  <a:solidFill>
                    <a:srgbClr val="FFFFFF"/>
                  </a:solidFill>
                </a:endParaRPr>
              </a:p>
            </p:txBody>
          </p:sp>
          <p:sp>
            <p:nvSpPr>
              <p:cNvPr id="121" name="Tekstvak 120"/>
              <p:cNvSpPr txBox="1"/>
              <p:nvPr/>
            </p:nvSpPr>
            <p:spPr>
              <a:xfrm>
                <a:off x="13573594" y="3488254"/>
                <a:ext cx="888311" cy="273506"/>
              </a:xfrm>
              <a:prstGeom prst="rect">
                <a:avLst/>
              </a:prstGeom>
              <a:noFill/>
            </p:spPr>
            <p:txBody>
              <a:bodyPr wrap="square" rtlCol="0" anchor="ctr">
                <a:spAutoFit/>
              </a:bodyPr>
              <a:lstStyle>
                <a:defPPr>
                  <a:defRPr lang="nl-NL"/>
                </a:defPPr>
                <a:lvl1pPr marR="0" lvl="0" indent="0" algn="ctr" fontAlgn="auto">
                  <a:lnSpc>
                    <a:spcPct val="100000"/>
                  </a:lnSpc>
                  <a:spcBef>
                    <a:spcPts val="0"/>
                  </a:spcBef>
                  <a:spcAft>
                    <a:spcPts val="0"/>
                  </a:spcAft>
                  <a:buClrTx/>
                  <a:buSzTx/>
                  <a:buFontTx/>
                  <a:buNone/>
                  <a:tabLst/>
                  <a:defRPr kumimoji="0" sz="900" i="0" u="none" strike="noStrike" kern="0" cap="none" spc="0" normalizeH="0" baseline="0">
                    <a:ln>
                      <a:noFill/>
                    </a:ln>
                    <a:effectLst>
                      <a:outerShdw blurRad="25400" algn="ctr" rotWithShape="0">
                        <a:prstClr val="white"/>
                      </a:outerShdw>
                    </a:effectLst>
                    <a:uLnTx/>
                    <a:uFillTx/>
                    <a:latin typeface="Segoe UI Light" panose="020B0502040204020203" pitchFamily="34" charset="0"/>
                    <a:cs typeface="Segoe UI Light" panose="020B0502040204020203" pitchFamily="34" charset="0"/>
                  </a:defRPr>
                </a:lvl1pPr>
                <a:lvl2pPr fontAlgn="base">
                  <a:spcBef>
                    <a:spcPct val="0"/>
                  </a:spcBef>
                  <a:spcAft>
                    <a:spcPct val="0"/>
                  </a:spcAft>
                  <a:defRPr>
                    <a:latin typeface="Arial" charset="0"/>
                    <a:cs typeface="Arial" charset="0"/>
                  </a:defRPr>
                </a:lvl2pPr>
                <a:lvl3pPr fontAlgn="base">
                  <a:spcBef>
                    <a:spcPct val="0"/>
                  </a:spcBef>
                  <a:spcAft>
                    <a:spcPct val="0"/>
                  </a:spcAft>
                  <a:defRPr>
                    <a:latin typeface="Arial" charset="0"/>
                    <a:cs typeface="Arial" charset="0"/>
                  </a:defRPr>
                </a:lvl3pPr>
                <a:lvl4pPr fontAlgn="base">
                  <a:spcBef>
                    <a:spcPct val="0"/>
                  </a:spcBef>
                  <a:spcAft>
                    <a:spcPct val="0"/>
                  </a:spcAft>
                  <a:defRPr>
                    <a:latin typeface="Arial" charset="0"/>
                    <a:cs typeface="Arial" charset="0"/>
                  </a:defRPr>
                </a:lvl4pPr>
                <a:lvl5pPr fontAlgn="base">
                  <a:spcBef>
                    <a:spcPct val="0"/>
                  </a:spcBef>
                  <a:spcAft>
                    <a:spcPct val="0"/>
                  </a:spcAft>
                  <a:defRPr>
                    <a:latin typeface="Arial" charset="0"/>
                    <a:cs typeface="Arial" charset="0"/>
                  </a:defRPr>
                </a:lvl5pPr>
                <a:lvl6pPr>
                  <a:defRPr>
                    <a:latin typeface="Arial" charset="0"/>
                    <a:cs typeface="Arial" charset="0"/>
                  </a:defRPr>
                </a:lvl6pPr>
                <a:lvl7pPr>
                  <a:defRPr>
                    <a:latin typeface="Arial" charset="0"/>
                    <a:cs typeface="Arial" charset="0"/>
                  </a:defRPr>
                </a:lvl7pPr>
                <a:lvl8pPr>
                  <a:defRPr>
                    <a:latin typeface="Arial" charset="0"/>
                    <a:cs typeface="Arial" charset="0"/>
                  </a:defRPr>
                </a:lvl8pPr>
                <a:lvl9pPr>
                  <a:defRPr>
                    <a:latin typeface="Arial" charset="0"/>
                    <a:cs typeface="Arial" charset="0"/>
                  </a:defRPr>
                </a:lvl9pPr>
              </a:lstStyle>
              <a:p>
                <a:pPr defTabSz="914112"/>
                <a:r>
                  <a:rPr lang="nl-NL" sz="1000" dirty="0">
                    <a:solidFill>
                      <a:srgbClr val="000000"/>
                    </a:solidFill>
                    <a:latin typeface="Trebuchet MS"/>
                  </a:rPr>
                  <a:t>Invoegen</a:t>
                </a:r>
              </a:p>
            </p:txBody>
          </p:sp>
          <p:cxnSp>
            <p:nvCxnSpPr>
              <p:cNvPr id="122" name="Rechte verbindingslijn 121"/>
              <p:cNvCxnSpPr/>
              <p:nvPr/>
            </p:nvCxnSpPr>
            <p:spPr>
              <a:xfrm>
                <a:off x="14461905" y="3507058"/>
                <a:ext cx="0" cy="224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3" name="Gelijkbenige driehoek 122"/>
              <p:cNvSpPr/>
              <p:nvPr/>
            </p:nvSpPr>
            <p:spPr>
              <a:xfrm rot="10800000">
                <a:off x="14518584" y="3600521"/>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112"/>
                <a:endParaRPr lang="nl-NL" dirty="0">
                  <a:solidFill>
                    <a:srgbClr val="FFFFFF"/>
                  </a:solidFill>
                </a:endParaRPr>
              </a:p>
            </p:txBody>
          </p:sp>
        </p:grpSp>
        <p:grpSp>
          <p:nvGrpSpPr>
            <p:cNvPr id="111" name="Groep 110"/>
            <p:cNvGrpSpPr/>
            <p:nvPr/>
          </p:nvGrpSpPr>
          <p:grpSpPr>
            <a:xfrm>
              <a:off x="12441148" y="1674386"/>
              <a:ext cx="445181" cy="402106"/>
              <a:chOff x="6072040" y="3376043"/>
              <a:chExt cx="1227920" cy="1109109"/>
            </a:xfrm>
          </p:grpSpPr>
          <p:sp>
            <p:nvSpPr>
              <p:cNvPr id="112" name="Rechthoek 111"/>
              <p:cNvSpPr/>
              <p:nvPr/>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113" name="Rechthoek 112"/>
              <p:cNvSpPr/>
              <p:nvPr/>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cxnSp>
            <p:nvCxnSpPr>
              <p:cNvPr id="114" name="Rechte verbindingslijn 113"/>
              <p:cNvCxnSpPr/>
              <p:nvPr/>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5" name="Rechte verbindingslijn 114"/>
              <p:cNvCxnSpPr/>
              <p:nvPr/>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6" name="Rechte verbindingslijn 115"/>
              <p:cNvCxnSpPr/>
              <p:nvPr/>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7" name="Rechte verbindingslijn 116"/>
              <p:cNvCxnSpPr/>
              <p:nvPr/>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8" name="Rechte verbindingslijn 117"/>
              <p:cNvCxnSpPr/>
              <p:nvPr/>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19" name="Rechthoek 118"/>
              <p:cNvSpPr/>
              <p:nvPr/>
            </p:nvSpPr>
            <p:spPr>
              <a:xfrm>
                <a:off x="6072040" y="3376043"/>
                <a:ext cx="1227920" cy="1109109"/>
              </a:xfrm>
              <a:prstGeom prst="rect">
                <a:avLst/>
              </a:prstGeom>
              <a:noFill/>
              <a:ln w="1905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grpSp>
      </p:grpSp>
      <p:grpSp>
        <p:nvGrpSpPr>
          <p:cNvPr id="234" name="Instructie - Tekst niveaus"/>
          <p:cNvGrpSpPr/>
          <p:nvPr userDrawn="1"/>
        </p:nvGrpSpPr>
        <p:grpSpPr>
          <a:xfrm>
            <a:off x="-3117849" y="365"/>
            <a:ext cx="2823358" cy="5254722"/>
            <a:chOff x="-2959433" y="-5444"/>
            <a:chExt cx="2822623" cy="5254722"/>
          </a:xfrm>
        </p:grpSpPr>
        <p:sp>
          <p:nvSpPr>
            <p:cNvPr id="235" name="Rechthoek 234"/>
            <p:cNvSpPr/>
            <p:nvPr userDrawn="1"/>
          </p:nvSpPr>
          <p:spPr>
            <a:xfrm>
              <a:off x="-2959433" y="-5444"/>
              <a:ext cx="2572469" cy="280344"/>
            </a:xfrm>
            <a:prstGeom prst="rect">
              <a:avLst/>
            </a:prstGeom>
            <a:noFill/>
            <a:ln w="25400" cap="flat" cmpd="sng" algn="ctr">
              <a:noFill/>
              <a:prstDash val="solid"/>
            </a:ln>
            <a:effectLst/>
          </p:spPr>
          <p:txBody>
            <a:bodyPr lIns="0" tIns="0" rIns="0" bIns="0" rtlCol="0" anchor="t"/>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nl-NL" sz="1600" b="1" kern="0" dirty="0">
                  <a:solidFill>
                    <a:srgbClr val="ED1A3B"/>
                  </a:solidFill>
                  <a:cs typeface="Segoe UI Light" panose="020B0502040204020203" pitchFamily="34" charset="0"/>
                </a:rPr>
                <a:t>TEKST NIVEAUS</a:t>
              </a:r>
            </a:p>
          </p:txBody>
        </p:sp>
        <p:sp>
          <p:nvSpPr>
            <p:cNvPr id="236" name="Textfield placeholder"/>
            <p:cNvSpPr txBox="1">
              <a:spLocks/>
            </p:cNvSpPr>
            <p:nvPr userDrawn="1"/>
          </p:nvSpPr>
          <p:spPr>
            <a:xfrm>
              <a:off x="-2587337" y="2675411"/>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0" lvl="2"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a:solidFill>
                    <a:srgbClr val="404040"/>
                  </a:solidFill>
                </a:rPr>
                <a:t>Sub-bullets (16 pt.)</a:t>
              </a:r>
            </a:p>
          </p:txBody>
        </p:sp>
        <p:sp>
          <p:nvSpPr>
            <p:cNvPr id="237" name="Ovaal 236"/>
            <p:cNvSpPr/>
            <p:nvPr userDrawn="1"/>
          </p:nvSpPr>
          <p:spPr>
            <a:xfrm>
              <a:off x="-2959433" y="196874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1</a:t>
              </a:r>
            </a:p>
          </p:txBody>
        </p:sp>
        <p:sp>
          <p:nvSpPr>
            <p:cNvPr id="238" name="Ovaal 237"/>
            <p:cNvSpPr/>
            <p:nvPr userDrawn="1"/>
          </p:nvSpPr>
          <p:spPr>
            <a:xfrm>
              <a:off x="-2959433" y="232207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2</a:t>
              </a:r>
            </a:p>
          </p:txBody>
        </p:sp>
        <p:sp>
          <p:nvSpPr>
            <p:cNvPr id="239" name="Ovaal 238"/>
            <p:cNvSpPr/>
            <p:nvPr userDrawn="1"/>
          </p:nvSpPr>
          <p:spPr>
            <a:xfrm>
              <a:off x="-2959433" y="267541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3</a:t>
              </a:r>
            </a:p>
          </p:txBody>
        </p:sp>
        <p:sp>
          <p:nvSpPr>
            <p:cNvPr id="240" name="Ovaal 239"/>
            <p:cNvSpPr/>
            <p:nvPr userDrawn="1"/>
          </p:nvSpPr>
          <p:spPr>
            <a:xfrm>
              <a:off x="-2959433" y="302874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4</a:t>
              </a:r>
            </a:p>
          </p:txBody>
        </p:sp>
        <p:sp>
          <p:nvSpPr>
            <p:cNvPr id="241" name="Textfield placeholder"/>
            <p:cNvSpPr txBox="1">
              <a:spLocks/>
            </p:cNvSpPr>
            <p:nvPr userDrawn="1"/>
          </p:nvSpPr>
          <p:spPr>
            <a:xfrm>
              <a:off x="-2571950" y="1966925"/>
              <a:ext cx="2163709" cy="261500"/>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79388">
                <a:lnSpc>
                  <a:spcPct val="120000"/>
                </a:lnSpc>
                <a:spcBef>
                  <a:spcPts val="0"/>
                </a:spcBef>
                <a:spcAft>
                  <a:spcPts val="900"/>
                </a:spcAft>
                <a:buClr>
                  <a:srgbClr val="000000"/>
                </a:buClr>
                <a:buSzPct val="100000"/>
                <a:buFont typeface="Arial" pitchFamily="34" charset="0"/>
                <a:buNone/>
                <a:defRPr/>
              </a:pPr>
              <a:r>
                <a:rPr lang="nl-NL" sz="1200" dirty="0">
                  <a:solidFill>
                    <a:srgbClr val="535353"/>
                  </a:solidFill>
                </a:rPr>
                <a:t>Leestekst (16 pt.)</a:t>
              </a:r>
            </a:p>
          </p:txBody>
        </p:sp>
        <p:sp>
          <p:nvSpPr>
            <p:cNvPr id="242" name="Textfield placeholder"/>
            <p:cNvSpPr txBox="1">
              <a:spLocks/>
            </p:cNvSpPr>
            <p:nvPr userDrawn="1"/>
          </p:nvSpPr>
          <p:spPr>
            <a:xfrm>
              <a:off x="-2571950" y="2322077"/>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70000" lvl="1"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err="1">
                  <a:solidFill>
                    <a:srgbClr val="535353"/>
                  </a:solidFill>
                </a:rPr>
                <a:t>Bullets</a:t>
              </a:r>
              <a:r>
                <a:rPr lang="nl-NL" sz="1200" dirty="0">
                  <a:solidFill>
                    <a:srgbClr val="535353"/>
                  </a:solidFill>
                </a:rPr>
                <a:t> (16 </a:t>
              </a:r>
              <a:r>
                <a:rPr lang="nl-NL" sz="1200" dirty="0" err="1">
                  <a:solidFill>
                    <a:srgbClr val="535353"/>
                  </a:solidFill>
                </a:rPr>
                <a:t>pt</a:t>
              </a:r>
              <a:r>
                <a:rPr lang="nl-NL" sz="1200" dirty="0">
                  <a:solidFill>
                    <a:srgbClr val="535353"/>
                  </a:solidFill>
                </a:rPr>
                <a:t>.)</a:t>
              </a:r>
            </a:p>
          </p:txBody>
        </p:sp>
        <p:sp>
          <p:nvSpPr>
            <p:cNvPr id="243" name="Textfield placeholder"/>
            <p:cNvSpPr txBox="1">
              <a:spLocks/>
            </p:cNvSpPr>
            <p:nvPr userDrawn="1"/>
          </p:nvSpPr>
          <p:spPr>
            <a:xfrm>
              <a:off x="-2571951" y="3028747"/>
              <a:ext cx="2435141"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10000" lvl="3" indent="-270000" algn="l" defTabSz="179388" rtl="0" eaLnBrk="1" latinLnBrk="0" hangingPunct="1">
                <a:lnSpc>
                  <a:spcPct val="120000"/>
                </a:lnSpc>
                <a:spcBef>
                  <a:spcPts val="0"/>
                </a:spcBef>
                <a:spcAft>
                  <a:spcPts val="900"/>
                </a:spcAft>
                <a:buClr>
                  <a:schemeClr val="accent2"/>
                </a:buClr>
                <a:buSzPct val="80000"/>
                <a:buFont typeface="Wingdings 3" panose="05040102010807070707" pitchFamily="18" charset="2"/>
                <a:buChar char=""/>
                <a:defRPr/>
              </a:pPr>
              <a:r>
                <a:rPr lang="nl-NL" sz="1200" b="0" kern="1200" dirty="0">
                  <a:solidFill>
                    <a:srgbClr val="404040"/>
                  </a:solidFill>
                  <a:latin typeface="+mn-lt"/>
                  <a:ea typeface="+mn-ea"/>
                  <a:cs typeface="+mn-cs"/>
                </a:rPr>
                <a:t>Sub-sub-bullets (16 pt.)</a:t>
              </a:r>
            </a:p>
          </p:txBody>
        </p:sp>
        <p:cxnSp>
          <p:nvCxnSpPr>
            <p:cNvPr id="244" name="Rechte verbindingslijn 243"/>
            <p:cNvCxnSpPr/>
            <p:nvPr userDrawn="1"/>
          </p:nvCxnSpPr>
          <p:spPr>
            <a:xfrm>
              <a:off x="-2959100" y="274900"/>
              <a:ext cx="2674470" cy="0"/>
            </a:xfrm>
            <a:prstGeom prst="line">
              <a:avLst/>
            </a:prstGeom>
            <a:noFill/>
            <a:ln w="9525" cap="flat" cmpd="sng" algn="ctr">
              <a:solidFill>
                <a:schemeClr val="accent1"/>
              </a:solidFill>
              <a:prstDash val="solid"/>
            </a:ln>
            <a:effectLst/>
          </p:spPr>
        </p:cxnSp>
        <p:cxnSp>
          <p:nvCxnSpPr>
            <p:cNvPr id="245" name="Rechte verbindingslijn 244"/>
            <p:cNvCxnSpPr/>
            <p:nvPr userDrawn="1"/>
          </p:nvCxnSpPr>
          <p:spPr>
            <a:xfrm>
              <a:off x="-2959100" y="1841989"/>
              <a:ext cx="2661379" cy="0"/>
            </a:xfrm>
            <a:prstGeom prst="line">
              <a:avLst/>
            </a:prstGeom>
            <a:noFill/>
            <a:ln w="9525" cap="flat" cmpd="sng" algn="ctr">
              <a:solidFill>
                <a:schemeClr val="accent1"/>
              </a:solidFill>
              <a:prstDash val="solid"/>
            </a:ln>
            <a:effectLst/>
          </p:spPr>
        </p:cxnSp>
        <p:cxnSp>
          <p:nvCxnSpPr>
            <p:cNvPr id="246" name="Rechte verbindingslijn 245"/>
            <p:cNvCxnSpPr/>
            <p:nvPr userDrawn="1"/>
          </p:nvCxnSpPr>
          <p:spPr>
            <a:xfrm>
              <a:off x="-2959100" y="5249278"/>
              <a:ext cx="2661379" cy="0"/>
            </a:xfrm>
            <a:prstGeom prst="line">
              <a:avLst/>
            </a:prstGeom>
            <a:noFill/>
            <a:ln w="9525" cap="flat" cmpd="sng" algn="ctr">
              <a:solidFill>
                <a:schemeClr val="accent1"/>
              </a:solidFill>
              <a:prstDash val="solid"/>
            </a:ln>
            <a:effectLst/>
          </p:spPr>
        </p:cxnSp>
        <p:grpSp>
          <p:nvGrpSpPr>
            <p:cNvPr id="247" name="Groep 246"/>
            <p:cNvGrpSpPr/>
            <p:nvPr userDrawn="1"/>
          </p:nvGrpSpPr>
          <p:grpSpPr>
            <a:xfrm>
              <a:off x="-1948476" y="816741"/>
              <a:ext cx="409108" cy="427699"/>
              <a:chOff x="-1085063" y="758027"/>
              <a:chExt cx="633799" cy="622540"/>
            </a:xfrm>
          </p:grpSpPr>
          <p:sp>
            <p:nvSpPr>
              <p:cNvPr id="303" name="Afgeronde rechthoek 302"/>
              <p:cNvSpPr/>
              <p:nvPr userDrawn="1"/>
            </p:nvSpPr>
            <p:spPr>
              <a:xfrm>
                <a:off x="-108506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304" name="Groep 303"/>
              <p:cNvGrpSpPr/>
              <p:nvPr userDrawn="1"/>
            </p:nvGrpSpPr>
            <p:grpSpPr>
              <a:xfrm>
                <a:off x="-977739" y="864082"/>
                <a:ext cx="419168" cy="410429"/>
                <a:chOff x="6366933" y="309013"/>
                <a:chExt cx="1901295" cy="1861668"/>
              </a:xfrm>
              <a:solidFill>
                <a:srgbClr val="000000"/>
              </a:solidFill>
            </p:grpSpPr>
            <p:sp>
              <p:nvSpPr>
                <p:cNvPr id="305" name="Rechthoek 304"/>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6" name="Rechthoek 305"/>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7" name="Rechthoek 306"/>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8" name="Rechthoek 307"/>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9" name="Rechthoek 308"/>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0" name="Rechthoek 309"/>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1" name="Rechthoek 310"/>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2" name="Rechthoek 311"/>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3" name="Rechthoek 312"/>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4" name="Rechthoek 313"/>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5" name="Vrije vorm 314"/>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nvGrpSpPr>
            <p:cNvPr id="248" name="Groep 247"/>
            <p:cNvGrpSpPr/>
            <p:nvPr userDrawn="1"/>
          </p:nvGrpSpPr>
          <p:grpSpPr>
            <a:xfrm>
              <a:off x="-2950232" y="1207835"/>
              <a:ext cx="532929" cy="509563"/>
              <a:chOff x="-2880382" y="802341"/>
              <a:chExt cx="532929" cy="509563"/>
            </a:xfrm>
          </p:grpSpPr>
          <p:sp>
            <p:nvSpPr>
              <p:cNvPr id="281" name="Rechthoek 280"/>
              <p:cNvSpPr/>
              <p:nvPr userDrawn="1"/>
            </p:nvSpPr>
            <p:spPr>
              <a:xfrm>
                <a:off x="-2880382" y="802341"/>
                <a:ext cx="532929" cy="509563"/>
              </a:xfrm>
              <a:prstGeom prst="rect">
                <a:avLst/>
              </a:prstGeom>
              <a:solidFill>
                <a:sysClr val="window" lastClr="FFFFFF"/>
              </a:soli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pic>
            <p:nvPicPr>
              <p:cNvPr id="282"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635852" y="822181"/>
                <a:ext cx="226442" cy="208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3"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848026" y="822181"/>
                <a:ext cx="207168" cy="213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84" name="Groep 283"/>
              <p:cNvGrpSpPr/>
              <p:nvPr userDrawn="1"/>
            </p:nvGrpSpPr>
            <p:grpSpPr>
              <a:xfrm>
                <a:off x="-2802433" y="1123442"/>
                <a:ext cx="132915" cy="104889"/>
                <a:chOff x="-2796392" y="1123442"/>
                <a:chExt cx="120832" cy="104889"/>
              </a:xfrm>
            </p:grpSpPr>
            <p:sp>
              <p:nvSpPr>
                <p:cNvPr id="298" name="Rechthoek 297"/>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9" name="Rechthoek 298"/>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0" name="Rechthoek 299"/>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1" name="Rechthoek 300"/>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2" name="Rechthoek 301"/>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285" name="Groep 284"/>
              <p:cNvGrpSpPr/>
              <p:nvPr userDrawn="1"/>
            </p:nvGrpSpPr>
            <p:grpSpPr>
              <a:xfrm>
                <a:off x="-2575417" y="1123442"/>
                <a:ext cx="133930" cy="104889"/>
                <a:chOff x="-2556734" y="1123442"/>
                <a:chExt cx="147324" cy="104889"/>
              </a:xfrm>
            </p:grpSpPr>
            <p:grpSp>
              <p:nvGrpSpPr>
                <p:cNvPr id="286" name="Groep 285"/>
                <p:cNvGrpSpPr/>
                <p:nvPr userDrawn="1"/>
              </p:nvGrpSpPr>
              <p:grpSpPr>
                <a:xfrm>
                  <a:off x="-2556734" y="1123442"/>
                  <a:ext cx="68206" cy="104889"/>
                  <a:chOff x="-2796392" y="1123442"/>
                  <a:chExt cx="120832" cy="104889"/>
                </a:xfrm>
              </p:grpSpPr>
              <p:sp>
                <p:nvSpPr>
                  <p:cNvPr id="293" name="Rechthoek 292"/>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4" name="Rechthoek 293"/>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5" name="Rechthoek 294"/>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6" name="Rechthoek 295"/>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7" name="Rechthoek 296"/>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287" name="Groep 286"/>
                <p:cNvGrpSpPr/>
                <p:nvPr userDrawn="1"/>
              </p:nvGrpSpPr>
              <p:grpSpPr>
                <a:xfrm>
                  <a:off x="-2477616" y="1123442"/>
                  <a:ext cx="68206" cy="104889"/>
                  <a:chOff x="-2796392" y="1123442"/>
                  <a:chExt cx="120832" cy="104889"/>
                </a:xfrm>
              </p:grpSpPr>
              <p:sp>
                <p:nvSpPr>
                  <p:cNvPr id="288" name="Rechthoek 287"/>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9" name="Rechthoek 288"/>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0" name="Rechthoek 289"/>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1" name="Rechthoek 290"/>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2" name="Rechthoek 291"/>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grpSp>
          <p:nvGrpSpPr>
            <p:cNvPr id="249" name="Groep 248"/>
            <p:cNvGrpSpPr/>
            <p:nvPr userDrawn="1"/>
          </p:nvGrpSpPr>
          <p:grpSpPr>
            <a:xfrm>
              <a:off x="-1948476" y="1281164"/>
              <a:ext cx="413704" cy="427699"/>
              <a:chOff x="-1845083" y="758027"/>
              <a:chExt cx="633799" cy="622540"/>
            </a:xfrm>
          </p:grpSpPr>
          <p:sp>
            <p:nvSpPr>
              <p:cNvPr id="268" name="Afgeronde rechthoek 267"/>
              <p:cNvSpPr/>
              <p:nvPr userDrawn="1"/>
            </p:nvSpPr>
            <p:spPr>
              <a:xfrm>
                <a:off x="-184508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269" name="Groep 268"/>
              <p:cNvGrpSpPr/>
              <p:nvPr userDrawn="1"/>
            </p:nvGrpSpPr>
            <p:grpSpPr>
              <a:xfrm>
                <a:off x="-1737762" y="864082"/>
                <a:ext cx="419168" cy="410429"/>
                <a:chOff x="3708400" y="309013"/>
                <a:chExt cx="1901295" cy="1861668"/>
              </a:xfrm>
              <a:solidFill>
                <a:srgbClr val="000000"/>
              </a:solidFill>
            </p:grpSpPr>
            <p:sp>
              <p:nvSpPr>
                <p:cNvPr id="270" name="Rechthoek 269"/>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1" name="Rechthoek 270"/>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2" name="Rechthoek 271"/>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3" name="Rechthoek 272"/>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4" name="Rechthoek 273"/>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5" name="Rechthoek 274"/>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6" name="Rechthoek 275"/>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7" name="Rechthoek 276"/>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8" name="Rechthoek 277"/>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9" name="Rechthoek 278"/>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0" name="Vrije vorm 279"/>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cxnSp>
          <p:nvCxnSpPr>
            <p:cNvPr id="250" name="Rechte verbindingslijn 249"/>
            <p:cNvCxnSpPr/>
            <p:nvPr userDrawn="1"/>
          </p:nvCxnSpPr>
          <p:spPr>
            <a:xfrm>
              <a:off x="-2814292" y="1441193"/>
              <a:ext cx="865816" cy="53821"/>
            </a:xfrm>
            <a:prstGeom prst="line">
              <a:avLst/>
            </a:prstGeom>
            <a:noFill/>
            <a:ln w="9525" cap="flat" cmpd="sng" algn="ctr">
              <a:solidFill>
                <a:schemeClr val="accent1"/>
              </a:solidFill>
              <a:prstDash val="solid"/>
              <a:headEnd type="oval"/>
            </a:ln>
            <a:effectLst/>
          </p:spPr>
        </p:cxnSp>
        <p:cxnSp>
          <p:nvCxnSpPr>
            <p:cNvPr id="251" name="Rechte verbindingslijn 250"/>
            <p:cNvCxnSpPr/>
            <p:nvPr userDrawn="1"/>
          </p:nvCxnSpPr>
          <p:spPr>
            <a:xfrm flipV="1">
              <a:off x="-2453902" y="1030591"/>
              <a:ext cx="505426" cy="283623"/>
            </a:xfrm>
            <a:prstGeom prst="line">
              <a:avLst/>
            </a:prstGeom>
            <a:noFill/>
            <a:ln w="9525" cap="flat" cmpd="sng" algn="ctr">
              <a:solidFill>
                <a:schemeClr val="accent1"/>
              </a:solidFill>
              <a:prstDash val="solid"/>
              <a:headEnd type="oval"/>
            </a:ln>
            <a:effectLst/>
          </p:spPr>
        </p:cxnSp>
        <p:sp>
          <p:nvSpPr>
            <p:cNvPr id="252" name="Textfield placeholder"/>
            <p:cNvSpPr txBox="1">
              <a:spLocks/>
            </p:cNvSpPr>
            <p:nvPr userDrawn="1"/>
          </p:nvSpPr>
          <p:spPr>
            <a:xfrm>
              <a:off x="-1341598" y="816743"/>
              <a:ext cx="1056968" cy="427698"/>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hoog</a:t>
              </a:r>
            </a:p>
          </p:txBody>
        </p:sp>
        <p:sp>
          <p:nvSpPr>
            <p:cNvPr id="253" name="Textfield placeholder"/>
            <p:cNvSpPr txBox="1">
              <a:spLocks/>
            </p:cNvSpPr>
            <p:nvPr userDrawn="1"/>
          </p:nvSpPr>
          <p:spPr>
            <a:xfrm>
              <a:off x="-1341599" y="1281164"/>
              <a:ext cx="1070223" cy="427699"/>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laag</a:t>
              </a:r>
            </a:p>
          </p:txBody>
        </p:sp>
        <p:sp>
          <p:nvSpPr>
            <p:cNvPr id="254" name="Ovaal 253"/>
            <p:cNvSpPr/>
            <p:nvPr userDrawn="1"/>
          </p:nvSpPr>
          <p:spPr>
            <a:xfrm>
              <a:off x="-2959433" y="338208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5</a:t>
              </a:r>
            </a:p>
          </p:txBody>
        </p:sp>
        <p:sp>
          <p:nvSpPr>
            <p:cNvPr id="255" name="Textfield placeholder"/>
            <p:cNvSpPr txBox="1">
              <a:spLocks/>
            </p:cNvSpPr>
            <p:nvPr userDrawn="1"/>
          </p:nvSpPr>
          <p:spPr>
            <a:xfrm>
              <a:off x="-2571950" y="3382082"/>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60000" lvl="4" indent="-360000" defTabSz="179388">
                <a:lnSpc>
                  <a:spcPct val="120000"/>
                </a:lnSpc>
                <a:spcBef>
                  <a:spcPts val="0"/>
                </a:spcBef>
                <a:spcAft>
                  <a:spcPts val="900"/>
                </a:spcAft>
                <a:buClr>
                  <a:srgbClr val="ED1A3B"/>
                </a:buClr>
                <a:buFont typeface="+mj-lt"/>
                <a:buAutoNum type="arabicPeriod"/>
                <a:defRPr/>
              </a:pPr>
              <a:r>
                <a:rPr lang="nl-NL" sz="1200" b="0" dirty="0">
                  <a:solidFill>
                    <a:srgbClr val="404040"/>
                  </a:solidFill>
                </a:rPr>
                <a:t>Numeriek (16 pt.)</a:t>
              </a:r>
            </a:p>
          </p:txBody>
        </p:sp>
        <p:grpSp>
          <p:nvGrpSpPr>
            <p:cNvPr id="256" name="Groep 255"/>
            <p:cNvGrpSpPr/>
            <p:nvPr userDrawn="1"/>
          </p:nvGrpSpPr>
          <p:grpSpPr>
            <a:xfrm>
              <a:off x="-2950232" y="816050"/>
              <a:ext cx="528695" cy="344202"/>
              <a:chOff x="-2880382" y="410556"/>
              <a:chExt cx="528695" cy="344202"/>
            </a:xfrm>
          </p:grpSpPr>
          <p:sp>
            <p:nvSpPr>
              <p:cNvPr id="266" name="Afgeronde rechthoek 265"/>
              <p:cNvSpPr/>
              <p:nvPr userDrawn="1"/>
            </p:nvSpPr>
            <p:spPr>
              <a:xfrm>
                <a:off x="-2874214" y="410556"/>
                <a:ext cx="522527" cy="339183"/>
              </a:xfrm>
              <a:prstGeom prst="roundRect">
                <a:avLst>
                  <a:gd name="adj" fmla="val 7565"/>
                </a:avLst>
              </a:prstGeom>
              <a:gradFill>
                <a:gsLst>
                  <a:gs pos="0">
                    <a:srgbClr val="FFEC8F"/>
                  </a:gs>
                  <a:gs pos="100000">
                    <a:srgbClr val="FFFFFF"/>
                  </a:gs>
                </a:gsLst>
                <a:lin ang="5400000" scaled="0"/>
              </a:gra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sp>
            <p:nvSpPr>
              <p:cNvPr id="267" name="Vrije vorm 266"/>
              <p:cNvSpPr/>
              <p:nvPr userDrawn="1"/>
            </p:nvSpPr>
            <p:spPr>
              <a:xfrm>
                <a:off x="-2880382" y="452699"/>
                <a:ext cx="528695" cy="302059"/>
              </a:xfrm>
              <a:custGeom>
                <a:avLst/>
                <a:gdLst>
                  <a:gd name="connsiteX0" fmla="*/ 55524 w 528695"/>
                  <a:gd name="connsiteY0" fmla="*/ 0 h 302059"/>
                  <a:gd name="connsiteX1" fmla="*/ 455496 w 528695"/>
                  <a:gd name="connsiteY1" fmla="*/ 0 h 302059"/>
                  <a:gd name="connsiteX2" fmla="*/ 475205 w 528695"/>
                  <a:gd name="connsiteY2" fmla="*/ 19709 h 302059"/>
                  <a:gd name="connsiteX3" fmla="*/ 475205 w 528695"/>
                  <a:gd name="connsiteY3" fmla="*/ 230056 h 302059"/>
                  <a:gd name="connsiteX4" fmla="*/ 516694 w 528695"/>
                  <a:gd name="connsiteY4" fmla="*/ 230056 h 302059"/>
                  <a:gd name="connsiteX5" fmla="*/ 528695 w 528695"/>
                  <a:gd name="connsiteY5" fmla="*/ 242057 h 302059"/>
                  <a:gd name="connsiteX6" fmla="*/ 528695 w 528695"/>
                  <a:gd name="connsiteY6" fmla="*/ 290058 h 302059"/>
                  <a:gd name="connsiteX7" fmla="*/ 516694 w 528695"/>
                  <a:gd name="connsiteY7" fmla="*/ 302059 h 302059"/>
                  <a:gd name="connsiteX8" fmla="*/ 12001 w 528695"/>
                  <a:gd name="connsiteY8" fmla="*/ 302059 h 302059"/>
                  <a:gd name="connsiteX9" fmla="*/ 0 w 528695"/>
                  <a:gd name="connsiteY9" fmla="*/ 290058 h 302059"/>
                  <a:gd name="connsiteX10" fmla="*/ 0 w 528695"/>
                  <a:gd name="connsiteY10" fmla="*/ 242057 h 302059"/>
                  <a:gd name="connsiteX11" fmla="*/ 12001 w 528695"/>
                  <a:gd name="connsiteY11" fmla="*/ 230056 h 302059"/>
                  <a:gd name="connsiteX12" fmla="*/ 35815 w 528695"/>
                  <a:gd name="connsiteY12" fmla="*/ 230056 h 302059"/>
                  <a:gd name="connsiteX13" fmla="*/ 35815 w 528695"/>
                  <a:gd name="connsiteY13" fmla="*/ 19709 h 302059"/>
                  <a:gd name="connsiteX14" fmla="*/ 55524 w 528695"/>
                  <a:gd name="connsiteY14" fmla="*/ 0 h 3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8695" h="302059">
                    <a:moveTo>
                      <a:pt x="55524" y="0"/>
                    </a:moveTo>
                    <a:lnTo>
                      <a:pt x="455496" y="0"/>
                    </a:lnTo>
                    <a:cubicBezTo>
                      <a:pt x="466381" y="0"/>
                      <a:pt x="475205" y="8824"/>
                      <a:pt x="475205" y="19709"/>
                    </a:cubicBezTo>
                    <a:lnTo>
                      <a:pt x="475205" y="230056"/>
                    </a:lnTo>
                    <a:lnTo>
                      <a:pt x="516694" y="230056"/>
                    </a:lnTo>
                    <a:cubicBezTo>
                      <a:pt x="523322" y="230056"/>
                      <a:pt x="528695" y="235429"/>
                      <a:pt x="528695" y="242057"/>
                    </a:cubicBezTo>
                    <a:lnTo>
                      <a:pt x="528695" y="290058"/>
                    </a:lnTo>
                    <a:cubicBezTo>
                      <a:pt x="528695" y="296686"/>
                      <a:pt x="523322" y="302059"/>
                      <a:pt x="516694" y="302059"/>
                    </a:cubicBezTo>
                    <a:lnTo>
                      <a:pt x="12001" y="302059"/>
                    </a:lnTo>
                    <a:cubicBezTo>
                      <a:pt x="5373" y="302059"/>
                      <a:pt x="0" y="296686"/>
                      <a:pt x="0" y="290058"/>
                    </a:cubicBezTo>
                    <a:lnTo>
                      <a:pt x="0" y="242057"/>
                    </a:lnTo>
                    <a:cubicBezTo>
                      <a:pt x="0" y="235429"/>
                      <a:pt x="5373" y="230056"/>
                      <a:pt x="12001" y="230056"/>
                    </a:cubicBezTo>
                    <a:lnTo>
                      <a:pt x="35815" y="230056"/>
                    </a:lnTo>
                    <a:lnTo>
                      <a:pt x="35815" y="19709"/>
                    </a:lnTo>
                    <a:cubicBezTo>
                      <a:pt x="35815" y="8824"/>
                      <a:pt x="44639" y="0"/>
                      <a:pt x="55524" y="0"/>
                    </a:cubicBezTo>
                    <a:close/>
                  </a:path>
                </a:pathLst>
              </a:custGeom>
              <a:solidFill>
                <a:sysClr val="window" lastClr="FFFFFF">
                  <a:lumMod val="95000"/>
                </a:sysClr>
              </a:solidFill>
              <a:ln w="9525" cap="flat" cmpd="sng" algn="ctr">
                <a:solidFill>
                  <a:srgbClr val="FFFFFF">
                    <a:lumMod val="90000"/>
                  </a:srgbClr>
                </a:solidFill>
                <a:prstDash val="solid"/>
                <a:miter lim="800000"/>
              </a:ln>
              <a:effectLst/>
            </p:spPr>
            <p:txBody>
              <a:bodyPr rot="0" spcFirstLastPara="0" vert="horz" wrap="square" lIns="108000" tIns="36000" rIns="108000" bIns="10800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900" dirty="0">
                    <a:solidFill>
                      <a:prstClr val="black"/>
                    </a:solidFill>
                    <a:latin typeface="Segoe UI Light"/>
                  </a:rPr>
                  <a:t>Start</a:t>
                </a:r>
              </a:p>
            </p:txBody>
          </p:sp>
        </p:grpSp>
        <p:sp>
          <p:nvSpPr>
            <p:cNvPr id="257" name="Tekstvak 65"/>
            <p:cNvSpPr txBox="1"/>
            <p:nvPr userDrawn="1"/>
          </p:nvSpPr>
          <p:spPr>
            <a:xfrm>
              <a:off x="-2959433" y="372104"/>
              <a:ext cx="2679887" cy="453396"/>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nl-NL" sz="1200" kern="0" dirty="0">
                  <a:solidFill>
                    <a:srgbClr val="000000"/>
                  </a:solidFill>
                  <a:latin typeface="Segoe UI Light" panose="020B0502040204020203" pitchFamily="34" charset="0"/>
                  <a:cs typeface="Segoe UI Light" panose="020B0502040204020203" pitchFamily="34" charset="0"/>
                </a:rPr>
                <a:t>Ga naar de tab </a:t>
              </a:r>
              <a:r>
                <a:rPr lang="nl-NL" sz="1200" b="1" kern="0" dirty="0">
                  <a:solidFill>
                    <a:srgbClr val="000000"/>
                  </a:solidFill>
                  <a:latin typeface="Segoe UI Light" panose="020B0502040204020203" pitchFamily="34" charset="0"/>
                  <a:cs typeface="Segoe UI Light" panose="020B0502040204020203" pitchFamily="34" charset="0"/>
                </a:rPr>
                <a:t>Start’ </a:t>
              </a:r>
              <a:r>
                <a:rPr lang="nl-NL" sz="1200" kern="0" dirty="0">
                  <a:solidFill>
                    <a:srgbClr val="000000"/>
                  </a:solidFill>
                  <a:latin typeface="Segoe UI Light" panose="020B0502040204020203" pitchFamily="34" charset="0"/>
                  <a:cs typeface="Segoe UI Light" panose="020B0502040204020203" pitchFamily="34" charset="0"/>
                </a:rPr>
                <a:t>en vind onderstaande knoppen onder </a:t>
              </a:r>
              <a:r>
                <a:rPr lang="nl-NL" sz="1200" b="1" kern="0" dirty="0">
                  <a:solidFill>
                    <a:srgbClr val="000000"/>
                  </a:solidFill>
                  <a:latin typeface="Segoe UI Light" panose="020B0502040204020203" pitchFamily="34" charset="0"/>
                  <a:cs typeface="Segoe UI Light" panose="020B0502040204020203" pitchFamily="34" charset="0"/>
                </a:rPr>
                <a:t>‘Alinea’</a:t>
              </a:r>
            </a:p>
          </p:txBody>
        </p:sp>
        <p:sp>
          <p:nvSpPr>
            <p:cNvPr id="258" name="Ovaal 257"/>
            <p:cNvSpPr/>
            <p:nvPr userDrawn="1"/>
          </p:nvSpPr>
          <p:spPr>
            <a:xfrm>
              <a:off x="-2959433" y="375153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6</a:t>
              </a:r>
            </a:p>
          </p:txBody>
        </p:sp>
        <p:sp>
          <p:nvSpPr>
            <p:cNvPr id="259" name="Textfield placeholder"/>
            <p:cNvSpPr txBox="1">
              <a:spLocks/>
            </p:cNvSpPr>
            <p:nvPr userDrawn="1"/>
          </p:nvSpPr>
          <p:spPr>
            <a:xfrm>
              <a:off x="-2571950" y="3751536"/>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0000" lvl="5" indent="-270000" defTabSz="179388">
                <a:lnSpc>
                  <a:spcPct val="120000"/>
                </a:lnSpc>
                <a:spcAft>
                  <a:spcPts val="900"/>
                </a:spcAft>
                <a:buClr>
                  <a:srgbClr val="ED1A3B"/>
                </a:buClr>
                <a:buSzPct val="80000"/>
                <a:buFont typeface="Wingdings 3" panose="05040102010807070707" pitchFamily="18" charset="2"/>
                <a:buChar char=""/>
                <a:defRPr/>
              </a:pPr>
              <a:r>
                <a:rPr lang="nl-NL" sz="1200" cap="none" dirty="0">
                  <a:solidFill>
                    <a:srgbClr val="535353"/>
                  </a:solidFill>
                </a:rPr>
                <a:t># Bullets (16 pt.)</a:t>
              </a:r>
            </a:p>
          </p:txBody>
        </p:sp>
        <p:sp>
          <p:nvSpPr>
            <p:cNvPr id="260" name="Ovaal 259"/>
            <p:cNvSpPr/>
            <p:nvPr userDrawn="1"/>
          </p:nvSpPr>
          <p:spPr>
            <a:xfrm>
              <a:off x="-2959433" y="414870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7</a:t>
              </a:r>
            </a:p>
          </p:txBody>
        </p:sp>
        <p:sp>
          <p:nvSpPr>
            <p:cNvPr id="261" name="Textfield placeholder"/>
            <p:cNvSpPr txBox="1">
              <a:spLocks/>
            </p:cNvSpPr>
            <p:nvPr userDrawn="1"/>
          </p:nvSpPr>
          <p:spPr>
            <a:xfrm>
              <a:off x="-2571950" y="414870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6" indent="0" defTabSz="179388">
                <a:lnSpc>
                  <a:spcPct val="120000"/>
                </a:lnSpc>
                <a:spcBef>
                  <a:spcPts val="0"/>
                </a:spcBef>
                <a:spcAft>
                  <a:spcPts val="900"/>
                </a:spcAft>
                <a:buClr>
                  <a:srgbClr val="ED1A3B"/>
                </a:buClr>
                <a:buSzPct val="90000"/>
                <a:buFont typeface="+mj-lt"/>
                <a:buNone/>
                <a:defRPr/>
              </a:pPr>
              <a:r>
                <a:rPr lang="nl-NL" sz="1200" i="1" dirty="0">
                  <a:solidFill>
                    <a:srgbClr val="404040"/>
                  </a:solidFill>
                </a:rPr>
                <a:t>Cursief donker (16 pt.)</a:t>
              </a:r>
            </a:p>
          </p:txBody>
        </p:sp>
        <p:sp>
          <p:nvSpPr>
            <p:cNvPr id="262" name="Ovaal 261"/>
            <p:cNvSpPr/>
            <p:nvPr userDrawn="1"/>
          </p:nvSpPr>
          <p:spPr>
            <a:xfrm>
              <a:off x="-2959433" y="454586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8</a:t>
              </a:r>
            </a:p>
          </p:txBody>
        </p:sp>
        <p:sp>
          <p:nvSpPr>
            <p:cNvPr id="263" name="Textfield placeholder"/>
            <p:cNvSpPr txBox="1">
              <a:spLocks/>
            </p:cNvSpPr>
            <p:nvPr userDrawn="1"/>
          </p:nvSpPr>
          <p:spPr>
            <a:xfrm>
              <a:off x="-2571950" y="4545864"/>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7" indent="0" defTabSz="179388">
                <a:lnSpc>
                  <a:spcPct val="80000"/>
                </a:lnSpc>
                <a:spcBef>
                  <a:spcPts val="0"/>
                </a:spcBef>
                <a:spcAft>
                  <a:spcPts val="900"/>
                </a:spcAft>
                <a:buClr>
                  <a:srgbClr val="ED1A3B"/>
                </a:buClr>
                <a:buFont typeface="Arial" pitchFamily="34" charset="0"/>
                <a:buNone/>
                <a:defRPr/>
              </a:pPr>
              <a:r>
                <a:rPr lang="nl-NL" sz="1200" i="1" dirty="0">
                  <a:solidFill>
                    <a:srgbClr val="A3B0C0"/>
                  </a:solidFill>
                </a:rPr>
                <a:t>Cursief Licht (16 pt.)</a:t>
              </a:r>
            </a:p>
          </p:txBody>
        </p:sp>
        <p:sp>
          <p:nvSpPr>
            <p:cNvPr id="264" name="Ovaal 263"/>
            <p:cNvSpPr/>
            <p:nvPr userDrawn="1"/>
          </p:nvSpPr>
          <p:spPr>
            <a:xfrm>
              <a:off x="-2959433" y="488761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9</a:t>
              </a:r>
            </a:p>
          </p:txBody>
        </p:sp>
        <p:sp>
          <p:nvSpPr>
            <p:cNvPr id="265" name="Textfield placeholder"/>
            <p:cNvSpPr txBox="1">
              <a:spLocks/>
            </p:cNvSpPr>
            <p:nvPr userDrawn="1"/>
          </p:nvSpPr>
          <p:spPr>
            <a:xfrm>
              <a:off x="-2571950" y="488761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8" indent="0" defTabSz="179388">
                <a:lnSpc>
                  <a:spcPct val="80000"/>
                </a:lnSpc>
                <a:spcBef>
                  <a:spcPts val="0"/>
                </a:spcBef>
                <a:spcAft>
                  <a:spcPts val="900"/>
                </a:spcAft>
                <a:buClr>
                  <a:srgbClr val="ED1A3B"/>
                </a:buClr>
                <a:buFont typeface="Arial" pitchFamily="34" charset="0"/>
                <a:buNone/>
                <a:defRPr/>
              </a:pPr>
              <a:r>
                <a:rPr lang="nl-NL" sz="1400" b="1" dirty="0">
                  <a:solidFill>
                    <a:srgbClr val="ED1A3B"/>
                  </a:solidFill>
                </a:rPr>
                <a:t>Subtitel (18 pt.)</a:t>
              </a:r>
            </a:p>
          </p:txBody>
        </p:sp>
      </p:grpSp>
      <p:sp>
        <p:nvSpPr>
          <p:cNvPr id="127" name="Hyperlink - Inhoudsopgave">
            <a:hlinkClick r:id="rId4" action="ppaction://hlinksldjump"/>
          </p:cNvPr>
          <p:cNvSpPr/>
          <p:nvPr userDrawn="1"/>
        </p:nvSpPr>
        <p:spPr>
          <a:xfrm>
            <a:off x="10197856" y="5889801"/>
            <a:ext cx="2000494" cy="968199"/>
          </a:xfrm>
          <a:prstGeom prst="rect">
            <a:avLst/>
          </a:prstGeom>
          <a:solidFill>
            <a:srgbClr val="ED1A3B">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125" name="Grijze achtergrond"/>
          <p:cNvSpPr/>
          <p:nvPr userDrawn="1"/>
        </p:nvSpPr>
        <p:spPr>
          <a:xfrm>
            <a:off x="4276781" y="1358671"/>
            <a:ext cx="7257460" cy="444046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en-GB">
              <a:solidFill>
                <a:srgbClr val="FFFFFF"/>
              </a:solidFill>
            </a:endParaRPr>
          </a:p>
        </p:txBody>
      </p:sp>
      <p:cxnSp>
        <p:nvCxnSpPr>
          <p:cNvPr id="19" name="Grijze lijn - onder"/>
          <p:cNvCxnSpPr/>
          <p:nvPr/>
        </p:nvCxnSpPr>
        <p:spPr>
          <a:xfrm flipH="1">
            <a:off x="4276780" y="5776291"/>
            <a:ext cx="7255889"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6" name="Grijze lijn - boven"/>
          <p:cNvCxnSpPr/>
          <p:nvPr/>
        </p:nvCxnSpPr>
        <p:spPr>
          <a:xfrm flipH="1">
            <a:off x="664804" y="1358670"/>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24" name="Tijdelijke aanduiding voor Dianummer"/>
          <p:cNvSpPr>
            <a:spLocks noGrp="1"/>
          </p:cNvSpPr>
          <p:nvPr>
            <p:ph type="sldNum" sz="quarter" idx="4"/>
          </p:nvPr>
        </p:nvSpPr>
        <p:spPr>
          <a:xfrm>
            <a:off x="5770549" y="6295992"/>
            <a:ext cx="657251" cy="365125"/>
          </a:xfrm>
          <a:prstGeom prst="rect">
            <a:avLst/>
          </a:prstGeom>
        </p:spPr>
        <p:txBody>
          <a:bodyPr vert="horz" lIns="91440" tIns="45720" rIns="91440" bIns="45720" rtlCol="0" anchor="ctr"/>
          <a:lstStyle>
            <a:lvl1pPr algn="ctr">
              <a:defRPr sz="800">
                <a:solidFill>
                  <a:schemeClr val="tx1">
                    <a:tint val="75000"/>
                  </a:schemeClr>
                </a:solidFill>
              </a:defRPr>
            </a:lvl1pPr>
          </a:lstStyle>
          <a:p>
            <a:fld id="{1B3FA67A-C720-417A-A072-0CD211FD8662}" type="slidenum">
              <a:rPr lang="nl-NL" smtClean="0">
                <a:solidFill>
                  <a:srgbClr val="000000">
                    <a:tint val="75000"/>
                  </a:srgbClr>
                </a:solidFill>
              </a:rPr>
              <a:pPr/>
              <a:t>‹nr.›</a:t>
            </a:fld>
            <a:endParaRPr lang="nl-NL" dirty="0">
              <a:solidFill>
                <a:srgbClr val="000000">
                  <a:tint val="75000"/>
                </a:srgbClr>
              </a:solidFill>
            </a:endParaRPr>
          </a:p>
        </p:txBody>
      </p:sp>
      <p:sp>
        <p:nvSpPr>
          <p:cNvPr id="21" name="Tijdelijke aanduiding voor Tabel"/>
          <p:cNvSpPr>
            <a:spLocks noGrp="1"/>
          </p:cNvSpPr>
          <p:nvPr>
            <p:ph type="tbl" sz="quarter" idx="17"/>
          </p:nvPr>
        </p:nvSpPr>
        <p:spPr>
          <a:xfrm>
            <a:off x="4639164" y="1720867"/>
            <a:ext cx="6557472" cy="3693600"/>
          </a:xfrm>
        </p:spPr>
        <p:txBody>
          <a:bodyPr anchor="ctr"/>
          <a:lstStyle>
            <a:lvl1pPr algn="ctr">
              <a:defRPr/>
            </a:lvl1pPr>
          </a:lstStyle>
          <a:p>
            <a:r>
              <a:rPr lang="nl-NL"/>
              <a:t>Klik op het pictogram als u een tabel wilt toevoegen</a:t>
            </a:r>
            <a:endParaRPr lang="nl-NL" dirty="0"/>
          </a:p>
        </p:txBody>
      </p:sp>
      <p:sp>
        <p:nvSpPr>
          <p:cNvPr id="3" name="Tijdelijke aanduiding voor Tekst"/>
          <p:cNvSpPr>
            <a:spLocks noGrp="1"/>
          </p:cNvSpPr>
          <p:nvPr>
            <p:ph type="body" orient="vert" idx="1" hasCustomPrompt="1"/>
          </p:nvPr>
        </p:nvSpPr>
        <p:spPr>
          <a:xfrm>
            <a:off x="664110" y="1720867"/>
            <a:ext cx="3166184" cy="3693600"/>
          </a:xfrm>
        </p:spPr>
        <p:txBody>
          <a:bodyPr vert="horz"/>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800"/>
            </a:lvl9pPr>
          </a:lstStyle>
          <a:p>
            <a:pPr lvl="0"/>
            <a:r>
              <a:rPr lang="nl-NL" dirty="0"/>
              <a:t>Leestekst</a:t>
            </a:r>
          </a:p>
          <a:p>
            <a:pPr lvl="1"/>
            <a:r>
              <a:rPr lang="nl-NL" dirty="0"/>
              <a:t>Bullets</a:t>
            </a:r>
          </a:p>
          <a:p>
            <a:pPr lvl="2"/>
            <a:r>
              <a:rPr lang="nl-NL" dirty="0"/>
              <a:t>Sub-bullets</a:t>
            </a:r>
          </a:p>
          <a:p>
            <a:pPr lvl="3"/>
            <a:r>
              <a:rPr lang="nl-NL" dirty="0"/>
              <a:t>Sub-sub-bullets</a:t>
            </a:r>
          </a:p>
          <a:p>
            <a:pPr lvl="4"/>
            <a:r>
              <a:rPr lang="nl-NL" dirty="0"/>
              <a:t>Numeriek</a:t>
            </a:r>
          </a:p>
          <a:p>
            <a:pPr lvl="5"/>
            <a:r>
              <a:rPr lang="nl-NL" dirty="0"/>
              <a:t># Bullets</a:t>
            </a:r>
          </a:p>
          <a:p>
            <a:pPr lvl="6"/>
            <a:r>
              <a:rPr lang="nl-NL" dirty="0"/>
              <a:t>Cursief donker</a:t>
            </a:r>
          </a:p>
          <a:p>
            <a:pPr lvl="7"/>
            <a:r>
              <a:rPr lang="nl-NL" dirty="0"/>
              <a:t>Cursief licht</a:t>
            </a:r>
          </a:p>
          <a:p>
            <a:pPr lvl="8"/>
            <a:r>
              <a:rPr lang="nl-NL" dirty="0"/>
              <a:t>Subtitel</a:t>
            </a:r>
          </a:p>
        </p:txBody>
      </p:sp>
      <p:sp>
        <p:nvSpPr>
          <p:cNvPr id="13" name="Tijdelijke aanduiding voor Subtitel"/>
          <p:cNvSpPr>
            <a:spLocks noGrp="1"/>
          </p:cNvSpPr>
          <p:nvPr>
            <p:ph type="body" idx="14"/>
          </p:nvPr>
        </p:nvSpPr>
        <p:spPr>
          <a:xfrm>
            <a:off x="664109" y="1001348"/>
            <a:ext cx="10870131" cy="317758"/>
          </a:xfrm>
        </p:spPr>
        <p:txBody>
          <a:bodyPr bIns="72000" anchor="t" anchorCtr="0"/>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14" name="Tijdelijke aanduiding voor Titel"/>
          <p:cNvSpPr>
            <a:spLocks noGrp="1"/>
          </p:cNvSpPr>
          <p:nvPr>
            <p:ph type="title"/>
          </p:nvPr>
        </p:nvSpPr>
        <p:spPr>
          <a:xfrm>
            <a:off x="664109" y="464521"/>
            <a:ext cx="10870131" cy="533219"/>
          </a:xfrm>
        </p:spPr>
        <p:txBody>
          <a:bodyPr/>
          <a:lstStyle/>
          <a:p>
            <a:r>
              <a:rPr lang="nl-NL"/>
              <a:t>Klik om stijl te bewerken</a:t>
            </a:r>
            <a:endParaRPr lang="nl-NL" dirty="0"/>
          </a:p>
        </p:txBody>
      </p:sp>
    </p:spTree>
    <p:extLst>
      <p:ext uri="{BB962C8B-B14F-4D97-AF65-F5344CB8AC3E}">
        <p14:creationId xmlns:p14="http://schemas.microsoft.com/office/powerpoint/2010/main" val="3532706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abel 100%">
    <p:spTree>
      <p:nvGrpSpPr>
        <p:cNvPr id="1" name=""/>
        <p:cNvGrpSpPr/>
        <p:nvPr/>
      </p:nvGrpSpPr>
      <p:grpSpPr>
        <a:xfrm>
          <a:off x="0" y="0"/>
          <a:ext cx="0" cy="0"/>
          <a:chOff x="0" y="0"/>
          <a:chExt cx="0" cy="0"/>
        </a:xfrm>
      </p:grpSpPr>
      <p:sp>
        <p:nvSpPr>
          <p:cNvPr id="11" name="Naam indeling - Tabel 100%"/>
          <p:cNvSpPr txBox="1"/>
          <p:nvPr/>
        </p:nvSpPr>
        <p:spPr>
          <a:xfrm>
            <a:off x="1" y="-453266"/>
            <a:ext cx="3582333" cy="276999"/>
          </a:xfrm>
          <a:prstGeom prst="rect">
            <a:avLst/>
          </a:prstGeom>
          <a:noFill/>
        </p:spPr>
        <p:txBody>
          <a:bodyPr wrap="square" lIns="0" tIns="0" rIns="0" bIns="0" rtlCol="0">
            <a:spAutoFit/>
          </a:bodyPr>
          <a:lstStyle/>
          <a:p>
            <a:pPr defTabSz="914112"/>
            <a:r>
              <a:rPr lang="nl-NL" dirty="0">
                <a:solidFill>
                  <a:srgbClr val="404040"/>
                </a:solidFill>
                <a:latin typeface="Calibri" panose="020F0502020204030204" pitchFamily="34" charset="0"/>
              </a:rPr>
              <a:t>Tabel 100%</a:t>
            </a:r>
            <a:endParaRPr lang="en-GB" dirty="0">
              <a:solidFill>
                <a:srgbClr val="404040"/>
              </a:solidFill>
              <a:latin typeface="Calibri" panose="020F0502020204030204" pitchFamily="34" charset="0"/>
            </a:endParaRPr>
          </a:p>
        </p:txBody>
      </p:sp>
      <p:grpSp>
        <p:nvGrpSpPr>
          <p:cNvPr id="103" name="Instructie - Tabel invoegen"/>
          <p:cNvGrpSpPr/>
          <p:nvPr userDrawn="1"/>
        </p:nvGrpSpPr>
        <p:grpSpPr>
          <a:xfrm>
            <a:off x="12578756" y="-1669"/>
            <a:ext cx="2711113" cy="3676571"/>
            <a:chOff x="12441148" y="14897"/>
            <a:chExt cx="2710407" cy="3676571"/>
          </a:xfrm>
        </p:grpSpPr>
        <p:sp>
          <p:nvSpPr>
            <p:cNvPr id="104" name="Rechthoek 103"/>
            <p:cNvSpPr/>
            <p:nvPr/>
          </p:nvSpPr>
          <p:spPr>
            <a:xfrm>
              <a:off x="12441150" y="14897"/>
              <a:ext cx="2696270" cy="161771"/>
            </a:xfrm>
            <a:prstGeom prst="rect">
              <a:avLst/>
            </a:prstGeom>
            <a:noFill/>
            <a:ln w="25400" cap="flat" cmpd="sng" algn="ctr">
              <a:noFill/>
              <a:prstDash val="solid"/>
            </a:ln>
            <a:effectLst/>
          </p:spPr>
          <p:txBody>
            <a:bodyPr lIns="0" tIns="0" rIns="0" bIns="0" rtlCol="0" anchor="t"/>
            <a:lstStyle/>
            <a:p>
              <a:pPr defTabSz="914112">
                <a:lnSpc>
                  <a:spcPct val="80000"/>
                </a:lnSpc>
              </a:pPr>
              <a:r>
                <a:rPr lang="nl-NL" sz="1600" b="1" kern="0" cap="all" dirty="0">
                  <a:solidFill>
                    <a:srgbClr val="ED1A3B"/>
                  </a:solidFill>
                  <a:cs typeface="Segoe UI Light" panose="020B0502040204020203" pitchFamily="34" charset="0"/>
                </a:rPr>
                <a:t>Tabel INVOEGEN</a:t>
              </a:r>
            </a:p>
          </p:txBody>
        </p:sp>
        <p:sp>
          <p:nvSpPr>
            <p:cNvPr id="105" name="Tekstvak 33"/>
            <p:cNvSpPr txBox="1"/>
            <p:nvPr/>
          </p:nvSpPr>
          <p:spPr>
            <a:xfrm>
              <a:off x="12441149" y="814239"/>
              <a:ext cx="2710405" cy="719877"/>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Indien nodig, verwijder de bestaande tabel. Klik op het pictogram om </a:t>
              </a:r>
              <a:br>
                <a:rPr lang="nl-NL" sz="1200" kern="0" dirty="0">
                  <a:solidFill>
                    <a:srgbClr val="000000"/>
                  </a:solidFill>
                  <a:latin typeface="Trebuchet MS"/>
                  <a:cs typeface="Segoe UI Light" panose="020B0502040204020203" pitchFamily="34" charset="0"/>
                </a:rPr>
              </a:br>
              <a:r>
                <a:rPr lang="nl-NL" sz="1200" kern="0" dirty="0">
                  <a:solidFill>
                    <a:srgbClr val="000000"/>
                  </a:solidFill>
                  <a:latin typeface="Trebuchet MS"/>
                  <a:cs typeface="Segoe UI Light" panose="020B0502040204020203" pitchFamily="34" charset="0"/>
                </a:rPr>
                <a:t>een tabel in te voegen</a:t>
              </a:r>
              <a:br>
                <a:rPr lang="nl-NL" sz="1200" kern="0" dirty="0">
                  <a:solidFill>
                    <a:srgbClr val="000000"/>
                  </a:solidFill>
                  <a:latin typeface="Trebuchet MS"/>
                  <a:cs typeface="Segoe UI Light" panose="020B0502040204020203" pitchFamily="34" charset="0"/>
                </a:rPr>
              </a:br>
              <a:r>
                <a:rPr lang="nl-NL" sz="1100" i="1" kern="0" dirty="0">
                  <a:solidFill>
                    <a:srgbClr val="000000"/>
                  </a:solidFill>
                  <a:latin typeface="Trebuchet MS"/>
                  <a:cs typeface="Segoe UI Light" panose="020B0502040204020203" pitchFamily="34" charset="0"/>
                </a:rPr>
                <a:t>(zie onderstaand voorbeeld).</a:t>
              </a:r>
            </a:p>
          </p:txBody>
        </p:sp>
        <p:sp>
          <p:nvSpPr>
            <p:cNvPr id="106" name="Tekstvak 33"/>
            <p:cNvSpPr txBox="1"/>
            <p:nvPr/>
          </p:nvSpPr>
          <p:spPr>
            <a:xfrm>
              <a:off x="12441149" y="2793904"/>
              <a:ext cx="2710405" cy="395943"/>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Selecteer de tabel die u wilt invoegen en klik op </a:t>
              </a:r>
              <a:r>
                <a:rPr lang="nl-NL" sz="1200" b="1" kern="0" dirty="0">
                  <a:solidFill>
                    <a:srgbClr val="000000"/>
                  </a:solidFill>
                  <a:latin typeface="Trebuchet MS"/>
                  <a:cs typeface="Segoe UI Light" panose="020B0502040204020203" pitchFamily="34" charset="0"/>
                </a:rPr>
                <a:t>‘Invoegen’</a:t>
              </a:r>
            </a:p>
          </p:txBody>
        </p:sp>
        <p:sp>
          <p:nvSpPr>
            <p:cNvPr id="107" name="Ovaal 106"/>
            <p:cNvSpPr/>
            <p:nvPr/>
          </p:nvSpPr>
          <p:spPr>
            <a:xfrm>
              <a:off x="12441150" y="379292"/>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1</a:t>
              </a:r>
            </a:p>
          </p:txBody>
        </p:sp>
        <p:sp>
          <p:nvSpPr>
            <p:cNvPr id="108" name="Ovaal 107"/>
            <p:cNvSpPr/>
            <p:nvPr/>
          </p:nvSpPr>
          <p:spPr>
            <a:xfrm>
              <a:off x="12441150" y="2337208"/>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2</a:t>
              </a:r>
            </a:p>
          </p:txBody>
        </p:sp>
        <p:cxnSp>
          <p:nvCxnSpPr>
            <p:cNvPr id="109" name="Rechte verbindingslijn 108"/>
            <p:cNvCxnSpPr/>
            <p:nvPr/>
          </p:nvCxnSpPr>
          <p:spPr>
            <a:xfrm>
              <a:off x="12441150" y="248176"/>
              <a:ext cx="2710405" cy="0"/>
            </a:xfrm>
            <a:prstGeom prst="line">
              <a:avLst/>
            </a:prstGeom>
            <a:noFill/>
            <a:ln w="9525" cap="flat" cmpd="sng" algn="ctr">
              <a:solidFill>
                <a:schemeClr val="accent1"/>
              </a:solidFill>
              <a:prstDash val="solid"/>
            </a:ln>
            <a:effectLst/>
          </p:spPr>
        </p:cxnSp>
        <p:cxnSp>
          <p:nvCxnSpPr>
            <p:cNvPr id="110" name="Rechte verbindingslijn 109"/>
            <p:cNvCxnSpPr/>
            <p:nvPr/>
          </p:nvCxnSpPr>
          <p:spPr>
            <a:xfrm>
              <a:off x="12441149" y="2212830"/>
              <a:ext cx="2710405" cy="0"/>
            </a:xfrm>
            <a:prstGeom prst="line">
              <a:avLst/>
            </a:prstGeom>
            <a:noFill/>
            <a:ln w="9525" cap="flat" cmpd="sng" algn="ctr">
              <a:solidFill>
                <a:schemeClr val="accent1"/>
              </a:solidFill>
              <a:prstDash val="solid"/>
            </a:ln>
            <a:effectLst/>
          </p:spPr>
        </p:cxnSp>
        <p:cxnSp>
          <p:nvCxnSpPr>
            <p:cNvPr id="111" name="Rechte verbindingslijn 110"/>
            <p:cNvCxnSpPr/>
            <p:nvPr/>
          </p:nvCxnSpPr>
          <p:spPr>
            <a:xfrm>
              <a:off x="12444679" y="3691468"/>
              <a:ext cx="2706875" cy="0"/>
            </a:xfrm>
            <a:prstGeom prst="line">
              <a:avLst/>
            </a:prstGeom>
            <a:noFill/>
            <a:ln w="9525" cap="flat" cmpd="sng" algn="ctr">
              <a:solidFill>
                <a:schemeClr val="accent1"/>
              </a:solidFill>
              <a:prstDash val="solid"/>
            </a:ln>
            <a:effectLst/>
          </p:spPr>
        </p:cxnSp>
        <p:grpSp>
          <p:nvGrpSpPr>
            <p:cNvPr id="112" name="Groep 111"/>
            <p:cNvGrpSpPr/>
            <p:nvPr/>
          </p:nvGrpSpPr>
          <p:grpSpPr>
            <a:xfrm>
              <a:off x="12450571" y="3301369"/>
              <a:ext cx="1002992" cy="267962"/>
              <a:chOff x="13560784" y="3471416"/>
              <a:chExt cx="1114138" cy="297656"/>
            </a:xfrm>
          </p:grpSpPr>
          <p:sp>
            <p:nvSpPr>
              <p:cNvPr id="122" name="Afgeronde rechthoek 88"/>
              <p:cNvSpPr/>
              <p:nvPr/>
            </p:nvSpPr>
            <p:spPr>
              <a:xfrm>
                <a:off x="13560784" y="3471416"/>
                <a:ext cx="1114138" cy="297656"/>
              </a:xfrm>
              <a:prstGeom prst="roundRect">
                <a:avLst/>
              </a:prstGeom>
              <a:gradFill flip="none" rotWithShape="1">
                <a:gsLst>
                  <a:gs pos="4000">
                    <a:srgbClr val="00B0F0"/>
                  </a:gs>
                  <a:gs pos="0">
                    <a:srgbClr val="0070C0"/>
                  </a:gs>
                  <a:gs pos="100000">
                    <a:srgbClr val="0070C0"/>
                  </a:gs>
                  <a:gs pos="12000">
                    <a:srgbClr val="D1EAFF"/>
                  </a:gs>
                  <a:gs pos="96000">
                    <a:srgbClr val="00B0F0"/>
                  </a:gs>
                  <a:gs pos="89000">
                    <a:srgbClr val="DDF4FF"/>
                  </a:gs>
                  <a:gs pos="43000">
                    <a:srgbClr val="D1EAFF"/>
                  </a:gs>
                  <a:gs pos="51000">
                    <a:srgbClr val="DDF4FF"/>
                  </a:gs>
                </a:gsLst>
                <a:lin ang="16200000" scaled="1"/>
                <a:tileRect/>
              </a:gradFill>
              <a:ln w="63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dirty="0">
                  <a:solidFill>
                    <a:srgbClr val="FFFFFF"/>
                  </a:solidFill>
                </a:endParaRPr>
              </a:p>
            </p:txBody>
          </p:sp>
          <p:sp>
            <p:nvSpPr>
              <p:cNvPr id="123" name="Tekstvak 122"/>
              <p:cNvSpPr txBox="1"/>
              <p:nvPr/>
            </p:nvSpPr>
            <p:spPr>
              <a:xfrm>
                <a:off x="13573594" y="3488254"/>
                <a:ext cx="888311" cy="273506"/>
              </a:xfrm>
              <a:prstGeom prst="rect">
                <a:avLst/>
              </a:prstGeom>
              <a:noFill/>
            </p:spPr>
            <p:txBody>
              <a:bodyPr wrap="square" rtlCol="0" anchor="ctr">
                <a:spAutoFit/>
              </a:bodyPr>
              <a:lstStyle>
                <a:defPPr>
                  <a:defRPr lang="nl-NL"/>
                </a:defPPr>
                <a:lvl1pPr marR="0" lvl="0" indent="0" algn="ctr" fontAlgn="auto">
                  <a:lnSpc>
                    <a:spcPct val="100000"/>
                  </a:lnSpc>
                  <a:spcBef>
                    <a:spcPts val="0"/>
                  </a:spcBef>
                  <a:spcAft>
                    <a:spcPts val="0"/>
                  </a:spcAft>
                  <a:buClrTx/>
                  <a:buSzTx/>
                  <a:buFontTx/>
                  <a:buNone/>
                  <a:tabLst/>
                  <a:defRPr kumimoji="0" sz="900" i="0" u="none" strike="noStrike" kern="0" cap="none" spc="0" normalizeH="0" baseline="0">
                    <a:ln>
                      <a:noFill/>
                    </a:ln>
                    <a:effectLst>
                      <a:outerShdw blurRad="25400" algn="ctr" rotWithShape="0">
                        <a:prstClr val="white"/>
                      </a:outerShdw>
                    </a:effectLst>
                    <a:uLnTx/>
                    <a:uFillTx/>
                    <a:latin typeface="Segoe UI Light" panose="020B0502040204020203" pitchFamily="34" charset="0"/>
                    <a:cs typeface="Segoe UI Light" panose="020B0502040204020203" pitchFamily="34" charset="0"/>
                  </a:defRPr>
                </a:lvl1pPr>
                <a:lvl2pPr fontAlgn="base">
                  <a:spcBef>
                    <a:spcPct val="0"/>
                  </a:spcBef>
                  <a:spcAft>
                    <a:spcPct val="0"/>
                  </a:spcAft>
                  <a:defRPr>
                    <a:latin typeface="Arial" charset="0"/>
                    <a:cs typeface="Arial" charset="0"/>
                  </a:defRPr>
                </a:lvl2pPr>
                <a:lvl3pPr fontAlgn="base">
                  <a:spcBef>
                    <a:spcPct val="0"/>
                  </a:spcBef>
                  <a:spcAft>
                    <a:spcPct val="0"/>
                  </a:spcAft>
                  <a:defRPr>
                    <a:latin typeface="Arial" charset="0"/>
                    <a:cs typeface="Arial" charset="0"/>
                  </a:defRPr>
                </a:lvl3pPr>
                <a:lvl4pPr fontAlgn="base">
                  <a:spcBef>
                    <a:spcPct val="0"/>
                  </a:spcBef>
                  <a:spcAft>
                    <a:spcPct val="0"/>
                  </a:spcAft>
                  <a:defRPr>
                    <a:latin typeface="Arial" charset="0"/>
                    <a:cs typeface="Arial" charset="0"/>
                  </a:defRPr>
                </a:lvl4pPr>
                <a:lvl5pPr fontAlgn="base">
                  <a:spcBef>
                    <a:spcPct val="0"/>
                  </a:spcBef>
                  <a:spcAft>
                    <a:spcPct val="0"/>
                  </a:spcAft>
                  <a:defRPr>
                    <a:latin typeface="Arial" charset="0"/>
                    <a:cs typeface="Arial" charset="0"/>
                  </a:defRPr>
                </a:lvl5pPr>
                <a:lvl6pPr>
                  <a:defRPr>
                    <a:latin typeface="Arial" charset="0"/>
                    <a:cs typeface="Arial" charset="0"/>
                  </a:defRPr>
                </a:lvl6pPr>
                <a:lvl7pPr>
                  <a:defRPr>
                    <a:latin typeface="Arial" charset="0"/>
                    <a:cs typeface="Arial" charset="0"/>
                  </a:defRPr>
                </a:lvl7pPr>
                <a:lvl8pPr>
                  <a:defRPr>
                    <a:latin typeface="Arial" charset="0"/>
                    <a:cs typeface="Arial" charset="0"/>
                  </a:defRPr>
                </a:lvl8pPr>
                <a:lvl9pPr>
                  <a:defRPr>
                    <a:latin typeface="Arial" charset="0"/>
                    <a:cs typeface="Arial" charset="0"/>
                  </a:defRPr>
                </a:lvl9pPr>
              </a:lstStyle>
              <a:p>
                <a:pPr defTabSz="914112"/>
                <a:r>
                  <a:rPr lang="nl-NL" sz="1000" dirty="0">
                    <a:solidFill>
                      <a:srgbClr val="000000"/>
                    </a:solidFill>
                    <a:latin typeface="Trebuchet MS"/>
                  </a:rPr>
                  <a:t>Invoegen</a:t>
                </a:r>
              </a:p>
            </p:txBody>
          </p:sp>
          <p:cxnSp>
            <p:nvCxnSpPr>
              <p:cNvPr id="124" name="Rechte verbindingslijn 123"/>
              <p:cNvCxnSpPr/>
              <p:nvPr/>
            </p:nvCxnSpPr>
            <p:spPr>
              <a:xfrm>
                <a:off x="14461905" y="3507058"/>
                <a:ext cx="0" cy="224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5" name="Gelijkbenige driehoek 124"/>
              <p:cNvSpPr/>
              <p:nvPr/>
            </p:nvSpPr>
            <p:spPr>
              <a:xfrm rot="10800000">
                <a:off x="14518584" y="3600521"/>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112"/>
                <a:endParaRPr lang="nl-NL" dirty="0">
                  <a:solidFill>
                    <a:srgbClr val="FFFFFF"/>
                  </a:solidFill>
                </a:endParaRPr>
              </a:p>
            </p:txBody>
          </p:sp>
        </p:grpSp>
        <p:grpSp>
          <p:nvGrpSpPr>
            <p:cNvPr id="113" name="Groep 112"/>
            <p:cNvGrpSpPr/>
            <p:nvPr/>
          </p:nvGrpSpPr>
          <p:grpSpPr>
            <a:xfrm>
              <a:off x="12441148" y="1674386"/>
              <a:ext cx="445181" cy="402106"/>
              <a:chOff x="6072040" y="3376043"/>
              <a:chExt cx="1227920" cy="1109109"/>
            </a:xfrm>
          </p:grpSpPr>
          <p:sp>
            <p:nvSpPr>
              <p:cNvPr id="114" name="Rechthoek 113"/>
              <p:cNvSpPr/>
              <p:nvPr/>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115" name="Rechthoek 114"/>
              <p:cNvSpPr/>
              <p:nvPr/>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cxnSp>
            <p:nvCxnSpPr>
              <p:cNvPr id="116" name="Rechte verbindingslijn 115"/>
              <p:cNvCxnSpPr/>
              <p:nvPr/>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7" name="Rechte verbindingslijn 116"/>
              <p:cNvCxnSpPr/>
              <p:nvPr/>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8" name="Rechte verbindingslijn 117"/>
              <p:cNvCxnSpPr/>
              <p:nvPr/>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9" name="Rechte verbindingslijn 118"/>
              <p:cNvCxnSpPr/>
              <p:nvPr/>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20" name="Rechte verbindingslijn 119"/>
              <p:cNvCxnSpPr/>
              <p:nvPr/>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21" name="Rechthoek 120"/>
              <p:cNvSpPr/>
              <p:nvPr/>
            </p:nvSpPr>
            <p:spPr>
              <a:xfrm>
                <a:off x="6072040" y="3376043"/>
                <a:ext cx="1227920" cy="1109109"/>
              </a:xfrm>
              <a:prstGeom prst="rect">
                <a:avLst/>
              </a:prstGeom>
              <a:noFill/>
              <a:ln w="1905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grpSp>
      </p:grpSp>
      <p:grpSp>
        <p:nvGrpSpPr>
          <p:cNvPr id="21" name="Instructie - Tekst niveaus"/>
          <p:cNvGrpSpPr/>
          <p:nvPr userDrawn="1"/>
        </p:nvGrpSpPr>
        <p:grpSpPr>
          <a:xfrm>
            <a:off x="-3117849" y="365"/>
            <a:ext cx="2823358" cy="5254722"/>
            <a:chOff x="-2959433" y="-5444"/>
            <a:chExt cx="2822623" cy="5254722"/>
          </a:xfrm>
        </p:grpSpPr>
        <p:sp>
          <p:nvSpPr>
            <p:cNvPr id="22" name="Rechthoek 21"/>
            <p:cNvSpPr/>
            <p:nvPr userDrawn="1"/>
          </p:nvSpPr>
          <p:spPr>
            <a:xfrm>
              <a:off x="-2959433" y="-5444"/>
              <a:ext cx="2572469" cy="280344"/>
            </a:xfrm>
            <a:prstGeom prst="rect">
              <a:avLst/>
            </a:prstGeom>
            <a:noFill/>
            <a:ln w="25400" cap="flat" cmpd="sng" algn="ctr">
              <a:noFill/>
              <a:prstDash val="solid"/>
            </a:ln>
            <a:effectLst/>
          </p:spPr>
          <p:txBody>
            <a:bodyPr lIns="0" tIns="0" rIns="0" bIns="0" rtlCol="0" anchor="t"/>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nl-NL" sz="1600" b="1" kern="0" dirty="0">
                  <a:solidFill>
                    <a:srgbClr val="ED1A3B"/>
                  </a:solidFill>
                  <a:cs typeface="Segoe UI Light" panose="020B0502040204020203" pitchFamily="34" charset="0"/>
                </a:rPr>
                <a:t>TEKST NIVEAUS</a:t>
              </a:r>
            </a:p>
          </p:txBody>
        </p:sp>
        <p:sp>
          <p:nvSpPr>
            <p:cNvPr id="23" name="Textfield placeholder"/>
            <p:cNvSpPr txBox="1">
              <a:spLocks/>
            </p:cNvSpPr>
            <p:nvPr userDrawn="1"/>
          </p:nvSpPr>
          <p:spPr>
            <a:xfrm>
              <a:off x="-2587337" y="2675411"/>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0" lvl="2"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a:solidFill>
                    <a:srgbClr val="404040"/>
                  </a:solidFill>
                </a:rPr>
                <a:t>Sub-bullets (16 pt.)</a:t>
              </a:r>
            </a:p>
          </p:txBody>
        </p:sp>
        <p:sp>
          <p:nvSpPr>
            <p:cNvPr id="24" name="Ovaal 23"/>
            <p:cNvSpPr/>
            <p:nvPr userDrawn="1"/>
          </p:nvSpPr>
          <p:spPr>
            <a:xfrm>
              <a:off x="-2959433" y="196874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1</a:t>
              </a:r>
            </a:p>
          </p:txBody>
        </p:sp>
        <p:sp>
          <p:nvSpPr>
            <p:cNvPr id="25" name="Ovaal 24"/>
            <p:cNvSpPr/>
            <p:nvPr userDrawn="1"/>
          </p:nvSpPr>
          <p:spPr>
            <a:xfrm>
              <a:off x="-2959433" y="232207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2</a:t>
              </a:r>
            </a:p>
          </p:txBody>
        </p:sp>
        <p:sp>
          <p:nvSpPr>
            <p:cNvPr id="26" name="Ovaal 25"/>
            <p:cNvSpPr/>
            <p:nvPr userDrawn="1"/>
          </p:nvSpPr>
          <p:spPr>
            <a:xfrm>
              <a:off x="-2959433" y="267541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3</a:t>
              </a:r>
            </a:p>
          </p:txBody>
        </p:sp>
        <p:sp>
          <p:nvSpPr>
            <p:cNvPr id="27" name="Ovaal 26"/>
            <p:cNvSpPr/>
            <p:nvPr userDrawn="1"/>
          </p:nvSpPr>
          <p:spPr>
            <a:xfrm>
              <a:off x="-2959433" y="302874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4</a:t>
              </a:r>
            </a:p>
          </p:txBody>
        </p:sp>
        <p:sp>
          <p:nvSpPr>
            <p:cNvPr id="28" name="Textfield placeholder"/>
            <p:cNvSpPr txBox="1">
              <a:spLocks/>
            </p:cNvSpPr>
            <p:nvPr userDrawn="1"/>
          </p:nvSpPr>
          <p:spPr>
            <a:xfrm>
              <a:off x="-2571950" y="1966925"/>
              <a:ext cx="2163709" cy="261500"/>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79388">
                <a:lnSpc>
                  <a:spcPct val="120000"/>
                </a:lnSpc>
                <a:spcBef>
                  <a:spcPts val="0"/>
                </a:spcBef>
                <a:spcAft>
                  <a:spcPts val="900"/>
                </a:spcAft>
                <a:buClr>
                  <a:srgbClr val="000000"/>
                </a:buClr>
                <a:buSzPct val="100000"/>
                <a:buFont typeface="Arial" pitchFamily="34" charset="0"/>
                <a:buNone/>
                <a:defRPr/>
              </a:pPr>
              <a:r>
                <a:rPr lang="nl-NL" sz="1200" dirty="0">
                  <a:solidFill>
                    <a:srgbClr val="535353"/>
                  </a:solidFill>
                </a:rPr>
                <a:t>Leestekst (16 pt.)</a:t>
              </a:r>
            </a:p>
          </p:txBody>
        </p:sp>
        <p:sp>
          <p:nvSpPr>
            <p:cNvPr id="29" name="Textfield placeholder"/>
            <p:cNvSpPr txBox="1">
              <a:spLocks/>
            </p:cNvSpPr>
            <p:nvPr userDrawn="1"/>
          </p:nvSpPr>
          <p:spPr>
            <a:xfrm>
              <a:off x="-2571950" y="2322077"/>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70000" lvl="1"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err="1">
                  <a:solidFill>
                    <a:srgbClr val="535353"/>
                  </a:solidFill>
                </a:rPr>
                <a:t>Bullets</a:t>
              </a:r>
              <a:r>
                <a:rPr lang="nl-NL" sz="1200" dirty="0">
                  <a:solidFill>
                    <a:srgbClr val="535353"/>
                  </a:solidFill>
                </a:rPr>
                <a:t> (16 </a:t>
              </a:r>
              <a:r>
                <a:rPr lang="nl-NL" sz="1200" dirty="0" err="1">
                  <a:solidFill>
                    <a:srgbClr val="535353"/>
                  </a:solidFill>
                </a:rPr>
                <a:t>pt</a:t>
              </a:r>
              <a:r>
                <a:rPr lang="nl-NL" sz="1200" dirty="0">
                  <a:solidFill>
                    <a:srgbClr val="535353"/>
                  </a:solidFill>
                </a:rPr>
                <a:t>.)</a:t>
              </a:r>
            </a:p>
          </p:txBody>
        </p:sp>
        <p:sp>
          <p:nvSpPr>
            <p:cNvPr id="30" name="Textfield placeholder"/>
            <p:cNvSpPr txBox="1">
              <a:spLocks/>
            </p:cNvSpPr>
            <p:nvPr userDrawn="1"/>
          </p:nvSpPr>
          <p:spPr>
            <a:xfrm>
              <a:off x="-2571951" y="3028747"/>
              <a:ext cx="2435141"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10000" lvl="3" indent="-270000" algn="l" defTabSz="179388" rtl="0" eaLnBrk="1" latinLnBrk="0" hangingPunct="1">
                <a:lnSpc>
                  <a:spcPct val="120000"/>
                </a:lnSpc>
                <a:spcBef>
                  <a:spcPts val="0"/>
                </a:spcBef>
                <a:spcAft>
                  <a:spcPts val="900"/>
                </a:spcAft>
                <a:buClr>
                  <a:schemeClr val="accent2"/>
                </a:buClr>
                <a:buSzPct val="80000"/>
                <a:buFont typeface="Wingdings 3" panose="05040102010807070707" pitchFamily="18" charset="2"/>
                <a:buChar char=""/>
                <a:defRPr/>
              </a:pPr>
              <a:r>
                <a:rPr lang="nl-NL" sz="1200" b="0" kern="1200" dirty="0">
                  <a:solidFill>
                    <a:srgbClr val="404040"/>
                  </a:solidFill>
                  <a:latin typeface="+mn-lt"/>
                  <a:ea typeface="+mn-ea"/>
                  <a:cs typeface="+mn-cs"/>
                </a:rPr>
                <a:t>Sub-sub-bullets (16 pt.)</a:t>
              </a:r>
            </a:p>
          </p:txBody>
        </p:sp>
        <p:cxnSp>
          <p:nvCxnSpPr>
            <p:cNvPr id="31" name="Rechte verbindingslijn 30"/>
            <p:cNvCxnSpPr/>
            <p:nvPr userDrawn="1"/>
          </p:nvCxnSpPr>
          <p:spPr>
            <a:xfrm>
              <a:off x="-2959100" y="274900"/>
              <a:ext cx="2674470" cy="0"/>
            </a:xfrm>
            <a:prstGeom prst="line">
              <a:avLst/>
            </a:prstGeom>
            <a:noFill/>
            <a:ln w="9525" cap="flat" cmpd="sng" algn="ctr">
              <a:solidFill>
                <a:schemeClr val="accent1"/>
              </a:solidFill>
              <a:prstDash val="solid"/>
            </a:ln>
            <a:effectLst/>
          </p:spPr>
        </p:cxnSp>
        <p:cxnSp>
          <p:nvCxnSpPr>
            <p:cNvPr id="32" name="Rechte verbindingslijn 31"/>
            <p:cNvCxnSpPr/>
            <p:nvPr userDrawn="1"/>
          </p:nvCxnSpPr>
          <p:spPr>
            <a:xfrm>
              <a:off x="-2959100" y="1841989"/>
              <a:ext cx="2661379" cy="0"/>
            </a:xfrm>
            <a:prstGeom prst="line">
              <a:avLst/>
            </a:prstGeom>
            <a:noFill/>
            <a:ln w="9525" cap="flat" cmpd="sng" algn="ctr">
              <a:solidFill>
                <a:schemeClr val="accent1"/>
              </a:solidFill>
              <a:prstDash val="solid"/>
            </a:ln>
            <a:effectLst/>
          </p:spPr>
        </p:cxnSp>
        <p:cxnSp>
          <p:nvCxnSpPr>
            <p:cNvPr id="33" name="Rechte verbindingslijn 32"/>
            <p:cNvCxnSpPr/>
            <p:nvPr userDrawn="1"/>
          </p:nvCxnSpPr>
          <p:spPr>
            <a:xfrm>
              <a:off x="-2959100" y="5249278"/>
              <a:ext cx="2661379" cy="0"/>
            </a:xfrm>
            <a:prstGeom prst="line">
              <a:avLst/>
            </a:prstGeom>
            <a:noFill/>
            <a:ln w="9525" cap="flat" cmpd="sng" algn="ctr">
              <a:solidFill>
                <a:schemeClr val="accent1"/>
              </a:solidFill>
              <a:prstDash val="solid"/>
            </a:ln>
            <a:effectLst/>
          </p:spPr>
        </p:cxnSp>
        <p:grpSp>
          <p:nvGrpSpPr>
            <p:cNvPr id="34" name="Groep 33"/>
            <p:cNvGrpSpPr/>
            <p:nvPr userDrawn="1"/>
          </p:nvGrpSpPr>
          <p:grpSpPr>
            <a:xfrm>
              <a:off x="-1948476" y="816741"/>
              <a:ext cx="409108" cy="427699"/>
              <a:chOff x="-1085063" y="758027"/>
              <a:chExt cx="633799" cy="622540"/>
            </a:xfrm>
          </p:grpSpPr>
          <p:sp>
            <p:nvSpPr>
              <p:cNvPr id="90" name="Afgeronde rechthoek 89"/>
              <p:cNvSpPr/>
              <p:nvPr userDrawn="1"/>
            </p:nvSpPr>
            <p:spPr>
              <a:xfrm>
                <a:off x="-108506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91" name="Groep 90"/>
              <p:cNvGrpSpPr/>
              <p:nvPr userDrawn="1"/>
            </p:nvGrpSpPr>
            <p:grpSpPr>
              <a:xfrm>
                <a:off x="-977739" y="864082"/>
                <a:ext cx="419168" cy="410429"/>
                <a:chOff x="6366933" y="309013"/>
                <a:chExt cx="1901295" cy="1861668"/>
              </a:xfrm>
              <a:solidFill>
                <a:srgbClr val="000000"/>
              </a:solidFill>
            </p:grpSpPr>
            <p:sp>
              <p:nvSpPr>
                <p:cNvPr id="92" name="Rechthoek 91"/>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93" name="Rechthoek 92"/>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94" name="Rechthoek 93"/>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95" name="Rechthoek 94"/>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96" name="Rechthoek 95"/>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97" name="Rechthoek 96"/>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98" name="Rechthoek 97"/>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99" name="Rechthoek 98"/>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00" name="Rechthoek 99"/>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01" name="Rechthoek 100"/>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02" name="Vrije vorm 101"/>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nvGrpSpPr>
            <p:cNvPr id="35" name="Groep 34"/>
            <p:cNvGrpSpPr/>
            <p:nvPr userDrawn="1"/>
          </p:nvGrpSpPr>
          <p:grpSpPr>
            <a:xfrm>
              <a:off x="-2950232" y="1207835"/>
              <a:ext cx="532929" cy="509563"/>
              <a:chOff x="-2880382" y="802341"/>
              <a:chExt cx="532929" cy="509563"/>
            </a:xfrm>
          </p:grpSpPr>
          <p:sp>
            <p:nvSpPr>
              <p:cNvPr id="68" name="Rechthoek 67"/>
              <p:cNvSpPr/>
              <p:nvPr userDrawn="1"/>
            </p:nvSpPr>
            <p:spPr>
              <a:xfrm>
                <a:off x="-2880382" y="802341"/>
                <a:ext cx="532929" cy="509563"/>
              </a:xfrm>
              <a:prstGeom prst="rect">
                <a:avLst/>
              </a:prstGeom>
              <a:solidFill>
                <a:sysClr val="window" lastClr="FFFFFF"/>
              </a:soli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pic>
            <p:nvPicPr>
              <p:cNvPr id="69"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635852" y="822181"/>
                <a:ext cx="226442" cy="208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0"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848026" y="822181"/>
                <a:ext cx="207168" cy="213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71" name="Groep 70"/>
              <p:cNvGrpSpPr/>
              <p:nvPr userDrawn="1"/>
            </p:nvGrpSpPr>
            <p:grpSpPr>
              <a:xfrm>
                <a:off x="-2802433" y="1123442"/>
                <a:ext cx="132915" cy="104889"/>
                <a:chOff x="-2796392" y="1123442"/>
                <a:chExt cx="120832" cy="104889"/>
              </a:xfrm>
            </p:grpSpPr>
            <p:sp>
              <p:nvSpPr>
                <p:cNvPr id="85" name="Rechthoek 84"/>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86" name="Rechthoek 85"/>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87" name="Rechthoek 86"/>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88" name="Rechthoek 87"/>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89" name="Rechthoek 88"/>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72" name="Groep 71"/>
              <p:cNvGrpSpPr/>
              <p:nvPr userDrawn="1"/>
            </p:nvGrpSpPr>
            <p:grpSpPr>
              <a:xfrm>
                <a:off x="-2575417" y="1123442"/>
                <a:ext cx="133930" cy="104889"/>
                <a:chOff x="-2556734" y="1123442"/>
                <a:chExt cx="147324" cy="104889"/>
              </a:xfrm>
            </p:grpSpPr>
            <p:grpSp>
              <p:nvGrpSpPr>
                <p:cNvPr id="73" name="Groep 72"/>
                <p:cNvGrpSpPr/>
                <p:nvPr userDrawn="1"/>
              </p:nvGrpSpPr>
              <p:grpSpPr>
                <a:xfrm>
                  <a:off x="-2556734" y="1123442"/>
                  <a:ext cx="68206" cy="104889"/>
                  <a:chOff x="-2796392" y="1123442"/>
                  <a:chExt cx="120832" cy="104889"/>
                </a:xfrm>
              </p:grpSpPr>
              <p:sp>
                <p:nvSpPr>
                  <p:cNvPr id="80" name="Rechthoek 79"/>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81" name="Rechthoek 80"/>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82" name="Rechthoek 81"/>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83" name="Rechthoek 82"/>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84" name="Rechthoek 83"/>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74" name="Groep 73"/>
                <p:cNvGrpSpPr/>
                <p:nvPr userDrawn="1"/>
              </p:nvGrpSpPr>
              <p:grpSpPr>
                <a:xfrm>
                  <a:off x="-2477616" y="1123442"/>
                  <a:ext cx="68206" cy="104889"/>
                  <a:chOff x="-2796392" y="1123442"/>
                  <a:chExt cx="120832" cy="104889"/>
                </a:xfrm>
              </p:grpSpPr>
              <p:sp>
                <p:nvSpPr>
                  <p:cNvPr id="75" name="Rechthoek 74"/>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76" name="Rechthoek 75"/>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77" name="Rechthoek 76"/>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78" name="Rechthoek 77"/>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79" name="Rechthoek 78"/>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grpSp>
          <p:nvGrpSpPr>
            <p:cNvPr id="36" name="Groep 35"/>
            <p:cNvGrpSpPr/>
            <p:nvPr userDrawn="1"/>
          </p:nvGrpSpPr>
          <p:grpSpPr>
            <a:xfrm>
              <a:off x="-1948476" y="1281164"/>
              <a:ext cx="413704" cy="427699"/>
              <a:chOff x="-1845083" y="758027"/>
              <a:chExt cx="633799" cy="622540"/>
            </a:xfrm>
          </p:grpSpPr>
          <p:sp>
            <p:nvSpPr>
              <p:cNvPr id="55" name="Afgeronde rechthoek 54"/>
              <p:cNvSpPr/>
              <p:nvPr userDrawn="1"/>
            </p:nvSpPr>
            <p:spPr>
              <a:xfrm>
                <a:off x="-184508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56" name="Groep 55"/>
              <p:cNvGrpSpPr/>
              <p:nvPr userDrawn="1"/>
            </p:nvGrpSpPr>
            <p:grpSpPr>
              <a:xfrm>
                <a:off x="-1737762" y="864082"/>
                <a:ext cx="419168" cy="410429"/>
                <a:chOff x="3708400" y="309013"/>
                <a:chExt cx="1901295" cy="1861668"/>
              </a:xfrm>
              <a:solidFill>
                <a:srgbClr val="000000"/>
              </a:solidFill>
            </p:grpSpPr>
            <p:sp>
              <p:nvSpPr>
                <p:cNvPr id="57" name="Rechthoek 56"/>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58" name="Rechthoek 57"/>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59" name="Rechthoek 58"/>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60" name="Rechthoek 59"/>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61" name="Rechthoek 60"/>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62" name="Rechthoek 61"/>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63" name="Rechthoek 62"/>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64" name="Rechthoek 63"/>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65" name="Rechthoek 64"/>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66" name="Rechthoek 65"/>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67" name="Vrije vorm 66"/>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cxnSp>
          <p:nvCxnSpPr>
            <p:cNvPr id="37" name="Rechte verbindingslijn 36"/>
            <p:cNvCxnSpPr/>
            <p:nvPr userDrawn="1"/>
          </p:nvCxnSpPr>
          <p:spPr>
            <a:xfrm>
              <a:off x="-2814292" y="1441193"/>
              <a:ext cx="865816" cy="53821"/>
            </a:xfrm>
            <a:prstGeom prst="line">
              <a:avLst/>
            </a:prstGeom>
            <a:noFill/>
            <a:ln w="9525" cap="flat" cmpd="sng" algn="ctr">
              <a:solidFill>
                <a:schemeClr val="accent1"/>
              </a:solidFill>
              <a:prstDash val="solid"/>
              <a:headEnd type="oval"/>
            </a:ln>
            <a:effectLst/>
          </p:spPr>
        </p:cxnSp>
        <p:cxnSp>
          <p:nvCxnSpPr>
            <p:cNvPr id="38" name="Rechte verbindingslijn 37"/>
            <p:cNvCxnSpPr/>
            <p:nvPr userDrawn="1"/>
          </p:nvCxnSpPr>
          <p:spPr>
            <a:xfrm flipV="1">
              <a:off x="-2453902" y="1030591"/>
              <a:ext cx="505426" cy="283623"/>
            </a:xfrm>
            <a:prstGeom prst="line">
              <a:avLst/>
            </a:prstGeom>
            <a:noFill/>
            <a:ln w="9525" cap="flat" cmpd="sng" algn="ctr">
              <a:solidFill>
                <a:schemeClr val="accent1"/>
              </a:solidFill>
              <a:prstDash val="solid"/>
              <a:headEnd type="oval"/>
            </a:ln>
            <a:effectLst/>
          </p:spPr>
        </p:cxnSp>
        <p:sp>
          <p:nvSpPr>
            <p:cNvPr id="39" name="Textfield placeholder"/>
            <p:cNvSpPr txBox="1">
              <a:spLocks/>
            </p:cNvSpPr>
            <p:nvPr userDrawn="1"/>
          </p:nvSpPr>
          <p:spPr>
            <a:xfrm>
              <a:off x="-1341598" y="816743"/>
              <a:ext cx="1056968" cy="427698"/>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hoog</a:t>
              </a:r>
            </a:p>
          </p:txBody>
        </p:sp>
        <p:sp>
          <p:nvSpPr>
            <p:cNvPr id="40" name="Textfield placeholder"/>
            <p:cNvSpPr txBox="1">
              <a:spLocks/>
            </p:cNvSpPr>
            <p:nvPr userDrawn="1"/>
          </p:nvSpPr>
          <p:spPr>
            <a:xfrm>
              <a:off x="-1341599" y="1281164"/>
              <a:ext cx="1070223" cy="427699"/>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laag</a:t>
              </a:r>
            </a:p>
          </p:txBody>
        </p:sp>
        <p:sp>
          <p:nvSpPr>
            <p:cNvPr id="41" name="Ovaal 40"/>
            <p:cNvSpPr/>
            <p:nvPr userDrawn="1"/>
          </p:nvSpPr>
          <p:spPr>
            <a:xfrm>
              <a:off x="-2959433" y="338208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5</a:t>
              </a:r>
            </a:p>
          </p:txBody>
        </p:sp>
        <p:sp>
          <p:nvSpPr>
            <p:cNvPr id="42" name="Textfield placeholder"/>
            <p:cNvSpPr txBox="1">
              <a:spLocks/>
            </p:cNvSpPr>
            <p:nvPr userDrawn="1"/>
          </p:nvSpPr>
          <p:spPr>
            <a:xfrm>
              <a:off x="-2571950" y="3382082"/>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60000" lvl="4" indent="-360000" defTabSz="179388">
                <a:lnSpc>
                  <a:spcPct val="120000"/>
                </a:lnSpc>
                <a:spcBef>
                  <a:spcPts val="0"/>
                </a:spcBef>
                <a:spcAft>
                  <a:spcPts val="900"/>
                </a:spcAft>
                <a:buClr>
                  <a:srgbClr val="ED1A3B"/>
                </a:buClr>
                <a:buFont typeface="+mj-lt"/>
                <a:buAutoNum type="arabicPeriod"/>
                <a:defRPr/>
              </a:pPr>
              <a:r>
                <a:rPr lang="nl-NL" sz="1200" b="0" dirty="0">
                  <a:solidFill>
                    <a:srgbClr val="404040"/>
                  </a:solidFill>
                </a:rPr>
                <a:t>Numeriek (16 pt.)</a:t>
              </a:r>
            </a:p>
          </p:txBody>
        </p:sp>
        <p:grpSp>
          <p:nvGrpSpPr>
            <p:cNvPr id="43" name="Groep 42"/>
            <p:cNvGrpSpPr/>
            <p:nvPr userDrawn="1"/>
          </p:nvGrpSpPr>
          <p:grpSpPr>
            <a:xfrm>
              <a:off x="-2950232" y="816050"/>
              <a:ext cx="528695" cy="344202"/>
              <a:chOff x="-2880382" y="410556"/>
              <a:chExt cx="528695" cy="344202"/>
            </a:xfrm>
          </p:grpSpPr>
          <p:sp>
            <p:nvSpPr>
              <p:cNvPr id="53" name="Afgeronde rechthoek 52"/>
              <p:cNvSpPr/>
              <p:nvPr userDrawn="1"/>
            </p:nvSpPr>
            <p:spPr>
              <a:xfrm>
                <a:off x="-2874214" y="410556"/>
                <a:ext cx="522527" cy="339183"/>
              </a:xfrm>
              <a:prstGeom prst="roundRect">
                <a:avLst>
                  <a:gd name="adj" fmla="val 7565"/>
                </a:avLst>
              </a:prstGeom>
              <a:gradFill>
                <a:gsLst>
                  <a:gs pos="0">
                    <a:srgbClr val="FFEC8F"/>
                  </a:gs>
                  <a:gs pos="100000">
                    <a:srgbClr val="FFFFFF"/>
                  </a:gs>
                </a:gsLst>
                <a:lin ang="5400000" scaled="0"/>
              </a:gra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sp>
            <p:nvSpPr>
              <p:cNvPr id="54" name="Vrije vorm 53"/>
              <p:cNvSpPr/>
              <p:nvPr userDrawn="1"/>
            </p:nvSpPr>
            <p:spPr>
              <a:xfrm>
                <a:off x="-2880382" y="452699"/>
                <a:ext cx="528695" cy="302059"/>
              </a:xfrm>
              <a:custGeom>
                <a:avLst/>
                <a:gdLst>
                  <a:gd name="connsiteX0" fmla="*/ 55524 w 528695"/>
                  <a:gd name="connsiteY0" fmla="*/ 0 h 302059"/>
                  <a:gd name="connsiteX1" fmla="*/ 455496 w 528695"/>
                  <a:gd name="connsiteY1" fmla="*/ 0 h 302059"/>
                  <a:gd name="connsiteX2" fmla="*/ 475205 w 528695"/>
                  <a:gd name="connsiteY2" fmla="*/ 19709 h 302059"/>
                  <a:gd name="connsiteX3" fmla="*/ 475205 w 528695"/>
                  <a:gd name="connsiteY3" fmla="*/ 230056 h 302059"/>
                  <a:gd name="connsiteX4" fmla="*/ 516694 w 528695"/>
                  <a:gd name="connsiteY4" fmla="*/ 230056 h 302059"/>
                  <a:gd name="connsiteX5" fmla="*/ 528695 w 528695"/>
                  <a:gd name="connsiteY5" fmla="*/ 242057 h 302059"/>
                  <a:gd name="connsiteX6" fmla="*/ 528695 w 528695"/>
                  <a:gd name="connsiteY6" fmla="*/ 290058 h 302059"/>
                  <a:gd name="connsiteX7" fmla="*/ 516694 w 528695"/>
                  <a:gd name="connsiteY7" fmla="*/ 302059 h 302059"/>
                  <a:gd name="connsiteX8" fmla="*/ 12001 w 528695"/>
                  <a:gd name="connsiteY8" fmla="*/ 302059 h 302059"/>
                  <a:gd name="connsiteX9" fmla="*/ 0 w 528695"/>
                  <a:gd name="connsiteY9" fmla="*/ 290058 h 302059"/>
                  <a:gd name="connsiteX10" fmla="*/ 0 w 528695"/>
                  <a:gd name="connsiteY10" fmla="*/ 242057 h 302059"/>
                  <a:gd name="connsiteX11" fmla="*/ 12001 w 528695"/>
                  <a:gd name="connsiteY11" fmla="*/ 230056 h 302059"/>
                  <a:gd name="connsiteX12" fmla="*/ 35815 w 528695"/>
                  <a:gd name="connsiteY12" fmla="*/ 230056 h 302059"/>
                  <a:gd name="connsiteX13" fmla="*/ 35815 w 528695"/>
                  <a:gd name="connsiteY13" fmla="*/ 19709 h 302059"/>
                  <a:gd name="connsiteX14" fmla="*/ 55524 w 528695"/>
                  <a:gd name="connsiteY14" fmla="*/ 0 h 3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8695" h="302059">
                    <a:moveTo>
                      <a:pt x="55524" y="0"/>
                    </a:moveTo>
                    <a:lnTo>
                      <a:pt x="455496" y="0"/>
                    </a:lnTo>
                    <a:cubicBezTo>
                      <a:pt x="466381" y="0"/>
                      <a:pt x="475205" y="8824"/>
                      <a:pt x="475205" y="19709"/>
                    </a:cubicBezTo>
                    <a:lnTo>
                      <a:pt x="475205" y="230056"/>
                    </a:lnTo>
                    <a:lnTo>
                      <a:pt x="516694" y="230056"/>
                    </a:lnTo>
                    <a:cubicBezTo>
                      <a:pt x="523322" y="230056"/>
                      <a:pt x="528695" y="235429"/>
                      <a:pt x="528695" y="242057"/>
                    </a:cubicBezTo>
                    <a:lnTo>
                      <a:pt x="528695" y="290058"/>
                    </a:lnTo>
                    <a:cubicBezTo>
                      <a:pt x="528695" y="296686"/>
                      <a:pt x="523322" y="302059"/>
                      <a:pt x="516694" y="302059"/>
                    </a:cubicBezTo>
                    <a:lnTo>
                      <a:pt x="12001" y="302059"/>
                    </a:lnTo>
                    <a:cubicBezTo>
                      <a:pt x="5373" y="302059"/>
                      <a:pt x="0" y="296686"/>
                      <a:pt x="0" y="290058"/>
                    </a:cubicBezTo>
                    <a:lnTo>
                      <a:pt x="0" y="242057"/>
                    </a:lnTo>
                    <a:cubicBezTo>
                      <a:pt x="0" y="235429"/>
                      <a:pt x="5373" y="230056"/>
                      <a:pt x="12001" y="230056"/>
                    </a:cubicBezTo>
                    <a:lnTo>
                      <a:pt x="35815" y="230056"/>
                    </a:lnTo>
                    <a:lnTo>
                      <a:pt x="35815" y="19709"/>
                    </a:lnTo>
                    <a:cubicBezTo>
                      <a:pt x="35815" y="8824"/>
                      <a:pt x="44639" y="0"/>
                      <a:pt x="55524" y="0"/>
                    </a:cubicBezTo>
                    <a:close/>
                  </a:path>
                </a:pathLst>
              </a:custGeom>
              <a:solidFill>
                <a:sysClr val="window" lastClr="FFFFFF">
                  <a:lumMod val="95000"/>
                </a:sysClr>
              </a:solidFill>
              <a:ln w="9525" cap="flat" cmpd="sng" algn="ctr">
                <a:solidFill>
                  <a:srgbClr val="FFFFFF">
                    <a:lumMod val="90000"/>
                  </a:srgbClr>
                </a:solidFill>
                <a:prstDash val="solid"/>
                <a:miter lim="800000"/>
              </a:ln>
              <a:effectLst/>
            </p:spPr>
            <p:txBody>
              <a:bodyPr rot="0" spcFirstLastPara="0" vert="horz" wrap="square" lIns="108000" tIns="36000" rIns="108000" bIns="10800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900" dirty="0">
                    <a:solidFill>
                      <a:prstClr val="black"/>
                    </a:solidFill>
                    <a:latin typeface="Segoe UI Light"/>
                  </a:rPr>
                  <a:t>Start</a:t>
                </a:r>
              </a:p>
            </p:txBody>
          </p:sp>
        </p:grpSp>
        <p:sp>
          <p:nvSpPr>
            <p:cNvPr id="44" name="Tekstvak 65"/>
            <p:cNvSpPr txBox="1"/>
            <p:nvPr userDrawn="1"/>
          </p:nvSpPr>
          <p:spPr>
            <a:xfrm>
              <a:off x="-2959433" y="372104"/>
              <a:ext cx="2679887" cy="453396"/>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nl-NL" sz="1200" kern="0" dirty="0">
                  <a:solidFill>
                    <a:srgbClr val="000000"/>
                  </a:solidFill>
                  <a:latin typeface="Segoe UI Light" panose="020B0502040204020203" pitchFamily="34" charset="0"/>
                  <a:cs typeface="Segoe UI Light" panose="020B0502040204020203" pitchFamily="34" charset="0"/>
                </a:rPr>
                <a:t>Ga naar de tab </a:t>
              </a:r>
              <a:r>
                <a:rPr lang="nl-NL" sz="1200" b="1" kern="0" dirty="0">
                  <a:solidFill>
                    <a:srgbClr val="000000"/>
                  </a:solidFill>
                  <a:latin typeface="Segoe UI Light" panose="020B0502040204020203" pitchFamily="34" charset="0"/>
                  <a:cs typeface="Segoe UI Light" panose="020B0502040204020203" pitchFamily="34" charset="0"/>
                </a:rPr>
                <a:t>Start’ </a:t>
              </a:r>
              <a:r>
                <a:rPr lang="nl-NL" sz="1200" kern="0" dirty="0">
                  <a:solidFill>
                    <a:srgbClr val="000000"/>
                  </a:solidFill>
                  <a:latin typeface="Segoe UI Light" panose="020B0502040204020203" pitchFamily="34" charset="0"/>
                  <a:cs typeface="Segoe UI Light" panose="020B0502040204020203" pitchFamily="34" charset="0"/>
                </a:rPr>
                <a:t>en vind onderstaande knoppen onder </a:t>
              </a:r>
              <a:r>
                <a:rPr lang="nl-NL" sz="1200" b="1" kern="0" dirty="0">
                  <a:solidFill>
                    <a:srgbClr val="000000"/>
                  </a:solidFill>
                  <a:latin typeface="Segoe UI Light" panose="020B0502040204020203" pitchFamily="34" charset="0"/>
                  <a:cs typeface="Segoe UI Light" panose="020B0502040204020203" pitchFamily="34" charset="0"/>
                </a:rPr>
                <a:t>‘Alinea’</a:t>
              </a:r>
            </a:p>
          </p:txBody>
        </p:sp>
        <p:sp>
          <p:nvSpPr>
            <p:cNvPr id="45" name="Ovaal 44"/>
            <p:cNvSpPr/>
            <p:nvPr userDrawn="1"/>
          </p:nvSpPr>
          <p:spPr>
            <a:xfrm>
              <a:off x="-2959433" y="375153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6</a:t>
              </a:r>
            </a:p>
          </p:txBody>
        </p:sp>
        <p:sp>
          <p:nvSpPr>
            <p:cNvPr id="46" name="Textfield placeholder"/>
            <p:cNvSpPr txBox="1">
              <a:spLocks/>
            </p:cNvSpPr>
            <p:nvPr userDrawn="1"/>
          </p:nvSpPr>
          <p:spPr>
            <a:xfrm>
              <a:off x="-2571950" y="3751536"/>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0000" lvl="5" indent="-270000" defTabSz="179388">
                <a:lnSpc>
                  <a:spcPct val="120000"/>
                </a:lnSpc>
                <a:spcAft>
                  <a:spcPts val="900"/>
                </a:spcAft>
                <a:buClr>
                  <a:srgbClr val="ED1A3B"/>
                </a:buClr>
                <a:buSzPct val="80000"/>
                <a:buFont typeface="Wingdings 3" panose="05040102010807070707" pitchFamily="18" charset="2"/>
                <a:buChar char=""/>
                <a:defRPr/>
              </a:pPr>
              <a:r>
                <a:rPr lang="nl-NL" sz="1200" cap="none" dirty="0">
                  <a:solidFill>
                    <a:srgbClr val="535353"/>
                  </a:solidFill>
                </a:rPr>
                <a:t># Bullets (16 pt.)</a:t>
              </a:r>
            </a:p>
          </p:txBody>
        </p:sp>
        <p:sp>
          <p:nvSpPr>
            <p:cNvPr id="47" name="Ovaal 46"/>
            <p:cNvSpPr/>
            <p:nvPr userDrawn="1"/>
          </p:nvSpPr>
          <p:spPr>
            <a:xfrm>
              <a:off x="-2959433" y="414870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7</a:t>
              </a:r>
            </a:p>
          </p:txBody>
        </p:sp>
        <p:sp>
          <p:nvSpPr>
            <p:cNvPr id="48" name="Textfield placeholder"/>
            <p:cNvSpPr txBox="1">
              <a:spLocks/>
            </p:cNvSpPr>
            <p:nvPr userDrawn="1"/>
          </p:nvSpPr>
          <p:spPr>
            <a:xfrm>
              <a:off x="-2571950" y="414870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6" indent="0" defTabSz="179388">
                <a:lnSpc>
                  <a:spcPct val="120000"/>
                </a:lnSpc>
                <a:spcBef>
                  <a:spcPts val="0"/>
                </a:spcBef>
                <a:spcAft>
                  <a:spcPts val="900"/>
                </a:spcAft>
                <a:buClr>
                  <a:srgbClr val="ED1A3B"/>
                </a:buClr>
                <a:buSzPct val="90000"/>
                <a:buFont typeface="+mj-lt"/>
                <a:buNone/>
                <a:defRPr/>
              </a:pPr>
              <a:r>
                <a:rPr lang="nl-NL" sz="1200" i="1" dirty="0">
                  <a:solidFill>
                    <a:srgbClr val="404040"/>
                  </a:solidFill>
                </a:rPr>
                <a:t>Cursief donker (16 pt.)</a:t>
              </a:r>
            </a:p>
          </p:txBody>
        </p:sp>
        <p:sp>
          <p:nvSpPr>
            <p:cNvPr id="49" name="Ovaal 48"/>
            <p:cNvSpPr/>
            <p:nvPr userDrawn="1"/>
          </p:nvSpPr>
          <p:spPr>
            <a:xfrm>
              <a:off x="-2959433" y="454586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8</a:t>
              </a:r>
            </a:p>
          </p:txBody>
        </p:sp>
        <p:sp>
          <p:nvSpPr>
            <p:cNvPr id="50" name="Textfield placeholder"/>
            <p:cNvSpPr txBox="1">
              <a:spLocks/>
            </p:cNvSpPr>
            <p:nvPr userDrawn="1"/>
          </p:nvSpPr>
          <p:spPr>
            <a:xfrm>
              <a:off x="-2571950" y="4545864"/>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7" indent="0" defTabSz="179388">
                <a:lnSpc>
                  <a:spcPct val="80000"/>
                </a:lnSpc>
                <a:spcBef>
                  <a:spcPts val="0"/>
                </a:spcBef>
                <a:spcAft>
                  <a:spcPts val="900"/>
                </a:spcAft>
                <a:buClr>
                  <a:srgbClr val="ED1A3B"/>
                </a:buClr>
                <a:buFont typeface="Arial" pitchFamily="34" charset="0"/>
                <a:buNone/>
                <a:defRPr/>
              </a:pPr>
              <a:r>
                <a:rPr lang="nl-NL" sz="1200" i="1" dirty="0">
                  <a:solidFill>
                    <a:srgbClr val="A3B0C0"/>
                  </a:solidFill>
                </a:rPr>
                <a:t>Cursief Licht (16 pt.)</a:t>
              </a:r>
            </a:p>
          </p:txBody>
        </p:sp>
        <p:sp>
          <p:nvSpPr>
            <p:cNvPr id="51" name="Ovaal 50"/>
            <p:cNvSpPr/>
            <p:nvPr userDrawn="1"/>
          </p:nvSpPr>
          <p:spPr>
            <a:xfrm>
              <a:off x="-2959433" y="488761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9</a:t>
              </a:r>
            </a:p>
          </p:txBody>
        </p:sp>
        <p:sp>
          <p:nvSpPr>
            <p:cNvPr id="52" name="Textfield placeholder"/>
            <p:cNvSpPr txBox="1">
              <a:spLocks/>
            </p:cNvSpPr>
            <p:nvPr userDrawn="1"/>
          </p:nvSpPr>
          <p:spPr>
            <a:xfrm>
              <a:off x="-2571950" y="488761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8" indent="0" defTabSz="179388">
                <a:lnSpc>
                  <a:spcPct val="80000"/>
                </a:lnSpc>
                <a:spcBef>
                  <a:spcPts val="0"/>
                </a:spcBef>
                <a:spcAft>
                  <a:spcPts val="900"/>
                </a:spcAft>
                <a:buClr>
                  <a:srgbClr val="ED1A3B"/>
                </a:buClr>
                <a:buFont typeface="Arial" pitchFamily="34" charset="0"/>
                <a:buNone/>
                <a:defRPr/>
              </a:pPr>
              <a:r>
                <a:rPr lang="nl-NL" sz="1400" b="1" dirty="0">
                  <a:solidFill>
                    <a:srgbClr val="ED1A3B"/>
                  </a:solidFill>
                </a:rPr>
                <a:t>Subtitel (18 pt.)</a:t>
              </a:r>
            </a:p>
          </p:txBody>
        </p:sp>
      </p:grpSp>
      <p:sp>
        <p:nvSpPr>
          <p:cNvPr id="127" name="Hyperlink - Inhoudsopgave">
            <a:hlinkClick r:id="rId4" action="ppaction://hlinksldjump"/>
          </p:cNvPr>
          <p:cNvSpPr/>
          <p:nvPr userDrawn="1"/>
        </p:nvSpPr>
        <p:spPr>
          <a:xfrm>
            <a:off x="10197856" y="5889801"/>
            <a:ext cx="2000494" cy="968199"/>
          </a:xfrm>
          <a:prstGeom prst="rect">
            <a:avLst/>
          </a:prstGeom>
          <a:solidFill>
            <a:srgbClr val="ED1A3B">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10" name="Grijze achtergrond"/>
          <p:cNvSpPr/>
          <p:nvPr userDrawn="1"/>
        </p:nvSpPr>
        <p:spPr>
          <a:xfrm>
            <a:off x="663748" y="1358671"/>
            <a:ext cx="10870492" cy="444046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en-GB">
              <a:solidFill>
                <a:srgbClr val="FFFFFF"/>
              </a:solidFill>
            </a:endParaRPr>
          </a:p>
        </p:txBody>
      </p:sp>
      <p:cxnSp>
        <p:nvCxnSpPr>
          <p:cNvPr id="19" name="Grijze lijn - onder"/>
          <p:cNvCxnSpPr/>
          <p:nvPr/>
        </p:nvCxnSpPr>
        <p:spPr>
          <a:xfrm flipH="1">
            <a:off x="664804" y="5776291"/>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 name="Grijze lijn - boven"/>
          <p:cNvCxnSpPr/>
          <p:nvPr/>
        </p:nvCxnSpPr>
        <p:spPr>
          <a:xfrm flipH="1">
            <a:off x="664804" y="1358670"/>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7" name="Tijdelijke aanduiding voor Dianummer"/>
          <p:cNvSpPr>
            <a:spLocks noGrp="1"/>
          </p:cNvSpPr>
          <p:nvPr>
            <p:ph type="sldNum" sz="quarter" idx="4"/>
          </p:nvPr>
        </p:nvSpPr>
        <p:spPr>
          <a:xfrm>
            <a:off x="5770549" y="6295992"/>
            <a:ext cx="657251" cy="365125"/>
          </a:xfrm>
          <a:prstGeom prst="rect">
            <a:avLst/>
          </a:prstGeom>
        </p:spPr>
        <p:txBody>
          <a:bodyPr vert="horz" lIns="91440" tIns="45720" rIns="91440" bIns="45720" rtlCol="0" anchor="ctr"/>
          <a:lstStyle>
            <a:lvl1pPr algn="ctr">
              <a:defRPr sz="800">
                <a:solidFill>
                  <a:schemeClr val="tx1">
                    <a:tint val="75000"/>
                  </a:schemeClr>
                </a:solidFill>
              </a:defRPr>
            </a:lvl1pPr>
          </a:lstStyle>
          <a:p>
            <a:fld id="{1B3FA67A-C720-417A-A072-0CD211FD8662}" type="slidenum">
              <a:rPr lang="nl-NL" smtClean="0">
                <a:solidFill>
                  <a:srgbClr val="000000">
                    <a:tint val="75000"/>
                  </a:srgbClr>
                </a:solidFill>
              </a:rPr>
              <a:pPr/>
              <a:t>‹nr.›</a:t>
            </a:fld>
            <a:endParaRPr lang="nl-NL" dirty="0">
              <a:solidFill>
                <a:srgbClr val="000000">
                  <a:tint val="75000"/>
                </a:srgbClr>
              </a:solidFill>
            </a:endParaRPr>
          </a:p>
        </p:txBody>
      </p:sp>
      <p:sp>
        <p:nvSpPr>
          <p:cNvPr id="3" name="Tijdelijke aanduiding voor Tabel"/>
          <p:cNvSpPr>
            <a:spLocks noGrp="1"/>
          </p:cNvSpPr>
          <p:nvPr>
            <p:ph type="tbl" sz="quarter" idx="15"/>
          </p:nvPr>
        </p:nvSpPr>
        <p:spPr>
          <a:xfrm>
            <a:off x="995879" y="1720867"/>
            <a:ext cx="10206591" cy="3693600"/>
          </a:xfrm>
          <a:noFill/>
        </p:spPr>
        <p:txBody>
          <a:bodyPr anchor="ctr" anchorCtr="0"/>
          <a:lstStyle>
            <a:lvl1pPr algn="ctr">
              <a:defRPr/>
            </a:lvl1pPr>
          </a:lstStyle>
          <a:p>
            <a:r>
              <a:rPr lang="nl-NL"/>
              <a:t>Klik op het pictogram als u een tabel wilt toevoegen</a:t>
            </a:r>
            <a:endParaRPr lang="en-US"/>
          </a:p>
        </p:txBody>
      </p:sp>
      <p:sp>
        <p:nvSpPr>
          <p:cNvPr id="12" name="Tijdelijke aanduiding voor Subtitel"/>
          <p:cNvSpPr>
            <a:spLocks noGrp="1"/>
          </p:cNvSpPr>
          <p:nvPr>
            <p:ph type="body" idx="14" hasCustomPrompt="1"/>
          </p:nvPr>
        </p:nvSpPr>
        <p:spPr>
          <a:xfrm>
            <a:off x="664109" y="1001348"/>
            <a:ext cx="10870131" cy="317758"/>
          </a:xfrm>
        </p:spPr>
        <p:txBody>
          <a:bodyPr bIns="72000" anchor="t" anchorCtr="0"/>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Klik om de modelstijlen te bewerken</a:t>
            </a:r>
          </a:p>
        </p:txBody>
      </p:sp>
      <p:sp>
        <p:nvSpPr>
          <p:cNvPr id="16" name="Tijdelijke aanduiding voor Titel"/>
          <p:cNvSpPr>
            <a:spLocks noGrp="1"/>
          </p:cNvSpPr>
          <p:nvPr>
            <p:ph type="title"/>
          </p:nvPr>
        </p:nvSpPr>
        <p:spPr>
          <a:xfrm>
            <a:off x="664109" y="464521"/>
            <a:ext cx="10870131" cy="533219"/>
          </a:xfrm>
        </p:spPr>
        <p:txBody>
          <a:bodyPr/>
          <a:lstStyle/>
          <a:p>
            <a:r>
              <a:rPr lang="nl-NL"/>
              <a:t>Klik om stijl te bewerken</a:t>
            </a:r>
            <a:endParaRPr lang="nl-NL" dirty="0"/>
          </a:p>
        </p:txBody>
      </p:sp>
    </p:spTree>
    <p:extLst>
      <p:ext uri="{BB962C8B-B14F-4D97-AF65-F5344CB8AC3E}">
        <p14:creationId xmlns:p14="http://schemas.microsoft.com/office/powerpoint/2010/main" val="2486197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Vestiging">
    <p:spTree>
      <p:nvGrpSpPr>
        <p:cNvPr id="1" name=""/>
        <p:cNvGrpSpPr/>
        <p:nvPr/>
      </p:nvGrpSpPr>
      <p:grpSpPr>
        <a:xfrm>
          <a:off x="0" y="0"/>
          <a:ext cx="0" cy="0"/>
          <a:chOff x="0" y="0"/>
          <a:chExt cx="0" cy="0"/>
        </a:xfrm>
      </p:grpSpPr>
      <p:sp>
        <p:nvSpPr>
          <p:cNvPr id="33" name="Naam indeling - Vestiging"/>
          <p:cNvSpPr txBox="1"/>
          <p:nvPr/>
        </p:nvSpPr>
        <p:spPr>
          <a:xfrm>
            <a:off x="1" y="-453266"/>
            <a:ext cx="3582333" cy="276999"/>
          </a:xfrm>
          <a:prstGeom prst="rect">
            <a:avLst/>
          </a:prstGeom>
          <a:noFill/>
        </p:spPr>
        <p:txBody>
          <a:bodyPr wrap="square" lIns="0" tIns="0" rIns="0" bIns="0" rtlCol="0">
            <a:spAutoFit/>
          </a:bodyPr>
          <a:lstStyle/>
          <a:p>
            <a:pPr defTabSz="914112"/>
            <a:r>
              <a:rPr lang="nl-NL" dirty="0">
                <a:solidFill>
                  <a:srgbClr val="404040"/>
                </a:solidFill>
                <a:latin typeface="Calibri" panose="020F0502020204030204" pitchFamily="34" charset="0"/>
              </a:rPr>
              <a:t>Vestiging</a:t>
            </a:r>
          </a:p>
        </p:txBody>
      </p:sp>
      <p:grpSp>
        <p:nvGrpSpPr>
          <p:cNvPr id="124" name="Instructie - Afbeelding invoegen"/>
          <p:cNvGrpSpPr/>
          <p:nvPr/>
        </p:nvGrpSpPr>
        <p:grpSpPr>
          <a:xfrm>
            <a:off x="12437931" y="14898"/>
            <a:ext cx="2717569" cy="3676571"/>
            <a:chOff x="12434693" y="14897"/>
            <a:chExt cx="2716862" cy="3676571"/>
          </a:xfrm>
        </p:grpSpPr>
        <p:sp>
          <p:nvSpPr>
            <p:cNvPr id="125" name="Rechthoek 124"/>
            <p:cNvSpPr/>
            <p:nvPr/>
          </p:nvSpPr>
          <p:spPr>
            <a:xfrm>
              <a:off x="12441150" y="14897"/>
              <a:ext cx="2696270" cy="161771"/>
            </a:xfrm>
            <a:prstGeom prst="rect">
              <a:avLst/>
            </a:prstGeom>
            <a:noFill/>
            <a:ln w="25400" cap="flat" cmpd="sng" algn="ctr">
              <a:noFill/>
              <a:prstDash val="solid"/>
            </a:ln>
            <a:effectLst/>
          </p:spPr>
          <p:txBody>
            <a:bodyPr lIns="0" tIns="0" rIns="0" bIns="0" rtlCol="0" anchor="t"/>
            <a:lstStyle/>
            <a:p>
              <a:pPr defTabSz="914112">
                <a:lnSpc>
                  <a:spcPct val="80000"/>
                </a:lnSpc>
              </a:pPr>
              <a:r>
                <a:rPr lang="nl-NL" sz="1600" b="1" kern="0" cap="all" dirty="0">
                  <a:solidFill>
                    <a:srgbClr val="ED1A3B"/>
                  </a:solidFill>
                  <a:cs typeface="Segoe UI Light" panose="020B0502040204020203" pitchFamily="34" charset="0"/>
                </a:rPr>
                <a:t>AFBEELDING INVOEGEN</a:t>
              </a:r>
            </a:p>
          </p:txBody>
        </p:sp>
        <p:sp>
          <p:nvSpPr>
            <p:cNvPr id="126" name="Tekstvak 33"/>
            <p:cNvSpPr txBox="1"/>
            <p:nvPr/>
          </p:nvSpPr>
          <p:spPr>
            <a:xfrm>
              <a:off x="12441149" y="814239"/>
              <a:ext cx="2710405" cy="719877"/>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Indien nodig, verwijder de bestaande afbeelding. Klik op het pictogram </a:t>
              </a:r>
              <a:br>
                <a:rPr lang="nl-NL" sz="1200" kern="0" dirty="0">
                  <a:solidFill>
                    <a:srgbClr val="000000"/>
                  </a:solidFill>
                  <a:latin typeface="Trebuchet MS"/>
                  <a:cs typeface="Segoe UI Light" panose="020B0502040204020203" pitchFamily="34" charset="0"/>
                </a:rPr>
              </a:br>
              <a:r>
                <a:rPr lang="nl-NL" sz="1200" kern="0" dirty="0">
                  <a:solidFill>
                    <a:srgbClr val="000000"/>
                  </a:solidFill>
                  <a:latin typeface="Trebuchet MS"/>
                  <a:cs typeface="Segoe UI Light" panose="020B0502040204020203" pitchFamily="34" charset="0"/>
                </a:rPr>
                <a:t>om een afbeelding in te voegen</a:t>
              </a:r>
              <a:br>
                <a:rPr lang="nl-NL" sz="1200" kern="0" dirty="0">
                  <a:solidFill>
                    <a:srgbClr val="000000"/>
                  </a:solidFill>
                  <a:latin typeface="Trebuchet MS"/>
                  <a:cs typeface="Segoe UI Light" panose="020B0502040204020203" pitchFamily="34" charset="0"/>
                </a:rPr>
              </a:br>
              <a:r>
                <a:rPr lang="nl-NL" sz="1100" i="1" kern="0" dirty="0">
                  <a:solidFill>
                    <a:srgbClr val="000000"/>
                  </a:solidFill>
                  <a:latin typeface="Trebuchet MS"/>
                  <a:cs typeface="Segoe UI Light" panose="020B0502040204020203" pitchFamily="34" charset="0"/>
                </a:rPr>
                <a:t>(zie onderstaand voorbeeld).</a:t>
              </a:r>
            </a:p>
          </p:txBody>
        </p:sp>
        <p:sp>
          <p:nvSpPr>
            <p:cNvPr id="127" name="Tekstvak 33"/>
            <p:cNvSpPr txBox="1"/>
            <p:nvPr/>
          </p:nvSpPr>
          <p:spPr>
            <a:xfrm>
              <a:off x="12441149" y="2793904"/>
              <a:ext cx="2710405" cy="395943"/>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Selecteer de afbeelding die u wilt invoegen en klik op </a:t>
              </a:r>
              <a:r>
                <a:rPr lang="nl-NL" sz="1200" b="1" kern="0" dirty="0">
                  <a:solidFill>
                    <a:srgbClr val="000000"/>
                  </a:solidFill>
                  <a:latin typeface="Trebuchet MS"/>
                  <a:cs typeface="Segoe UI Light" panose="020B0502040204020203" pitchFamily="34" charset="0"/>
                </a:rPr>
                <a:t>‘Invoegen’</a:t>
              </a:r>
            </a:p>
          </p:txBody>
        </p:sp>
        <p:sp>
          <p:nvSpPr>
            <p:cNvPr id="128" name="Ovaal 127"/>
            <p:cNvSpPr/>
            <p:nvPr/>
          </p:nvSpPr>
          <p:spPr>
            <a:xfrm>
              <a:off x="12441150" y="379292"/>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1</a:t>
              </a:r>
            </a:p>
          </p:txBody>
        </p:sp>
        <p:sp>
          <p:nvSpPr>
            <p:cNvPr id="129" name="Ovaal 128"/>
            <p:cNvSpPr/>
            <p:nvPr/>
          </p:nvSpPr>
          <p:spPr>
            <a:xfrm>
              <a:off x="12441150" y="2337208"/>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2</a:t>
              </a:r>
            </a:p>
          </p:txBody>
        </p:sp>
        <p:cxnSp>
          <p:nvCxnSpPr>
            <p:cNvPr id="130" name="Rechte verbindingslijn 129"/>
            <p:cNvCxnSpPr/>
            <p:nvPr/>
          </p:nvCxnSpPr>
          <p:spPr>
            <a:xfrm>
              <a:off x="12441150" y="248176"/>
              <a:ext cx="2710405" cy="0"/>
            </a:xfrm>
            <a:prstGeom prst="line">
              <a:avLst/>
            </a:prstGeom>
            <a:noFill/>
            <a:ln w="9525" cap="flat" cmpd="sng" algn="ctr">
              <a:solidFill>
                <a:schemeClr val="accent1"/>
              </a:solidFill>
              <a:prstDash val="solid"/>
            </a:ln>
            <a:effectLst/>
          </p:spPr>
        </p:cxnSp>
        <p:cxnSp>
          <p:nvCxnSpPr>
            <p:cNvPr id="131" name="Rechte verbindingslijn 130"/>
            <p:cNvCxnSpPr/>
            <p:nvPr/>
          </p:nvCxnSpPr>
          <p:spPr>
            <a:xfrm>
              <a:off x="12441149" y="2212830"/>
              <a:ext cx="2710405" cy="0"/>
            </a:xfrm>
            <a:prstGeom prst="line">
              <a:avLst/>
            </a:prstGeom>
            <a:noFill/>
            <a:ln w="9525" cap="flat" cmpd="sng" algn="ctr">
              <a:solidFill>
                <a:schemeClr val="accent1"/>
              </a:solidFill>
              <a:prstDash val="solid"/>
            </a:ln>
            <a:effectLst/>
          </p:spPr>
        </p:cxnSp>
        <p:cxnSp>
          <p:nvCxnSpPr>
            <p:cNvPr id="132" name="Rechte verbindingslijn 131"/>
            <p:cNvCxnSpPr/>
            <p:nvPr/>
          </p:nvCxnSpPr>
          <p:spPr>
            <a:xfrm>
              <a:off x="12444679" y="3691468"/>
              <a:ext cx="2706875" cy="0"/>
            </a:xfrm>
            <a:prstGeom prst="line">
              <a:avLst/>
            </a:prstGeom>
            <a:noFill/>
            <a:ln w="9525" cap="flat" cmpd="sng" algn="ctr">
              <a:solidFill>
                <a:schemeClr val="accent1"/>
              </a:solidFill>
              <a:prstDash val="solid"/>
            </a:ln>
            <a:effectLst/>
          </p:spPr>
        </p:cxnSp>
        <p:pic>
          <p:nvPicPr>
            <p:cNvPr id="133" name="Icoontje afbeeldi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434693" y="1677764"/>
              <a:ext cx="403210" cy="403210"/>
            </a:xfrm>
            <a:prstGeom prst="rect">
              <a:avLst/>
            </a:prstGeom>
          </p:spPr>
        </p:pic>
        <p:grpSp>
          <p:nvGrpSpPr>
            <p:cNvPr id="134" name="Groep 133"/>
            <p:cNvGrpSpPr/>
            <p:nvPr/>
          </p:nvGrpSpPr>
          <p:grpSpPr>
            <a:xfrm>
              <a:off x="12450571" y="3301369"/>
              <a:ext cx="1002992" cy="267962"/>
              <a:chOff x="13560784" y="3471416"/>
              <a:chExt cx="1114138" cy="297656"/>
            </a:xfrm>
          </p:grpSpPr>
          <p:sp>
            <p:nvSpPr>
              <p:cNvPr id="135" name="Afgeronde rechthoek 88"/>
              <p:cNvSpPr/>
              <p:nvPr/>
            </p:nvSpPr>
            <p:spPr>
              <a:xfrm>
                <a:off x="13560784" y="3471416"/>
                <a:ext cx="1114138" cy="297656"/>
              </a:xfrm>
              <a:prstGeom prst="roundRect">
                <a:avLst/>
              </a:prstGeom>
              <a:gradFill flip="none" rotWithShape="1">
                <a:gsLst>
                  <a:gs pos="4000">
                    <a:srgbClr val="00B0F0"/>
                  </a:gs>
                  <a:gs pos="0">
                    <a:srgbClr val="0070C0"/>
                  </a:gs>
                  <a:gs pos="100000">
                    <a:srgbClr val="0070C0"/>
                  </a:gs>
                  <a:gs pos="12000">
                    <a:srgbClr val="D1EAFF"/>
                  </a:gs>
                  <a:gs pos="96000">
                    <a:srgbClr val="00B0F0"/>
                  </a:gs>
                  <a:gs pos="89000">
                    <a:srgbClr val="DDF4FF"/>
                  </a:gs>
                  <a:gs pos="43000">
                    <a:srgbClr val="D1EAFF"/>
                  </a:gs>
                  <a:gs pos="51000">
                    <a:srgbClr val="DDF4FF"/>
                  </a:gs>
                </a:gsLst>
                <a:lin ang="16200000" scaled="1"/>
                <a:tileRect/>
              </a:gradFill>
              <a:ln w="63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dirty="0">
                  <a:solidFill>
                    <a:srgbClr val="FFFFFF"/>
                  </a:solidFill>
                </a:endParaRPr>
              </a:p>
            </p:txBody>
          </p:sp>
          <p:sp>
            <p:nvSpPr>
              <p:cNvPr id="136" name="Tekstvak 135"/>
              <p:cNvSpPr txBox="1"/>
              <p:nvPr/>
            </p:nvSpPr>
            <p:spPr>
              <a:xfrm>
                <a:off x="13573594" y="3488254"/>
                <a:ext cx="888311" cy="273506"/>
              </a:xfrm>
              <a:prstGeom prst="rect">
                <a:avLst/>
              </a:prstGeom>
              <a:noFill/>
            </p:spPr>
            <p:txBody>
              <a:bodyPr wrap="square" rtlCol="0" anchor="ctr">
                <a:spAutoFit/>
              </a:bodyPr>
              <a:lstStyle>
                <a:defPPr>
                  <a:defRPr lang="nl-NL"/>
                </a:defPPr>
                <a:lvl1pPr marR="0" lvl="0" indent="0" algn="ctr" fontAlgn="auto">
                  <a:lnSpc>
                    <a:spcPct val="100000"/>
                  </a:lnSpc>
                  <a:spcBef>
                    <a:spcPts val="0"/>
                  </a:spcBef>
                  <a:spcAft>
                    <a:spcPts val="0"/>
                  </a:spcAft>
                  <a:buClrTx/>
                  <a:buSzTx/>
                  <a:buFontTx/>
                  <a:buNone/>
                  <a:tabLst/>
                  <a:defRPr kumimoji="0" sz="900" i="0" u="none" strike="noStrike" kern="0" cap="none" spc="0" normalizeH="0" baseline="0">
                    <a:ln>
                      <a:noFill/>
                    </a:ln>
                    <a:effectLst>
                      <a:outerShdw blurRad="25400" algn="ctr" rotWithShape="0">
                        <a:prstClr val="white"/>
                      </a:outerShdw>
                    </a:effectLst>
                    <a:uLnTx/>
                    <a:uFillTx/>
                    <a:latin typeface="Segoe UI Light" panose="020B0502040204020203" pitchFamily="34" charset="0"/>
                    <a:cs typeface="Segoe UI Light" panose="020B0502040204020203" pitchFamily="34" charset="0"/>
                  </a:defRPr>
                </a:lvl1pPr>
                <a:lvl2pPr fontAlgn="base">
                  <a:spcBef>
                    <a:spcPct val="0"/>
                  </a:spcBef>
                  <a:spcAft>
                    <a:spcPct val="0"/>
                  </a:spcAft>
                  <a:defRPr>
                    <a:latin typeface="Arial" charset="0"/>
                    <a:cs typeface="Arial" charset="0"/>
                  </a:defRPr>
                </a:lvl2pPr>
                <a:lvl3pPr fontAlgn="base">
                  <a:spcBef>
                    <a:spcPct val="0"/>
                  </a:spcBef>
                  <a:spcAft>
                    <a:spcPct val="0"/>
                  </a:spcAft>
                  <a:defRPr>
                    <a:latin typeface="Arial" charset="0"/>
                    <a:cs typeface="Arial" charset="0"/>
                  </a:defRPr>
                </a:lvl3pPr>
                <a:lvl4pPr fontAlgn="base">
                  <a:spcBef>
                    <a:spcPct val="0"/>
                  </a:spcBef>
                  <a:spcAft>
                    <a:spcPct val="0"/>
                  </a:spcAft>
                  <a:defRPr>
                    <a:latin typeface="Arial" charset="0"/>
                    <a:cs typeface="Arial" charset="0"/>
                  </a:defRPr>
                </a:lvl4pPr>
                <a:lvl5pPr fontAlgn="base">
                  <a:spcBef>
                    <a:spcPct val="0"/>
                  </a:spcBef>
                  <a:spcAft>
                    <a:spcPct val="0"/>
                  </a:spcAft>
                  <a:defRPr>
                    <a:latin typeface="Arial" charset="0"/>
                    <a:cs typeface="Arial" charset="0"/>
                  </a:defRPr>
                </a:lvl5pPr>
                <a:lvl6pPr>
                  <a:defRPr>
                    <a:latin typeface="Arial" charset="0"/>
                    <a:cs typeface="Arial" charset="0"/>
                  </a:defRPr>
                </a:lvl6pPr>
                <a:lvl7pPr>
                  <a:defRPr>
                    <a:latin typeface="Arial" charset="0"/>
                    <a:cs typeface="Arial" charset="0"/>
                  </a:defRPr>
                </a:lvl7pPr>
                <a:lvl8pPr>
                  <a:defRPr>
                    <a:latin typeface="Arial" charset="0"/>
                    <a:cs typeface="Arial" charset="0"/>
                  </a:defRPr>
                </a:lvl8pPr>
                <a:lvl9pPr>
                  <a:defRPr>
                    <a:latin typeface="Arial" charset="0"/>
                    <a:cs typeface="Arial" charset="0"/>
                  </a:defRPr>
                </a:lvl9pPr>
              </a:lstStyle>
              <a:p>
                <a:pPr defTabSz="914112"/>
                <a:r>
                  <a:rPr lang="nl-NL" sz="1000" dirty="0">
                    <a:solidFill>
                      <a:srgbClr val="000000"/>
                    </a:solidFill>
                    <a:latin typeface="Trebuchet MS"/>
                  </a:rPr>
                  <a:t>Invoegen</a:t>
                </a:r>
              </a:p>
            </p:txBody>
          </p:sp>
          <p:cxnSp>
            <p:nvCxnSpPr>
              <p:cNvPr id="137" name="Rechte verbindingslijn 136"/>
              <p:cNvCxnSpPr/>
              <p:nvPr/>
            </p:nvCxnSpPr>
            <p:spPr>
              <a:xfrm>
                <a:off x="14461905" y="3507058"/>
                <a:ext cx="0" cy="224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8" name="Gelijkbenige driehoek 137"/>
              <p:cNvSpPr/>
              <p:nvPr/>
            </p:nvSpPr>
            <p:spPr>
              <a:xfrm rot="10800000">
                <a:off x="14518584" y="3600521"/>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112"/>
                <a:endParaRPr lang="nl-NL" dirty="0">
                  <a:solidFill>
                    <a:srgbClr val="FFFFFF"/>
                  </a:solidFill>
                </a:endParaRPr>
              </a:p>
            </p:txBody>
          </p:sp>
        </p:grpSp>
      </p:grpSp>
      <p:grpSp>
        <p:nvGrpSpPr>
          <p:cNvPr id="251" name="Instructie - Tekst niveaus"/>
          <p:cNvGrpSpPr/>
          <p:nvPr userDrawn="1"/>
        </p:nvGrpSpPr>
        <p:grpSpPr>
          <a:xfrm>
            <a:off x="-3117849" y="365"/>
            <a:ext cx="2823358" cy="5254722"/>
            <a:chOff x="-2959433" y="-5444"/>
            <a:chExt cx="2822623" cy="5254722"/>
          </a:xfrm>
        </p:grpSpPr>
        <p:sp>
          <p:nvSpPr>
            <p:cNvPr id="252" name="Rechthoek 251"/>
            <p:cNvSpPr/>
            <p:nvPr userDrawn="1"/>
          </p:nvSpPr>
          <p:spPr>
            <a:xfrm>
              <a:off x="-2959433" y="-5444"/>
              <a:ext cx="2572469" cy="280344"/>
            </a:xfrm>
            <a:prstGeom prst="rect">
              <a:avLst/>
            </a:prstGeom>
            <a:noFill/>
            <a:ln w="25400" cap="flat" cmpd="sng" algn="ctr">
              <a:noFill/>
              <a:prstDash val="solid"/>
            </a:ln>
            <a:effectLst/>
          </p:spPr>
          <p:txBody>
            <a:bodyPr lIns="0" tIns="0" rIns="0" bIns="0" rtlCol="0" anchor="t"/>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nl-NL" sz="1600" b="1" kern="0" dirty="0">
                  <a:solidFill>
                    <a:srgbClr val="ED1A3B"/>
                  </a:solidFill>
                  <a:cs typeface="Segoe UI Light" panose="020B0502040204020203" pitchFamily="34" charset="0"/>
                </a:rPr>
                <a:t>TEKST NIVEAUS</a:t>
              </a:r>
            </a:p>
          </p:txBody>
        </p:sp>
        <p:sp>
          <p:nvSpPr>
            <p:cNvPr id="253" name="Textfield placeholder"/>
            <p:cNvSpPr txBox="1">
              <a:spLocks/>
            </p:cNvSpPr>
            <p:nvPr userDrawn="1"/>
          </p:nvSpPr>
          <p:spPr>
            <a:xfrm>
              <a:off x="-2587337" y="2675411"/>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0" lvl="2"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a:solidFill>
                    <a:srgbClr val="404040"/>
                  </a:solidFill>
                </a:rPr>
                <a:t>Sub-bullets (12 pt.)</a:t>
              </a:r>
            </a:p>
          </p:txBody>
        </p:sp>
        <p:sp>
          <p:nvSpPr>
            <p:cNvPr id="254" name="Ovaal 253"/>
            <p:cNvSpPr/>
            <p:nvPr userDrawn="1"/>
          </p:nvSpPr>
          <p:spPr>
            <a:xfrm>
              <a:off x="-2959433" y="196874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1</a:t>
              </a:r>
            </a:p>
          </p:txBody>
        </p:sp>
        <p:sp>
          <p:nvSpPr>
            <p:cNvPr id="255" name="Ovaal 254"/>
            <p:cNvSpPr/>
            <p:nvPr userDrawn="1"/>
          </p:nvSpPr>
          <p:spPr>
            <a:xfrm>
              <a:off x="-2959433" y="232207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2</a:t>
              </a:r>
            </a:p>
          </p:txBody>
        </p:sp>
        <p:sp>
          <p:nvSpPr>
            <p:cNvPr id="256" name="Ovaal 255"/>
            <p:cNvSpPr/>
            <p:nvPr userDrawn="1"/>
          </p:nvSpPr>
          <p:spPr>
            <a:xfrm>
              <a:off x="-2959433" y="267541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3</a:t>
              </a:r>
            </a:p>
          </p:txBody>
        </p:sp>
        <p:sp>
          <p:nvSpPr>
            <p:cNvPr id="257" name="Ovaal 256"/>
            <p:cNvSpPr/>
            <p:nvPr userDrawn="1"/>
          </p:nvSpPr>
          <p:spPr>
            <a:xfrm>
              <a:off x="-2959433" y="302874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4</a:t>
              </a:r>
            </a:p>
          </p:txBody>
        </p:sp>
        <p:sp>
          <p:nvSpPr>
            <p:cNvPr id="258" name="Textfield placeholder"/>
            <p:cNvSpPr txBox="1">
              <a:spLocks/>
            </p:cNvSpPr>
            <p:nvPr userDrawn="1"/>
          </p:nvSpPr>
          <p:spPr>
            <a:xfrm>
              <a:off x="-2571950" y="1966925"/>
              <a:ext cx="2163709" cy="261500"/>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79388">
                <a:lnSpc>
                  <a:spcPct val="120000"/>
                </a:lnSpc>
                <a:spcBef>
                  <a:spcPts val="0"/>
                </a:spcBef>
                <a:spcAft>
                  <a:spcPts val="900"/>
                </a:spcAft>
                <a:buClr>
                  <a:srgbClr val="000000"/>
                </a:buClr>
                <a:buSzPct val="100000"/>
                <a:buFont typeface="Arial" pitchFamily="34" charset="0"/>
                <a:buNone/>
                <a:defRPr/>
              </a:pPr>
              <a:r>
                <a:rPr lang="nl-NL" sz="1200" dirty="0">
                  <a:solidFill>
                    <a:srgbClr val="535353"/>
                  </a:solidFill>
                </a:rPr>
                <a:t>Leestekst (12 pt.)</a:t>
              </a:r>
            </a:p>
          </p:txBody>
        </p:sp>
        <p:sp>
          <p:nvSpPr>
            <p:cNvPr id="259" name="Textfield placeholder"/>
            <p:cNvSpPr txBox="1">
              <a:spLocks/>
            </p:cNvSpPr>
            <p:nvPr userDrawn="1"/>
          </p:nvSpPr>
          <p:spPr>
            <a:xfrm>
              <a:off x="-2571950" y="2322077"/>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70000" lvl="1"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err="1">
                  <a:solidFill>
                    <a:srgbClr val="535353"/>
                  </a:solidFill>
                </a:rPr>
                <a:t>Bullets</a:t>
              </a:r>
              <a:r>
                <a:rPr lang="nl-NL" sz="1200" dirty="0">
                  <a:solidFill>
                    <a:srgbClr val="535353"/>
                  </a:solidFill>
                </a:rPr>
                <a:t> (12 </a:t>
              </a:r>
              <a:r>
                <a:rPr lang="nl-NL" sz="1200" dirty="0" err="1">
                  <a:solidFill>
                    <a:srgbClr val="535353"/>
                  </a:solidFill>
                </a:rPr>
                <a:t>pt</a:t>
              </a:r>
              <a:r>
                <a:rPr lang="nl-NL" sz="1200" dirty="0">
                  <a:solidFill>
                    <a:srgbClr val="535353"/>
                  </a:solidFill>
                </a:rPr>
                <a:t>.)</a:t>
              </a:r>
            </a:p>
          </p:txBody>
        </p:sp>
        <p:sp>
          <p:nvSpPr>
            <p:cNvPr id="260" name="Textfield placeholder"/>
            <p:cNvSpPr txBox="1">
              <a:spLocks/>
            </p:cNvSpPr>
            <p:nvPr userDrawn="1"/>
          </p:nvSpPr>
          <p:spPr>
            <a:xfrm>
              <a:off x="-2571951" y="3028747"/>
              <a:ext cx="2435141"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10000" lvl="3" indent="-270000" algn="l" defTabSz="179388" rtl="0" eaLnBrk="1" latinLnBrk="0" hangingPunct="1">
                <a:lnSpc>
                  <a:spcPct val="120000"/>
                </a:lnSpc>
                <a:spcBef>
                  <a:spcPts val="0"/>
                </a:spcBef>
                <a:spcAft>
                  <a:spcPts val="900"/>
                </a:spcAft>
                <a:buClr>
                  <a:schemeClr val="accent2"/>
                </a:buClr>
                <a:buSzPct val="80000"/>
                <a:buFont typeface="Wingdings 3" panose="05040102010807070707" pitchFamily="18" charset="2"/>
                <a:buChar char=""/>
                <a:defRPr/>
              </a:pPr>
              <a:r>
                <a:rPr lang="nl-NL" sz="1200" b="0" kern="1200" dirty="0">
                  <a:solidFill>
                    <a:srgbClr val="404040"/>
                  </a:solidFill>
                  <a:latin typeface="+mn-lt"/>
                  <a:ea typeface="+mn-ea"/>
                  <a:cs typeface="+mn-cs"/>
                </a:rPr>
                <a:t>Sub-sub-bullets (12 pt.)</a:t>
              </a:r>
            </a:p>
          </p:txBody>
        </p:sp>
        <p:cxnSp>
          <p:nvCxnSpPr>
            <p:cNvPr id="261" name="Rechte verbindingslijn 260"/>
            <p:cNvCxnSpPr/>
            <p:nvPr userDrawn="1"/>
          </p:nvCxnSpPr>
          <p:spPr>
            <a:xfrm>
              <a:off x="-2959100" y="274900"/>
              <a:ext cx="2674470" cy="0"/>
            </a:xfrm>
            <a:prstGeom prst="line">
              <a:avLst/>
            </a:prstGeom>
            <a:noFill/>
            <a:ln w="9525" cap="flat" cmpd="sng" algn="ctr">
              <a:solidFill>
                <a:schemeClr val="accent1"/>
              </a:solidFill>
              <a:prstDash val="solid"/>
            </a:ln>
            <a:effectLst/>
          </p:spPr>
        </p:cxnSp>
        <p:cxnSp>
          <p:nvCxnSpPr>
            <p:cNvPr id="262" name="Rechte verbindingslijn 261"/>
            <p:cNvCxnSpPr/>
            <p:nvPr userDrawn="1"/>
          </p:nvCxnSpPr>
          <p:spPr>
            <a:xfrm>
              <a:off x="-2959100" y="1841989"/>
              <a:ext cx="2661379" cy="0"/>
            </a:xfrm>
            <a:prstGeom prst="line">
              <a:avLst/>
            </a:prstGeom>
            <a:noFill/>
            <a:ln w="9525" cap="flat" cmpd="sng" algn="ctr">
              <a:solidFill>
                <a:schemeClr val="accent1"/>
              </a:solidFill>
              <a:prstDash val="solid"/>
            </a:ln>
            <a:effectLst/>
          </p:spPr>
        </p:cxnSp>
        <p:cxnSp>
          <p:nvCxnSpPr>
            <p:cNvPr id="263" name="Rechte verbindingslijn 262"/>
            <p:cNvCxnSpPr/>
            <p:nvPr userDrawn="1"/>
          </p:nvCxnSpPr>
          <p:spPr>
            <a:xfrm>
              <a:off x="-2959100" y="5249278"/>
              <a:ext cx="2661379" cy="0"/>
            </a:xfrm>
            <a:prstGeom prst="line">
              <a:avLst/>
            </a:prstGeom>
            <a:noFill/>
            <a:ln w="9525" cap="flat" cmpd="sng" algn="ctr">
              <a:solidFill>
                <a:schemeClr val="accent1"/>
              </a:solidFill>
              <a:prstDash val="solid"/>
            </a:ln>
            <a:effectLst/>
          </p:spPr>
        </p:cxnSp>
        <p:grpSp>
          <p:nvGrpSpPr>
            <p:cNvPr id="264" name="Groep 263"/>
            <p:cNvGrpSpPr/>
            <p:nvPr userDrawn="1"/>
          </p:nvGrpSpPr>
          <p:grpSpPr>
            <a:xfrm>
              <a:off x="-1948476" y="816741"/>
              <a:ext cx="409108" cy="427699"/>
              <a:chOff x="-1085063" y="758027"/>
              <a:chExt cx="633799" cy="622540"/>
            </a:xfrm>
          </p:grpSpPr>
          <p:sp>
            <p:nvSpPr>
              <p:cNvPr id="320" name="Afgeronde rechthoek 319"/>
              <p:cNvSpPr/>
              <p:nvPr userDrawn="1"/>
            </p:nvSpPr>
            <p:spPr>
              <a:xfrm>
                <a:off x="-108506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321" name="Groep 320"/>
              <p:cNvGrpSpPr/>
              <p:nvPr userDrawn="1"/>
            </p:nvGrpSpPr>
            <p:grpSpPr>
              <a:xfrm>
                <a:off x="-977739" y="864082"/>
                <a:ext cx="419168" cy="410429"/>
                <a:chOff x="6366933" y="309013"/>
                <a:chExt cx="1901295" cy="1861668"/>
              </a:xfrm>
              <a:solidFill>
                <a:srgbClr val="000000"/>
              </a:solidFill>
            </p:grpSpPr>
            <p:sp>
              <p:nvSpPr>
                <p:cNvPr id="322" name="Rechthoek 321"/>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23" name="Rechthoek 322"/>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24" name="Rechthoek 323"/>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25" name="Rechthoek 324"/>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26" name="Rechthoek 325"/>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27" name="Rechthoek 326"/>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28" name="Rechthoek 327"/>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29" name="Rechthoek 328"/>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30" name="Rechthoek 329"/>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31" name="Rechthoek 330"/>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32" name="Vrije vorm 331"/>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nvGrpSpPr>
            <p:cNvPr id="265" name="Groep 264"/>
            <p:cNvGrpSpPr/>
            <p:nvPr userDrawn="1"/>
          </p:nvGrpSpPr>
          <p:grpSpPr>
            <a:xfrm>
              <a:off x="-2950232" y="1207835"/>
              <a:ext cx="532929" cy="509563"/>
              <a:chOff x="-2880382" y="802341"/>
              <a:chExt cx="532929" cy="509563"/>
            </a:xfrm>
          </p:grpSpPr>
          <p:sp>
            <p:nvSpPr>
              <p:cNvPr id="298" name="Rechthoek 297"/>
              <p:cNvSpPr/>
              <p:nvPr userDrawn="1"/>
            </p:nvSpPr>
            <p:spPr>
              <a:xfrm>
                <a:off x="-2880382" y="802341"/>
                <a:ext cx="532929" cy="509563"/>
              </a:xfrm>
              <a:prstGeom prst="rect">
                <a:avLst/>
              </a:prstGeom>
              <a:solidFill>
                <a:sysClr val="window" lastClr="FFFFFF"/>
              </a:soli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pic>
            <p:nvPicPr>
              <p:cNvPr id="299"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635852" y="822181"/>
                <a:ext cx="226442" cy="208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0"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848026" y="822181"/>
                <a:ext cx="207168" cy="213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01" name="Groep 300"/>
              <p:cNvGrpSpPr/>
              <p:nvPr userDrawn="1"/>
            </p:nvGrpSpPr>
            <p:grpSpPr>
              <a:xfrm>
                <a:off x="-2802433" y="1123442"/>
                <a:ext cx="132915" cy="104889"/>
                <a:chOff x="-2796392" y="1123442"/>
                <a:chExt cx="120832" cy="104889"/>
              </a:xfrm>
            </p:grpSpPr>
            <p:sp>
              <p:nvSpPr>
                <p:cNvPr id="315" name="Rechthoek 314"/>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6" name="Rechthoek 315"/>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7" name="Rechthoek 316"/>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8" name="Rechthoek 317"/>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9" name="Rechthoek 318"/>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302" name="Groep 301"/>
              <p:cNvGrpSpPr/>
              <p:nvPr userDrawn="1"/>
            </p:nvGrpSpPr>
            <p:grpSpPr>
              <a:xfrm>
                <a:off x="-2575417" y="1123442"/>
                <a:ext cx="133930" cy="104889"/>
                <a:chOff x="-2556734" y="1123442"/>
                <a:chExt cx="147324" cy="104889"/>
              </a:xfrm>
            </p:grpSpPr>
            <p:grpSp>
              <p:nvGrpSpPr>
                <p:cNvPr id="303" name="Groep 302"/>
                <p:cNvGrpSpPr/>
                <p:nvPr userDrawn="1"/>
              </p:nvGrpSpPr>
              <p:grpSpPr>
                <a:xfrm>
                  <a:off x="-2556734" y="1123442"/>
                  <a:ext cx="68206" cy="104889"/>
                  <a:chOff x="-2796392" y="1123442"/>
                  <a:chExt cx="120832" cy="104889"/>
                </a:xfrm>
              </p:grpSpPr>
              <p:sp>
                <p:nvSpPr>
                  <p:cNvPr id="310" name="Rechthoek 309"/>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1" name="Rechthoek 310"/>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2" name="Rechthoek 311"/>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3" name="Rechthoek 312"/>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4" name="Rechthoek 313"/>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304" name="Groep 303"/>
                <p:cNvGrpSpPr/>
                <p:nvPr userDrawn="1"/>
              </p:nvGrpSpPr>
              <p:grpSpPr>
                <a:xfrm>
                  <a:off x="-2477616" y="1123442"/>
                  <a:ext cx="68206" cy="104889"/>
                  <a:chOff x="-2796392" y="1123442"/>
                  <a:chExt cx="120832" cy="104889"/>
                </a:xfrm>
              </p:grpSpPr>
              <p:sp>
                <p:nvSpPr>
                  <p:cNvPr id="305" name="Rechthoek 304"/>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6" name="Rechthoek 305"/>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7" name="Rechthoek 306"/>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8" name="Rechthoek 307"/>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9" name="Rechthoek 308"/>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grpSp>
          <p:nvGrpSpPr>
            <p:cNvPr id="266" name="Groep 265"/>
            <p:cNvGrpSpPr/>
            <p:nvPr userDrawn="1"/>
          </p:nvGrpSpPr>
          <p:grpSpPr>
            <a:xfrm>
              <a:off x="-1948476" y="1281164"/>
              <a:ext cx="413704" cy="427699"/>
              <a:chOff x="-1845083" y="758027"/>
              <a:chExt cx="633799" cy="622540"/>
            </a:xfrm>
          </p:grpSpPr>
          <p:sp>
            <p:nvSpPr>
              <p:cNvPr id="285" name="Afgeronde rechthoek 284"/>
              <p:cNvSpPr/>
              <p:nvPr userDrawn="1"/>
            </p:nvSpPr>
            <p:spPr>
              <a:xfrm>
                <a:off x="-184508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286" name="Groep 285"/>
              <p:cNvGrpSpPr/>
              <p:nvPr userDrawn="1"/>
            </p:nvGrpSpPr>
            <p:grpSpPr>
              <a:xfrm>
                <a:off x="-1737762" y="864082"/>
                <a:ext cx="419168" cy="410429"/>
                <a:chOff x="3708400" y="309013"/>
                <a:chExt cx="1901295" cy="1861668"/>
              </a:xfrm>
              <a:solidFill>
                <a:srgbClr val="000000"/>
              </a:solidFill>
            </p:grpSpPr>
            <p:sp>
              <p:nvSpPr>
                <p:cNvPr id="287" name="Rechthoek 286"/>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8" name="Rechthoek 287"/>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9" name="Rechthoek 288"/>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0" name="Rechthoek 289"/>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1" name="Rechthoek 290"/>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2" name="Rechthoek 291"/>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3" name="Rechthoek 292"/>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4" name="Rechthoek 293"/>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5" name="Rechthoek 294"/>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6" name="Rechthoek 295"/>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7" name="Vrije vorm 296"/>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cxnSp>
          <p:nvCxnSpPr>
            <p:cNvPr id="267" name="Rechte verbindingslijn 266"/>
            <p:cNvCxnSpPr/>
            <p:nvPr userDrawn="1"/>
          </p:nvCxnSpPr>
          <p:spPr>
            <a:xfrm>
              <a:off x="-2814292" y="1441193"/>
              <a:ext cx="865816" cy="53821"/>
            </a:xfrm>
            <a:prstGeom prst="line">
              <a:avLst/>
            </a:prstGeom>
            <a:noFill/>
            <a:ln w="9525" cap="flat" cmpd="sng" algn="ctr">
              <a:solidFill>
                <a:schemeClr val="accent1"/>
              </a:solidFill>
              <a:prstDash val="solid"/>
              <a:headEnd type="oval"/>
            </a:ln>
            <a:effectLst/>
          </p:spPr>
        </p:cxnSp>
        <p:cxnSp>
          <p:nvCxnSpPr>
            <p:cNvPr id="268" name="Rechte verbindingslijn 267"/>
            <p:cNvCxnSpPr/>
            <p:nvPr userDrawn="1"/>
          </p:nvCxnSpPr>
          <p:spPr>
            <a:xfrm flipV="1">
              <a:off x="-2453902" y="1030591"/>
              <a:ext cx="505426" cy="283623"/>
            </a:xfrm>
            <a:prstGeom prst="line">
              <a:avLst/>
            </a:prstGeom>
            <a:noFill/>
            <a:ln w="9525" cap="flat" cmpd="sng" algn="ctr">
              <a:solidFill>
                <a:schemeClr val="accent1"/>
              </a:solidFill>
              <a:prstDash val="solid"/>
              <a:headEnd type="oval"/>
            </a:ln>
            <a:effectLst/>
          </p:spPr>
        </p:cxnSp>
        <p:sp>
          <p:nvSpPr>
            <p:cNvPr id="269" name="Textfield placeholder"/>
            <p:cNvSpPr txBox="1">
              <a:spLocks/>
            </p:cNvSpPr>
            <p:nvPr userDrawn="1"/>
          </p:nvSpPr>
          <p:spPr>
            <a:xfrm>
              <a:off x="-1341598" y="816743"/>
              <a:ext cx="1056968" cy="427698"/>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hoog</a:t>
              </a:r>
            </a:p>
          </p:txBody>
        </p:sp>
        <p:sp>
          <p:nvSpPr>
            <p:cNvPr id="270" name="Textfield placeholder"/>
            <p:cNvSpPr txBox="1">
              <a:spLocks/>
            </p:cNvSpPr>
            <p:nvPr userDrawn="1"/>
          </p:nvSpPr>
          <p:spPr>
            <a:xfrm>
              <a:off x="-1341599" y="1281164"/>
              <a:ext cx="1070223" cy="427699"/>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laag</a:t>
              </a:r>
            </a:p>
          </p:txBody>
        </p:sp>
        <p:sp>
          <p:nvSpPr>
            <p:cNvPr id="271" name="Ovaal 270"/>
            <p:cNvSpPr/>
            <p:nvPr userDrawn="1"/>
          </p:nvSpPr>
          <p:spPr>
            <a:xfrm>
              <a:off x="-2959433" y="338208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5</a:t>
              </a:r>
            </a:p>
          </p:txBody>
        </p:sp>
        <p:sp>
          <p:nvSpPr>
            <p:cNvPr id="272" name="Textfield placeholder"/>
            <p:cNvSpPr txBox="1">
              <a:spLocks/>
            </p:cNvSpPr>
            <p:nvPr userDrawn="1"/>
          </p:nvSpPr>
          <p:spPr>
            <a:xfrm>
              <a:off x="-2571950" y="3382082"/>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60000" lvl="4" indent="-360000" defTabSz="179388">
                <a:lnSpc>
                  <a:spcPct val="120000"/>
                </a:lnSpc>
                <a:spcBef>
                  <a:spcPts val="0"/>
                </a:spcBef>
                <a:spcAft>
                  <a:spcPts val="900"/>
                </a:spcAft>
                <a:buClr>
                  <a:srgbClr val="ED1A3B"/>
                </a:buClr>
                <a:buFont typeface="+mj-lt"/>
                <a:buAutoNum type="arabicPeriod"/>
                <a:defRPr/>
              </a:pPr>
              <a:r>
                <a:rPr lang="nl-NL" sz="1200" b="0" dirty="0">
                  <a:solidFill>
                    <a:srgbClr val="404040"/>
                  </a:solidFill>
                </a:rPr>
                <a:t>Numeriek (12 pt.)</a:t>
              </a:r>
            </a:p>
          </p:txBody>
        </p:sp>
        <p:grpSp>
          <p:nvGrpSpPr>
            <p:cNvPr id="273" name="Groep 272"/>
            <p:cNvGrpSpPr/>
            <p:nvPr userDrawn="1"/>
          </p:nvGrpSpPr>
          <p:grpSpPr>
            <a:xfrm>
              <a:off x="-2950232" y="816050"/>
              <a:ext cx="528695" cy="344202"/>
              <a:chOff x="-2880382" y="410556"/>
              <a:chExt cx="528695" cy="344202"/>
            </a:xfrm>
          </p:grpSpPr>
          <p:sp>
            <p:nvSpPr>
              <p:cNvPr id="283" name="Afgeronde rechthoek 282"/>
              <p:cNvSpPr/>
              <p:nvPr userDrawn="1"/>
            </p:nvSpPr>
            <p:spPr>
              <a:xfrm>
                <a:off x="-2874214" y="410556"/>
                <a:ext cx="522527" cy="339183"/>
              </a:xfrm>
              <a:prstGeom prst="roundRect">
                <a:avLst>
                  <a:gd name="adj" fmla="val 7565"/>
                </a:avLst>
              </a:prstGeom>
              <a:gradFill>
                <a:gsLst>
                  <a:gs pos="0">
                    <a:srgbClr val="FFEC8F"/>
                  </a:gs>
                  <a:gs pos="100000">
                    <a:srgbClr val="FFFFFF"/>
                  </a:gs>
                </a:gsLst>
                <a:lin ang="5400000" scaled="0"/>
              </a:gra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sp>
            <p:nvSpPr>
              <p:cNvPr id="284" name="Vrije vorm 283"/>
              <p:cNvSpPr/>
              <p:nvPr userDrawn="1"/>
            </p:nvSpPr>
            <p:spPr>
              <a:xfrm>
                <a:off x="-2880382" y="452699"/>
                <a:ext cx="528695" cy="302059"/>
              </a:xfrm>
              <a:custGeom>
                <a:avLst/>
                <a:gdLst>
                  <a:gd name="connsiteX0" fmla="*/ 55524 w 528695"/>
                  <a:gd name="connsiteY0" fmla="*/ 0 h 302059"/>
                  <a:gd name="connsiteX1" fmla="*/ 455496 w 528695"/>
                  <a:gd name="connsiteY1" fmla="*/ 0 h 302059"/>
                  <a:gd name="connsiteX2" fmla="*/ 475205 w 528695"/>
                  <a:gd name="connsiteY2" fmla="*/ 19709 h 302059"/>
                  <a:gd name="connsiteX3" fmla="*/ 475205 w 528695"/>
                  <a:gd name="connsiteY3" fmla="*/ 230056 h 302059"/>
                  <a:gd name="connsiteX4" fmla="*/ 516694 w 528695"/>
                  <a:gd name="connsiteY4" fmla="*/ 230056 h 302059"/>
                  <a:gd name="connsiteX5" fmla="*/ 528695 w 528695"/>
                  <a:gd name="connsiteY5" fmla="*/ 242057 h 302059"/>
                  <a:gd name="connsiteX6" fmla="*/ 528695 w 528695"/>
                  <a:gd name="connsiteY6" fmla="*/ 290058 h 302059"/>
                  <a:gd name="connsiteX7" fmla="*/ 516694 w 528695"/>
                  <a:gd name="connsiteY7" fmla="*/ 302059 h 302059"/>
                  <a:gd name="connsiteX8" fmla="*/ 12001 w 528695"/>
                  <a:gd name="connsiteY8" fmla="*/ 302059 h 302059"/>
                  <a:gd name="connsiteX9" fmla="*/ 0 w 528695"/>
                  <a:gd name="connsiteY9" fmla="*/ 290058 h 302059"/>
                  <a:gd name="connsiteX10" fmla="*/ 0 w 528695"/>
                  <a:gd name="connsiteY10" fmla="*/ 242057 h 302059"/>
                  <a:gd name="connsiteX11" fmla="*/ 12001 w 528695"/>
                  <a:gd name="connsiteY11" fmla="*/ 230056 h 302059"/>
                  <a:gd name="connsiteX12" fmla="*/ 35815 w 528695"/>
                  <a:gd name="connsiteY12" fmla="*/ 230056 h 302059"/>
                  <a:gd name="connsiteX13" fmla="*/ 35815 w 528695"/>
                  <a:gd name="connsiteY13" fmla="*/ 19709 h 302059"/>
                  <a:gd name="connsiteX14" fmla="*/ 55524 w 528695"/>
                  <a:gd name="connsiteY14" fmla="*/ 0 h 3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8695" h="302059">
                    <a:moveTo>
                      <a:pt x="55524" y="0"/>
                    </a:moveTo>
                    <a:lnTo>
                      <a:pt x="455496" y="0"/>
                    </a:lnTo>
                    <a:cubicBezTo>
                      <a:pt x="466381" y="0"/>
                      <a:pt x="475205" y="8824"/>
                      <a:pt x="475205" y="19709"/>
                    </a:cubicBezTo>
                    <a:lnTo>
                      <a:pt x="475205" y="230056"/>
                    </a:lnTo>
                    <a:lnTo>
                      <a:pt x="516694" y="230056"/>
                    </a:lnTo>
                    <a:cubicBezTo>
                      <a:pt x="523322" y="230056"/>
                      <a:pt x="528695" y="235429"/>
                      <a:pt x="528695" y="242057"/>
                    </a:cubicBezTo>
                    <a:lnTo>
                      <a:pt x="528695" y="290058"/>
                    </a:lnTo>
                    <a:cubicBezTo>
                      <a:pt x="528695" y="296686"/>
                      <a:pt x="523322" y="302059"/>
                      <a:pt x="516694" y="302059"/>
                    </a:cubicBezTo>
                    <a:lnTo>
                      <a:pt x="12001" y="302059"/>
                    </a:lnTo>
                    <a:cubicBezTo>
                      <a:pt x="5373" y="302059"/>
                      <a:pt x="0" y="296686"/>
                      <a:pt x="0" y="290058"/>
                    </a:cubicBezTo>
                    <a:lnTo>
                      <a:pt x="0" y="242057"/>
                    </a:lnTo>
                    <a:cubicBezTo>
                      <a:pt x="0" y="235429"/>
                      <a:pt x="5373" y="230056"/>
                      <a:pt x="12001" y="230056"/>
                    </a:cubicBezTo>
                    <a:lnTo>
                      <a:pt x="35815" y="230056"/>
                    </a:lnTo>
                    <a:lnTo>
                      <a:pt x="35815" y="19709"/>
                    </a:lnTo>
                    <a:cubicBezTo>
                      <a:pt x="35815" y="8824"/>
                      <a:pt x="44639" y="0"/>
                      <a:pt x="55524" y="0"/>
                    </a:cubicBezTo>
                    <a:close/>
                  </a:path>
                </a:pathLst>
              </a:custGeom>
              <a:solidFill>
                <a:sysClr val="window" lastClr="FFFFFF">
                  <a:lumMod val="95000"/>
                </a:sysClr>
              </a:solidFill>
              <a:ln w="9525" cap="flat" cmpd="sng" algn="ctr">
                <a:solidFill>
                  <a:srgbClr val="FFFFFF">
                    <a:lumMod val="90000"/>
                  </a:srgbClr>
                </a:solidFill>
                <a:prstDash val="solid"/>
                <a:miter lim="800000"/>
              </a:ln>
              <a:effectLst/>
            </p:spPr>
            <p:txBody>
              <a:bodyPr rot="0" spcFirstLastPara="0" vert="horz" wrap="square" lIns="108000" tIns="36000" rIns="108000" bIns="10800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900" dirty="0">
                    <a:solidFill>
                      <a:prstClr val="black"/>
                    </a:solidFill>
                    <a:latin typeface="Segoe UI Light"/>
                  </a:rPr>
                  <a:t>Start</a:t>
                </a:r>
              </a:p>
            </p:txBody>
          </p:sp>
        </p:grpSp>
        <p:sp>
          <p:nvSpPr>
            <p:cNvPr id="274" name="Tekstvak 65"/>
            <p:cNvSpPr txBox="1"/>
            <p:nvPr userDrawn="1"/>
          </p:nvSpPr>
          <p:spPr>
            <a:xfrm>
              <a:off x="-2959433" y="372104"/>
              <a:ext cx="2679887" cy="453396"/>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nl-NL" sz="1200" kern="0" dirty="0">
                  <a:solidFill>
                    <a:srgbClr val="000000"/>
                  </a:solidFill>
                  <a:latin typeface="Segoe UI Light" panose="020B0502040204020203" pitchFamily="34" charset="0"/>
                  <a:cs typeface="Segoe UI Light" panose="020B0502040204020203" pitchFamily="34" charset="0"/>
                </a:rPr>
                <a:t>Ga naar de tab </a:t>
              </a:r>
              <a:r>
                <a:rPr lang="nl-NL" sz="1200" b="1" kern="0" dirty="0">
                  <a:solidFill>
                    <a:srgbClr val="000000"/>
                  </a:solidFill>
                  <a:latin typeface="Segoe UI Light" panose="020B0502040204020203" pitchFamily="34" charset="0"/>
                  <a:cs typeface="Segoe UI Light" panose="020B0502040204020203" pitchFamily="34" charset="0"/>
                </a:rPr>
                <a:t>Start’ </a:t>
              </a:r>
              <a:r>
                <a:rPr lang="nl-NL" sz="1200" kern="0" dirty="0">
                  <a:solidFill>
                    <a:srgbClr val="000000"/>
                  </a:solidFill>
                  <a:latin typeface="Segoe UI Light" panose="020B0502040204020203" pitchFamily="34" charset="0"/>
                  <a:cs typeface="Segoe UI Light" panose="020B0502040204020203" pitchFamily="34" charset="0"/>
                </a:rPr>
                <a:t>en vind onderstaande knoppen onder </a:t>
              </a:r>
              <a:r>
                <a:rPr lang="nl-NL" sz="1200" b="1" kern="0" dirty="0">
                  <a:solidFill>
                    <a:srgbClr val="000000"/>
                  </a:solidFill>
                  <a:latin typeface="Segoe UI Light" panose="020B0502040204020203" pitchFamily="34" charset="0"/>
                  <a:cs typeface="Segoe UI Light" panose="020B0502040204020203" pitchFamily="34" charset="0"/>
                </a:rPr>
                <a:t>‘Alinea’</a:t>
              </a:r>
            </a:p>
          </p:txBody>
        </p:sp>
        <p:sp>
          <p:nvSpPr>
            <p:cNvPr id="275" name="Ovaal 274"/>
            <p:cNvSpPr/>
            <p:nvPr userDrawn="1"/>
          </p:nvSpPr>
          <p:spPr>
            <a:xfrm>
              <a:off x="-2959433" y="375153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6</a:t>
              </a:r>
            </a:p>
          </p:txBody>
        </p:sp>
        <p:sp>
          <p:nvSpPr>
            <p:cNvPr id="276" name="Textfield placeholder"/>
            <p:cNvSpPr txBox="1">
              <a:spLocks/>
            </p:cNvSpPr>
            <p:nvPr userDrawn="1"/>
          </p:nvSpPr>
          <p:spPr>
            <a:xfrm>
              <a:off x="-2571950" y="3751536"/>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0000" lvl="5" indent="-270000" defTabSz="179388">
                <a:lnSpc>
                  <a:spcPct val="120000"/>
                </a:lnSpc>
                <a:spcAft>
                  <a:spcPts val="900"/>
                </a:spcAft>
                <a:buClr>
                  <a:srgbClr val="ED1A3B"/>
                </a:buClr>
                <a:buSzPct val="80000"/>
                <a:buFont typeface="Wingdings 3" panose="05040102010807070707" pitchFamily="18" charset="2"/>
                <a:buChar char=""/>
                <a:defRPr/>
              </a:pPr>
              <a:r>
                <a:rPr lang="nl-NL" sz="1200" cap="none" dirty="0">
                  <a:solidFill>
                    <a:srgbClr val="535353"/>
                  </a:solidFill>
                </a:rPr>
                <a:t># Bullets (12 pt.)</a:t>
              </a:r>
            </a:p>
          </p:txBody>
        </p:sp>
        <p:sp>
          <p:nvSpPr>
            <p:cNvPr id="277" name="Ovaal 276"/>
            <p:cNvSpPr/>
            <p:nvPr userDrawn="1"/>
          </p:nvSpPr>
          <p:spPr>
            <a:xfrm>
              <a:off x="-2959433" y="414870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7</a:t>
              </a:r>
            </a:p>
          </p:txBody>
        </p:sp>
        <p:sp>
          <p:nvSpPr>
            <p:cNvPr id="278" name="Textfield placeholder"/>
            <p:cNvSpPr txBox="1">
              <a:spLocks/>
            </p:cNvSpPr>
            <p:nvPr userDrawn="1"/>
          </p:nvSpPr>
          <p:spPr>
            <a:xfrm>
              <a:off x="-2571950" y="414870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6" indent="0" defTabSz="179388">
                <a:lnSpc>
                  <a:spcPct val="120000"/>
                </a:lnSpc>
                <a:spcBef>
                  <a:spcPts val="0"/>
                </a:spcBef>
                <a:spcAft>
                  <a:spcPts val="900"/>
                </a:spcAft>
                <a:buClr>
                  <a:srgbClr val="ED1A3B"/>
                </a:buClr>
                <a:buSzPct val="90000"/>
                <a:buFont typeface="+mj-lt"/>
                <a:buNone/>
                <a:defRPr/>
              </a:pPr>
              <a:r>
                <a:rPr lang="nl-NL" sz="1200" i="1" dirty="0">
                  <a:solidFill>
                    <a:srgbClr val="404040"/>
                  </a:solidFill>
                </a:rPr>
                <a:t>Cursief donker (12 pt.)</a:t>
              </a:r>
            </a:p>
          </p:txBody>
        </p:sp>
        <p:sp>
          <p:nvSpPr>
            <p:cNvPr id="279" name="Ovaal 278"/>
            <p:cNvSpPr/>
            <p:nvPr userDrawn="1"/>
          </p:nvSpPr>
          <p:spPr>
            <a:xfrm>
              <a:off x="-2959433" y="454586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8</a:t>
              </a:r>
            </a:p>
          </p:txBody>
        </p:sp>
        <p:sp>
          <p:nvSpPr>
            <p:cNvPr id="280" name="Textfield placeholder"/>
            <p:cNvSpPr txBox="1">
              <a:spLocks/>
            </p:cNvSpPr>
            <p:nvPr userDrawn="1"/>
          </p:nvSpPr>
          <p:spPr>
            <a:xfrm>
              <a:off x="-2571950" y="4545864"/>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7" indent="0" defTabSz="179388">
                <a:lnSpc>
                  <a:spcPct val="80000"/>
                </a:lnSpc>
                <a:spcBef>
                  <a:spcPts val="0"/>
                </a:spcBef>
                <a:spcAft>
                  <a:spcPts val="900"/>
                </a:spcAft>
                <a:buClr>
                  <a:srgbClr val="ED1A3B"/>
                </a:buClr>
                <a:buFont typeface="Arial" pitchFamily="34" charset="0"/>
                <a:buNone/>
                <a:defRPr/>
              </a:pPr>
              <a:r>
                <a:rPr lang="nl-NL" sz="1200" i="1" dirty="0">
                  <a:solidFill>
                    <a:srgbClr val="A3B0C0"/>
                  </a:solidFill>
                </a:rPr>
                <a:t>Cursief Licht (12 pt.)</a:t>
              </a:r>
            </a:p>
          </p:txBody>
        </p:sp>
        <p:sp>
          <p:nvSpPr>
            <p:cNvPr id="281" name="Ovaal 280"/>
            <p:cNvSpPr/>
            <p:nvPr userDrawn="1"/>
          </p:nvSpPr>
          <p:spPr>
            <a:xfrm>
              <a:off x="-2959433" y="488761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9</a:t>
              </a:r>
            </a:p>
          </p:txBody>
        </p:sp>
        <p:sp>
          <p:nvSpPr>
            <p:cNvPr id="282" name="Textfield placeholder"/>
            <p:cNvSpPr txBox="1">
              <a:spLocks/>
            </p:cNvSpPr>
            <p:nvPr userDrawn="1"/>
          </p:nvSpPr>
          <p:spPr>
            <a:xfrm>
              <a:off x="-2571950" y="488761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8" indent="0" defTabSz="179388">
                <a:lnSpc>
                  <a:spcPct val="80000"/>
                </a:lnSpc>
                <a:spcBef>
                  <a:spcPts val="0"/>
                </a:spcBef>
                <a:spcAft>
                  <a:spcPts val="900"/>
                </a:spcAft>
                <a:buClr>
                  <a:srgbClr val="ED1A3B"/>
                </a:buClr>
                <a:buFont typeface="Arial" pitchFamily="34" charset="0"/>
                <a:buNone/>
                <a:defRPr/>
              </a:pPr>
              <a:r>
                <a:rPr lang="nl-NL" sz="1400" b="1" dirty="0">
                  <a:solidFill>
                    <a:srgbClr val="ED1A3B"/>
                  </a:solidFill>
                </a:rPr>
                <a:t>Subtitel (14 pt.)</a:t>
              </a:r>
            </a:p>
          </p:txBody>
        </p:sp>
      </p:grpSp>
      <p:sp>
        <p:nvSpPr>
          <p:cNvPr id="152" name="Hyperlink - Inhoudsopgave">
            <a:hlinkClick r:id="rId5" action="ppaction://hlinksldjump"/>
          </p:cNvPr>
          <p:cNvSpPr/>
          <p:nvPr userDrawn="1"/>
        </p:nvSpPr>
        <p:spPr>
          <a:xfrm>
            <a:off x="10197856" y="5889801"/>
            <a:ext cx="2000494" cy="968199"/>
          </a:xfrm>
          <a:prstGeom prst="rect">
            <a:avLst/>
          </a:prstGeom>
          <a:solidFill>
            <a:srgbClr val="ED1A3B">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141" name="Grijze achtergrond"/>
          <p:cNvSpPr/>
          <p:nvPr userDrawn="1"/>
        </p:nvSpPr>
        <p:spPr>
          <a:xfrm>
            <a:off x="6178840" y="1358671"/>
            <a:ext cx="5355401" cy="444046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en-GB" dirty="0">
              <a:solidFill>
                <a:srgbClr val="FFFFFF"/>
              </a:solidFill>
            </a:endParaRPr>
          </a:p>
        </p:txBody>
      </p:sp>
      <p:cxnSp>
        <p:nvCxnSpPr>
          <p:cNvPr id="29" name="Grijze lijn - onder"/>
          <p:cNvCxnSpPr/>
          <p:nvPr/>
        </p:nvCxnSpPr>
        <p:spPr>
          <a:xfrm flipH="1">
            <a:off x="664804" y="5776291"/>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8" name="Grijze lijn - boven"/>
          <p:cNvCxnSpPr/>
          <p:nvPr/>
        </p:nvCxnSpPr>
        <p:spPr>
          <a:xfrm flipH="1">
            <a:off x="664804" y="1358670"/>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48" name="Witte achtergrond - Logo_01"/>
          <p:cNvSpPr/>
          <p:nvPr userDrawn="1"/>
        </p:nvSpPr>
        <p:spPr>
          <a:xfrm>
            <a:off x="6413886" y="2077433"/>
            <a:ext cx="1551695" cy="1083178"/>
          </a:xfrm>
          <a:prstGeom prst="rect">
            <a:avLst/>
          </a:prstGeom>
          <a:solidFill>
            <a:schemeClr val="bg1"/>
          </a:solidFill>
          <a:ln w="12700">
            <a:solidFill>
              <a:srgbClr val="F4F2F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149" name="Witte achtergrond - Logo_02"/>
          <p:cNvSpPr/>
          <p:nvPr userDrawn="1"/>
        </p:nvSpPr>
        <p:spPr>
          <a:xfrm>
            <a:off x="8080693" y="2077433"/>
            <a:ext cx="1551695" cy="1083178"/>
          </a:xfrm>
          <a:prstGeom prst="rect">
            <a:avLst/>
          </a:prstGeom>
          <a:solidFill>
            <a:schemeClr val="bg1"/>
          </a:solidFill>
          <a:ln w="12700">
            <a:solidFill>
              <a:srgbClr val="F4F2F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150" name="Witte achtergrond - Logo_03"/>
          <p:cNvSpPr/>
          <p:nvPr userDrawn="1"/>
        </p:nvSpPr>
        <p:spPr>
          <a:xfrm>
            <a:off x="9747500" y="2077433"/>
            <a:ext cx="1551695" cy="1083178"/>
          </a:xfrm>
          <a:prstGeom prst="rect">
            <a:avLst/>
          </a:prstGeom>
          <a:solidFill>
            <a:schemeClr val="bg1"/>
          </a:solidFill>
          <a:ln w="12700">
            <a:solidFill>
              <a:srgbClr val="F4F2F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145" name="Witte achtergrond - Logo_04"/>
          <p:cNvSpPr/>
          <p:nvPr userDrawn="1"/>
        </p:nvSpPr>
        <p:spPr>
          <a:xfrm>
            <a:off x="6413886" y="3268560"/>
            <a:ext cx="1551695" cy="1083178"/>
          </a:xfrm>
          <a:prstGeom prst="rect">
            <a:avLst/>
          </a:prstGeom>
          <a:solidFill>
            <a:schemeClr val="bg1"/>
          </a:solidFill>
          <a:ln w="12700">
            <a:solidFill>
              <a:srgbClr val="F4F2F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146" name="Witte achtergrond - Logo_05"/>
          <p:cNvSpPr/>
          <p:nvPr userDrawn="1"/>
        </p:nvSpPr>
        <p:spPr>
          <a:xfrm>
            <a:off x="8080693" y="3268560"/>
            <a:ext cx="1551695" cy="1083178"/>
          </a:xfrm>
          <a:prstGeom prst="rect">
            <a:avLst/>
          </a:prstGeom>
          <a:solidFill>
            <a:schemeClr val="bg1"/>
          </a:solidFill>
          <a:ln w="12700">
            <a:solidFill>
              <a:srgbClr val="F4F2F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147" name="Witte achtergrond - Logo_06"/>
          <p:cNvSpPr/>
          <p:nvPr userDrawn="1"/>
        </p:nvSpPr>
        <p:spPr>
          <a:xfrm>
            <a:off x="9747500" y="3268560"/>
            <a:ext cx="1551695" cy="1083178"/>
          </a:xfrm>
          <a:prstGeom prst="rect">
            <a:avLst/>
          </a:prstGeom>
          <a:solidFill>
            <a:schemeClr val="bg1"/>
          </a:solidFill>
          <a:ln w="12700">
            <a:solidFill>
              <a:srgbClr val="F4F2F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142" name="Witte achtergrond - Logo_07"/>
          <p:cNvSpPr/>
          <p:nvPr userDrawn="1"/>
        </p:nvSpPr>
        <p:spPr>
          <a:xfrm>
            <a:off x="6413886" y="4459687"/>
            <a:ext cx="1551695" cy="1083178"/>
          </a:xfrm>
          <a:prstGeom prst="rect">
            <a:avLst/>
          </a:prstGeom>
          <a:solidFill>
            <a:schemeClr val="bg1"/>
          </a:solidFill>
          <a:ln w="12700">
            <a:solidFill>
              <a:srgbClr val="F4F2F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143" name="Witte achtergrond - Logo_08"/>
          <p:cNvSpPr/>
          <p:nvPr userDrawn="1"/>
        </p:nvSpPr>
        <p:spPr>
          <a:xfrm>
            <a:off x="8080693" y="4459687"/>
            <a:ext cx="1551695" cy="1083178"/>
          </a:xfrm>
          <a:prstGeom prst="rect">
            <a:avLst/>
          </a:prstGeom>
          <a:solidFill>
            <a:schemeClr val="bg1"/>
          </a:solidFill>
          <a:ln w="12700">
            <a:solidFill>
              <a:srgbClr val="F4F2F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144" name="Witte achtergrond - Logo_09"/>
          <p:cNvSpPr/>
          <p:nvPr userDrawn="1"/>
        </p:nvSpPr>
        <p:spPr>
          <a:xfrm>
            <a:off x="9747500" y="4459687"/>
            <a:ext cx="1551695" cy="1083178"/>
          </a:xfrm>
          <a:prstGeom prst="rect">
            <a:avLst/>
          </a:prstGeom>
          <a:solidFill>
            <a:schemeClr val="bg1"/>
          </a:solidFill>
          <a:ln w="12700">
            <a:solidFill>
              <a:srgbClr val="F4F2F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140" name="Tijdelijke aanduiding voor Dianummer"/>
          <p:cNvSpPr>
            <a:spLocks noGrp="1"/>
          </p:cNvSpPr>
          <p:nvPr>
            <p:ph type="sldNum" sz="quarter" idx="4"/>
          </p:nvPr>
        </p:nvSpPr>
        <p:spPr>
          <a:xfrm>
            <a:off x="5770549" y="6295992"/>
            <a:ext cx="657251" cy="365125"/>
          </a:xfrm>
          <a:prstGeom prst="rect">
            <a:avLst/>
          </a:prstGeom>
        </p:spPr>
        <p:txBody>
          <a:bodyPr vert="horz" lIns="91440" tIns="45720" rIns="91440" bIns="45720" rtlCol="0" anchor="ctr"/>
          <a:lstStyle>
            <a:lvl1pPr algn="ctr">
              <a:defRPr sz="800">
                <a:solidFill>
                  <a:schemeClr val="tx1">
                    <a:tint val="75000"/>
                  </a:schemeClr>
                </a:solidFill>
              </a:defRPr>
            </a:lvl1pPr>
          </a:lstStyle>
          <a:p>
            <a:fld id="{1B3FA67A-C720-417A-A072-0CD211FD8662}" type="slidenum">
              <a:rPr lang="nl-NL" smtClean="0">
                <a:solidFill>
                  <a:srgbClr val="000000">
                    <a:tint val="75000"/>
                  </a:srgbClr>
                </a:solidFill>
              </a:rPr>
              <a:pPr/>
              <a:t>‹nr.›</a:t>
            </a:fld>
            <a:endParaRPr lang="nl-NL" dirty="0">
              <a:solidFill>
                <a:srgbClr val="000000">
                  <a:tint val="75000"/>
                </a:srgbClr>
              </a:solidFill>
            </a:endParaRPr>
          </a:p>
        </p:txBody>
      </p:sp>
      <p:sp>
        <p:nvSpPr>
          <p:cNvPr id="8" name="Tijdelijke aanduiding voor Logo_01"/>
          <p:cNvSpPr>
            <a:spLocks noGrp="1"/>
          </p:cNvSpPr>
          <p:nvPr>
            <p:ph sz="quarter" idx="16" hasCustomPrompt="1"/>
          </p:nvPr>
        </p:nvSpPr>
        <p:spPr>
          <a:xfrm>
            <a:off x="6510210" y="2130296"/>
            <a:ext cx="1359044" cy="977452"/>
          </a:xfrm>
        </p:spPr>
        <p:txBody>
          <a:bodyPr anchor="ctr"/>
          <a:lstStyle>
            <a:lvl1pPr algn="ctr">
              <a:defRPr sz="1000"/>
            </a:lvl1pPr>
          </a:lstStyle>
          <a:p>
            <a:pPr lvl="0"/>
            <a:r>
              <a:rPr lang="nl-NL" dirty="0"/>
              <a:t>LOGO</a:t>
            </a:r>
          </a:p>
        </p:txBody>
      </p:sp>
      <p:sp>
        <p:nvSpPr>
          <p:cNvPr id="15" name="Tijdelijke aanduiding voor Logo_02"/>
          <p:cNvSpPr>
            <a:spLocks noGrp="1"/>
          </p:cNvSpPr>
          <p:nvPr>
            <p:ph sz="quarter" idx="17" hasCustomPrompt="1"/>
          </p:nvPr>
        </p:nvSpPr>
        <p:spPr>
          <a:xfrm>
            <a:off x="8177017" y="2130296"/>
            <a:ext cx="1359044" cy="977452"/>
          </a:xfrm>
        </p:spPr>
        <p:txBody>
          <a:bodyPr anchor="ctr"/>
          <a:lstStyle>
            <a:lvl1pPr algn="ctr">
              <a:defRPr sz="1000"/>
            </a:lvl1pPr>
          </a:lstStyle>
          <a:p>
            <a:pPr lvl="0"/>
            <a:r>
              <a:rPr lang="nl-NL" dirty="0"/>
              <a:t>LOGO</a:t>
            </a:r>
          </a:p>
        </p:txBody>
      </p:sp>
      <p:sp>
        <p:nvSpPr>
          <p:cNvPr id="16" name="Tijdelijke aanduiding voor Logo_03"/>
          <p:cNvSpPr>
            <a:spLocks noGrp="1"/>
          </p:cNvSpPr>
          <p:nvPr>
            <p:ph sz="quarter" idx="18" hasCustomPrompt="1"/>
          </p:nvPr>
        </p:nvSpPr>
        <p:spPr>
          <a:xfrm>
            <a:off x="9843824" y="2130296"/>
            <a:ext cx="1359044" cy="977452"/>
          </a:xfrm>
        </p:spPr>
        <p:txBody>
          <a:bodyPr anchor="ctr"/>
          <a:lstStyle>
            <a:lvl1pPr algn="ctr">
              <a:defRPr sz="1000"/>
            </a:lvl1pPr>
          </a:lstStyle>
          <a:p>
            <a:pPr lvl="0"/>
            <a:r>
              <a:rPr lang="nl-NL" dirty="0"/>
              <a:t>LOGO</a:t>
            </a:r>
          </a:p>
        </p:txBody>
      </p:sp>
      <p:sp>
        <p:nvSpPr>
          <p:cNvPr id="19" name="Tijdelijke aanduiding voor Logo_04"/>
          <p:cNvSpPr>
            <a:spLocks noGrp="1"/>
          </p:cNvSpPr>
          <p:nvPr>
            <p:ph sz="quarter" idx="19" hasCustomPrompt="1"/>
          </p:nvPr>
        </p:nvSpPr>
        <p:spPr>
          <a:xfrm>
            <a:off x="6510210" y="3321423"/>
            <a:ext cx="1359044" cy="977452"/>
          </a:xfrm>
        </p:spPr>
        <p:txBody>
          <a:bodyPr anchor="ctr"/>
          <a:lstStyle>
            <a:lvl1pPr algn="ctr">
              <a:defRPr sz="1000"/>
            </a:lvl1pPr>
          </a:lstStyle>
          <a:p>
            <a:pPr lvl="0"/>
            <a:r>
              <a:rPr lang="nl-NL" dirty="0"/>
              <a:t>LOGO</a:t>
            </a:r>
          </a:p>
        </p:txBody>
      </p:sp>
      <p:sp>
        <p:nvSpPr>
          <p:cNvPr id="20" name="Tijdelijke aanduiding voor Logo_05"/>
          <p:cNvSpPr>
            <a:spLocks noGrp="1"/>
          </p:cNvSpPr>
          <p:nvPr>
            <p:ph sz="quarter" idx="20" hasCustomPrompt="1"/>
          </p:nvPr>
        </p:nvSpPr>
        <p:spPr>
          <a:xfrm>
            <a:off x="8177017" y="3321423"/>
            <a:ext cx="1359044" cy="977452"/>
          </a:xfrm>
        </p:spPr>
        <p:txBody>
          <a:bodyPr anchor="ctr"/>
          <a:lstStyle>
            <a:lvl1pPr algn="ctr">
              <a:defRPr sz="1000"/>
            </a:lvl1pPr>
          </a:lstStyle>
          <a:p>
            <a:pPr lvl="0"/>
            <a:r>
              <a:rPr lang="nl-NL" dirty="0"/>
              <a:t>LOGO</a:t>
            </a:r>
          </a:p>
        </p:txBody>
      </p:sp>
      <p:sp>
        <p:nvSpPr>
          <p:cNvPr id="21" name="Tijdelijke aanduiding voor Logo_06"/>
          <p:cNvSpPr>
            <a:spLocks noGrp="1"/>
          </p:cNvSpPr>
          <p:nvPr>
            <p:ph sz="quarter" idx="21" hasCustomPrompt="1"/>
          </p:nvPr>
        </p:nvSpPr>
        <p:spPr>
          <a:xfrm>
            <a:off x="9843824" y="3321423"/>
            <a:ext cx="1359044" cy="977452"/>
          </a:xfrm>
        </p:spPr>
        <p:txBody>
          <a:bodyPr anchor="ctr"/>
          <a:lstStyle>
            <a:lvl1pPr algn="ctr">
              <a:defRPr sz="1000"/>
            </a:lvl1pPr>
          </a:lstStyle>
          <a:p>
            <a:pPr lvl="0"/>
            <a:r>
              <a:rPr lang="nl-NL" dirty="0"/>
              <a:t>LOGO</a:t>
            </a:r>
          </a:p>
        </p:txBody>
      </p:sp>
      <p:sp>
        <p:nvSpPr>
          <p:cNvPr id="22" name="Tijdelijke aanduiding voor logo_07"/>
          <p:cNvSpPr>
            <a:spLocks noGrp="1"/>
          </p:cNvSpPr>
          <p:nvPr>
            <p:ph sz="quarter" idx="22" hasCustomPrompt="1"/>
          </p:nvPr>
        </p:nvSpPr>
        <p:spPr>
          <a:xfrm>
            <a:off x="6510210" y="4512550"/>
            <a:ext cx="1359044" cy="977452"/>
          </a:xfrm>
        </p:spPr>
        <p:txBody>
          <a:bodyPr anchor="ctr"/>
          <a:lstStyle>
            <a:lvl1pPr algn="ctr">
              <a:defRPr sz="1000"/>
            </a:lvl1pPr>
          </a:lstStyle>
          <a:p>
            <a:pPr lvl="0"/>
            <a:r>
              <a:rPr lang="nl-NL" dirty="0"/>
              <a:t>LOGO</a:t>
            </a:r>
          </a:p>
        </p:txBody>
      </p:sp>
      <p:sp>
        <p:nvSpPr>
          <p:cNvPr id="23" name="Tijdelijke aanduiding voor Logo_08"/>
          <p:cNvSpPr>
            <a:spLocks noGrp="1"/>
          </p:cNvSpPr>
          <p:nvPr>
            <p:ph sz="quarter" idx="23" hasCustomPrompt="1"/>
          </p:nvPr>
        </p:nvSpPr>
        <p:spPr>
          <a:xfrm>
            <a:off x="8177017" y="4512550"/>
            <a:ext cx="1359044" cy="977452"/>
          </a:xfrm>
        </p:spPr>
        <p:txBody>
          <a:bodyPr anchor="ctr"/>
          <a:lstStyle>
            <a:lvl1pPr algn="ctr">
              <a:defRPr sz="1000"/>
            </a:lvl1pPr>
          </a:lstStyle>
          <a:p>
            <a:pPr lvl="0"/>
            <a:r>
              <a:rPr lang="nl-NL" dirty="0"/>
              <a:t>LOGO</a:t>
            </a:r>
          </a:p>
        </p:txBody>
      </p:sp>
      <p:sp>
        <p:nvSpPr>
          <p:cNvPr id="24" name="Tijdelijke aanduiding voor Logo_09"/>
          <p:cNvSpPr>
            <a:spLocks noGrp="1"/>
          </p:cNvSpPr>
          <p:nvPr>
            <p:ph sz="quarter" idx="24" hasCustomPrompt="1"/>
          </p:nvPr>
        </p:nvSpPr>
        <p:spPr>
          <a:xfrm>
            <a:off x="9843824" y="4512550"/>
            <a:ext cx="1359044" cy="977452"/>
          </a:xfrm>
        </p:spPr>
        <p:txBody>
          <a:bodyPr anchor="ctr"/>
          <a:lstStyle>
            <a:lvl1pPr algn="ctr">
              <a:defRPr sz="1000"/>
            </a:lvl1pPr>
          </a:lstStyle>
          <a:p>
            <a:pPr lvl="0"/>
            <a:r>
              <a:rPr lang="nl-NL" dirty="0"/>
              <a:t>LOGO</a:t>
            </a:r>
          </a:p>
        </p:txBody>
      </p:sp>
      <p:sp>
        <p:nvSpPr>
          <p:cNvPr id="139" name="Tijdelijke aanduiding voor Tekst bij Logo's"/>
          <p:cNvSpPr>
            <a:spLocks noGrp="1"/>
          </p:cNvSpPr>
          <p:nvPr>
            <p:ph type="body" orient="vert" idx="25" hasCustomPrompt="1"/>
          </p:nvPr>
        </p:nvSpPr>
        <p:spPr>
          <a:xfrm>
            <a:off x="6433371" y="1720867"/>
            <a:ext cx="4865823" cy="409429"/>
          </a:xfrm>
        </p:spPr>
        <p:txBody>
          <a:bodyPr vert="horz" lIns="0" tIns="0" rIns="0" bIns="0" numCol="1"/>
          <a:lstStyle>
            <a:lvl1pPr>
              <a:defRPr sz="1200"/>
            </a:lvl1pPr>
            <a:lvl2pPr marL="180975" indent="-180975">
              <a:defRPr sz="1200"/>
            </a:lvl2pPr>
            <a:lvl3pPr marL="360363" indent="-179388">
              <a:defRPr sz="1200"/>
            </a:lvl3pPr>
            <a:lvl4pPr marL="541338" indent="-180975">
              <a:defRPr sz="1200"/>
            </a:lvl4pPr>
            <a:lvl5pPr marL="265113" indent="-265113">
              <a:defRPr sz="1200"/>
            </a:lvl5pPr>
            <a:lvl6pPr marL="444500" indent="-179388">
              <a:defRPr sz="1200"/>
            </a:lvl6pPr>
            <a:lvl7pPr>
              <a:defRPr sz="1200"/>
            </a:lvl7pPr>
            <a:lvl8pPr>
              <a:defRPr sz="1200"/>
            </a:lvl8pPr>
            <a:lvl9pPr>
              <a:defRPr sz="1400"/>
            </a:lvl9pPr>
          </a:lstStyle>
          <a:p>
            <a:pPr lvl="0"/>
            <a:r>
              <a:rPr lang="nl-NL" dirty="0"/>
              <a:t>Leestekst</a:t>
            </a:r>
          </a:p>
          <a:p>
            <a:pPr lvl="1"/>
            <a:r>
              <a:rPr lang="nl-NL" dirty="0"/>
              <a:t>Bullets</a:t>
            </a:r>
          </a:p>
          <a:p>
            <a:pPr lvl="2"/>
            <a:r>
              <a:rPr lang="nl-NL" dirty="0"/>
              <a:t>Sub-bullets</a:t>
            </a:r>
          </a:p>
          <a:p>
            <a:pPr lvl="3"/>
            <a:r>
              <a:rPr lang="nl-NL" dirty="0"/>
              <a:t>Sub-sub-bullets</a:t>
            </a:r>
          </a:p>
          <a:p>
            <a:pPr lvl="4"/>
            <a:r>
              <a:rPr lang="nl-NL" dirty="0"/>
              <a:t>Numeriek</a:t>
            </a:r>
          </a:p>
          <a:p>
            <a:pPr lvl="5"/>
            <a:r>
              <a:rPr lang="nl-NL" dirty="0"/>
              <a:t># Bullets</a:t>
            </a:r>
          </a:p>
          <a:p>
            <a:pPr lvl="6"/>
            <a:r>
              <a:rPr lang="nl-NL" dirty="0"/>
              <a:t>Cursief donker</a:t>
            </a:r>
          </a:p>
          <a:p>
            <a:pPr lvl="7"/>
            <a:r>
              <a:rPr lang="nl-NL" dirty="0"/>
              <a:t>Cursief licht</a:t>
            </a:r>
          </a:p>
          <a:p>
            <a:pPr lvl="8"/>
            <a:r>
              <a:rPr lang="nl-NL" dirty="0"/>
              <a:t>Subtitel</a:t>
            </a:r>
          </a:p>
        </p:txBody>
      </p:sp>
      <p:sp>
        <p:nvSpPr>
          <p:cNvPr id="7" name="Tijdelijke aanduiding voor Afbeelding"/>
          <p:cNvSpPr>
            <a:spLocks noGrp="1"/>
          </p:cNvSpPr>
          <p:nvPr>
            <p:ph type="pic" idx="13"/>
          </p:nvPr>
        </p:nvSpPr>
        <p:spPr>
          <a:xfrm>
            <a:off x="664109" y="1720867"/>
            <a:ext cx="5183142" cy="1800000"/>
          </a:xfrm>
          <a:solidFill>
            <a:schemeClr val="accent5">
              <a:lumMod val="20000"/>
              <a:lumOff val="80000"/>
            </a:schemeClr>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11" name="Tijdelijke aanduiding voor Tekst"/>
          <p:cNvSpPr>
            <a:spLocks noGrp="1"/>
          </p:cNvSpPr>
          <p:nvPr>
            <p:ph type="body" orient="vert" idx="15" hasCustomPrompt="1"/>
          </p:nvPr>
        </p:nvSpPr>
        <p:spPr>
          <a:xfrm>
            <a:off x="664109" y="3737987"/>
            <a:ext cx="5183142" cy="1804878"/>
          </a:xfrm>
        </p:spPr>
        <p:txBody>
          <a:bodyPr vert="horz" lIns="0" tIns="0" rIns="0" bIns="0" numCol="2"/>
          <a:lstStyle>
            <a:lvl1pPr>
              <a:defRPr sz="1200"/>
            </a:lvl1pPr>
            <a:lvl2pPr marL="180975" indent="-180975">
              <a:defRPr sz="1200"/>
            </a:lvl2pPr>
            <a:lvl3pPr marL="360363" indent="-179388">
              <a:defRPr sz="1200"/>
            </a:lvl3pPr>
            <a:lvl4pPr marL="541338" indent="-180975">
              <a:defRPr sz="1200"/>
            </a:lvl4pPr>
            <a:lvl5pPr marL="265113" indent="-265113">
              <a:defRPr sz="1200"/>
            </a:lvl5pPr>
            <a:lvl6pPr marL="444500" indent="-179388">
              <a:defRPr sz="1200"/>
            </a:lvl6pPr>
            <a:lvl7pPr>
              <a:defRPr sz="1200"/>
            </a:lvl7pPr>
            <a:lvl8pPr>
              <a:defRPr sz="1200"/>
            </a:lvl8pPr>
            <a:lvl9pPr>
              <a:defRPr sz="1400"/>
            </a:lvl9pPr>
          </a:lstStyle>
          <a:p>
            <a:pPr lvl="0"/>
            <a:r>
              <a:rPr lang="nl-NL" dirty="0"/>
              <a:t>Leestekst</a:t>
            </a:r>
          </a:p>
          <a:p>
            <a:pPr lvl="1"/>
            <a:r>
              <a:rPr lang="nl-NL" dirty="0"/>
              <a:t>Bullets</a:t>
            </a:r>
          </a:p>
          <a:p>
            <a:pPr lvl="2"/>
            <a:r>
              <a:rPr lang="nl-NL" dirty="0"/>
              <a:t>Sub-bullets</a:t>
            </a:r>
          </a:p>
          <a:p>
            <a:pPr lvl="3"/>
            <a:r>
              <a:rPr lang="nl-NL" dirty="0"/>
              <a:t>Sub-sub-bullets</a:t>
            </a:r>
          </a:p>
          <a:p>
            <a:pPr lvl="4"/>
            <a:r>
              <a:rPr lang="nl-NL" dirty="0"/>
              <a:t>Numeriek</a:t>
            </a:r>
          </a:p>
          <a:p>
            <a:pPr lvl="5"/>
            <a:r>
              <a:rPr lang="nl-NL" dirty="0"/>
              <a:t># Bullets</a:t>
            </a:r>
          </a:p>
          <a:p>
            <a:pPr lvl="6"/>
            <a:r>
              <a:rPr lang="nl-NL" dirty="0"/>
              <a:t>Cursief donker</a:t>
            </a:r>
          </a:p>
          <a:p>
            <a:pPr lvl="7"/>
            <a:r>
              <a:rPr lang="nl-NL" dirty="0"/>
              <a:t>Cursief licht</a:t>
            </a:r>
          </a:p>
          <a:p>
            <a:pPr lvl="8"/>
            <a:r>
              <a:rPr lang="nl-NL" dirty="0"/>
              <a:t>Subtitel</a:t>
            </a:r>
          </a:p>
        </p:txBody>
      </p:sp>
      <p:sp>
        <p:nvSpPr>
          <p:cNvPr id="34" name="Tijdelijke aanduiding voor Subtitel"/>
          <p:cNvSpPr>
            <a:spLocks noGrp="1"/>
          </p:cNvSpPr>
          <p:nvPr>
            <p:ph type="body" idx="14"/>
          </p:nvPr>
        </p:nvSpPr>
        <p:spPr>
          <a:xfrm>
            <a:off x="664109" y="1001348"/>
            <a:ext cx="10870131" cy="317758"/>
          </a:xfrm>
        </p:spPr>
        <p:txBody>
          <a:bodyPr bIns="72000" anchor="t" anchorCtr="0"/>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13" name="Tijdelijke aanduiding voor Titel"/>
          <p:cNvSpPr>
            <a:spLocks noGrp="1"/>
          </p:cNvSpPr>
          <p:nvPr>
            <p:ph type="title"/>
          </p:nvPr>
        </p:nvSpPr>
        <p:spPr>
          <a:xfrm>
            <a:off x="664109" y="464521"/>
            <a:ext cx="10870131" cy="533219"/>
          </a:xfrm>
        </p:spPr>
        <p:txBody>
          <a:bodyPr/>
          <a:lstStyle/>
          <a:p>
            <a:r>
              <a:rPr lang="nl-NL"/>
              <a:t>Klik om stijl te bewerken</a:t>
            </a:r>
            <a:endParaRPr lang="nl-NL" dirty="0"/>
          </a:p>
        </p:txBody>
      </p:sp>
    </p:spTree>
    <p:extLst>
      <p:ext uri="{BB962C8B-B14F-4D97-AF65-F5344CB8AC3E}">
        <p14:creationId xmlns:p14="http://schemas.microsoft.com/office/powerpoint/2010/main" val="62987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Voorstellen pasfoto 4x">
    <p:spTree>
      <p:nvGrpSpPr>
        <p:cNvPr id="1" name=""/>
        <p:cNvGrpSpPr/>
        <p:nvPr/>
      </p:nvGrpSpPr>
      <p:grpSpPr>
        <a:xfrm>
          <a:off x="0" y="0"/>
          <a:ext cx="0" cy="0"/>
          <a:chOff x="0" y="0"/>
          <a:chExt cx="0" cy="0"/>
        </a:xfrm>
      </p:grpSpPr>
      <p:sp>
        <p:nvSpPr>
          <p:cNvPr id="16" name="Naam indeling - Voorstellen pasfoto 4x"/>
          <p:cNvSpPr txBox="1"/>
          <p:nvPr/>
        </p:nvSpPr>
        <p:spPr>
          <a:xfrm>
            <a:off x="1" y="-453266"/>
            <a:ext cx="3582333" cy="276999"/>
          </a:xfrm>
          <a:prstGeom prst="rect">
            <a:avLst/>
          </a:prstGeom>
          <a:noFill/>
        </p:spPr>
        <p:txBody>
          <a:bodyPr wrap="square" lIns="0" tIns="0" rIns="0" bIns="0" rtlCol="0">
            <a:spAutoFit/>
          </a:bodyPr>
          <a:lstStyle/>
          <a:p>
            <a:pPr defTabSz="914112"/>
            <a:r>
              <a:rPr lang="nl-NL" dirty="0">
                <a:solidFill>
                  <a:srgbClr val="404040"/>
                </a:solidFill>
                <a:latin typeface="Calibri" panose="020F0502020204030204" pitchFamily="34" charset="0"/>
              </a:rPr>
              <a:t>Voorstellen pasfoto 4x</a:t>
            </a:r>
            <a:endParaRPr lang="en-GB" dirty="0">
              <a:solidFill>
                <a:srgbClr val="404040"/>
              </a:solidFill>
              <a:latin typeface="Calibri" panose="020F0502020204030204" pitchFamily="34" charset="0"/>
            </a:endParaRPr>
          </a:p>
        </p:txBody>
      </p:sp>
      <p:grpSp>
        <p:nvGrpSpPr>
          <p:cNvPr id="109" name="Instructie - Afbeelding invoegen"/>
          <p:cNvGrpSpPr/>
          <p:nvPr/>
        </p:nvGrpSpPr>
        <p:grpSpPr>
          <a:xfrm>
            <a:off x="12437931" y="14898"/>
            <a:ext cx="2717569" cy="3676571"/>
            <a:chOff x="12434693" y="14897"/>
            <a:chExt cx="2716862" cy="3676571"/>
          </a:xfrm>
        </p:grpSpPr>
        <p:sp>
          <p:nvSpPr>
            <p:cNvPr id="110" name="Rechthoek 109"/>
            <p:cNvSpPr/>
            <p:nvPr/>
          </p:nvSpPr>
          <p:spPr>
            <a:xfrm>
              <a:off x="12441150" y="14897"/>
              <a:ext cx="2696270" cy="161771"/>
            </a:xfrm>
            <a:prstGeom prst="rect">
              <a:avLst/>
            </a:prstGeom>
            <a:noFill/>
            <a:ln w="25400" cap="flat" cmpd="sng" algn="ctr">
              <a:noFill/>
              <a:prstDash val="solid"/>
            </a:ln>
            <a:effectLst/>
          </p:spPr>
          <p:txBody>
            <a:bodyPr lIns="0" tIns="0" rIns="0" bIns="0" rtlCol="0" anchor="t"/>
            <a:lstStyle/>
            <a:p>
              <a:pPr defTabSz="914112">
                <a:lnSpc>
                  <a:spcPct val="80000"/>
                </a:lnSpc>
              </a:pPr>
              <a:r>
                <a:rPr lang="nl-NL" sz="1600" b="1" kern="0" cap="all" dirty="0">
                  <a:solidFill>
                    <a:srgbClr val="ED1A3B"/>
                  </a:solidFill>
                  <a:cs typeface="Segoe UI Light" panose="020B0502040204020203" pitchFamily="34" charset="0"/>
                </a:rPr>
                <a:t>AFBEELDING INVOEGEN</a:t>
              </a:r>
            </a:p>
          </p:txBody>
        </p:sp>
        <p:sp>
          <p:nvSpPr>
            <p:cNvPr id="111" name="Tekstvak 33"/>
            <p:cNvSpPr txBox="1"/>
            <p:nvPr/>
          </p:nvSpPr>
          <p:spPr>
            <a:xfrm>
              <a:off x="12441149" y="814239"/>
              <a:ext cx="2710405" cy="719877"/>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Indien nodig, verwijder de bestaande afbeelding. Klik op het pictogram </a:t>
              </a:r>
              <a:br>
                <a:rPr lang="nl-NL" sz="1200" kern="0" dirty="0">
                  <a:solidFill>
                    <a:srgbClr val="000000"/>
                  </a:solidFill>
                  <a:latin typeface="Trebuchet MS"/>
                  <a:cs typeface="Segoe UI Light" panose="020B0502040204020203" pitchFamily="34" charset="0"/>
                </a:rPr>
              </a:br>
              <a:r>
                <a:rPr lang="nl-NL" sz="1200" kern="0" dirty="0">
                  <a:solidFill>
                    <a:srgbClr val="000000"/>
                  </a:solidFill>
                  <a:latin typeface="Trebuchet MS"/>
                  <a:cs typeface="Segoe UI Light" panose="020B0502040204020203" pitchFamily="34" charset="0"/>
                </a:rPr>
                <a:t>om een afbeelding in te voegen</a:t>
              </a:r>
              <a:br>
                <a:rPr lang="nl-NL" sz="1200" kern="0" dirty="0">
                  <a:solidFill>
                    <a:srgbClr val="000000"/>
                  </a:solidFill>
                  <a:latin typeface="Trebuchet MS"/>
                  <a:cs typeface="Segoe UI Light" panose="020B0502040204020203" pitchFamily="34" charset="0"/>
                </a:rPr>
              </a:br>
              <a:r>
                <a:rPr lang="nl-NL" sz="1100" i="1" kern="0" dirty="0">
                  <a:solidFill>
                    <a:srgbClr val="000000"/>
                  </a:solidFill>
                  <a:latin typeface="Trebuchet MS"/>
                  <a:cs typeface="Segoe UI Light" panose="020B0502040204020203" pitchFamily="34" charset="0"/>
                </a:rPr>
                <a:t>(zie onderstaand voorbeeld).</a:t>
              </a:r>
            </a:p>
          </p:txBody>
        </p:sp>
        <p:sp>
          <p:nvSpPr>
            <p:cNvPr id="112" name="Tekstvak 33"/>
            <p:cNvSpPr txBox="1"/>
            <p:nvPr/>
          </p:nvSpPr>
          <p:spPr>
            <a:xfrm>
              <a:off x="12441149" y="2793904"/>
              <a:ext cx="2710405" cy="395943"/>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Selecteer de afbeelding die u wilt invoegen en klik op </a:t>
              </a:r>
              <a:r>
                <a:rPr lang="nl-NL" sz="1200" b="1" kern="0" dirty="0">
                  <a:solidFill>
                    <a:srgbClr val="000000"/>
                  </a:solidFill>
                  <a:latin typeface="Trebuchet MS"/>
                  <a:cs typeface="Segoe UI Light" panose="020B0502040204020203" pitchFamily="34" charset="0"/>
                </a:rPr>
                <a:t>‘Invoegen’</a:t>
              </a:r>
            </a:p>
          </p:txBody>
        </p:sp>
        <p:sp>
          <p:nvSpPr>
            <p:cNvPr id="113" name="Ovaal 112"/>
            <p:cNvSpPr/>
            <p:nvPr/>
          </p:nvSpPr>
          <p:spPr>
            <a:xfrm>
              <a:off x="12441150" y="379292"/>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1</a:t>
              </a:r>
            </a:p>
          </p:txBody>
        </p:sp>
        <p:sp>
          <p:nvSpPr>
            <p:cNvPr id="114" name="Ovaal 113"/>
            <p:cNvSpPr/>
            <p:nvPr/>
          </p:nvSpPr>
          <p:spPr>
            <a:xfrm>
              <a:off x="12441150" y="2337208"/>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2</a:t>
              </a:r>
            </a:p>
          </p:txBody>
        </p:sp>
        <p:cxnSp>
          <p:nvCxnSpPr>
            <p:cNvPr id="115" name="Rechte verbindingslijn 114"/>
            <p:cNvCxnSpPr/>
            <p:nvPr/>
          </p:nvCxnSpPr>
          <p:spPr>
            <a:xfrm>
              <a:off x="12441150" y="248176"/>
              <a:ext cx="2710405" cy="0"/>
            </a:xfrm>
            <a:prstGeom prst="line">
              <a:avLst/>
            </a:prstGeom>
            <a:noFill/>
            <a:ln w="9525" cap="flat" cmpd="sng" algn="ctr">
              <a:solidFill>
                <a:schemeClr val="accent1"/>
              </a:solidFill>
              <a:prstDash val="solid"/>
            </a:ln>
            <a:effectLst/>
          </p:spPr>
        </p:cxnSp>
        <p:cxnSp>
          <p:nvCxnSpPr>
            <p:cNvPr id="116" name="Rechte verbindingslijn 115"/>
            <p:cNvCxnSpPr/>
            <p:nvPr/>
          </p:nvCxnSpPr>
          <p:spPr>
            <a:xfrm>
              <a:off x="12441149" y="2212830"/>
              <a:ext cx="2710405" cy="0"/>
            </a:xfrm>
            <a:prstGeom prst="line">
              <a:avLst/>
            </a:prstGeom>
            <a:noFill/>
            <a:ln w="9525" cap="flat" cmpd="sng" algn="ctr">
              <a:solidFill>
                <a:schemeClr val="accent1"/>
              </a:solidFill>
              <a:prstDash val="solid"/>
            </a:ln>
            <a:effectLst/>
          </p:spPr>
        </p:cxnSp>
        <p:cxnSp>
          <p:nvCxnSpPr>
            <p:cNvPr id="117" name="Rechte verbindingslijn 116"/>
            <p:cNvCxnSpPr/>
            <p:nvPr/>
          </p:nvCxnSpPr>
          <p:spPr>
            <a:xfrm>
              <a:off x="12444679" y="3691468"/>
              <a:ext cx="2706875" cy="0"/>
            </a:xfrm>
            <a:prstGeom prst="line">
              <a:avLst/>
            </a:prstGeom>
            <a:noFill/>
            <a:ln w="9525" cap="flat" cmpd="sng" algn="ctr">
              <a:solidFill>
                <a:schemeClr val="accent1"/>
              </a:solidFill>
              <a:prstDash val="solid"/>
            </a:ln>
            <a:effectLst/>
          </p:spPr>
        </p:cxnSp>
        <p:pic>
          <p:nvPicPr>
            <p:cNvPr id="118" name="Icoontje afbeeldi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434693" y="1677764"/>
              <a:ext cx="403210" cy="403210"/>
            </a:xfrm>
            <a:prstGeom prst="rect">
              <a:avLst/>
            </a:prstGeom>
          </p:spPr>
        </p:pic>
        <p:grpSp>
          <p:nvGrpSpPr>
            <p:cNvPr id="119" name="Groep 118"/>
            <p:cNvGrpSpPr/>
            <p:nvPr/>
          </p:nvGrpSpPr>
          <p:grpSpPr>
            <a:xfrm>
              <a:off x="12450571" y="3301369"/>
              <a:ext cx="1002992" cy="267962"/>
              <a:chOff x="13560784" y="3471416"/>
              <a:chExt cx="1114138" cy="297656"/>
            </a:xfrm>
          </p:grpSpPr>
          <p:sp>
            <p:nvSpPr>
              <p:cNvPr id="120" name="Afgeronde rechthoek 88"/>
              <p:cNvSpPr/>
              <p:nvPr/>
            </p:nvSpPr>
            <p:spPr>
              <a:xfrm>
                <a:off x="13560784" y="3471416"/>
                <a:ext cx="1114138" cy="297656"/>
              </a:xfrm>
              <a:prstGeom prst="roundRect">
                <a:avLst/>
              </a:prstGeom>
              <a:gradFill flip="none" rotWithShape="1">
                <a:gsLst>
                  <a:gs pos="4000">
                    <a:srgbClr val="00B0F0"/>
                  </a:gs>
                  <a:gs pos="0">
                    <a:srgbClr val="0070C0"/>
                  </a:gs>
                  <a:gs pos="100000">
                    <a:srgbClr val="0070C0"/>
                  </a:gs>
                  <a:gs pos="12000">
                    <a:srgbClr val="D1EAFF"/>
                  </a:gs>
                  <a:gs pos="96000">
                    <a:srgbClr val="00B0F0"/>
                  </a:gs>
                  <a:gs pos="89000">
                    <a:srgbClr val="DDF4FF"/>
                  </a:gs>
                  <a:gs pos="43000">
                    <a:srgbClr val="D1EAFF"/>
                  </a:gs>
                  <a:gs pos="51000">
                    <a:srgbClr val="DDF4FF"/>
                  </a:gs>
                </a:gsLst>
                <a:lin ang="16200000" scaled="1"/>
                <a:tileRect/>
              </a:gradFill>
              <a:ln w="63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dirty="0">
                  <a:solidFill>
                    <a:srgbClr val="FFFFFF"/>
                  </a:solidFill>
                </a:endParaRPr>
              </a:p>
            </p:txBody>
          </p:sp>
          <p:sp>
            <p:nvSpPr>
              <p:cNvPr id="121" name="Tekstvak 120"/>
              <p:cNvSpPr txBox="1"/>
              <p:nvPr/>
            </p:nvSpPr>
            <p:spPr>
              <a:xfrm>
                <a:off x="13573594" y="3488254"/>
                <a:ext cx="888311" cy="273506"/>
              </a:xfrm>
              <a:prstGeom prst="rect">
                <a:avLst/>
              </a:prstGeom>
              <a:noFill/>
            </p:spPr>
            <p:txBody>
              <a:bodyPr wrap="square" rtlCol="0" anchor="ctr">
                <a:spAutoFit/>
              </a:bodyPr>
              <a:lstStyle>
                <a:defPPr>
                  <a:defRPr lang="nl-NL"/>
                </a:defPPr>
                <a:lvl1pPr marR="0" lvl="0" indent="0" algn="ctr" fontAlgn="auto">
                  <a:lnSpc>
                    <a:spcPct val="100000"/>
                  </a:lnSpc>
                  <a:spcBef>
                    <a:spcPts val="0"/>
                  </a:spcBef>
                  <a:spcAft>
                    <a:spcPts val="0"/>
                  </a:spcAft>
                  <a:buClrTx/>
                  <a:buSzTx/>
                  <a:buFontTx/>
                  <a:buNone/>
                  <a:tabLst/>
                  <a:defRPr kumimoji="0" sz="900" i="0" u="none" strike="noStrike" kern="0" cap="none" spc="0" normalizeH="0" baseline="0">
                    <a:ln>
                      <a:noFill/>
                    </a:ln>
                    <a:effectLst>
                      <a:outerShdw blurRad="25400" algn="ctr" rotWithShape="0">
                        <a:prstClr val="white"/>
                      </a:outerShdw>
                    </a:effectLst>
                    <a:uLnTx/>
                    <a:uFillTx/>
                    <a:latin typeface="Segoe UI Light" panose="020B0502040204020203" pitchFamily="34" charset="0"/>
                    <a:cs typeface="Segoe UI Light" panose="020B0502040204020203" pitchFamily="34" charset="0"/>
                  </a:defRPr>
                </a:lvl1pPr>
                <a:lvl2pPr fontAlgn="base">
                  <a:spcBef>
                    <a:spcPct val="0"/>
                  </a:spcBef>
                  <a:spcAft>
                    <a:spcPct val="0"/>
                  </a:spcAft>
                  <a:defRPr>
                    <a:latin typeface="Arial" charset="0"/>
                    <a:cs typeface="Arial" charset="0"/>
                  </a:defRPr>
                </a:lvl2pPr>
                <a:lvl3pPr fontAlgn="base">
                  <a:spcBef>
                    <a:spcPct val="0"/>
                  </a:spcBef>
                  <a:spcAft>
                    <a:spcPct val="0"/>
                  </a:spcAft>
                  <a:defRPr>
                    <a:latin typeface="Arial" charset="0"/>
                    <a:cs typeface="Arial" charset="0"/>
                  </a:defRPr>
                </a:lvl3pPr>
                <a:lvl4pPr fontAlgn="base">
                  <a:spcBef>
                    <a:spcPct val="0"/>
                  </a:spcBef>
                  <a:spcAft>
                    <a:spcPct val="0"/>
                  </a:spcAft>
                  <a:defRPr>
                    <a:latin typeface="Arial" charset="0"/>
                    <a:cs typeface="Arial" charset="0"/>
                  </a:defRPr>
                </a:lvl4pPr>
                <a:lvl5pPr fontAlgn="base">
                  <a:spcBef>
                    <a:spcPct val="0"/>
                  </a:spcBef>
                  <a:spcAft>
                    <a:spcPct val="0"/>
                  </a:spcAft>
                  <a:defRPr>
                    <a:latin typeface="Arial" charset="0"/>
                    <a:cs typeface="Arial" charset="0"/>
                  </a:defRPr>
                </a:lvl5pPr>
                <a:lvl6pPr>
                  <a:defRPr>
                    <a:latin typeface="Arial" charset="0"/>
                    <a:cs typeface="Arial" charset="0"/>
                  </a:defRPr>
                </a:lvl6pPr>
                <a:lvl7pPr>
                  <a:defRPr>
                    <a:latin typeface="Arial" charset="0"/>
                    <a:cs typeface="Arial" charset="0"/>
                  </a:defRPr>
                </a:lvl7pPr>
                <a:lvl8pPr>
                  <a:defRPr>
                    <a:latin typeface="Arial" charset="0"/>
                    <a:cs typeface="Arial" charset="0"/>
                  </a:defRPr>
                </a:lvl8pPr>
                <a:lvl9pPr>
                  <a:defRPr>
                    <a:latin typeface="Arial" charset="0"/>
                    <a:cs typeface="Arial" charset="0"/>
                  </a:defRPr>
                </a:lvl9pPr>
              </a:lstStyle>
              <a:p>
                <a:pPr defTabSz="914112"/>
                <a:r>
                  <a:rPr lang="nl-NL" sz="1000" dirty="0">
                    <a:solidFill>
                      <a:srgbClr val="000000"/>
                    </a:solidFill>
                    <a:latin typeface="Trebuchet MS"/>
                  </a:rPr>
                  <a:t>Invoegen</a:t>
                </a:r>
              </a:p>
            </p:txBody>
          </p:sp>
          <p:cxnSp>
            <p:nvCxnSpPr>
              <p:cNvPr id="122" name="Rechte verbindingslijn 121"/>
              <p:cNvCxnSpPr/>
              <p:nvPr/>
            </p:nvCxnSpPr>
            <p:spPr>
              <a:xfrm>
                <a:off x="14461905" y="3507058"/>
                <a:ext cx="0" cy="224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3" name="Gelijkbenige driehoek 122"/>
              <p:cNvSpPr/>
              <p:nvPr/>
            </p:nvSpPr>
            <p:spPr>
              <a:xfrm rot="10800000">
                <a:off x="14518584" y="3600521"/>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112"/>
                <a:endParaRPr lang="nl-NL" dirty="0">
                  <a:solidFill>
                    <a:srgbClr val="FFFFFF"/>
                  </a:solidFill>
                </a:endParaRPr>
              </a:p>
            </p:txBody>
          </p:sp>
        </p:grpSp>
      </p:grpSp>
      <p:grpSp>
        <p:nvGrpSpPr>
          <p:cNvPr id="313" name="Instructie - Tekst niveaus"/>
          <p:cNvGrpSpPr/>
          <p:nvPr userDrawn="1"/>
        </p:nvGrpSpPr>
        <p:grpSpPr>
          <a:xfrm>
            <a:off x="-3117849" y="365"/>
            <a:ext cx="2823358" cy="5254722"/>
            <a:chOff x="-2959433" y="-5444"/>
            <a:chExt cx="2822623" cy="5254722"/>
          </a:xfrm>
        </p:grpSpPr>
        <p:sp>
          <p:nvSpPr>
            <p:cNvPr id="314" name="Rechthoek 313"/>
            <p:cNvSpPr/>
            <p:nvPr userDrawn="1"/>
          </p:nvSpPr>
          <p:spPr>
            <a:xfrm>
              <a:off x="-2959433" y="-5444"/>
              <a:ext cx="2572469" cy="280344"/>
            </a:xfrm>
            <a:prstGeom prst="rect">
              <a:avLst/>
            </a:prstGeom>
            <a:noFill/>
            <a:ln w="25400" cap="flat" cmpd="sng" algn="ctr">
              <a:noFill/>
              <a:prstDash val="solid"/>
            </a:ln>
            <a:effectLst/>
          </p:spPr>
          <p:txBody>
            <a:bodyPr lIns="0" tIns="0" rIns="0" bIns="0" rtlCol="0" anchor="t"/>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nl-NL" sz="1600" b="1" kern="0" dirty="0">
                  <a:solidFill>
                    <a:srgbClr val="ED1A3B"/>
                  </a:solidFill>
                  <a:cs typeface="Segoe UI Light" panose="020B0502040204020203" pitchFamily="34" charset="0"/>
                </a:rPr>
                <a:t>TEKST NIVEAUS</a:t>
              </a:r>
            </a:p>
          </p:txBody>
        </p:sp>
        <p:sp>
          <p:nvSpPr>
            <p:cNvPr id="315" name="Textfield placeholder"/>
            <p:cNvSpPr txBox="1">
              <a:spLocks/>
            </p:cNvSpPr>
            <p:nvPr userDrawn="1"/>
          </p:nvSpPr>
          <p:spPr>
            <a:xfrm>
              <a:off x="-2587337" y="2675411"/>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0" lvl="2"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a:solidFill>
                    <a:srgbClr val="404040"/>
                  </a:solidFill>
                </a:rPr>
                <a:t>Sub-bullets (12 pt.)</a:t>
              </a:r>
            </a:p>
          </p:txBody>
        </p:sp>
        <p:sp>
          <p:nvSpPr>
            <p:cNvPr id="316" name="Ovaal 315"/>
            <p:cNvSpPr/>
            <p:nvPr userDrawn="1"/>
          </p:nvSpPr>
          <p:spPr>
            <a:xfrm>
              <a:off x="-2959433" y="196874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1</a:t>
              </a:r>
            </a:p>
          </p:txBody>
        </p:sp>
        <p:sp>
          <p:nvSpPr>
            <p:cNvPr id="317" name="Ovaal 316"/>
            <p:cNvSpPr/>
            <p:nvPr userDrawn="1"/>
          </p:nvSpPr>
          <p:spPr>
            <a:xfrm>
              <a:off x="-2959433" y="232207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2</a:t>
              </a:r>
            </a:p>
          </p:txBody>
        </p:sp>
        <p:sp>
          <p:nvSpPr>
            <p:cNvPr id="318" name="Ovaal 317"/>
            <p:cNvSpPr/>
            <p:nvPr userDrawn="1"/>
          </p:nvSpPr>
          <p:spPr>
            <a:xfrm>
              <a:off x="-2959433" y="267541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3</a:t>
              </a:r>
            </a:p>
          </p:txBody>
        </p:sp>
        <p:sp>
          <p:nvSpPr>
            <p:cNvPr id="319" name="Ovaal 318"/>
            <p:cNvSpPr/>
            <p:nvPr userDrawn="1"/>
          </p:nvSpPr>
          <p:spPr>
            <a:xfrm>
              <a:off x="-2959433" y="302874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4</a:t>
              </a:r>
            </a:p>
          </p:txBody>
        </p:sp>
        <p:sp>
          <p:nvSpPr>
            <p:cNvPr id="320" name="Textfield placeholder"/>
            <p:cNvSpPr txBox="1">
              <a:spLocks/>
            </p:cNvSpPr>
            <p:nvPr userDrawn="1"/>
          </p:nvSpPr>
          <p:spPr>
            <a:xfrm>
              <a:off x="-2571950" y="1966925"/>
              <a:ext cx="2163709" cy="261500"/>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79388">
                <a:lnSpc>
                  <a:spcPct val="120000"/>
                </a:lnSpc>
                <a:spcBef>
                  <a:spcPts val="0"/>
                </a:spcBef>
                <a:spcAft>
                  <a:spcPts val="900"/>
                </a:spcAft>
                <a:buClr>
                  <a:srgbClr val="000000"/>
                </a:buClr>
                <a:buSzPct val="100000"/>
                <a:buFont typeface="Arial" pitchFamily="34" charset="0"/>
                <a:buNone/>
                <a:defRPr/>
              </a:pPr>
              <a:r>
                <a:rPr lang="nl-NL" sz="1200" dirty="0">
                  <a:solidFill>
                    <a:srgbClr val="535353"/>
                  </a:solidFill>
                </a:rPr>
                <a:t>Leestekst (12 pt.)</a:t>
              </a:r>
            </a:p>
          </p:txBody>
        </p:sp>
        <p:sp>
          <p:nvSpPr>
            <p:cNvPr id="321" name="Textfield placeholder"/>
            <p:cNvSpPr txBox="1">
              <a:spLocks/>
            </p:cNvSpPr>
            <p:nvPr userDrawn="1"/>
          </p:nvSpPr>
          <p:spPr>
            <a:xfrm>
              <a:off x="-2571950" y="2322077"/>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70000" lvl="1"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err="1">
                  <a:solidFill>
                    <a:srgbClr val="535353"/>
                  </a:solidFill>
                </a:rPr>
                <a:t>Bullets</a:t>
              </a:r>
              <a:r>
                <a:rPr lang="nl-NL" sz="1200" dirty="0">
                  <a:solidFill>
                    <a:srgbClr val="535353"/>
                  </a:solidFill>
                </a:rPr>
                <a:t> (12 </a:t>
              </a:r>
              <a:r>
                <a:rPr lang="nl-NL" sz="1200" dirty="0" err="1">
                  <a:solidFill>
                    <a:srgbClr val="535353"/>
                  </a:solidFill>
                </a:rPr>
                <a:t>pt</a:t>
              </a:r>
              <a:r>
                <a:rPr lang="nl-NL" sz="1200" dirty="0">
                  <a:solidFill>
                    <a:srgbClr val="535353"/>
                  </a:solidFill>
                </a:rPr>
                <a:t>.)</a:t>
              </a:r>
            </a:p>
          </p:txBody>
        </p:sp>
        <p:sp>
          <p:nvSpPr>
            <p:cNvPr id="322" name="Textfield placeholder"/>
            <p:cNvSpPr txBox="1">
              <a:spLocks/>
            </p:cNvSpPr>
            <p:nvPr userDrawn="1"/>
          </p:nvSpPr>
          <p:spPr>
            <a:xfrm>
              <a:off x="-2571951" y="3028747"/>
              <a:ext cx="2435141"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10000" lvl="3" indent="-270000" algn="l" defTabSz="179388" rtl="0" eaLnBrk="1" latinLnBrk="0" hangingPunct="1">
                <a:lnSpc>
                  <a:spcPct val="120000"/>
                </a:lnSpc>
                <a:spcBef>
                  <a:spcPts val="0"/>
                </a:spcBef>
                <a:spcAft>
                  <a:spcPts val="900"/>
                </a:spcAft>
                <a:buClr>
                  <a:schemeClr val="accent2"/>
                </a:buClr>
                <a:buSzPct val="80000"/>
                <a:buFont typeface="Wingdings 3" panose="05040102010807070707" pitchFamily="18" charset="2"/>
                <a:buChar char=""/>
                <a:defRPr/>
              </a:pPr>
              <a:r>
                <a:rPr lang="nl-NL" sz="1200" b="0" kern="1200" dirty="0">
                  <a:solidFill>
                    <a:srgbClr val="404040"/>
                  </a:solidFill>
                  <a:latin typeface="+mn-lt"/>
                  <a:ea typeface="+mn-ea"/>
                  <a:cs typeface="+mn-cs"/>
                </a:rPr>
                <a:t>Sub-sub-bullets (12 pt.)</a:t>
              </a:r>
            </a:p>
          </p:txBody>
        </p:sp>
        <p:cxnSp>
          <p:nvCxnSpPr>
            <p:cNvPr id="323" name="Rechte verbindingslijn 322"/>
            <p:cNvCxnSpPr/>
            <p:nvPr userDrawn="1"/>
          </p:nvCxnSpPr>
          <p:spPr>
            <a:xfrm>
              <a:off x="-2959100" y="274900"/>
              <a:ext cx="2674470" cy="0"/>
            </a:xfrm>
            <a:prstGeom prst="line">
              <a:avLst/>
            </a:prstGeom>
            <a:noFill/>
            <a:ln w="9525" cap="flat" cmpd="sng" algn="ctr">
              <a:solidFill>
                <a:schemeClr val="accent1"/>
              </a:solidFill>
              <a:prstDash val="solid"/>
            </a:ln>
            <a:effectLst/>
          </p:spPr>
        </p:cxnSp>
        <p:cxnSp>
          <p:nvCxnSpPr>
            <p:cNvPr id="324" name="Rechte verbindingslijn 323"/>
            <p:cNvCxnSpPr/>
            <p:nvPr userDrawn="1"/>
          </p:nvCxnSpPr>
          <p:spPr>
            <a:xfrm>
              <a:off x="-2959100" y="1841989"/>
              <a:ext cx="2661379" cy="0"/>
            </a:xfrm>
            <a:prstGeom prst="line">
              <a:avLst/>
            </a:prstGeom>
            <a:noFill/>
            <a:ln w="9525" cap="flat" cmpd="sng" algn="ctr">
              <a:solidFill>
                <a:schemeClr val="accent1"/>
              </a:solidFill>
              <a:prstDash val="solid"/>
            </a:ln>
            <a:effectLst/>
          </p:spPr>
        </p:cxnSp>
        <p:cxnSp>
          <p:nvCxnSpPr>
            <p:cNvPr id="325" name="Rechte verbindingslijn 324"/>
            <p:cNvCxnSpPr/>
            <p:nvPr userDrawn="1"/>
          </p:nvCxnSpPr>
          <p:spPr>
            <a:xfrm>
              <a:off x="-2959100" y="5249278"/>
              <a:ext cx="2661379" cy="0"/>
            </a:xfrm>
            <a:prstGeom prst="line">
              <a:avLst/>
            </a:prstGeom>
            <a:noFill/>
            <a:ln w="9525" cap="flat" cmpd="sng" algn="ctr">
              <a:solidFill>
                <a:schemeClr val="accent1"/>
              </a:solidFill>
              <a:prstDash val="solid"/>
            </a:ln>
            <a:effectLst/>
          </p:spPr>
        </p:cxnSp>
        <p:grpSp>
          <p:nvGrpSpPr>
            <p:cNvPr id="326" name="Groep 325"/>
            <p:cNvGrpSpPr/>
            <p:nvPr userDrawn="1"/>
          </p:nvGrpSpPr>
          <p:grpSpPr>
            <a:xfrm>
              <a:off x="-1948476" y="816741"/>
              <a:ext cx="409108" cy="427699"/>
              <a:chOff x="-1085063" y="758027"/>
              <a:chExt cx="633799" cy="622540"/>
            </a:xfrm>
          </p:grpSpPr>
          <p:sp>
            <p:nvSpPr>
              <p:cNvPr id="382" name="Afgeronde rechthoek 381"/>
              <p:cNvSpPr/>
              <p:nvPr userDrawn="1"/>
            </p:nvSpPr>
            <p:spPr>
              <a:xfrm>
                <a:off x="-108506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383" name="Groep 382"/>
              <p:cNvGrpSpPr/>
              <p:nvPr userDrawn="1"/>
            </p:nvGrpSpPr>
            <p:grpSpPr>
              <a:xfrm>
                <a:off x="-977739" y="864082"/>
                <a:ext cx="419168" cy="410429"/>
                <a:chOff x="6366933" y="309013"/>
                <a:chExt cx="1901295" cy="1861668"/>
              </a:xfrm>
              <a:solidFill>
                <a:srgbClr val="000000"/>
              </a:solidFill>
            </p:grpSpPr>
            <p:sp>
              <p:nvSpPr>
                <p:cNvPr id="384" name="Rechthoek 383"/>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85" name="Rechthoek 384"/>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86" name="Rechthoek 385"/>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87" name="Rechthoek 386"/>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88" name="Rechthoek 387"/>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89" name="Rechthoek 388"/>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90" name="Rechthoek 389"/>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91" name="Rechthoek 390"/>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92" name="Rechthoek 391"/>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93" name="Rechthoek 392"/>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94" name="Vrije vorm 393"/>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nvGrpSpPr>
            <p:cNvPr id="327" name="Groep 326"/>
            <p:cNvGrpSpPr/>
            <p:nvPr userDrawn="1"/>
          </p:nvGrpSpPr>
          <p:grpSpPr>
            <a:xfrm>
              <a:off x="-2950232" y="1207835"/>
              <a:ext cx="532929" cy="509563"/>
              <a:chOff x="-2880382" y="802341"/>
              <a:chExt cx="532929" cy="509563"/>
            </a:xfrm>
          </p:grpSpPr>
          <p:sp>
            <p:nvSpPr>
              <p:cNvPr id="360" name="Rechthoek 359"/>
              <p:cNvSpPr/>
              <p:nvPr userDrawn="1"/>
            </p:nvSpPr>
            <p:spPr>
              <a:xfrm>
                <a:off x="-2880382" y="802341"/>
                <a:ext cx="532929" cy="509563"/>
              </a:xfrm>
              <a:prstGeom prst="rect">
                <a:avLst/>
              </a:prstGeom>
              <a:solidFill>
                <a:sysClr val="window" lastClr="FFFFFF"/>
              </a:soli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pic>
            <p:nvPicPr>
              <p:cNvPr id="361"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635852" y="822181"/>
                <a:ext cx="226442" cy="208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62"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848026" y="822181"/>
                <a:ext cx="207168" cy="213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63" name="Groep 362"/>
              <p:cNvGrpSpPr/>
              <p:nvPr userDrawn="1"/>
            </p:nvGrpSpPr>
            <p:grpSpPr>
              <a:xfrm>
                <a:off x="-2802433" y="1123442"/>
                <a:ext cx="132915" cy="104889"/>
                <a:chOff x="-2796392" y="1123442"/>
                <a:chExt cx="120832" cy="104889"/>
              </a:xfrm>
            </p:grpSpPr>
            <p:sp>
              <p:nvSpPr>
                <p:cNvPr id="377" name="Rechthoek 376"/>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78" name="Rechthoek 377"/>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79" name="Rechthoek 378"/>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80" name="Rechthoek 379"/>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81" name="Rechthoek 380"/>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364" name="Groep 363"/>
              <p:cNvGrpSpPr/>
              <p:nvPr userDrawn="1"/>
            </p:nvGrpSpPr>
            <p:grpSpPr>
              <a:xfrm>
                <a:off x="-2575417" y="1123442"/>
                <a:ext cx="133930" cy="104889"/>
                <a:chOff x="-2556734" y="1123442"/>
                <a:chExt cx="147324" cy="104889"/>
              </a:xfrm>
            </p:grpSpPr>
            <p:grpSp>
              <p:nvGrpSpPr>
                <p:cNvPr id="365" name="Groep 364"/>
                <p:cNvGrpSpPr/>
                <p:nvPr userDrawn="1"/>
              </p:nvGrpSpPr>
              <p:grpSpPr>
                <a:xfrm>
                  <a:off x="-2556734" y="1123442"/>
                  <a:ext cx="68206" cy="104889"/>
                  <a:chOff x="-2796392" y="1123442"/>
                  <a:chExt cx="120832" cy="104889"/>
                </a:xfrm>
              </p:grpSpPr>
              <p:sp>
                <p:nvSpPr>
                  <p:cNvPr id="372" name="Rechthoek 371"/>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73" name="Rechthoek 372"/>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74" name="Rechthoek 373"/>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75" name="Rechthoek 374"/>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76" name="Rechthoek 375"/>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366" name="Groep 365"/>
                <p:cNvGrpSpPr/>
                <p:nvPr userDrawn="1"/>
              </p:nvGrpSpPr>
              <p:grpSpPr>
                <a:xfrm>
                  <a:off x="-2477616" y="1123442"/>
                  <a:ext cx="68206" cy="104889"/>
                  <a:chOff x="-2796392" y="1123442"/>
                  <a:chExt cx="120832" cy="104889"/>
                </a:xfrm>
              </p:grpSpPr>
              <p:sp>
                <p:nvSpPr>
                  <p:cNvPr id="367" name="Rechthoek 366"/>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68" name="Rechthoek 367"/>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69" name="Rechthoek 368"/>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70" name="Rechthoek 369"/>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71" name="Rechthoek 370"/>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grpSp>
          <p:nvGrpSpPr>
            <p:cNvPr id="328" name="Groep 327"/>
            <p:cNvGrpSpPr/>
            <p:nvPr userDrawn="1"/>
          </p:nvGrpSpPr>
          <p:grpSpPr>
            <a:xfrm>
              <a:off x="-1948476" y="1281164"/>
              <a:ext cx="413704" cy="427699"/>
              <a:chOff x="-1845083" y="758027"/>
              <a:chExt cx="633799" cy="622540"/>
            </a:xfrm>
          </p:grpSpPr>
          <p:sp>
            <p:nvSpPr>
              <p:cNvPr id="347" name="Afgeronde rechthoek 346"/>
              <p:cNvSpPr/>
              <p:nvPr userDrawn="1"/>
            </p:nvSpPr>
            <p:spPr>
              <a:xfrm>
                <a:off x="-184508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348" name="Groep 347"/>
              <p:cNvGrpSpPr/>
              <p:nvPr userDrawn="1"/>
            </p:nvGrpSpPr>
            <p:grpSpPr>
              <a:xfrm>
                <a:off x="-1737762" y="864082"/>
                <a:ext cx="419168" cy="410429"/>
                <a:chOff x="3708400" y="309013"/>
                <a:chExt cx="1901295" cy="1861668"/>
              </a:xfrm>
              <a:solidFill>
                <a:srgbClr val="000000"/>
              </a:solidFill>
            </p:grpSpPr>
            <p:sp>
              <p:nvSpPr>
                <p:cNvPr id="349" name="Rechthoek 348"/>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50" name="Rechthoek 349"/>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51" name="Rechthoek 350"/>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52" name="Rechthoek 351"/>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53" name="Rechthoek 352"/>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54" name="Rechthoek 353"/>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55" name="Rechthoek 354"/>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56" name="Rechthoek 355"/>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57" name="Rechthoek 356"/>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58" name="Rechthoek 357"/>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59" name="Vrije vorm 358"/>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cxnSp>
          <p:nvCxnSpPr>
            <p:cNvPr id="329" name="Rechte verbindingslijn 328"/>
            <p:cNvCxnSpPr/>
            <p:nvPr userDrawn="1"/>
          </p:nvCxnSpPr>
          <p:spPr>
            <a:xfrm>
              <a:off x="-2814292" y="1441193"/>
              <a:ext cx="865816" cy="53821"/>
            </a:xfrm>
            <a:prstGeom prst="line">
              <a:avLst/>
            </a:prstGeom>
            <a:noFill/>
            <a:ln w="9525" cap="flat" cmpd="sng" algn="ctr">
              <a:solidFill>
                <a:schemeClr val="accent1"/>
              </a:solidFill>
              <a:prstDash val="solid"/>
              <a:headEnd type="oval"/>
            </a:ln>
            <a:effectLst/>
          </p:spPr>
        </p:cxnSp>
        <p:cxnSp>
          <p:nvCxnSpPr>
            <p:cNvPr id="330" name="Rechte verbindingslijn 329"/>
            <p:cNvCxnSpPr/>
            <p:nvPr userDrawn="1"/>
          </p:nvCxnSpPr>
          <p:spPr>
            <a:xfrm flipV="1">
              <a:off x="-2453902" y="1030591"/>
              <a:ext cx="505426" cy="283623"/>
            </a:xfrm>
            <a:prstGeom prst="line">
              <a:avLst/>
            </a:prstGeom>
            <a:noFill/>
            <a:ln w="9525" cap="flat" cmpd="sng" algn="ctr">
              <a:solidFill>
                <a:schemeClr val="accent1"/>
              </a:solidFill>
              <a:prstDash val="solid"/>
              <a:headEnd type="oval"/>
            </a:ln>
            <a:effectLst/>
          </p:spPr>
        </p:cxnSp>
        <p:sp>
          <p:nvSpPr>
            <p:cNvPr id="331" name="Textfield placeholder"/>
            <p:cNvSpPr txBox="1">
              <a:spLocks/>
            </p:cNvSpPr>
            <p:nvPr userDrawn="1"/>
          </p:nvSpPr>
          <p:spPr>
            <a:xfrm>
              <a:off x="-1341598" y="816743"/>
              <a:ext cx="1056968" cy="427698"/>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hoog</a:t>
              </a:r>
            </a:p>
          </p:txBody>
        </p:sp>
        <p:sp>
          <p:nvSpPr>
            <p:cNvPr id="332" name="Textfield placeholder"/>
            <p:cNvSpPr txBox="1">
              <a:spLocks/>
            </p:cNvSpPr>
            <p:nvPr userDrawn="1"/>
          </p:nvSpPr>
          <p:spPr>
            <a:xfrm>
              <a:off x="-1341599" y="1281164"/>
              <a:ext cx="1070223" cy="427699"/>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laag</a:t>
              </a:r>
            </a:p>
          </p:txBody>
        </p:sp>
        <p:sp>
          <p:nvSpPr>
            <p:cNvPr id="333" name="Ovaal 332"/>
            <p:cNvSpPr/>
            <p:nvPr userDrawn="1"/>
          </p:nvSpPr>
          <p:spPr>
            <a:xfrm>
              <a:off x="-2959433" y="338208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5</a:t>
              </a:r>
            </a:p>
          </p:txBody>
        </p:sp>
        <p:sp>
          <p:nvSpPr>
            <p:cNvPr id="334" name="Textfield placeholder"/>
            <p:cNvSpPr txBox="1">
              <a:spLocks/>
            </p:cNvSpPr>
            <p:nvPr userDrawn="1"/>
          </p:nvSpPr>
          <p:spPr>
            <a:xfrm>
              <a:off x="-2571950" y="3382082"/>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60000" lvl="4" indent="-360000" defTabSz="179388">
                <a:lnSpc>
                  <a:spcPct val="120000"/>
                </a:lnSpc>
                <a:spcBef>
                  <a:spcPts val="0"/>
                </a:spcBef>
                <a:spcAft>
                  <a:spcPts val="900"/>
                </a:spcAft>
                <a:buClr>
                  <a:srgbClr val="ED1A3B"/>
                </a:buClr>
                <a:buFont typeface="+mj-lt"/>
                <a:buAutoNum type="arabicPeriod"/>
                <a:defRPr/>
              </a:pPr>
              <a:r>
                <a:rPr lang="nl-NL" sz="1200" b="0" dirty="0">
                  <a:solidFill>
                    <a:srgbClr val="404040"/>
                  </a:solidFill>
                </a:rPr>
                <a:t>Numeriek (12 pt.)</a:t>
              </a:r>
            </a:p>
          </p:txBody>
        </p:sp>
        <p:grpSp>
          <p:nvGrpSpPr>
            <p:cNvPr id="335" name="Groep 334"/>
            <p:cNvGrpSpPr/>
            <p:nvPr userDrawn="1"/>
          </p:nvGrpSpPr>
          <p:grpSpPr>
            <a:xfrm>
              <a:off x="-2950232" y="816050"/>
              <a:ext cx="528695" cy="344202"/>
              <a:chOff x="-2880382" y="410556"/>
              <a:chExt cx="528695" cy="344202"/>
            </a:xfrm>
          </p:grpSpPr>
          <p:sp>
            <p:nvSpPr>
              <p:cNvPr id="345" name="Afgeronde rechthoek 344"/>
              <p:cNvSpPr/>
              <p:nvPr userDrawn="1"/>
            </p:nvSpPr>
            <p:spPr>
              <a:xfrm>
                <a:off x="-2874214" y="410556"/>
                <a:ext cx="522527" cy="339183"/>
              </a:xfrm>
              <a:prstGeom prst="roundRect">
                <a:avLst>
                  <a:gd name="adj" fmla="val 7565"/>
                </a:avLst>
              </a:prstGeom>
              <a:gradFill>
                <a:gsLst>
                  <a:gs pos="0">
                    <a:srgbClr val="FFEC8F"/>
                  </a:gs>
                  <a:gs pos="100000">
                    <a:srgbClr val="FFFFFF"/>
                  </a:gs>
                </a:gsLst>
                <a:lin ang="5400000" scaled="0"/>
              </a:gra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sp>
            <p:nvSpPr>
              <p:cNvPr id="346" name="Vrije vorm 345"/>
              <p:cNvSpPr/>
              <p:nvPr userDrawn="1"/>
            </p:nvSpPr>
            <p:spPr>
              <a:xfrm>
                <a:off x="-2880382" y="452699"/>
                <a:ext cx="528695" cy="302059"/>
              </a:xfrm>
              <a:custGeom>
                <a:avLst/>
                <a:gdLst>
                  <a:gd name="connsiteX0" fmla="*/ 55524 w 528695"/>
                  <a:gd name="connsiteY0" fmla="*/ 0 h 302059"/>
                  <a:gd name="connsiteX1" fmla="*/ 455496 w 528695"/>
                  <a:gd name="connsiteY1" fmla="*/ 0 h 302059"/>
                  <a:gd name="connsiteX2" fmla="*/ 475205 w 528695"/>
                  <a:gd name="connsiteY2" fmla="*/ 19709 h 302059"/>
                  <a:gd name="connsiteX3" fmla="*/ 475205 w 528695"/>
                  <a:gd name="connsiteY3" fmla="*/ 230056 h 302059"/>
                  <a:gd name="connsiteX4" fmla="*/ 516694 w 528695"/>
                  <a:gd name="connsiteY4" fmla="*/ 230056 h 302059"/>
                  <a:gd name="connsiteX5" fmla="*/ 528695 w 528695"/>
                  <a:gd name="connsiteY5" fmla="*/ 242057 h 302059"/>
                  <a:gd name="connsiteX6" fmla="*/ 528695 w 528695"/>
                  <a:gd name="connsiteY6" fmla="*/ 290058 h 302059"/>
                  <a:gd name="connsiteX7" fmla="*/ 516694 w 528695"/>
                  <a:gd name="connsiteY7" fmla="*/ 302059 h 302059"/>
                  <a:gd name="connsiteX8" fmla="*/ 12001 w 528695"/>
                  <a:gd name="connsiteY8" fmla="*/ 302059 h 302059"/>
                  <a:gd name="connsiteX9" fmla="*/ 0 w 528695"/>
                  <a:gd name="connsiteY9" fmla="*/ 290058 h 302059"/>
                  <a:gd name="connsiteX10" fmla="*/ 0 w 528695"/>
                  <a:gd name="connsiteY10" fmla="*/ 242057 h 302059"/>
                  <a:gd name="connsiteX11" fmla="*/ 12001 w 528695"/>
                  <a:gd name="connsiteY11" fmla="*/ 230056 h 302059"/>
                  <a:gd name="connsiteX12" fmla="*/ 35815 w 528695"/>
                  <a:gd name="connsiteY12" fmla="*/ 230056 h 302059"/>
                  <a:gd name="connsiteX13" fmla="*/ 35815 w 528695"/>
                  <a:gd name="connsiteY13" fmla="*/ 19709 h 302059"/>
                  <a:gd name="connsiteX14" fmla="*/ 55524 w 528695"/>
                  <a:gd name="connsiteY14" fmla="*/ 0 h 3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8695" h="302059">
                    <a:moveTo>
                      <a:pt x="55524" y="0"/>
                    </a:moveTo>
                    <a:lnTo>
                      <a:pt x="455496" y="0"/>
                    </a:lnTo>
                    <a:cubicBezTo>
                      <a:pt x="466381" y="0"/>
                      <a:pt x="475205" y="8824"/>
                      <a:pt x="475205" y="19709"/>
                    </a:cubicBezTo>
                    <a:lnTo>
                      <a:pt x="475205" y="230056"/>
                    </a:lnTo>
                    <a:lnTo>
                      <a:pt x="516694" y="230056"/>
                    </a:lnTo>
                    <a:cubicBezTo>
                      <a:pt x="523322" y="230056"/>
                      <a:pt x="528695" y="235429"/>
                      <a:pt x="528695" y="242057"/>
                    </a:cubicBezTo>
                    <a:lnTo>
                      <a:pt x="528695" y="290058"/>
                    </a:lnTo>
                    <a:cubicBezTo>
                      <a:pt x="528695" y="296686"/>
                      <a:pt x="523322" y="302059"/>
                      <a:pt x="516694" y="302059"/>
                    </a:cubicBezTo>
                    <a:lnTo>
                      <a:pt x="12001" y="302059"/>
                    </a:lnTo>
                    <a:cubicBezTo>
                      <a:pt x="5373" y="302059"/>
                      <a:pt x="0" y="296686"/>
                      <a:pt x="0" y="290058"/>
                    </a:cubicBezTo>
                    <a:lnTo>
                      <a:pt x="0" y="242057"/>
                    </a:lnTo>
                    <a:cubicBezTo>
                      <a:pt x="0" y="235429"/>
                      <a:pt x="5373" y="230056"/>
                      <a:pt x="12001" y="230056"/>
                    </a:cubicBezTo>
                    <a:lnTo>
                      <a:pt x="35815" y="230056"/>
                    </a:lnTo>
                    <a:lnTo>
                      <a:pt x="35815" y="19709"/>
                    </a:lnTo>
                    <a:cubicBezTo>
                      <a:pt x="35815" y="8824"/>
                      <a:pt x="44639" y="0"/>
                      <a:pt x="55524" y="0"/>
                    </a:cubicBezTo>
                    <a:close/>
                  </a:path>
                </a:pathLst>
              </a:custGeom>
              <a:solidFill>
                <a:sysClr val="window" lastClr="FFFFFF">
                  <a:lumMod val="95000"/>
                </a:sysClr>
              </a:solidFill>
              <a:ln w="9525" cap="flat" cmpd="sng" algn="ctr">
                <a:solidFill>
                  <a:srgbClr val="FFFFFF">
                    <a:lumMod val="90000"/>
                  </a:srgbClr>
                </a:solidFill>
                <a:prstDash val="solid"/>
                <a:miter lim="800000"/>
              </a:ln>
              <a:effectLst/>
            </p:spPr>
            <p:txBody>
              <a:bodyPr rot="0" spcFirstLastPara="0" vert="horz" wrap="square" lIns="108000" tIns="36000" rIns="108000" bIns="10800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900" dirty="0">
                    <a:solidFill>
                      <a:prstClr val="black"/>
                    </a:solidFill>
                    <a:latin typeface="Segoe UI Light"/>
                  </a:rPr>
                  <a:t>Start</a:t>
                </a:r>
              </a:p>
            </p:txBody>
          </p:sp>
        </p:grpSp>
        <p:sp>
          <p:nvSpPr>
            <p:cNvPr id="336" name="Tekstvak 65"/>
            <p:cNvSpPr txBox="1"/>
            <p:nvPr userDrawn="1"/>
          </p:nvSpPr>
          <p:spPr>
            <a:xfrm>
              <a:off x="-2959433" y="372104"/>
              <a:ext cx="2679887" cy="453396"/>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nl-NL" sz="1200" kern="0" dirty="0">
                  <a:solidFill>
                    <a:srgbClr val="000000"/>
                  </a:solidFill>
                  <a:latin typeface="Segoe UI Light" panose="020B0502040204020203" pitchFamily="34" charset="0"/>
                  <a:cs typeface="Segoe UI Light" panose="020B0502040204020203" pitchFamily="34" charset="0"/>
                </a:rPr>
                <a:t>Ga naar de tab </a:t>
              </a:r>
              <a:r>
                <a:rPr lang="nl-NL" sz="1200" b="1" kern="0" dirty="0">
                  <a:solidFill>
                    <a:srgbClr val="000000"/>
                  </a:solidFill>
                  <a:latin typeface="Segoe UI Light" panose="020B0502040204020203" pitchFamily="34" charset="0"/>
                  <a:cs typeface="Segoe UI Light" panose="020B0502040204020203" pitchFamily="34" charset="0"/>
                </a:rPr>
                <a:t>Start’ </a:t>
              </a:r>
              <a:r>
                <a:rPr lang="nl-NL" sz="1200" kern="0" dirty="0">
                  <a:solidFill>
                    <a:srgbClr val="000000"/>
                  </a:solidFill>
                  <a:latin typeface="Segoe UI Light" panose="020B0502040204020203" pitchFamily="34" charset="0"/>
                  <a:cs typeface="Segoe UI Light" panose="020B0502040204020203" pitchFamily="34" charset="0"/>
                </a:rPr>
                <a:t>en vind onderstaande knoppen onder </a:t>
              </a:r>
              <a:r>
                <a:rPr lang="nl-NL" sz="1200" b="1" kern="0" dirty="0">
                  <a:solidFill>
                    <a:srgbClr val="000000"/>
                  </a:solidFill>
                  <a:latin typeface="Segoe UI Light" panose="020B0502040204020203" pitchFamily="34" charset="0"/>
                  <a:cs typeface="Segoe UI Light" panose="020B0502040204020203" pitchFamily="34" charset="0"/>
                </a:rPr>
                <a:t>‘Alinea’</a:t>
              </a:r>
            </a:p>
          </p:txBody>
        </p:sp>
        <p:sp>
          <p:nvSpPr>
            <p:cNvPr id="337" name="Ovaal 336"/>
            <p:cNvSpPr/>
            <p:nvPr userDrawn="1"/>
          </p:nvSpPr>
          <p:spPr>
            <a:xfrm>
              <a:off x="-2959433" y="375153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6</a:t>
              </a:r>
            </a:p>
          </p:txBody>
        </p:sp>
        <p:sp>
          <p:nvSpPr>
            <p:cNvPr id="338" name="Textfield placeholder"/>
            <p:cNvSpPr txBox="1">
              <a:spLocks/>
            </p:cNvSpPr>
            <p:nvPr userDrawn="1"/>
          </p:nvSpPr>
          <p:spPr>
            <a:xfrm>
              <a:off x="-2571950" y="3751536"/>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0000" lvl="5" indent="-270000" defTabSz="179388">
                <a:lnSpc>
                  <a:spcPct val="120000"/>
                </a:lnSpc>
                <a:spcAft>
                  <a:spcPts val="900"/>
                </a:spcAft>
                <a:buClr>
                  <a:srgbClr val="ED1A3B"/>
                </a:buClr>
                <a:buSzPct val="80000"/>
                <a:buFont typeface="Wingdings 3" panose="05040102010807070707" pitchFamily="18" charset="2"/>
                <a:buChar char=""/>
                <a:defRPr/>
              </a:pPr>
              <a:r>
                <a:rPr lang="nl-NL" sz="1200" cap="none" dirty="0">
                  <a:solidFill>
                    <a:srgbClr val="535353"/>
                  </a:solidFill>
                </a:rPr>
                <a:t># Bullets (12 pt.)</a:t>
              </a:r>
            </a:p>
          </p:txBody>
        </p:sp>
        <p:sp>
          <p:nvSpPr>
            <p:cNvPr id="339" name="Ovaal 338"/>
            <p:cNvSpPr/>
            <p:nvPr userDrawn="1"/>
          </p:nvSpPr>
          <p:spPr>
            <a:xfrm>
              <a:off x="-2959433" y="414870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7</a:t>
              </a:r>
            </a:p>
          </p:txBody>
        </p:sp>
        <p:sp>
          <p:nvSpPr>
            <p:cNvPr id="340" name="Textfield placeholder"/>
            <p:cNvSpPr txBox="1">
              <a:spLocks/>
            </p:cNvSpPr>
            <p:nvPr userDrawn="1"/>
          </p:nvSpPr>
          <p:spPr>
            <a:xfrm>
              <a:off x="-2571950" y="414870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6" indent="0" defTabSz="179388">
                <a:lnSpc>
                  <a:spcPct val="120000"/>
                </a:lnSpc>
                <a:spcBef>
                  <a:spcPts val="0"/>
                </a:spcBef>
                <a:spcAft>
                  <a:spcPts val="900"/>
                </a:spcAft>
                <a:buClr>
                  <a:srgbClr val="ED1A3B"/>
                </a:buClr>
                <a:buSzPct val="90000"/>
                <a:buFont typeface="+mj-lt"/>
                <a:buNone/>
                <a:defRPr/>
              </a:pPr>
              <a:r>
                <a:rPr lang="nl-NL" sz="1200" i="1" dirty="0">
                  <a:solidFill>
                    <a:srgbClr val="404040"/>
                  </a:solidFill>
                </a:rPr>
                <a:t>Cursief donker (12 pt.)</a:t>
              </a:r>
            </a:p>
          </p:txBody>
        </p:sp>
        <p:sp>
          <p:nvSpPr>
            <p:cNvPr id="341" name="Ovaal 340"/>
            <p:cNvSpPr/>
            <p:nvPr userDrawn="1"/>
          </p:nvSpPr>
          <p:spPr>
            <a:xfrm>
              <a:off x="-2959433" y="454586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8</a:t>
              </a:r>
            </a:p>
          </p:txBody>
        </p:sp>
        <p:sp>
          <p:nvSpPr>
            <p:cNvPr id="342" name="Textfield placeholder"/>
            <p:cNvSpPr txBox="1">
              <a:spLocks/>
            </p:cNvSpPr>
            <p:nvPr userDrawn="1"/>
          </p:nvSpPr>
          <p:spPr>
            <a:xfrm>
              <a:off x="-2571950" y="4545864"/>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7" indent="0" defTabSz="179388">
                <a:lnSpc>
                  <a:spcPct val="80000"/>
                </a:lnSpc>
                <a:spcBef>
                  <a:spcPts val="0"/>
                </a:spcBef>
                <a:spcAft>
                  <a:spcPts val="900"/>
                </a:spcAft>
                <a:buClr>
                  <a:srgbClr val="ED1A3B"/>
                </a:buClr>
                <a:buFont typeface="Arial" pitchFamily="34" charset="0"/>
                <a:buNone/>
                <a:defRPr/>
              </a:pPr>
              <a:r>
                <a:rPr lang="nl-NL" sz="1200" i="1" dirty="0">
                  <a:solidFill>
                    <a:srgbClr val="A3B0C0"/>
                  </a:solidFill>
                </a:rPr>
                <a:t>Cursief Licht (12 pt.)</a:t>
              </a:r>
            </a:p>
          </p:txBody>
        </p:sp>
        <p:sp>
          <p:nvSpPr>
            <p:cNvPr id="343" name="Ovaal 342"/>
            <p:cNvSpPr/>
            <p:nvPr userDrawn="1"/>
          </p:nvSpPr>
          <p:spPr>
            <a:xfrm>
              <a:off x="-2959433" y="488761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9</a:t>
              </a:r>
            </a:p>
          </p:txBody>
        </p:sp>
        <p:sp>
          <p:nvSpPr>
            <p:cNvPr id="344" name="Textfield placeholder"/>
            <p:cNvSpPr txBox="1">
              <a:spLocks/>
            </p:cNvSpPr>
            <p:nvPr userDrawn="1"/>
          </p:nvSpPr>
          <p:spPr>
            <a:xfrm>
              <a:off x="-2571950" y="488761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8" indent="0" defTabSz="179388">
                <a:lnSpc>
                  <a:spcPct val="80000"/>
                </a:lnSpc>
                <a:spcBef>
                  <a:spcPts val="0"/>
                </a:spcBef>
                <a:spcAft>
                  <a:spcPts val="900"/>
                </a:spcAft>
                <a:buClr>
                  <a:srgbClr val="ED1A3B"/>
                </a:buClr>
                <a:buFont typeface="Arial" pitchFamily="34" charset="0"/>
                <a:buNone/>
                <a:defRPr/>
              </a:pPr>
              <a:r>
                <a:rPr lang="nl-NL" sz="1400" b="1" dirty="0">
                  <a:solidFill>
                    <a:srgbClr val="ED1A3B"/>
                  </a:solidFill>
                </a:rPr>
                <a:t>Subtitel (14 pt.)</a:t>
              </a:r>
            </a:p>
          </p:txBody>
        </p:sp>
      </p:grpSp>
      <p:sp>
        <p:nvSpPr>
          <p:cNvPr id="130" name="Hyperlink - Inhoudsopgave">
            <a:hlinkClick r:id="rId5" action="ppaction://hlinksldjump"/>
          </p:cNvPr>
          <p:cNvSpPr/>
          <p:nvPr userDrawn="1"/>
        </p:nvSpPr>
        <p:spPr>
          <a:xfrm>
            <a:off x="10197856" y="5889801"/>
            <a:ext cx="2000494" cy="968199"/>
          </a:xfrm>
          <a:prstGeom prst="rect">
            <a:avLst/>
          </a:prstGeom>
          <a:solidFill>
            <a:srgbClr val="ED1A3B">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cxnSp>
        <p:nvCxnSpPr>
          <p:cNvPr id="21" name="Grijze lijn - boven"/>
          <p:cNvCxnSpPr/>
          <p:nvPr/>
        </p:nvCxnSpPr>
        <p:spPr>
          <a:xfrm flipH="1">
            <a:off x="664804" y="1358670"/>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2" name="Scheidingslijn - Pasfoto_03 / Pasfoto_04"/>
          <p:cNvCxnSpPr/>
          <p:nvPr/>
        </p:nvCxnSpPr>
        <p:spPr>
          <a:xfrm>
            <a:off x="9127889" y="1670861"/>
            <a:ext cx="0" cy="3816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3" name="Scheidingslijn - Pasfoto_02 / Pasfoto_03"/>
          <p:cNvCxnSpPr/>
          <p:nvPr/>
        </p:nvCxnSpPr>
        <p:spPr>
          <a:xfrm>
            <a:off x="6260458" y="1670861"/>
            <a:ext cx="0" cy="3816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 name="Scheidingslijn - Pasfoto_01 / Pasfoto_02"/>
          <p:cNvCxnSpPr/>
          <p:nvPr/>
        </p:nvCxnSpPr>
        <p:spPr>
          <a:xfrm>
            <a:off x="3393027" y="1670861"/>
            <a:ext cx="0" cy="3816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28" name="Tijdelijke aanduiding voor Dianummer"/>
          <p:cNvSpPr>
            <a:spLocks noGrp="1"/>
          </p:cNvSpPr>
          <p:nvPr>
            <p:ph type="sldNum" sz="quarter" idx="4"/>
          </p:nvPr>
        </p:nvSpPr>
        <p:spPr>
          <a:xfrm>
            <a:off x="5770549" y="6295992"/>
            <a:ext cx="657251" cy="365125"/>
          </a:xfrm>
          <a:prstGeom prst="rect">
            <a:avLst/>
          </a:prstGeom>
        </p:spPr>
        <p:txBody>
          <a:bodyPr vert="horz" lIns="91440" tIns="45720" rIns="91440" bIns="45720" rtlCol="0" anchor="ctr"/>
          <a:lstStyle>
            <a:lvl1pPr algn="ctr">
              <a:defRPr sz="800">
                <a:solidFill>
                  <a:schemeClr val="tx1">
                    <a:tint val="75000"/>
                  </a:schemeClr>
                </a:solidFill>
              </a:defRPr>
            </a:lvl1pPr>
          </a:lstStyle>
          <a:p>
            <a:fld id="{1B3FA67A-C720-417A-A072-0CD211FD8662}" type="slidenum">
              <a:rPr lang="nl-NL" smtClean="0">
                <a:solidFill>
                  <a:srgbClr val="000000">
                    <a:tint val="75000"/>
                  </a:srgbClr>
                </a:solidFill>
              </a:rPr>
              <a:pPr/>
              <a:t>‹nr.›</a:t>
            </a:fld>
            <a:endParaRPr lang="nl-NL" dirty="0">
              <a:solidFill>
                <a:srgbClr val="000000">
                  <a:tint val="75000"/>
                </a:srgbClr>
              </a:solidFill>
            </a:endParaRPr>
          </a:p>
        </p:txBody>
      </p:sp>
      <p:sp>
        <p:nvSpPr>
          <p:cNvPr id="27" name="Tijdelijke aanduiding voor Pasfoto_04"/>
          <p:cNvSpPr>
            <a:spLocks noGrp="1"/>
          </p:cNvSpPr>
          <p:nvPr>
            <p:ph type="pic" idx="23"/>
          </p:nvPr>
        </p:nvSpPr>
        <p:spPr>
          <a:xfrm>
            <a:off x="9291166" y="1692127"/>
            <a:ext cx="1022581" cy="1089008"/>
          </a:xfrm>
          <a:solidFill>
            <a:schemeClr val="accent5">
              <a:lumMod val="20000"/>
              <a:lumOff val="80000"/>
            </a:schemeClr>
          </a:solidFill>
          <a:ln w="19050">
            <a:solidFill>
              <a:schemeClr val="accent6"/>
            </a:solidFill>
            <a:miter lim="800000"/>
          </a:ln>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p>
        </p:txBody>
      </p:sp>
      <p:sp>
        <p:nvSpPr>
          <p:cNvPr id="20" name="Tijdelijke aanduiding voor Pasfoto_03"/>
          <p:cNvSpPr>
            <a:spLocks noGrp="1"/>
          </p:cNvSpPr>
          <p:nvPr>
            <p:ph type="pic" idx="21"/>
          </p:nvPr>
        </p:nvSpPr>
        <p:spPr>
          <a:xfrm>
            <a:off x="6415711" y="1692127"/>
            <a:ext cx="1022581" cy="1089008"/>
          </a:xfrm>
          <a:solidFill>
            <a:schemeClr val="accent5">
              <a:lumMod val="20000"/>
              <a:lumOff val="80000"/>
            </a:schemeClr>
          </a:solidFill>
          <a:ln w="19050">
            <a:solidFill>
              <a:schemeClr val="accent6"/>
            </a:solidFill>
            <a:miter lim="800000"/>
          </a:ln>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p>
        </p:txBody>
      </p:sp>
      <p:sp>
        <p:nvSpPr>
          <p:cNvPr id="14" name="Tijdelijke aanduiding voor Pasfoto_02"/>
          <p:cNvSpPr>
            <a:spLocks noGrp="1"/>
          </p:cNvSpPr>
          <p:nvPr>
            <p:ph type="pic" idx="18"/>
          </p:nvPr>
        </p:nvSpPr>
        <p:spPr>
          <a:xfrm>
            <a:off x="3540258" y="1692127"/>
            <a:ext cx="1022581" cy="1089008"/>
          </a:xfrm>
          <a:solidFill>
            <a:schemeClr val="accent5">
              <a:lumMod val="20000"/>
              <a:lumOff val="80000"/>
            </a:schemeClr>
          </a:solidFill>
          <a:ln w="19050">
            <a:solidFill>
              <a:schemeClr val="accent6"/>
            </a:solidFill>
            <a:miter lim="800000"/>
          </a:ln>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p>
        </p:txBody>
      </p:sp>
      <p:sp>
        <p:nvSpPr>
          <p:cNvPr id="11" name="Tijdelijke aanduiding voor Pasfoto_01"/>
          <p:cNvSpPr>
            <a:spLocks noGrp="1"/>
          </p:cNvSpPr>
          <p:nvPr>
            <p:ph type="pic" idx="13"/>
          </p:nvPr>
        </p:nvSpPr>
        <p:spPr>
          <a:xfrm>
            <a:off x="688875" y="1692127"/>
            <a:ext cx="1022581" cy="1089008"/>
          </a:xfrm>
          <a:solidFill>
            <a:schemeClr val="accent5">
              <a:lumMod val="20000"/>
              <a:lumOff val="80000"/>
            </a:schemeClr>
          </a:solidFill>
          <a:ln w="19050">
            <a:solidFill>
              <a:schemeClr val="accent6"/>
            </a:solidFill>
            <a:miter lim="800000"/>
          </a:ln>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127" name="Tijdelijke aanduiding voor Tekst bij Pasfoto_04"/>
          <p:cNvSpPr>
            <a:spLocks noGrp="1"/>
          </p:cNvSpPr>
          <p:nvPr>
            <p:ph type="body" orient="vert" idx="26" hasCustomPrompt="1"/>
          </p:nvPr>
        </p:nvSpPr>
        <p:spPr>
          <a:xfrm>
            <a:off x="9291165" y="3081983"/>
            <a:ext cx="2261545" cy="2466754"/>
          </a:xfrm>
        </p:spPr>
        <p:txBody>
          <a:bodyPr vert="horz" lIns="0" tIns="0" rIns="0" bIns="0" numCol="1"/>
          <a:lstStyle>
            <a:lvl1pPr>
              <a:defRPr sz="1200"/>
            </a:lvl1pPr>
            <a:lvl2pPr marL="180975" indent="-180975">
              <a:defRPr sz="1200"/>
            </a:lvl2pPr>
            <a:lvl3pPr marL="360363" indent="-179388">
              <a:defRPr sz="1200"/>
            </a:lvl3pPr>
            <a:lvl4pPr marL="541338" indent="-180975">
              <a:defRPr sz="1200"/>
            </a:lvl4pPr>
            <a:lvl5pPr marL="265113" indent="-265113">
              <a:defRPr sz="1200"/>
            </a:lvl5pPr>
            <a:lvl6pPr marL="444500" indent="-179388">
              <a:defRPr sz="1200"/>
            </a:lvl6pPr>
            <a:lvl7pPr>
              <a:defRPr sz="1200"/>
            </a:lvl7pPr>
            <a:lvl8pPr>
              <a:defRPr sz="1200"/>
            </a:lvl8pPr>
            <a:lvl9pPr>
              <a:defRPr sz="1400"/>
            </a:lvl9pPr>
          </a:lstStyle>
          <a:p>
            <a:pPr lvl="0"/>
            <a:r>
              <a:rPr lang="nl-NL" dirty="0"/>
              <a:t>Leestekst</a:t>
            </a:r>
          </a:p>
          <a:p>
            <a:pPr lvl="1"/>
            <a:r>
              <a:rPr lang="nl-NL" dirty="0"/>
              <a:t>Bullets</a:t>
            </a:r>
          </a:p>
          <a:p>
            <a:pPr lvl="2"/>
            <a:r>
              <a:rPr lang="nl-NL" dirty="0"/>
              <a:t>Sub-bullets</a:t>
            </a:r>
          </a:p>
          <a:p>
            <a:pPr lvl="3"/>
            <a:r>
              <a:rPr lang="nl-NL" dirty="0"/>
              <a:t>Sub-sub-bullets</a:t>
            </a:r>
          </a:p>
          <a:p>
            <a:pPr lvl="4"/>
            <a:r>
              <a:rPr lang="nl-NL" dirty="0"/>
              <a:t>Numeriek</a:t>
            </a:r>
          </a:p>
          <a:p>
            <a:pPr lvl="5"/>
            <a:r>
              <a:rPr lang="nl-NL" dirty="0"/>
              <a:t># Bullets</a:t>
            </a:r>
          </a:p>
          <a:p>
            <a:pPr lvl="6"/>
            <a:r>
              <a:rPr lang="nl-NL" dirty="0"/>
              <a:t>Cursief donker</a:t>
            </a:r>
          </a:p>
          <a:p>
            <a:pPr lvl="7"/>
            <a:r>
              <a:rPr lang="nl-NL" dirty="0"/>
              <a:t>Cursief licht</a:t>
            </a:r>
          </a:p>
          <a:p>
            <a:pPr lvl="8"/>
            <a:r>
              <a:rPr lang="nl-NL" dirty="0"/>
              <a:t>Subtitel</a:t>
            </a:r>
          </a:p>
        </p:txBody>
      </p:sp>
      <p:sp>
        <p:nvSpPr>
          <p:cNvPr id="126" name="Tijdelijke aanduiding voor Tekst bij Pasfoto_03"/>
          <p:cNvSpPr>
            <a:spLocks noGrp="1"/>
          </p:cNvSpPr>
          <p:nvPr>
            <p:ph type="body" orient="vert" idx="25" hasCustomPrompt="1"/>
          </p:nvPr>
        </p:nvSpPr>
        <p:spPr>
          <a:xfrm>
            <a:off x="6415711" y="3081983"/>
            <a:ext cx="2261545" cy="2466754"/>
          </a:xfrm>
        </p:spPr>
        <p:txBody>
          <a:bodyPr vert="horz" lIns="0" tIns="0" rIns="0" bIns="0" numCol="1"/>
          <a:lstStyle>
            <a:lvl1pPr>
              <a:defRPr sz="1200"/>
            </a:lvl1pPr>
            <a:lvl2pPr marL="180975" indent="-180975">
              <a:defRPr sz="1200"/>
            </a:lvl2pPr>
            <a:lvl3pPr marL="360363" indent="-179388">
              <a:defRPr sz="1200"/>
            </a:lvl3pPr>
            <a:lvl4pPr marL="541338" indent="-180975">
              <a:defRPr sz="1200"/>
            </a:lvl4pPr>
            <a:lvl5pPr marL="265113" indent="-265113">
              <a:defRPr sz="1200"/>
            </a:lvl5pPr>
            <a:lvl6pPr marL="444500" indent="-179388">
              <a:defRPr sz="1200"/>
            </a:lvl6pPr>
            <a:lvl7pPr>
              <a:defRPr sz="1200"/>
            </a:lvl7pPr>
            <a:lvl8pPr>
              <a:defRPr sz="1200"/>
            </a:lvl8pPr>
            <a:lvl9pPr>
              <a:defRPr sz="1400"/>
            </a:lvl9pPr>
          </a:lstStyle>
          <a:p>
            <a:pPr lvl="0"/>
            <a:r>
              <a:rPr lang="nl-NL" dirty="0"/>
              <a:t>Leestekst</a:t>
            </a:r>
          </a:p>
          <a:p>
            <a:pPr lvl="1"/>
            <a:r>
              <a:rPr lang="nl-NL" dirty="0"/>
              <a:t>Bullets</a:t>
            </a:r>
          </a:p>
          <a:p>
            <a:pPr lvl="2"/>
            <a:r>
              <a:rPr lang="nl-NL" dirty="0"/>
              <a:t>Sub-bullets</a:t>
            </a:r>
          </a:p>
          <a:p>
            <a:pPr lvl="3"/>
            <a:r>
              <a:rPr lang="nl-NL" dirty="0"/>
              <a:t>Sub-sub-bullets</a:t>
            </a:r>
          </a:p>
          <a:p>
            <a:pPr lvl="4"/>
            <a:r>
              <a:rPr lang="nl-NL" dirty="0"/>
              <a:t>Numeriek</a:t>
            </a:r>
          </a:p>
          <a:p>
            <a:pPr lvl="5"/>
            <a:r>
              <a:rPr lang="nl-NL" dirty="0"/>
              <a:t># Bullets</a:t>
            </a:r>
          </a:p>
          <a:p>
            <a:pPr lvl="6"/>
            <a:r>
              <a:rPr lang="nl-NL" dirty="0"/>
              <a:t>Cursief donker</a:t>
            </a:r>
          </a:p>
          <a:p>
            <a:pPr lvl="7"/>
            <a:r>
              <a:rPr lang="nl-NL" dirty="0"/>
              <a:t>Cursief licht</a:t>
            </a:r>
          </a:p>
          <a:p>
            <a:pPr lvl="8"/>
            <a:r>
              <a:rPr lang="nl-NL" dirty="0"/>
              <a:t>Subtitel</a:t>
            </a:r>
          </a:p>
        </p:txBody>
      </p:sp>
      <p:sp>
        <p:nvSpPr>
          <p:cNvPr id="125" name="Tijdelijke aanduiding voor Tekst bij Pasfoto_02"/>
          <p:cNvSpPr>
            <a:spLocks noGrp="1"/>
          </p:cNvSpPr>
          <p:nvPr>
            <p:ph type="body" orient="vert" idx="24" hasCustomPrompt="1"/>
          </p:nvPr>
        </p:nvSpPr>
        <p:spPr>
          <a:xfrm>
            <a:off x="3540257" y="3081983"/>
            <a:ext cx="2261545" cy="2466754"/>
          </a:xfrm>
        </p:spPr>
        <p:txBody>
          <a:bodyPr vert="horz" lIns="0" tIns="0" rIns="0" bIns="0" numCol="1"/>
          <a:lstStyle>
            <a:lvl1pPr>
              <a:defRPr sz="1200"/>
            </a:lvl1pPr>
            <a:lvl2pPr marL="180975" indent="-180975">
              <a:defRPr sz="1200"/>
            </a:lvl2pPr>
            <a:lvl3pPr marL="360363" indent="-179388">
              <a:defRPr sz="1200"/>
            </a:lvl3pPr>
            <a:lvl4pPr marL="541338" indent="-180975">
              <a:defRPr sz="1200"/>
            </a:lvl4pPr>
            <a:lvl5pPr marL="265113" indent="-265113">
              <a:defRPr sz="1200"/>
            </a:lvl5pPr>
            <a:lvl6pPr marL="444500" indent="-179388">
              <a:defRPr sz="1200"/>
            </a:lvl6pPr>
            <a:lvl7pPr>
              <a:defRPr sz="1200"/>
            </a:lvl7pPr>
            <a:lvl8pPr>
              <a:defRPr sz="1200"/>
            </a:lvl8pPr>
            <a:lvl9pPr>
              <a:defRPr sz="1400"/>
            </a:lvl9pPr>
          </a:lstStyle>
          <a:p>
            <a:pPr lvl="0"/>
            <a:r>
              <a:rPr lang="nl-NL" dirty="0"/>
              <a:t>Leestekst</a:t>
            </a:r>
          </a:p>
          <a:p>
            <a:pPr lvl="1"/>
            <a:r>
              <a:rPr lang="nl-NL" dirty="0"/>
              <a:t>Bullets</a:t>
            </a:r>
          </a:p>
          <a:p>
            <a:pPr lvl="2"/>
            <a:r>
              <a:rPr lang="nl-NL" dirty="0"/>
              <a:t>Sub-bullets</a:t>
            </a:r>
          </a:p>
          <a:p>
            <a:pPr lvl="3"/>
            <a:r>
              <a:rPr lang="nl-NL" dirty="0"/>
              <a:t>Sub-sub-bullets</a:t>
            </a:r>
          </a:p>
          <a:p>
            <a:pPr lvl="4"/>
            <a:r>
              <a:rPr lang="nl-NL" dirty="0"/>
              <a:t>Numeriek</a:t>
            </a:r>
          </a:p>
          <a:p>
            <a:pPr lvl="5"/>
            <a:r>
              <a:rPr lang="nl-NL" dirty="0"/>
              <a:t># Bullets</a:t>
            </a:r>
          </a:p>
          <a:p>
            <a:pPr lvl="6"/>
            <a:r>
              <a:rPr lang="nl-NL" dirty="0"/>
              <a:t>Cursief donker</a:t>
            </a:r>
          </a:p>
          <a:p>
            <a:pPr lvl="7"/>
            <a:r>
              <a:rPr lang="nl-NL" dirty="0"/>
              <a:t>Cursief licht</a:t>
            </a:r>
          </a:p>
          <a:p>
            <a:pPr lvl="8"/>
            <a:r>
              <a:rPr lang="nl-NL" dirty="0"/>
              <a:t>Subtitel</a:t>
            </a:r>
          </a:p>
        </p:txBody>
      </p:sp>
      <p:sp>
        <p:nvSpPr>
          <p:cNvPr id="124" name="Tijdelijke aanduiding voor Tekst bij Pasfoto_01"/>
          <p:cNvSpPr>
            <a:spLocks noGrp="1"/>
          </p:cNvSpPr>
          <p:nvPr>
            <p:ph type="body" orient="vert" idx="15" hasCustomPrompt="1"/>
          </p:nvPr>
        </p:nvSpPr>
        <p:spPr>
          <a:xfrm>
            <a:off x="688874" y="3081983"/>
            <a:ext cx="2261545" cy="2466754"/>
          </a:xfrm>
        </p:spPr>
        <p:txBody>
          <a:bodyPr vert="horz" lIns="0" tIns="0" rIns="0" bIns="0" numCol="1"/>
          <a:lstStyle>
            <a:lvl1pPr>
              <a:defRPr sz="1200"/>
            </a:lvl1pPr>
            <a:lvl2pPr marL="180975" indent="-180975">
              <a:defRPr sz="1200"/>
            </a:lvl2pPr>
            <a:lvl3pPr marL="360363" indent="-179388">
              <a:defRPr sz="1200"/>
            </a:lvl3pPr>
            <a:lvl4pPr marL="541338" indent="-180975">
              <a:defRPr sz="1200"/>
            </a:lvl4pPr>
            <a:lvl5pPr marL="265113" indent="-265113">
              <a:defRPr sz="1200"/>
            </a:lvl5pPr>
            <a:lvl6pPr marL="444500" indent="-179388">
              <a:defRPr sz="1200"/>
            </a:lvl6pPr>
            <a:lvl7pPr>
              <a:defRPr sz="1200"/>
            </a:lvl7pPr>
            <a:lvl8pPr>
              <a:defRPr sz="1200"/>
            </a:lvl8pPr>
            <a:lvl9pPr>
              <a:defRPr sz="1400"/>
            </a:lvl9pPr>
          </a:lstStyle>
          <a:p>
            <a:pPr lvl="0"/>
            <a:r>
              <a:rPr lang="nl-NL" dirty="0"/>
              <a:t>Leestekst</a:t>
            </a:r>
          </a:p>
          <a:p>
            <a:pPr lvl="1"/>
            <a:r>
              <a:rPr lang="nl-NL" dirty="0"/>
              <a:t>Bullets</a:t>
            </a:r>
          </a:p>
          <a:p>
            <a:pPr lvl="2"/>
            <a:r>
              <a:rPr lang="nl-NL" dirty="0"/>
              <a:t>Sub-bullets</a:t>
            </a:r>
          </a:p>
          <a:p>
            <a:pPr lvl="3"/>
            <a:r>
              <a:rPr lang="nl-NL" dirty="0"/>
              <a:t>Sub-sub-bullets</a:t>
            </a:r>
          </a:p>
          <a:p>
            <a:pPr lvl="4"/>
            <a:r>
              <a:rPr lang="nl-NL" dirty="0"/>
              <a:t>Numeriek</a:t>
            </a:r>
          </a:p>
          <a:p>
            <a:pPr lvl="5"/>
            <a:r>
              <a:rPr lang="nl-NL" dirty="0"/>
              <a:t># Bullets</a:t>
            </a:r>
          </a:p>
          <a:p>
            <a:pPr lvl="6"/>
            <a:r>
              <a:rPr lang="nl-NL" dirty="0"/>
              <a:t>Cursief donker</a:t>
            </a:r>
          </a:p>
          <a:p>
            <a:pPr lvl="7"/>
            <a:r>
              <a:rPr lang="nl-NL" dirty="0"/>
              <a:t>Cursief licht</a:t>
            </a:r>
          </a:p>
          <a:p>
            <a:pPr lvl="8"/>
            <a:r>
              <a:rPr lang="nl-NL" dirty="0"/>
              <a:t>Subtitel</a:t>
            </a:r>
          </a:p>
        </p:txBody>
      </p:sp>
      <p:sp>
        <p:nvSpPr>
          <p:cNvPr id="17" name="Tijdelijke aanduiding voor Subtitel"/>
          <p:cNvSpPr>
            <a:spLocks noGrp="1"/>
          </p:cNvSpPr>
          <p:nvPr>
            <p:ph type="body" idx="14"/>
          </p:nvPr>
        </p:nvSpPr>
        <p:spPr>
          <a:xfrm>
            <a:off x="664109" y="1001348"/>
            <a:ext cx="10870131" cy="317758"/>
          </a:xfrm>
        </p:spPr>
        <p:txBody>
          <a:bodyPr bIns="72000" anchor="t" anchorCtr="0"/>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2" name="Tijdelijke aanduiding voor Titel"/>
          <p:cNvSpPr>
            <a:spLocks noGrp="1"/>
          </p:cNvSpPr>
          <p:nvPr>
            <p:ph type="title"/>
          </p:nvPr>
        </p:nvSpPr>
        <p:spPr>
          <a:xfrm>
            <a:off x="664109" y="464521"/>
            <a:ext cx="10870131" cy="533219"/>
          </a:xfrm>
        </p:spPr>
        <p:txBody>
          <a:bodyPr/>
          <a:lstStyle/>
          <a:p>
            <a:r>
              <a:rPr lang="nl-NL"/>
              <a:t>Klik om stijl te bewerken</a:t>
            </a:r>
            <a:endParaRPr lang="nl-NL" dirty="0"/>
          </a:p>
        </p:txBody>
      </p:sp>
    </p:spTree>
    <p:extLst>
      <p:ext uri="{BB962C8B-B14F-4D97-AF65-F5344CB8AC3E}">
        <p14:creationId xmlns:p14="http://schemas.microsoft.com/office/powerpoint/2010/main" val="2062974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00% tekst">
    <p:spTree>
      <p:nvGrpSpPr>
        <p:cNvPr id="1" name=""/>
        <p:cNvGrpSpPr/>
        <p:nvPr/>
      </p:nvGrpSpPr>
      <p:grpSpPr>
        <a:xfrm>
          <a:off x="0" y="0"/>
          <a:ext cx="0" cy="0"/>
          <a:chOff x="0" y="0"/>
          <a:chExt cx="0" cy="0"/>
        </a:xfrm>
      </p:grpSpPr>
      <p:sp>
        <p:nvSpPr>
          <p:cNvPr id="9" name="Naam indeling - 100% tekst"/>
          <p:cNvSpPr txBox="1"/>
          <p:nvPr/>
        </p:nvSpPr>
        <p:spPr>
          <a:xfrm>
            <a:off x="1" y="-453266"/>
            <a:ext cx="3582333" cy="276999"/>
          </a:xfrm>
          <a:prstGeom prst="rect">
            <a:avLst/>
          </a:prstGeom>
          <a:noFill/>
        </p:spPr>
        <p:txBody>
          <a:bodyPr wrap="square" lIns="0" tIns="0" rIns="0" bIns="0" rtlCol="0">
            <a:spAutoFit/>
          </a:bodyPr>
          <a:lstStyle/>
          <a:p>
            <a:pPr defTabSz="914112"/>
            <a:r>
              <a:rPr lang="nl-NL" dirty="0">
                <a:solidFill>
                  <a:srgbClr val="404040"/>
                </a:solidFill>
                <a:latin typeface="Calibri" panose="020F0502020204030204" pitchFamily="34" charset="0"/>
              </a:rPr>
              <a:t>100% tekst</a:t>
            </a:r>
            <a:endParaRPr lang="en-GB" dirty="0">
              <a:solidFill>
                <a:srgbClr val="404040"/>
              </a:solidFill>
              <a:latin typeface="Calibri" panose="020F0502020204030204" pitchFamily="34" charset="0"/>
            </a:endParaRPr>
          </a:p>
        </p:txBody>
      </p:sp>
      <p:grpSp>
        <p:nvGrpSpPr>
          <p:cNvPr id="178" name="Instructie - Tekst niveaus"/>
          <p:cNvGrpSpPr/>
          <p:nvPr userDrawn="1"/>
        </p:nvGrpSpPr>
        <p:grpSpPr>
          <a:xfrm>
            <a:off x="-3117849" y="365"/>
            <a:ext cx="2823358" cy="5254722"/>
            <a:chOff x="-2959433" y="-5444"/>
            <a:chExt cx="2822623" cy="5254722"/>
          </a:xfrm>
        </p:grpSpPr>
        <p:sp>
          <p:nvSpPr>
            <p:cNvPr id="179" name="Rechthoek 178"/>
            <p:cNvSpPr/>
            <p:nvPr userDrawn="1"/>
          </p:nvSpPr>
          <p:spPr>
            <a:xfrm>
              <a:off x="-2959433" y="-5444"/>
              <a:ext cx="2572469" cy="280344"/>
            </a:xfrm>
            <a:prstGeom prst="rect">
              <a:avLst/>
            </a:prstGeom>
            <a:noFill/>
            <a:ln w="25400" cap="flat" cmpd="sng" algn="ctr">
              <a:noFill/>
              <a:prstDash val="solid"/>
            </a:ln>
            <a:effectLst/>
          </p:spPr>
          <p:txBody>
            <a:bodyPr lIns="0" tIns="0" rIns="0" bIns="0" rtlCol="0" anchor="t"/>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nl-NL" sz="1600" b="1" kern="0" dirty="0">
                  <a:solidFill>
                    <a:srgbClr val="ED1A3B"/>
                  </a:solidFill>
                  <a:cs typeface="Segoe UI Light" panose="020B0502040204020203" pitchFamily="34" charset="0"/>
                </a:rPr>
                <a:t>TEKST NIVEAUS</a:t>
              </a:r>
            </a:p>
          </p:txBody>
        </p:sp>
        <p:sp>
          <p:nvSpPr>
            <p:cNvPr id="180" name="Textfield placeholder"/>
            <p:cNvSpPr txBox="1">
              <a:spLocks/>
            </p:cNvSpPr>
            <p:nvPr userDrawn="1"/>
          </p:nvSpPr>
          <p:spPr>
            <a:xfrm>
              <a:off x="-2587337" y="2675411"/>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0" lvl="2"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a:solidFill>
                    <a:srgbClr val="404040"/>
                  </a:solidFill>
                </a:rPr>
                <a:t>Sub-bullets (16 pt.)</a:t>
              </a:r>
            </a:p>
          </p:txBody>
        </p:sp>
        <p:sp>
          <p:nvSpPr>
            <p:cNvPr id="181" name="Ovaal 180"/>
            <p:cNvSpPr/>
            <p:nvPr userDrawn="1"/>
          </p:nvSpPr>
          <p:spPr>
            <a:xfrm>
              <a:off x="-2959433" y="196874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1</a:t>
              </a:r>
            </a:p>
          </p:txBody>
        </p:sp>
        <p:sp>
          <p:nvSpPr>
            <p:cNvPr id="182" name="Ovaal 181"/>
            <p:cNvSpPr/>
            <p:nvPr userDrawn="1"/>
          </p:nvSpPr>
          <p:spPr>
            <a:xfrm>
              <a:off x="-2959433" y="232207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2</a:t>
              </a:r>
            </a:p>
          </p:txBody>
        </p:sp>
        <p:sp>
          <p:nvSpPr>
            <p:cNvPr id="183" name="Ovaal 182"/>
            <p:cNvSpPr/>
            <p:nvPr userDrawn="1"/>
          </p:nvSpPr>
          <p:spPr>
            <a:xfrm>
              <a:off x="-2959433" y="267541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3</a:t>
              </a:r>
            </a:p>
          </p:txBody>
        </p:sp>
        <p:sp>
          <p:nvSpPr>
            <p:cNvPr id="184" name="Ovaal 183"/>
            <p:cNvSpPr/>
            <p:nvPr userDrawn="1"/>
          </p:nvSpPr>
          <p:spPr>
            <a:xfrm>
              <a:off x="-2959433" y="302874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4</a:t>
              </a:r>
            </a:p>
          </p:txBody>
        </p:sp>
        <p:sp>
          <p:nvSpPr>
            <p:cNvPr id="185" name="Textfield placeholder"/>
            <p:cNvSpPr txBox="1">
              <a:spLocks/>
            </p:cNvSpPr>
            <p:nvPr userDrawn="1"/>
          </p:nvSpPr>
          <p:spPr>
            <a:xfrm>
              <a:off x="-2571950" y="1966925"/>
              <a:ext cx="2163709" cy="261500"/>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79388">
                <a:lnSpc>
                  <a:spcPct val="120000"/>
                </a:lnSpc>
                <a:spcBef>
                  <a:spcPts val="0"/>
                </a:spcBef>
                <a:spcAft>
                  <a:spcPts val="900"/>
                </a:spcAft>
                <a:buClr>
                  <a:srgbClr val="000000"/>
                </a:buClr>
                <a:buSzPct val="100000"/>
                <a:buFont typeface="Arial" pitchFamily="34" charset="0"/>
                <a:buNone/>
                <a:defRPr/>
              </a:pPr>
              <a:r>
                <a:rPr lang="nl-NL" sz="1200" dirty="0">
                  <a:solidFill>
                    <a:srgbClr val="535353"/>
                  </a:solidFill>
                </a:rPr>
                <a:t>Leestekst (16 pt.)</a:t>
              </a:r>
            </a:p>
          </p:txBody>
        </p:sp>
        <p:sp>
          <p:nvSpPr>
            <p:cNvPr id="186" name="Textfield placeholder"/>
            <p:cNvSpPr txBox="1">
              <a:spLocks/>
            </p:cNvSpPr>
            <p:nvPr userDrawn="1"/>
          </p:nvSpPr>
          <p:spPr>
            <a:xfrm>
              <a:off x="-2571950" y="2322077"/>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70000" lvl="1"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err="1">
                  <a:solidFill>
                    <a:srgbClr val="535353"/>
                  </a:solidFill>
                </a:rPr>
                <a:t>Bullets</a:t>
              </a:r>
              <a:r>
                <a:rPr lang="nl-NL" sz="1200" dirty="0">
                  <a:solidFill>
                    <a:srgbClr val="535353"/>
                  </a:solidFill>
                </a:rPr>
                <a:t> (16 </a:t>
              </a:r>
              <a:r>
                <a:rPr lang="nl-NL" sz="1200" dirty="0" err="1">
                  <a:solidFill>
                    <a:srgbClr val="535353"/>
                  </a:solidFill>
                </a:rPr>
                <a:t>pt</a:t>
              </a:r>
              <a:r>
                <a:rPr lang="nl-NL" sz="1200" dirty="0">
                  <a:solidFill>
                    <a:srgbClr val="535353"/>
                  </a:solidFill>
                </a:rPr>
                <a:t>.)</a:t>
              </a:r>
            </a:p>
          </p:txBody>
        </p:sp>
        <p:sp>
          <p:nvSpPr>
            <p:cNvPr id="187" name="Textfield placeholder"/>
            <p:cNvSpPr txBox="1">
              <a:spLocks/>
            </p:cNvSpPr>
            <p:nvPr userDrawn="1"/>
          </p:nvSpPr>
          <p:spPr>
            <a:xfrm>
              <a:off x="-2571951" y="3028747"/>
              <a:ext cx="2435141"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10000" lvl="3" indent="-270000" defTabSz="179388">
                <a:lnSpc>
                  <a:spcPct val="120000"/>
                </a:lnSpc>
                <a:spcBef>
                  <a:spcPts val="0"/>
                </a:spcBef>
                <a:spcAft>
                  <a:spcPts val="900"/>
                </a:spcAft>
                <a:buClr>
                  <a:schemeClr val="accent2"/>
                </a:buClr>
                <a:buSzPct val="80000"/>
                <a:buFont typeface="Wingdings 3" panose="05040102010807070707" pitchFamily="18" charset="2"/>
                <a:buChar char=""/>
                <a:defRPr/>
              </a:pPr>
              <a:r>
                <a:rPr lang="nl-NL" sz="1200" b="0" dirty="0">
                  <a:solidFill>
                    <a:srgbClr val="404040"/>
                  </a:solidFill>
                </a:rPr>
                <a:t>Sub-sub-</a:t>
              </a:r>
              <a:r>
                <a:rPr lang="nl-NL" sz="1200" b="0" dirty="0" err="1">
                  <a:solidFill>
                    <a:srgbClr val="404040"/>
                  </a:solidFill>
                </a:rPr>
                <a:t>bullets</a:t>
              </a:r>
              <a:r>
                <a:rPr lang="nl-NL" sz="1200" b="0" dirty="0">
                  <a:solidFill>
                    <a:srgbClr val="404040"/>
                  </a:solidFill>
                </a:rPr>
                <a:t> (16 </a:t>
              </a:r>
              <a:r>
                <a:rPr lang="nl-NL" sz="1200" b="0" dirty="0" err="1">
                  <a:solidFill>
                    <a:srgbClr val="404040"/>
                  </a:solidFill>
                </a:rPr>
                <a:t>pt</a:t>
              </a:r>
              <a:r>
                <a:rPr lang="nl-NL" sz="1200" b="0" dirty="0">
                  <a:solidFill>
                    <a:srgbClr val="404040"/>
                  </a:solidFill>
                </a:rPr>
                <a:t>.)</a:t>
              </a:r>
            </a:p>
          </p:txBody>
        </p:sp>
        <p:cxnSp>
          <p:nvCxnSpPr>
            <p:cNvPr id="188" name="Rechte verbindingslijn 187"/>
            <p:cNvCxnSpPr/>
            <p:nvPr userDrawn="1"/>
          </p:nvCxnSpPr>
          <p:spPr>
            <a:xfrm>
              <a:off x="-2959100" y="274900"/>
              <a:ext cx="2674470" cy="0"/>
            </a:xfrm>
            <a:prstGeom prst="line">
              <a:avLst/>
            </a:prstGeom>
            <a:noFill/>
            <a:ln w="9525" cap="flat" cmpd="sng" algn="ctr">
              <a:solidFill>
                <a:schemeClr val="accent1"/>
              </a:solidFill>
              <a:prstDash val="solid"/>
            </a:ln>
            <a:effectLst/>
          </p:spPr>
        </p:cxnSp>
        <p:cxnSp>
          <p:nvCxnSpPr>
            <p:cNvPr id="189" name="Rechte verbindingslijn 188"/>
            <p:cNvCxnSpPr/>
            <p:nvPr userDrawn="1"/>
          </p:nvCxnSpPr>
          <p:spPr>
            <a:xfrm>
              <a:off x="-2959100" y="1841989"/>
              <a:ext cx="2661379" cy="0"/>
            </a:xfrm>
            <a:prstGeom prst="line">
              <a:avLst/>
            </a:prstGeom>
            <a:noFill/>
            <a:ln w="9525" cap="flat" cmpd="sng" algn="ctr">
              <a:solidFill>
                <a:schemeClr val="accent1"/>
              </a:solidFill>
              <a:prstDash val="solid"/>
            </a:ln>
            <a:effectLst/>
          </p:spPr>
        </p:cxnSp>
        <p:cxnSp>
          <p:nvCxnSpPr>
            <p:cNvPr id="190" name="Rechte verbindingslijn 189"/>
            <p:cNvCxnSpPr/>
            <p:nvPr userDrawn="1"/>
          </p:nvCxnSpPr>
          <p:spPr>
            <a:xfrm>
              <a:off x="-2959100" y="5249278"/>
              <a:ext cx="2661379" cy="0"/>
            </a:xfrm>
            <a:prstGeom prst="line">
              <a:avLst/>
            </a:prstGeom>
            <a:noFill/>
            <a:ln w="9525" cap="flat" cmpd="sng" algn="ctr">
              <a:solidFill>
                <a:schemeClr val="accent1"/>
              </a:solidFill>
              <a:prstDash val="solid"/>
            </a:ln>
            <a:effectLst/>
          </p:spPr>
        </p:cxnSp>
        <p:grpSp>
          <p:nvGrpSpPr>
            <p:cNvPr id="191" name="Groep 190"/>
            <p:cNvGrpSpPr/>
            <p:nvPr userDrawn="1"/>
          </p:nvGrpSpPr>
          <p:grpSpPr>
            <a:xfrm>
              <a:off x="-1948476" y="816741"/>
              <a:ext cx="409108" cy="427699"/>
              <a:chOff x="-1085063" y="758027"/>
              <a:chExt cx="633799" cy="622540"/>
            </a:xfrm>
          </p:grpSpPr>
          <p:sp>
            <p:nvSpPr>
              <p:cNvPr id="247" name="Afgeronde rechthoek 246"/>
              <p:cNvSpPr/>
              <p:nvPr userDrawn="1"/>
            </p:nvSpPr>
            <p:spPr>
              <a:xfrm>
                <a:off x="-108506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248" name="Groep 247"/>
              <p:cNvGrpSpPr/>
              <p:nvPr userDrawn="1"/>
            </p:nvGrpSpPr>
            <p:grpSpPr>
              <a:xfrm>
                <a:off x="-977739" y="864082"/>
                <a:ext cx="419168" cy="410429"/>
                <a:chOff x="6366933" y="309013"/>
                <a:chExt cx="1901295" cy="1861668"/>
              </a:xfrm>
              <a:solidFill>
                <a:srgbClr val="000000"/>
              </a:solidFill>
            </p:grpSpPr>
            <p:sp>
              <p:nvSpPr>
                <p:cNvPr id="249" name="Rechthoek 248"/>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0" name="Rechthoek 249"/>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1" name="Rechthoek 250"/>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2" name="Rechthoek 251"/>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3" name="Rechthoek 252"/>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4" name="Rechthoek 253"/>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5" name="Rechthoek 254"/>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6" name="Rechthoek 255"/>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7" name="Rechthoek 256"/>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8" name="Rechthoek 257"/>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9" name="Vrije vorm 258"/>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nvGrpSpPr>
            <p:cNvPr id="192" name="Groep 191"/>
            <p:cNvGrpSpPr/>
            <p:nvPr userDrawn="1"/>
          </p:nvGrpSpPr>
          <p:grpSpPr>
            <a:xfrm>
              <a:off x="-2950232" y="1207835"/>
              <a:ext cx="532929" cy="509563"/>
              <a:chOff x="-2880382" y="802341"/>
              <a:chExt cx="532929" cy="509563"/>
            </a:xfrm>
          </p:grpSpPr>
          <p:sp>
            <p:nvSpPr>
              <p:cNvPr id="225" name="Rechthoek 224"/>
              <p:cNvSpPr/>
              <p:nvPr userDrawn="1"/>
            </p:nvSpPr>
            <p:spPr>
              <a:xfrm>
                <a:off x="-2880382" y="802341"/>
                <a:ext cx="532929" cy="509563"/>
              </a:xfrm>
              <a:prstGeom prst="rect">
                <a:avLst/>
              </a:prstGeom>
              <a:solidFill>
                <a:sysClr val="window" lastClr="FFFFFF"/>
              </a:soli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pic>
            <p:nvPicPr>
              <p:cNvPr id="22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635852" y="822181"/>
                <a:ext cx="226442" cy="208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7"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848026" y="822181"/>
                <a:ext cx="207168" cy="213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28" name="Groep 227"/>
              <p:cNvGrpSpPr/>
              <p:nvPr userDrawn="1"/>
            </p:nvGrpSpPr>
            <p:grpSpPr>
              <a:xfrm>
                <a:off x="-2802433" y="1123442"/>
                <a:ext cx="132915" cy="104889"/>
                <a:chOff x="-2796392" y="1123442"/>
                <a:chExt cx="120832" cy="104889"/>
              </a:xfrm>
            </p:grpSpPr>
            <p:sp>
              <p:nvSpPr>
                <p:cNvPr id="242" name="Rechthoek 241"/>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43" name="Rechthoek 242"/>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44" name="Rechthoek 243"/>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45" name="Rechthoek 244"/>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46" name="Rechthoek 245"/>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229" name="Groep 228"/>
              <p:cNvGrpSpPr/>
              <p:nvPr userDrawn="1"/>
            </p:nvGrpSpPr>
            <p:grpSpPr>
              <a:xfrm>
                <a:off x="-2575417" y="1123442"/>
                <a:ext cx="133930" cy="104889"/>
                <a:chOff x="-2556734" y="1123442"/>
                <a:chExt cx="147324" cy="104889"/>
              </a:xfrm>
            </p:grpSpPr>
            <p:grpSp>
              <p:nvGrpSpPr>
                <p:cNvPr id="230" name="Groep 229"/>
                <p:cNvGrpSpPr/>
                <p:nvPr userDrawn="1"/>
              </p:nvGrpSpPr>
              <p:grpSpPr>
                <a:xfrm>
                  <a:off x="-2556734" y="1123442"/>
                  <a:ext cx="68206" cy="104889"/>
                  <a:chOff x="-2796392" y="1123442"/>
                  <a:chExt cx="120832" cy="104889"/>
                </a:xfrm>
              </p:grpSpPr>
              <p:sp>
                <p:nvSpPr>
                  <p:cNvPr id="237" name="Rechthoek 236"/>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38" name="Rechthoek 237"/>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39" name="Rechthoek 238"/>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40" name="Rechthoek 239"/>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41" name="Rechthoek 240"/>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231" name="Groep 230"/>
                <p:cNvGrpSpPr/>
                <p:nvPr userDrawn="1"/>
              </p:nvGrpSpPr>
              <p:grpSpPr>
                <a:xfrm>
                  <a:off x="-2477616" y="1123442"/>
                  <a:ext cx="68206" cy="104889"/>
                  <a:chOff x="-2796392" y="1123442"/>
                  <a:chExt cx="120832" cy="104889"/>
                </a:xfrm>
              </p:grpSpPr>
              <p:sp>
                <p:nvSpPr>
                  <p:cNvPr id="232" name="Rechthoek 231"/>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33" name="Rechthoek 232"/>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34" name="Rechthoek 233"/>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35" name="Rechthoek 234"/>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36" name="Rechthoek 235"/>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grpSp>
          <p:nvGrpSpPr>
            <p:cNvPr id="193" name="Groep 192"/>
            <p:cNvGrpSpPr/>
            <p:nvPr userDrawn="1"/>
          </p:nvGrpSpPr>
          <p:grpSpPr>
            <a:xfrm>
              <a:off x="-1948476" y="1281164"/>
              <a:ext cx="413704" cy="427699"/>
              <a:chOff x="-1845083" y="758027"/>
              <a:chExt cx="633799" cy="622540"/>
            </a:xfrm>
          </p:grpSpPr>
          <p:sp>
            <p:nvSpPr>
              <p:cNvPr id="212" name="Afgeronde rechthoek 211"/>
              <p:cNvSpPr/>
              <p:nvPr userDrawn="1"/>
            </p:nvSpPr>
            <p:spPr>
              <a:xfrm>
                <a:off x="-184508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213" name="Groep 212"/>
              <p:cNvGrpSpPr/>
              <p:nvPr userDrawn="1"/>
            </p:nvGrpSpPr>
            <p:grpSpPr>
              <a:xfrm>
                <a:off x="-1737762" y="864082"/>
                <a:ext cx="419168" cy="410429"/>
                <a:chOff x="3708400" y="309013"/>
                <a:chExt cx="1901295" cy="1861668"/>
              </a:xfrm>
              <a:solidFill>
                <a:srgbClr val="000000"/>
              </a:solidFill>
            </p:grpSpPr>
            <p:sp>
              <p:nvSpPr>
                <p:cNvPr id="214" name="Rechthoek 213"/>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15" name="Rechthoek 214"/>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16" name="Rechthoek 215"/>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17" name="Rechthoek 216"/>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18" name="Rechthoek 217"/>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19" name="Rechthoek 218"/>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20" name="Rechthoek 219"/>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21" name="Rechthoek 220"/>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22" name="Rechthoek 221"/>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23" name="Rechthoek 222"/>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24" name="Vrije vorm 223"/>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cxnSp>
          <p:nvCxnSpPr>
            <p:cNvPr id="194" name="Rechte verbindingslijn 193"/>
            <p:cNvCxnSpPr/>
            <p:nvPr userDrawn="1"/>
          </p:nvCxnSpPr>
          <p:spPr>
            <a:xfrm>
              <a:off x="-2814292" y="1441193"/>
              <a:ext cx="865816" cy="53821"/>
            </a:xfrm>
            <a:prstGeom prst="line">
              <a:avLst/>
            </a:prstGeom>
            <a:noFill/>
            <a:ln w="9525" cap="flat" cmpd="sng" algn="ctr">
              <a:solidFill>
                <a:schemeClr val="accent1"/>
              </a:solidFill>
              <a:prstDash val="solid"/>
              <a:headEnd type="oval"/>
            </a:ln>
            <a:effectLst/>
          </p:spPr>
        </p:cxnSp>
        <p:cxnSp>
          <p:nvCxnSpPr>
            <p:cNvPr id="195" name="Rechte verbindingslijn 194"/>
            <p:cNvCxnSpPr/>
            <p:nvPr userDrawn="1"/>
          </p:nvCxnSpPr>
          <p:spPr>
            <a:xfrm flipV="1">
              <a:off x="-2453902" y="1030591"/>
              <a:ext cx="505426" cy="283623"/>
            </a:xfrm>
            <a:prstGeom prst="line">
              <a:avLst/>
            </a:prstGeom>
            <a:noFill/>
            <a:ln w="9525" cap="flat" cmpd="sng" algn="ctr">
              <a:solidFill>
                <a:schemeClr val="accent1"/>
              </a:solidFill>
              <a:prstDash val="solid"/>
              <a:headEnd type="oval"/>
            </a:ln>
            <a:effectLst/>
          </p:spPr>
        </p:cxnSp>
        <p:sp>
          <p:nvSpPr>
            <p:cNvPr id="196" name="Textfield placeholder"/>
            <p:cNvSpPr txBox="1">
              <a:spLocks/>
            </p:cNvSpPr>
            <p:nvPr userDrawn="1"/>
          </p:nvSpPr>
          <p:spPr>
            <a:xfrm>
              <a:off x="-1341598" y="816743"/>
              <a:ext cx="1056968" cy="427698"/>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hoog</a:t>
              </a:r>
            </a:p>
          </p:txBody>
        </p:sp>
        <p:sp>
          <p:nvSpPr>
            <p:cNvPr id="197" name="Textfield placeholder"/>
            <p:cNvSpPr txBox="1">
              <a:spLocks/>
            </p:cNvSpPr>
            <p:nvPr userDrawn="1"/>
          </p:nvSpPr>
          <p:spPr>
            <a:xfrm>
              <a:off x="-1341599" y="1281164"/>
              <a:ext cx="1070223" cy="427699"/>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laag</a:t>
              </a:r>
            </a:p>
          </p:txBody>
        </p:sp>
        <p:sp>
          <p:nvSpPr>
            <p:cNvPr id="198" name="Ovaal 197"/>
            <p:cNvSpPr/>
            <p:nvPr userDrawn="1"/>
          </p:nvSpPr>
          <p:spPr>
            <a:xfrm>
              <a:off x="-2959433" y="338208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5</a:t>
              </a:r>
            </a:p>
          </p:txBody>
        </p:sp>
        <p:sp>
          <p:nvSpPr>
            <p:cNvPr id="199" name="Textfield placeholder"/>
            <p:cNvSpPr txBox="1">
              <a:spLocks/>
            </p:cNvSpPr>
            <p:nvPr userDrawn="1"/>
          </p:nvSpPr>
          <p:spPr>
            <a:xfrm>
              <a:off x="-2571950" y="3382082"/>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60000" lvl="4" indent="-360000" defTabSz="179388">
                <a:lnSpc>
                  <a:spcPct val="120000"/>
                </a:lnSpc>
                <a:spcBef>
                  <a:spcPts val="0"/>
                </a:spcBef>
                <a:spcAft>
                  <a:spcPts val="900"/>
                </a:spcAft>
                <a:buClr>
                  <a:srgbClr val="ED1A3B"/>
                </a:buClr>
                <a:buFont typeface="+mj-lt"/>
                <a:buAutoNum type="arabicPeriod"/>
                <a:defRPr/>
              </a:pPr>
              <a:r>
                <a:rPr lang="nl-NL" sz="1200" b="0" dirty="0">
                  <a:solidFill>
                    <a:srgbClr val="404040"/>
                  </a:solidFill>
                </a:rPr>
                <a:t>Numeriek (16 pt.)</a:t>
              </a:r>
            </a:p>
          </p:txBody>
        </p:sp>
        <p:grpSp>
          <p:nvGrpSpPr>
            <p:cNvPr id="200" name="Groep 199"/>
            <p:cNvGrpSpPr/>
            <p:nvPr userDrawn="1"/>
          </p:nvGrpSpPr>
          <p:grpSpPr>
            <a:xfrm>
              <a:off x="-2950232" y="816050"/>
              <a:ext cx="528695" cy="344202"/>
              <a:chOff x="-2880382" y="410556"/>
              <a:chExt cx="528695" cy="344202"/>
            </a:xfrm>
          </p:grpSpPr>
          <p:sp>
            <p:nvSpPr>
              <p:cNvPr id="210" name="Afgeronde rechthoek 209"/>
              <p:cNvSpPr/>
              <p:nvPr userDrawn="1"/>
            </p:nvSpPr>
            <p:spPr>
              <a:xfrm>
                <a:off x="-2874214" y="410556"/>
                <a:ext cx="522527" cy="339183"/>
              </a:xfrm>
              <a:prstGeom prst="roundRect">
                <a:avLst>
                  <a:gd name="adj" fmla="val 7565"/>
                </a:avLst>
              </a:prstGeom>
              <a:gradFill>
                <a:gsLst>
                  <a:gs pos="0">
                    <a:srgbClr val="FFEC8F"/>
                  </a:gs>
                  <a:gs pos="100000">
                    <a:srgbClr val="FFFFFF"/>
                  </a:gs>
                </a:gsLst>
                <a:lin ang="5400000" scaled="0"/>
              </a:gra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sp>
            <p:nvSpPr>
              <p:cNvPr id="211" name="Vrije vorm 210"/>
              <p:cNvSpPr/>
              <p:nvPr userDrawn="1"/>
            </p:nvSpPr>
            <p:spPr>
              <a:xfrm>
                <a:off x="-2880382" y="452699"/>
                <a:ext cx="528695" cy="302059"/>
              </a:xfrm>
              <a:custGeom>
                <a:avLst/>
                <a:gdLst>
                  <a:gd name="connsiteX0" fmla="*/ 55524 w 528695"/>
                  <a:gd name="connsiteY0" fmla="*/ 0 h 302059"/>
                  <a:gd name="connsiteX1" fmla="*/ 455496 w 528695"/>
                  <a:gd name="connsiteY1" fmla="*/ 0 h 302059"/>
                  <a:gd name="connsiteX2" fmla="*/ 475205 w 528695"/>
                  <a:gd name="connsiteY2" fmla="*/ 19709 h 302059"/>
                  <a:gd name="connsiteX3" fmla="*/ 475205 w 528695"/>
                  <a:gd name="connsiteY3" fmla="*/ 230056 h 302059"/>
                  <a:gd name="connsiteX4" fmla="*/ 516694 w 528695"/>
                  <a:gd name="connsiteY4" fmla="*/ 230056 h 302059"/>
                  <a:gd name="connsiteX5" fmla="*/ 528695 w 528695"/>
                  <a:gd name="connsiteY5" fmla="*/ 242057 h 302059"/>
                  <a:gd name="connsiteX6" fmla="*/ 528695 w 528695"/>
                  <a:gd name="connsiteY6" fmla="*/ 290058 h 302059"/>
                  <a:gd name="connsiteX7" fmla="*/ 516694 w 528695"/>
                  <a:gd name="connsiteY7" fmla="*/ 302059 h 302059"/>
                  <a:gd name="connsiteX8" fmla="*/ 12001 w 528695"/>
                  <a:gd name="connsiteY8" fmla="*/ 302059 h 302059"/>
                  <a:gd name="connsiteX9" fmla="*/ 0 w 528695"/>
                  <a:gd name="connsiteY9" fmla="*/ 290058 h 302059"/>
                  <a:gd name="connsiteX10" fmla="*/ 0 w 528695"/>
                  <a:gd name="connsiteY10" fmla="*/ 242057 h 302059"/>
                  <a:gd name="connsiteX11" fmla="*/ 12001 w 528695"/>
                  <a:gd name="connsiteY11" fmla="*/ 230056 h 302059"/>
                  <a:gd name="connsiteX12" fmla="*/ 35815 w 528695"/>
                  <a:gd name="connsiteY12" fmla="*/ 230056 h 302059"/>
                  <a:gd name="connsiteX13" fmla="*/ 35815 w 528695"/>
                  <a:gd name="connsiteY13" fmla="*/ 19709 h 302059"/>
                  <a:gd name="connsiteX14" fmla="*/ 55524 w 528695"/>
                  <a:gd name="connsiteY14" fmla="*/ 0 h 3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8695" h="302059">
                    <a:moveTo>
                      <a:pt x="55524" y="0"/>
                    </a:moveTo>
                    <a:lnTo>
                      <a:pt x="455496" y="0"/>
                    </a:lnTo>
                    <a:cubicBezTo>
                      <a:pt x="466381" y="0"/>
                      <a:pt x="475205" y="8824"/>
                      <a:pt x="475205" y="19709"/>
                    </a:cubicBezTo>
                    <a:lnTo>
                      <a:pt x="475205" y="230056"/>
                    </a:lnTo>
                    <a:lnTo>
                      <a:pt x="516694" y="230056"/>
                    </a:lnTo>
                    <a:cubicBezTo>
                      <a:pt x="523322" y="230056"/>
                      <a:pt x="528695" y="235429"/>
                      <a:pt x="528695" y="242057"/>
                    </a:cubicBezTo>
                    <a:lnTo>
                      <a:pt x="528695" y="290058"/>
                    </a:lnTo>
                    <a:cubicBezTo>
                      <a:pt x="528695" y="296686"/>
                      <a:pt x="523322" y="302059"/>
                      <a:pt x="516694" y="302059"/>
                    </a:cubicBezTo>
                    <a:lnTo>
                      <a:pt x="12001" y="302059"/>
                    </a:lnTo>
                    <a:cubicBezTo>
                      <a:pt x="5373" y="302059"/>
                      <a:pt x="0" y="296686"/>
                      <a:pt x="0" y="290058"/>
                    </a:cubicBezTo>
                    <a:lnTo>
                      <a:pt x="0" y="242057"/>
                    </a:lnTo>
                    <a:cubicBezTo>
                      <a:pt x="0" y="235429"/>
                      <a:pt x="5373" y="230056"/>
                      <a:pt x="12001" y="230056"/>
                    </a:cubicBezTo>
                    <a:lnTo>
                      <a:pt x="35815" y="230056"/>
                    </a:lnTo>
                    <a:lnTo>
                      <a:pt x="35815" y="19709"/>
                    </a:lnTo>
                    <a:cubicBezTo>
                      <a:pt x="35815" y="8824"/>
                      <a:pt x="44639" y="0"/>
                      <a:pt x="55524" y="0"/>
                    </a:cubicBezTo>
                    <a:close/>
                  </a:path>
                </a:pathLst>
              </a:custGeom>
              <a:solidFill>
                <a:sysClr val="window" lastClr="FFFFFF">
                  <a:lumMod val="95000"/>
                </a:sysClr>
              </a:solidFill>
              <a:ln w="9525" cap="flat" cmpd="sng" algn="ctr">
                <a:solidFill>
                  <a:srgbClr val="FFFFFF">
                    <a:lumMod val="90000"/>
                  </a:srgbClr>
                </a:solidFill>
                <a:prstDash val="solid"/>
                <a:miter lim="800000"/>
              </a:ln>
              <a:effectLst/>
            </p:spPr>
            <p:txBody>
              <a:bodyPr rot="0" spcFirstLastPara="0" vert="horz" wrap="square" lIns="108000" tIns="36000" rIns="108000" bIns="10800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900" dirty="0">
                    <a:solidFill>
                      <a:prstClr val="black"/>
                    </a:solidFill>
                    <a:latin typeface="Segoe UI Light"/>
                  </a:rPr>
                  <a:t>Start</a:t>
                </a:r>
              </a:p>
            </p:txBody>
          </p:sp>
        </p:grpSp>
        <p:sp>
          <p:nvSpPr>
            <p:cNvPr id="201" name="Tekstvak 65"/>
            <p:cNvSpPr txBox="1"/>
            <p:nvPr userDrawn="1"/>
          </p:nvSpPr>
          <p:spPr>
            <a:xfrm>
              <a:off x="-2959433" y="372104"/>
              <a:ext cx="2679887" cy="453396"/>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nl-NL" sz="1200" kern="0" dirty="0">
                  <a:solidFill>
                    <a:srgbClr val="000000"/>
                  </a:solidFill>
                  <a:latin typeface="Segoe UI Light" panose="020B0502040204020203" pitchFamily="34" charset="0"/>
                  <a:cs typeface="Segoe UI Light" panose="020B0502040204020203" pitchFamily="34" charset="0"/>
                </a:rPr>
                <a:t>Ga naar de tab </a:t>
              </a:r>
              <a:r>
                <a:rPr lang="nl-NL" sz="1200" b="1" kern="0" dirty="0">
                  <a:solidFill>
                    <a:srgbClr val="000000"/>
                  </a:solidFill>
                  <a:latin typeface="Segoe UI Light" panose="020B0502040204020203" pitchFamily="34" charset="0"/>
                  <a:cs typeface="Segoe UI Light" panose="020B0502040204020203" pitchFamily="34" charset="0"/>
                </a:rPr>
                <a:t>Start’ </a:t>
              </a:r>
              <a:r>
                <a:rPr lang="nl-NL" sz="1200" kern="0" dirty="0">
                  <a:solidFill>
                    <a:srgbClr val="000000"/>
                  </a:solidFill>
                  <a:latin typeface="Segoe UI Light" panose="020B0502040204020203" pitchFamily="34" charset="0"/>
                  <a:cs typeface="Segoe UI Light" panose="020B0502040204020203" pitchFamily="34" charset="0"/>
                </a:rPr>
                <a:t>en vind onderstaande knoppen onder </a:t>
              </a:r>
              <a:r>
                <a:rPr lang="nl-NL" sz="1200" b="1" kern="0" dirty="0">
                  <a:solidFill>
                    <a:srgbClr val="000000"/>
                  </a:solidFill>
                  <a:latin typeface="Segoe UI Light" panose="020B0502040204020203" pitchFamily="34" charset="0"/>
                  <a:cs typeface="Segoe UI Light" panose="020B0502040204020203" pitchFamily="34" charset="0"/>
                </a:rPr>
                <a:t>‘Alinea’</a:t>
              </a:r>
            </a:p>
          </p:txBody>
        </p:sp>
        <p:sp>
          <p:nvSpPr>
            <p:cNvPr id="202" name="Ovaal 201"/>
            <p:cNvSpPr/>
            <p:nvPr userDrawn="1"/>
          </p:nvSpPr>
          <p:spPr>
            <a:xfrm>
              <a:off x="-2959433" y="375153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6</a:t>
              </a:r>
            </a:p>
          </p:txBody>
        </p:sp>
        <p:sp>
          <p:nvSpPr>
            <p:cNvPr id="203" name="Textfield placeholder"/>
            <p:cNvSpPr txBox="1">
              <a:spLocks/>
            </p:cNvSpPr>
            <p:nvPr userDrawn="1"/>
          </p:nvSpPr>
          <p:spPr>
            <a:xfrm>
              <a:off x="-2571950" y="3751536"/>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0000" lvl="5" indent="-270000" defTabSz="179388">
                <a:lnSpc>
                  <a:spcPct val="120000"/>
                </a:lnSpc>
                <a:spcAft>
                  <a:spcPts val="900"/>
                </a:spcAft>
                <a:buClr>
                  <a:srgbClr val="ED1A3B"/>
                </a:buClr>
                <a:buSzPct val="80000"/>
                <a:buFont typeface="Wingdings 3" panose="05040102010807070707" pitchFamily="18" charset="2"/>
                <a:buChar char=""/>
                <a:defRPr/>
              </a:pPr>
              <a:r>
                <a:rPr lang="nl-NL" sz="1200" cap="none" dirty="0">
                  <a:solidFill>
                    <a:srgbClr val="535353"/>
                  </a:solidFill>
                </a:rPr>
                <a:t># Bullets (16 pt.)</a:t>
              </a:r>
            </a:p>
          </p:txBody>
        </p:sp>
        <p:sp>
          <p:nvSpPr>
            <p:cNvPr id="204" name="Ovaal 203"/>
            <p:cNvSpPr/>
            <p:nvPr userDrawn="1"/>
          </p:nvSpPr>
          <p:spPr>
            <a:xfrm>
              <a:off x="-2959433" y="414870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7</a:t>
              </a:r>
            </a:p>
          </p:txBody>
        </p:sp>
        <p:sp>
          <p:nvSpPr>
            <p:cNvPr id="205" name="Textfield placeholder"/>
            <p:cNvSpPr txBox="1">
              <a:spLocks/>
            </p:cNvSpPr>
            <p:nvPr userDrawn="1"/>
          </p:nvSpPr>
          <p:spPr>
            <a:xfrm>
              <a:off x="-2571950" y="414870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6" indent="0" defTabSz="179388">
                <a:lnSpc>
                  <a:spcPct val="120000"/>
                </a:lnSpc>
                <a:spcBef>
                  <a:spcPts val="0"/>
                </a:spcBef>
                <a:spcAft>
                  <a:spcPts val="900"/>
                </a:spcAft>
                <a:buClr>
                  <a:srgbClr val="ED1A3B"/>
                </a:buClr>
                <a:buSzPct val="90000"/>
                <a:buFont typeface="+mj-lt"/>
                <a:buNone/>
                <a:defRPr/>
              </a:pPr>
              <a:r>
                <a:rPr lang="nl-NL" sz="1200" i="1" dirty="0">
                  <a:solidFill>
                    <a:srgbClr val="404040"/>
                  </a:solidFill>
                </a:rPr>
                <a:t>Cursief donker (16 pt.)</a:t>
              </a:r>
            </a:p>
          </p:txBody>
        </p:sp>
        <p:sp>
          <p:nvSpPr>
            <p:cNvPr id="206" name="Ovaal 205"/>
            <p:cNvSpPr/>
            <p:nvPr userDrawn="1"/>
          </p:nvSpPr>
          <p:spPr>
            <a:xfrm>
              <a:off x="-2959433" y="454586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8</a:t>
              </a:r>
            </a:p>
          </p:txBody>
        </p:sp>
        <p:sp>
          <p:nvSpPr>
            <p:cNvPr id="207" name="Textfield placeholder"/>
            <p:cNvSpPr txBox="1">
              <a:spLocks/>
            </p:cNvSpPr>
            <p:nvPr userDrawn="1"/>
          </p:nvSpPr>
          <p:spPr>
            <a:xfrm>
              <a:off x="-2571950" y="4545864"/>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7" indent="0" defTabSz="179388">
                <a:lnSpc>
                  <a:spcPct val="80000"/>
                </a:lnSpc>
                <a:spcBef>
                  <a:spcPts val="0"/>
                </a:spcBef>
                <a:spcAft>
                  <a:spcPts val="900"/>
                </a:spcAft>
                <a:buClr>
                  <a:srgbClr val="ED1A3B"/>
                </a:buClr>
                <a:buFont typeface="Arial" pitchFamily="34" charset="0"/>
                <a:buNone/>
                <a:defRPr/>
              </a:pPr>
              <a:r>
                <a:rPr lang="nl-NL" sz="1200" i="1" dirty="0">
                  <a:solidFill>
                    <a:srgbClr val="A3B0C0"/>
                  </a:solidFill>
                </a:rPr>
                <a:t>Cursief Licht (16 pt.)</a:t>
              </a:r>
            </a:p>
          </p:txBody>
        </p:sp>
        <p:sp>
          <p:nvSpPr>
            <p:cNvPr id="208" name="Ovaal 207"/>
            <p:cNvSpPr/>
            <p:nvPr userDrawn="1"/>
          </p:nvSpPr>
          <p:spPr>
            <a:xfrm>
              <a:off x="-2959433" y="488761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9</a:t>
              </a:r>
            </a:p>
          </p:txBody>
        </p:sp>
        <p:sp>
          <p:nvSpPr>
            <p:cNvPr id="209" name="Textfield placeholder"/>
            <p:cNvSpPr txBox="1">
              <a:spLocks/>
            </p:cNvSpPr>
            <p:nvPr userDrawn="1"/>
          </p:nvSpPr>
          <p:spPr>
            <a:xfrm>
              <a:off x="-2571950" y="488761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8" indent="0" defTabSz="179388">
                <a:lnSpc>
                  <a:spcPct val="80000"/>
                </a:lnSpc>
                <a:spcBef>
                  <a:spcPts val="0"/>
                </a:spcBef>
                <a:spcAft>
                  <a:spcPts val="900"/>
                </a:spcAft>
                <a:buClr>
                  <a:srgbClr val="ED1A3B"/>
                </a:buClr>
                <a:buFont typeface="Arial" pitchFamily="34" charset="0"/>
                <a:buNone/>
                <a:defRPr/>
              </a:pPr>
              <a:r>
                <a:rPr lang="nl-NL" sz="1400" b="1" dirty="0">
                  <a:solidFill>
                    <a:srgbClr val="ED1A3B"/>
                  </a:solidFill>
                </a:rPr>
                <a:t>Subtitel (18 pt.)</a:t>
              </a:r>
            </a:p>
          </p:txBody>
        </p:sp>
      </p:grpSp>
      <p:sp>
        <p:nvSpPr>
          <p:cNvPr id="91" name="Hyperlink - Inhoudsopgave">
            <a:hlinkClick r:id="rId4" action="ppaction://hlinksldjump"/>
          </p:cNvPr>
          <p:cNvSpPr/>
          <p:nvPr userDrawn="1"/>
        </p:nvSpPr>
        <p:spPr>
          <a:xfrm>
            <a:off x="10197856" y="5889801"/>
            <a:ext cx="2000494" cy="968199"/>
          </a:xfrm>
          <a:prstGeom prst="rect">
            <a:avLst/>
          </a:prstGeom>
          <a:solidFill>
            <a:srgbClr val="ED1A3B">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cxnSp>
        <p:nvCxnSpPr>
          <p:cNvPr id="12" name="Grijze lijn - boven"/>
          <p:cNvCxnSpPr/>
          <p:nvPr/>
        </p:nvCxnSpPr>
        <p:spPr>
          <a:xfrm flipH="1">
            <a:off x="664804" y="1358670"/>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93" name="Tijdelijke aanduiding voor Dianummer"/>
          <p:cNvSpPr>
            <a:spLocks noGrp="1"/>
          </p:cNvSpPr>
          <p:nvPr>
            <p:ph type="sldNum" sz="quarter" idx="4"/>
          </p:nvPr>
        </p:nvSpPr>
        <p:spPr>
          <a:xfrm>
            <a:off x="5770549" y="6295992"/>
            <a:ext cx="657251" cy="365125"/>
          </a:xfrm>
          <a:prstGeom prst="rect">
            <a:avLst/>
          </a:prstGeom>
        </p:spPr>
        <p:txBody>
          <a:bodyPr vert="horz" lIns="91440" tIns="45720" rIns="91440" bIns="45720" rtlCol="0" anchor="ctr"/>
          <a:lstStyle>
            <a:lvl1pPr algn="ctr">
              <a:defRPr sz="800">
                <a:solidFill>
                  <a:schemeClr val="tx1">
                    <a:tint val="75000"/>
                  </a:schemeClr>
                </a:solidFill>
              </a:defRPr>
            </a:lvl1pPr>
          </a:lstStyle>
          <a:p>
            <a:fld id="{1B3FA67A-C720-417A-A072-0CD211FD8662}" type="slidenum">
              <a:rPr lang="nl-NL" smtClean="0">
                <a:solidFill>
                  <a:srgbClr val="000000">
                    <a:tint val="75000"/>
                  </a:srgbClr>
                </a:solidFill>
              </a:rPr>
              <a:pPr/>
              <a:t>‹nr.›</a:t>
            </a:fld>
            <a:endParaRPr lang="nl-NL" dirty="0">
              <a:solidFill>
                <a:srgbClr val="000000">
                  <a:tint val="75000"/>
                </a:srgbClr>
              </a:solidFill>
            </a:endParaRPr>
          </a:p>
        </p:txBody>
      </p:sp>
      <p:sp>
        <p:nvSpPr>
          <p:cNvPr id="3" name="Tijdelijke aanduiding voor Tekst"/>
          <p:cNvSpPr>
            <a:spLocks noGrp="1"/>
          </p:cNvSpPr>
          <p:nvPr>
            <p:ph type="body" orient="vert" idx="1" hasCustomPrompt="1"/>
          </p:nvPr>
        </p:nvSpPr>
        <p:spPr>
          <a:xfrm>
            <a:off x="664109" y="1720867"/>
            <a:ext cx="10870131" cy="3693600"/>
          </a:xfrm>
        </p:spPr>
        <p:txBody>
          <a:bodyPr vert="horz"/>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800"/>
            </a:lvl9pPr>
          </a:lstStyle>
          <a:p>
            <a:pPr lvl="0"/>
            <a:r>
              <a:rPr lang="nl-NL" dirty="0"/>
              <a:t>Leestekst</a:t>
            </a:r>
          </a:p>
          <a:p>
            <a:pPr lvl="1"/>
            <a:r>
              <a:rPr lang="nl-NL" dirty="0"/>
              <a:t>Bullets</a:t>
            </a:r>
          </a:p>
          <a:p>
            <a:pPr lvl="2"/>
            <a:r>
              <a:rPr lang="nl-NL" dirty="0"/>
              <a:t>Sub-bullets</a:t>
            </a:r>
          </a:p>
          <a:p>
            <a:pPr lvl="3"/>
            <a:r>
              <a:rPr lang="nl-NL" dirty="0"/>
              <a:t>Sub-sub-bullets</a:t>
            </a:r>
          </a:p>
          <a:p>
            <a:pPr lvl="4"/>
            <a:r>
              <a:rPr lang="nl-NL" dirty="0"/>
              <a:t>Numeriek</a:t>
            </a:r>
          </a:p>
          <a:p>
            <a:pPr lvl="5"/>
            <a:r>
              <a:rPr lang="nl-NL" dirty="0"/>
              <a:t># Bullets</a:t>
            </a:r>
          </a:p>
          <a:p>
            <a:pPr lvl="6"/>
            <a:r>
              <a:rPr lang="nl-NL" dirty="0"/>
              <a:t>Cursief donker</a:t>
            </a:r>
          </a:p>
          <a:p>
            <a:pPr lvl="7"/>
            <a:r>
              <a:rPr lang="nl-NL" dirty="0"/>
              <a:t>Cursief licht</a:t>
            </a:r>
          </a:p>
          <a:p>
            <a:pPr lvl="8"/>
            <a:r>
              <a:rPr lang="nl-NL" dirty="0"/>
              <a:t>Subtitel</a:t>
            </a:r>
          </a:p>
        </p:txBody>
      </p:sp>
      <p:sp>
        <p:nvSpPr>
          <p:cNvPr id="8" name="Tijdelijke aanduiding voor Subtitel"/>
          <p:cNvSpPr>
            <a:spLocks noGrp="1"/>
          </p:cNvSpPr>
          <p:nvPr>
            <p:ph type="body" idx="14"/>
          </p:nvPr>
        </p:nvSpPr>
        <p:spPr>
          <a:xfrm>
            <a:off x="664109" y="1001348"/>
            <a:ext cx="10870131" cy="317758"/>
          </a:xfrm>
        </p:spPr>
        <p:txBody>
          <a:bodyPr bIns="72000" anchor="t" anchorCtr="0"/>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2" name="Tijdelijke aanduiding voor Titel"/>
          <p:cNvSpPr>
            <a:spLocks noGrp="1"/>
          </p:cNvSpPr>
          <p:nvPr>
            <p:ph type="title"/>
          </p:nvPr>
        </p:nvSpPr>
        <p:spPr>
          <a:xfrm>
            <a:off x="664109" y="464521"/>
            <a:ext cx="10870131" cy="533219"/>
          </a:xfrm>
        </p:spPr>
        <p:txBody>
          <a:bodyPr/>
          <a:lstStyle/>
          <a:p>
            <a:r>
              <a:rPr lang="nl-NL"/>
              <a:t>Klik om stijl te bewerken</a:t>
            </a:r>
            <a:endParaRPr lang="nl-NL" dirty="0"/>
          </a:p>
        </p:txBody>
      </p:sp>
    </p:spTree>
    <p:extLst>
      <p:ext uri="{BB962C8B-B14F-4D97-AF65-F5344CB8AC3E}">
        <p14:creationId xmlns:p14="http://schemas.microsoft.com/office/powerpoint/2010/main" val="796405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Voorstellen pasfoto 3x">
    <p:spTree>
      <p:nvGrpSpPr>
        <p:cNvPr id="1" name=""/>
        <p:cNvGrpSpPr/>
        <p:nvPr/>
      </p:nvGrpSpPr>
      <p:grpSpPr>
        <a:xfrm>
          <a:off x="0" y="0"/>
          <a:ext cx="0" cy="0"/>
          <a:chOff x="0" y="0"/>
          <a:chExt cx="0" cy="0"/>
        </a:xfrm>
      </p:grpSpPr>
      <p:sp>
        <p:nvSpPr>
          <p:cNvPr id="15" name="Naam indeling - Voorstellen pasfoto 3x"/>
          <p:cNvSpPr txBox="1"/>
          <p:nvPr/>
        </p:nvSpPr>
        <p:spPr>
          <a:xfrm>
            <a:off x="1" y="-453266"/>
            <a:ext cx="3582333" cy="276999"/>
          </a:xfrm>
          <a:prstGeom prst="rect">
            <a:avLst/>
          </a:prstGeom>
          <a:noFill/>
        </p:spPr>
        <p:txBody>
          <a:bodyPr wrap="square" lIns="0" tIns="0" rIns="0" bIns="0" rtlCol="0">
            <a:spAutoFit/>
          </a:bodyPr>
          <a:lstStyle/>
          <a:p>
            <a:pPr defTabSz="914112"/>
            <a:r>
              <a:rPr lang="nl-NL" dirty="0">
                <a:solidFill>
                  <a:srgbClr val="404040"/>
                </a:solidFill>
                <a:latin typeface="Calibri" panose="020F0502020204030204" pitchFamily="34" charset="0"/>
              </a:rPr>
              <a:t>Voorstellen pasfoto 3x</a:t>
            </a:r>
            <a:endParaRPr lang="en-GB" dirty="0">
              <a:solidFill>
                <a:srgbClr val="404040"/>
              </a:solidFill>
              <a:latin typeface="Calibri" panose="020F0502020204030204" pitchFamily="34" charset="0"/>
            </a:endParaRPr>
          </a:p>
        </p:txBody>
      </p:sp>
      <p:grpSp>
        <p:nvGrpSpPr>
          <p:cNvPr id="105" name="Instructie - Afbeelding invoegen"/>
          <p:cNvGrpSpPr/>
          <p:nvPr/>
        </p:nvGrpSpPr>
        <p:grpSpPr>
          <a:xfrm>
            <a:off x="12437931" y="14898"/>
            <a:ext cx="2717569" cy="3676571"/>
            <a:chOff x="12434693" y="14897"/>
            <a:chExt cx="2716862" cy="3676571"/>
          </a:xfrm>
        </p:grpSpPr>
        <p:sp>
          <p:nvSpPr>
            <p:cNvPr id="106" name="Rechthoek 105"/>
            <p:cNvSpPr/>
            <p:nvPr/>
          </p:nvSpPr>
          <p:spPr>
            <a:xfrm>
              <a:off x="12441150" y="14897"/>
              <a:ext cx="2696270" cy="161771"/>
            </a:xfrm>
            <a:prstGeom prst="rect">
              <a:avLst/>
            </a:prstGeom>
            <a:noFill/>
            <a:ln w="25400" cap="flat" cmpd="sng" algn="ctr">
              <a:noFill/>
              <a:prstDash val="solid"/>
            </a:ln>
            <a:effectLst/>
          </p:spPr>
          <p:txBody>
            <a:bodyPr lIns="0" tIns="0" rIns="0" bIns="0" rtlCol="0" anchor="t"/>
            <a:lstStyle/>
            <a:p>
              <a:pPr defTabSz="914112">
                <a:lnSpc>
                  <a:spcPct val="80000"/>
                </a:lnSpc>
              </a:pPr>
              <a:r>
                <a:rPr lang="nl-NL" sz="1600" b="1" kern="0" cap="all" dirty="0">
                  <a:solidFill>
                    <a:srgbClr val="ED1A3B"/>
                  </a:solidFill>
                  <a:cs typeface="Segoe UI Light" panose="020B0502040204020203" pitchFamily="34" charset="0"/>
                </a:rPr>
                <a:t>AFBEELDING INVOEGEN</a:t>
              </a:r>
            </a:p>
          </p:txBody>
        </p:sp>
        <p:sp>
          <p:nvSpPr>
            <p:cNvPr id="107" name="Tekstvak 33"/>
            <p:cNvSpPr txBox="1"/>
            <p:nvPr/>
          </p:nvSpPr>
          <p:spPr>
            <a:xfrm>
              <a:off x="12441149" y="814239"/>
              <a:ext cx="2710405" cy="719877"/>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Indien nodig, verwijder de bestaande afbeelding. Klik op het pictogram </a:t>
              </a:r>
              <a:br>
                <a:rPr lang="nl-NL" sz="1200" kern="0" dirty="0">
                  <a:solidFill>
                    <a:srgbClr val="000000"/>
                  </a:solidFill>
                  <a:latin typeface="Trebuchet MS"/>
                  <a:cs typeface="Segoe UI Light" panose="020B0502040204020203" pitchFamily="34" charset="0"/>
                </a:rPr>
              </a:br>
              <a:r>
                <a:rPr lang="nl-NL" sz="1200" kern="0" dirty="0">
                  <a:solidFill>
                    <a:srgbClr val="000000"/>
                  </a:solidFill>
                  <a:latin typeface="Trebuchet MS"/>
                  <a:cs typeface="Segoe UI Light" panose="020B0502040204020203" pitchFamily="34" charset="0"/>
                </a:rPr>
                <a:t>om een afbeelding in te voegen</a:t>
              </a:r>
              <a:br>
                <a:rPr lang="nl-NL" sz="1200" kern="0" dirty="0">
                  <a:solidFill>
                    <a:srgbClr val="000000"/>
                  </a:solidFill>
                  <a:latin typeface="Trebuchet MS"/>
                  <a:cs typeface="Segoe UI Light" panose="020B0502040204020203" pitchFamily="34" charset="0"/>
                </a:rPr>
              </a:br>
              <a:r>
                <a:rPr lang="nl-NL" sz="1100" i="1" kern="0" dirty="0">
                  <a:solidFill>
                    <a:srgbClr val="000000"/>
                  </a:solidFill>
                  <a:latin typeface="Trebuchet MS"/>
                  <a:cs typeface="Segoe UI Light" panose="020B0502040204020203" pitchFamily="34" charset="0"/>
                </a:rPr>
                <a:t>(zie onderstaand voorbeeld).</a:t>
              </a:r>
            </a:p>
          </p:txBody>
        </p:sp>
        <p:sp>
          <p:nvSpPr>
            <p:cNvPr id="108" name="Tekstvak 33"/>
            <p:cNvSpPr txBox="1"/>
            <p:nvPr/>
          </p:nvSpPr>
          <p:spPr>
            <a:xfrm>
              <a:off x="12441149" y="2793904"/>
              <a:ext cx="2710405" cy="395943"/>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Selecteer de afbeelding die u wilt invoegen en klik op </a:t>
              </a:r>
              <a:r>
                <a:rPr lang="nl-NL" sz="1200" b="1" kern="0" dirty="0">
                  <a:solidFill>
                    <a:srgbClr val="000000"/>
                  </a:solidFill>
                  <a:latin typeface="Trebuchet MS"/>
                  <a:cs typeface="Segoe UI Light" panose="020B0502040204020203" pitchFamily="34" charset="0"/>
                </a:rPr>
                <a:t>‘Invoegen’</a:t>
              </a:r>
            </a:p>
          </p:txBody>
        </p:sp>
        <p:sp>
          <p:nvSpPr>
            <p:cNvPr id="109" name="Ovaal 108"/>
            <p:cNvSpPr/>
            <p:nvPr/>
          </p:nvSpPr>
          <p:spPr>
            <a:xfrm>
              <a:off x="12441150" y="379292"/>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1</a:t>
              </a:r>
            </a:p>
          </p:txBody>
        </p:sp>
        <p:sp>
          <p:nvSpPr>
            <p:cNvPr id="110" name="Ovaal 109"/>
            <p:cNvSpPr/>
            <p:nvPr/>
          </p:nvSpPr>
          <p:spPr>
            <a:xfrm>
              <a:off x="12441150" y="2337208"/>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2</a:t>
              </a:r>
            </a:p>
          </p:txBody>
        </p:sp>
        <p:cxnSp>
          <p:nvCxnSpPr>
            <p:cNvPr id="111" name="Rechte verbindingslijn 110"/>
            <p:cNvCxnSpPr/>
            <p:nvPr/>
          </p:nvCxnSpPr>
          <p:spPr>
            <a:xfrm>
              <a:off x="12441150" y="248176"/>
              <a:ext cx="2710405" cy="0"/>
            </a:xfrm>
            <a:prstGeom prst="line">
              <a:avLst/>
            </a:prstGeom>
            <a:noFill/>
            <a:ln w="9525" cap="flat" cmpd="sng" algn="ctr">
              <a:solidFill>
                <a:schemeClr val="accent1"/>
              </a:solidFill>
              <a:prstDash val="solid"/>
            </a:ln>
            <a:effectLst/>
          </p:spPr>
        </p:cxnSp>
        <p:cxnSp>
          <p:nvCxnSpPr>
            <p:cNvPr id="112" name="Rechte verbindingslijn 111"/>
            <p:cNvCxnSpPr/>
            <p:nvPr/>
          </p:nvCxnSpPr>
          <p:spPr>
            <a:xfrm>
              <a:off x="12441149" y="2212830"/>
              <a:ext cx="2710405" cy="0"/>
            </a:xfrm>
            <a:prstGeom prst="line">
              <a:avLst/>
            </a:prstGeom>
            <a:noFill/>
            <a:ln w="9525" cap="flat" cmpd="sng" algn="ctr">
              <a:solidFill>
                <a:schemeClr val="accent1"/>
              </a:solidFill>
              <a:prstDash val="solid"/>
            </a:ln>
            <a:effectLst/>
          </p:spPr>
        </p:cxnSp>
        <p:cxnSp>
          <p:nvCxnSpPr>
            <p:cNvPr id="113" name="Rechte verbindingslijn 112"/>
            <p:cNvCxnSpPr/>
            <p:nvPr/>
          </p:nvCxnSpPr>
          <p:spPr>
            <a:xfrm>
              <a:off x="12444679" y="3691468"/>
              <a:ext cx="2706875" cy="0"/>
            </a:xfrm>
            <a:prstGeom prst="line">
              <a:avLst/>
            </a:prstGeom>
            <a:noFill/>
            <a:ln w="9525" cap="flat" cmpd="sng" algn="ctr">
              <a:solidFill>
                <a:schemeClr val="accent1"/>
              </a:solidFill>
              <a:prstDash val="solid"/>
            </a:ln>
            <a:effectLst/>
          </p:spPr>
        </p:cxnSp>
        <p:pic>
          <p:nvPicPr>
            <p:cNvPr id="114" name="Icoontje afbeeldi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434693" y="1677764"/>
              <a:ext cx="403210" cy="403210"/>
            </a:xfrm>
            <a:prstGeom prst="rect">
              <a:avLst/>
            </a:prstGeom>
          </p:spPr>
        </p:pic>
        <p:grpSp>
          <p:nvGrpSpPr>
            <p:cNvPr id="115" name="Groep 114"/>
            <p:cNvGrpSpPr/>
            <p:nvPr/>
          </p:nvGrpSpPr>
          <p:grpSpPr>
            <a:xfrm>
              <a:off x="12450571" y="3301369"/>
              <a:ext cx="1002992" cy="267962"/>
              <a:chOff x="13560784" y="3471416"/>
              <a:chExt cx="1114138" cy="297656"/>
            </a:xfrm>
          </p:grpSpPr>
          <p:sp>
            <p:nvSpPr>
              <p:cNvPr id="116" name="Afgeronde rechthoek 88"/>
              <p:cNvSpPr/>
              <p:nvPr/>
            </p:nvSpPr>
            <p:spPr>
              <a:xfrm>
                <a:off x="13560784" y="3471416"/>
                <a:ext cx="1114138" cy="297656"/>
              </a:xfrm>
              <a:prstGeom prst="roundRect">
                <a:avLst/>
              </a:prstGeom>
              <a:gradFill flip="none" rotWithShape="1">
                <a:gsLst>
                  <a:gs pos="4000">
                    <a:srgbClr val="00B0F0"/>
                  </a:gs>
                  <a:gs pos="0">
                    <a:srgbClr val="0070C0"/>
                  </a:gs>
                  <a:gs pos="100000">
                    <a:srgbClr val="0070C0"/>
                  </a:gs>
                  <a:gs pos="12000">
                    <a:srgbClr val="D1EAFF"/>
                  </a:gs>
                  <a:gs pos="96000">
                    <a:srgbClr val="00B0F0"/>
                  </a:gs>
                  <a:gs pos="89000">
                    <a:srgbClr val="DDF4FF"/>
                  </a:gs>
                  <a:gs pos="43000">
                    <a:srgbClr val="D1EAFF"/>
                  </a:gs>
                  <a:gs pos="51000">
                    <a:srgbClr val="DDF4FF"/>
                  </a:gs>
                </a:gsLst>
                <a:lin ang="16200000" scaled="1"/>
                <a:tileRect/>
              </a:gradFill>
              <a:ln w="63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dirty="0">
                  <a:solidFill>
                    <a:srgbClr val="FFFFFF"/>
                  </a:solidFill>
                </a:endParaRPr>
              </a:p>
            </p:txBody>
          </p:sp>
          <p:sp>
            <p:nvSpPr>
              <p:cNvPr id="117" name="Tekstvak 116"/>
              <p:cNvSpPr txBox="1"/>
              <p:nvPr/>
            </p:nvSpPr>
            <p:spPr>
              <a:xfrm>
                <a:off x="13573594" y="3488254"/>
                <a:ext cx="888311" cy="273506"/>
              </a:xfrm>
              <a:prstGeom prst="rect">
                <a:avLst/>
              </a:prstGeom>
              <a:noFill/>
            </p:spPr>
            <p:txBody>
              <a:bodyPr wrap="square" rtlCol="0" anchor="ctr">
                <a:spAutoFit/>
              </a:bodyPr>
              <a:lstStyle>
                <a:defPPr>
                  <a:defRPr lang="nl-NL"/>
                </a:defPPr>
                <a:lvl1pPr marR="0" lvl="0" indent="0" algn="ctr" fontAlgn="auto">
                  <a:lnSpc>
                    <a:spcPct val="100000"/>
                  </a:lnSpc>
                  <a:spcBef>
                    <a:spcPts val="0"/>
                  </a:spcBef>
                  <a:spcAft>
                    <a:spcPts val="0"/>
                  </a:spcAft>
                  <a:buClrTx/>
                  <a:buSzTx/>
                  <a:buFontTx/>
                  <a:buNone/>
                  <a:tabLst/>
                  <a:defRPr kumimoji="0" sz="900" i="0" u="none" strike="noStrike" kern="0" cap="none" spc="0" normalizeH="0" baseline="0">
                    <a:ln>
                      <a:noFill/>
                    </a:ln>
                    <a:effectLst>
                      <a:outerShdw blurRad="25400" algn="ctr" rotWithShape="0">
                        <a:prstClr val="white"/>
                      </a:outerShdw>
                    </a:effectLst>
                    <a:uLnTx/>
                    <a:uFillTx/>
                    <a:latin typeface="Segoe UI Light" panose="020B0502040204020203" pitchFamily="34" charset="0"/>
                    <a:cs typeface="Segoe UI Light" panose="020B0502040204020203" pitchFamily="34" charset="0"/>
                  </a:defRPr>
                </a:lvl1pPr>
                <a:lvl2pPr fontAlgn="base">
                  <a:spcBef>
                    <a:spcPct val="0"/>
                  </a:spcBef>
                  <a:spcAft>
                    <a:spcPct val="0"/>
                  </a:spcAft>
                  <a:defRPr>
                    <a:latin typeface="Arial" charset="0"/>
                    <a:cs typeface="Arial" charset="0"/>
                  </a:defRPr>
                </a:lvl2pPr>
                <a:lvl3pPr fontAlgn="base">
                  <a:spcBef>
                    <a:spcPct val="0"/>
                  </a:spcBef>
                  <a:spcAft>
                    <a:spcPct val="0"/>
                  </a:spcAft>
                  <a:defRPr>
                    <a:latin typeface="Arial" charset="0"/>
                    <a:cs typeface="Arial" charset="0"/>
                  </a:defRPr>
                </a:lvl3pPr>
                <a:lvl4pPr fontAlgn="base">
                  <a:spcBef>
                    <a:spcPct val="0"/>
                  </a:spcBef>
                  <a:spcAft>
                    <a:spcPct val="0"/>
                  </a:spcAft>
                  <a:defRPr>
                    <a:latin typeface="Arial" charset="0"/>
                    <a:cs typeface="Arial" charset="0"/>
                  </a:defRPr>
                </a:lvl4pPr>
                <a:lvl5pPr fontAlgn="base">
                  <a:spcBef>
                    <a:spcPct val="0"/>
                  </a:spcBef>
                  <a:spcAft>
                    <a:spcPct val="0"/>
                  </a:spcAft>
                  <a:defRPr>
                    <a:latin typeface="Arial" charset="0"/>
                    <a:cs typeface="Arial" charset="0"/>
                  </a:defRPr>
                </a:lvl5pPr>
                <a:lvl6pPr>
                  <a:defRPr>
                    <a:latin typeface="Arial" charset="0"/>
                    <a:cs typeface="Arial" charset="0"/>
                  </a:defRPr>
                </a:lvl6pPr>
                <a:lvl7pPr>
                  <a:defRPr>
                    <a:latin typeface="Arial" charset="0"/>
                    <a:cs typeface="Arial" charset="0"/>
                  </a:defRPr>
                </a:lvl7pPr>
                <a:lvl8pPr>
                  <a:defRPr>
                    <a:latin typeface="Arial" charset="0"/>
                    <a:cs typeface="Arial" charset="0"/>
                  </a:defRPr>
                </a:lvl8pPr>
                <a:lvl9pPr>
                  <a:defRPr>
                    <a:latin typeface="Arial" charset="0"/>
                    <a:cs typeface="Arial" charset="0"/>
                  </a:defRPr>
                </a:lvl9pPr>
              </a:lstStyle>
              <a:p>
                <a:pPr defTabSz="914112"/>
                <a:r>
                  <a:rPr lang="nl-NL" sz="1000" dirty="0">
                    <a:solidFill>
                      <a:srgbClr val="000000"/>
                    </a:solidFill>
                    <a:latin typeface="Trebuchet MS"/>
                  </a:rPr>
                  <a:t>Invoegen</a:t>
                </a:r>
              </a:p>
            </p:txBody>
          </p:sp>
          <p:cxnSp>
            <p:nvCxnSpPr>
              <p:cNvPr id="118" name="Rechte verbindingslijn 117"/>
              <p:cNvCxnSpPr/>
              <p:nvPr/>
            </p:nvCxnSpPr>
            <p:spPr>
              <a:xfrm>
                <a:off x="14461905" y="3507058"/>
                <a:ext cx="0" cy="224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9" name="Gelijkbenige driehoek 118"/>
              <p:cNvSpPr/>
              <p:nvPr/>
            </p:nvSpPr>
            <p:spPr>
              <a:xfrm rot="10800000">
                <a:off x="14518584" y="3600521"/>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112"/>
                <a:endParaRPr lang="nl-NL" dirty="0">
                  <a:solidFill>
                    <a:srgbClr val="FFFFFF"/>
                  </a:solidFill>
                </a:endParaRPr>
              </a:p>
            </p:txBody>
          </p:sp>
        </p:grpSp>
      </p:grpSp>
      <p:grpSp>
        <p:nvGrpSpPr>
          <p:cNvPr id="225" name="Instructie - Tekstniveaus"/>
          <p:cNvGrpSpPr/>
          <p:nvPr userDrawn="1"/>
        </p:nvGrpSpPr>
        <p:grpSpPr>
          <a:xfrm>
            <a:off x="-3117849" y="365"/>
            <a:ext cx="2823358" cy="5254722"/>
            <a:chOff x="-2959433" y="-5444"/>
            <a:chExt cx="2822623" cy="5254722"/>
          </a:xfrm>
        </p:grpSpPr>
        <p:sp>
          <p:nvSpPr>
            <p:cNvPr id="226" name="Rechthoek 225"/>
            <p:cNvSpPr/>
            <p:nvPr userDrawn="1"/>
          </p:nvSpPr>
          <p:spPr>
            <a:xfrm>
              <a:off x="-2959433" y="-5444"/>
              <a:ext cx="2572469" cy="280344"/>
            </a:xfrm>
            <a:prstGeom prst="rect">
              <a:avLst/>
            </a:prstGeom>
            <a:noFill/>
            <a:ln w="25400" cap="flat" cmpd="sng" algn="ctr">
              <a:noFill/>
              <a:prstDash val="solid"/>
            </a:ln>
            <a:effectLst/>
          </p:spPr>
          <p:txBody>
            <a:bodyPr lIns="0" tIns="0" rIns="0" bIns="0" rtlCol="0" anchor="t"/>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nl-NL" sz="1600" b="1" kern="0" dirty="0">
                  <a:solidFill>
                    <a:srgbClr val="ED1A3B"/>
                  </a:solidFill>
                  <a:cs typeface="Segoe UI Light" panose="020B0502040204020203" pitchFamily="34" charset="0"/>
                </a:rPr>
                <a:t>TEKST NIVEAUS</a:t>
              </a:r>
            </a:p>
          </p:txBody>
        </p:sp>
        <p:sp>
          <p:nvSpPr>
            <p:cNvPr id="227" name="Textfield placeholder"/>
            <p:cNvSpPr txBox="1">
              <a:spLocks/>
            </p:cNvSpPr>
            <p:nvPr userDrawn="1"/>
          </p:nvSpPr>
          <p:spPr>
            <a:xfrm>
              <a:off x="-2587337" y="2675411"/>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0" lvl="2"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a:solidFill>
                    <a:srgbClr val="404040"/>
                  </a:solidFill>
                </a:rPr>
                <a:t>Sub-bullets (12 pt.)</a:t>
              </a:r>
            </a:p>
          </p:txBody>
        </p:sp>
        <p:sp>
          <p:nvSpPr>
            <p:cNvPr id="228" name="Ovaal 227"/>
            <p:cNvSpPr/>
            <p:nvPr userDrawn="1"/>
          </p:nvSpPr>
          <p:spPr>
            <a:xfrm>
              <a:off x="-2959433" y="196874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1</a:t>
              </a:r>
            </a:p>
          </p:txBody>
        </p:sp>
        <p:sp>
          <p:nvSpPr>
            <p:cNvPr id="229" name="Ovaal 228"/>
            <p:cNvSpPr/>
            <p:nvPr userDrawn="1"/>
          </p:nvSpPr>
          <p:spPr>
            <a:xfrm>
              <a:off x="-2959433" y="232207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2</a:t>
              </a:r>
            </a:p>
          </p:txBody>
        </p:sp>
        <p:sp>
          <p:nvSpPr>
            <p:cNvPr id="230" name="Ovaal 229"/>
            <p:cNvSpPr/>
            <p:nvPr userDrawn="1"/>
          </p:nvSpPr>
          <p:spPr>
            <a:xfrm>
              <a:off x="-2959433" y="267541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3</a:t>
              </a:r>
            </a:p>
          </p:txBody>
        </p:sp>
        <p:sp>
          <p:nvSpPr>
            <p:cNvPr id="231" name="Ovaal 230"/>
            <p:cNvSpPr/>
            <p:nvPr userDrawn="1"/>
          </p:nvSpPr>
          <p:spPr>
            <a:xfrm>
              <a:off x="-2959433" y="302874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4</a:t>
              </a:r>
            </a:p>
          </p:txBody>
        </p:sp>
        <p:sp>
          <p:nvSpPr>
            <p:cNvPr id="232" name="Textfield placeholder"/>
            <p:cNvSpPr txBox="1">
              <a:spLocks/>
            </p:cNvSpPr>
            <p:nvPr userDrawn="1"/>
          </p:nvSpPr>
          <p:spPr>
            <a:xfrm>
              <a:off x="-2571950" y="1966925"/>
              <a:ext cx="2163709" cy="261500"/>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79388">
                <a:lnSpc>
                  <a:spcPct val="120000"/>
                </a:lnSpc>
                <a:spcBef>
                  <a:spcPts val="0"/>
                </a:spcBef>
                <a:spcAft>
                  <a:spcPts val="900"/>
                </a:spcAft>
                <a:buClr>
                  <a:srgbClr val="000000"/>
                </a:buClr>
                <a:buSzPct val="100000"/>
                <a:buFont typeface="Arial" pitchFamily="34" charset="0"/>
                <a:buNone/>
                <a:defRPr/>
              </a:pPr>
              <a:r>
                <a:rPr lang="nl-NL" sz="1200" dirty="0">
                  <a:solidFill>
                    <a:srgbClr val="535353"/>
                  </a:solidFill>
                </a:rPr>
                <a:t>Leestekst (12 pt.)</a:t>
              </a:r>
            </a:p>
          </p:txBody>
        </p:sp>
        <p:sp>
          <p:nvSpPr>
            <p:cNvPr id="233" name="Textfield placeholder"/>
            <p:cNvSpPr txBox="1">
              <a:spLocks/>
            </p:cNvSpPr>
            <p:nvPr userDrawn="1"/>
          </p:nvSpPr>
          <p:spPr>
            <a:xfrm>
              <a:off x="-2571950" y="2322077"/>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70000" lvl="1"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err="1">
                  <a:solidFill>
                    <a:srgbClr val="535353"/>
                  </a:solidFill>
                </a:rPr>
                <a:t>Bullets</a:t>
              </a:r>
              <a:r>
                <a:rPr lang="nl-NL" sz="1200" dirty="0">
                  <a:solidFill>
                    <a:srgbClr val="535353"/>
                  </a:solidFill>
                </a:rPr>
                <a:t> (12 </a:t>
              </a:r>
              <a:r>
                <a:rPr lang="nl-NL" sz="1200" dirty="0" err="1">
                  <a:solidFill>
                    <a:srgbClr val="535353"/>
                  </a:solidFill>
                </a:rPr>
                <a:t>pt</a:t>
              </a:r>
              <a:r>
                <a:rPr lang="nl-NL" sz="1200" dirty="0">
                  <a:solidFill>
                    <a:srgbClr val="535353"/>
                  </a:solidFill>
                </a:rPr>
                <a:t>.)</a:t>
              </a:r>
            </a:p>
          </p:txBody>
        </p:sp>
        <p:sp>
          <p:nvSpPr>
            <p:cNvPr id="234" name="Textfield placeholder"/>
            <p:cNvSpPr txBox="1">
              <a:spLocks/>
            </p:cNvSpPr>
            <p:nvPr userDrawn="1"/>
          </p:nvSpPr>
          <p:spPr>
            <a:xfrm>
              <a:off x="-2571951" y="3028747"/>
              <a:ext cx="2435141"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10000" lvl="3" indent="-270000" algn="l" defTabSz="179388" rtl="0" eaLnBrk="1" latinLnBrk="0" hangingPunct="1">
                <a:lnSpc>
                  <a:spcPct val="120000"/>
                </a:lnSpc>
                <a:spcBef>
                  <a:spcPts val="0"/>
                </a:spcBef>
                <a:spcAft>
                  <a:spcPts val="900"/>
                </a:spcAft>
                <a:buClr>
                  <a:schemeClr val="accent2"/>
                </a:buClr>
                <a:buSzPct val="80000"/>
                <a:buFont typeface="Wingdings 3" panose="05040102010807070707" pitchFamily="18" charset="2"/>
                <a:buChar char=""/>
                <a:defRPr/>
              </a:pPr>
              <a:r>
                <a:rPr lang="nl-NL" sz="1200" b="0" kern="1200" dirty="0">
                  <a:solidFill>
                    <a:srgbClr val="404040"/>
                  </a:solidFill>
                  <a:latin typeface="+mn-lt"/>
                  <a:ea typeface="+mn-ea"/>
                  <a:cs typeface="+mn-cs"/>
                </a:rPr>
                <a:t>Sub-sub-bullets (12 pt.)</a:t>
              </a:r>
            </a:p>
          </p:txBody>
        </p:sp>
        <p:cxnSp>
          <p:nvCxnSpPr>
            <p:cNvPr id="235" name="Rechte verbindingslijn 234"/>
            <p:cNvCxnSpPr/>
            <p:nvPr userDrawn="1"/>
          </p:nvCxnSpPr>
          <p:spPr>
            <a:xfrm>
              <a:off x="-2959100" y="274900"/>
              <a:ext cx="2674470" cy="0"/>
            </a:xfrm>
            <a:prstGeom prst="line">
              <a:avLst/>
            </a:prstGeom>
            <a:noFill/>
            <a:ln w="9525" cap="flat" cmpd="sng" algn="ctr">
              <a:solidFill>
                <a:schemeClr val="accent1"/>
              </a:solidFill>
              <a:prstDash val="solid"/>
            </a:ln>
            <a:effectLst/>
          </p:spPr>
        </p:cxnSp>
        <p:cxnSp>
          <p:nvCxnSpPr>
            <p:cNvPr id="236" name="Rechte verbindingslijn 235"/>
            <p:cNvCxnSpPr/>
            <p:nvPr userDrawn="1"/>
          </p:nvCxnSpPr>
          <p:spPr>
            <a:xfrm>
              <a:off x="-2959100" y="1841989"/>
              <a:ext cx="2661379" cy="0"/>
            </a:xfrm>
            <a:prstGeom prst="line">
              <a:avLst/>
            </a:prstGeom>
            <a:noFill/>
            <a:ln w="9525" cap="flat" cmpd="sng" algn="ctr">
              <a:solidFill>
                <a:schemeClr val="accent1"/>
              </a:solidFill>
              <a:prstDash val="solid"/>
            </a:ln>
            <a:effectLst/>
          </p:spPr>
        </p:cxnSp>
        <p:cxnSp>
          <p:nvCxnSpPr>
            <p:cNvPr id="237" name="Rechte verbindingslijn 236"/>
            <p:cNvCxnSpPr/>
            <p:nvPr userDrawn="1"/>
          </p:nvCxnSpPr>
          <p:spPr>
            <a:xfrm>
              <a:off x="-2959100" y="5249278"/>
              <a:ext cx="2661379" cy="0"/>
            </a:xfrm>
            <a:prstGeom prst="line">
              <a:avLst/>
            </a:prstGeom>
            <a:noFill/>
            <a:ln w="9525" cap="flat" cmpd="sng" algn="ctr">
              <a:solidFill>
                <a:schemeClr val="accent1"/>
              </a:solidFill>
              <a:prstDash val="solid"/>
            </a:ln>
            <a:effectLst/>
          </p:spPr>
        </p:cxnSp>
        <p:grpSp>
          <p:nvGrpSpPr>
            <p:cNvPr id="238" name="Groep 237"/>
            <p:cNvGrpSpPr/>
            <p:nvPr userDrawn="1"/>
          </p:nvGrpSpPr>
          <p:grpSpPr>
            <a:xfrm>
              <a:off x="-1948476" y="816741"/>
              <a:ext cx="409108" cy="427699"/>
              <a:chOff x="-1085063" y="758027"/>
              <a:chExt cx="633799" cy="622540"/>
            </a:xfrm>
          </p:grpSpPr>
          <p:sp>
            <p:nvSpPr>
              <p:cNvPr id="294" name="Afgeronde rechthoek 293"/>
              <p:cNvSpPr/>
              <p:nvPr userDrawn="1"/>
            </p:nvSpPr>
            <p:spPr>
              <a:xfrm>
                <a:off x="-108506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295" name="Groep 294"/>
              <p:cNvGrpSpPr/>
              <p:nvPr userDrawn="1"/>
            </p:nvGrpSpPr>
            <p:grpSpPr>
              <a:xfrm>
                <a:off x="-977739" y="864082"/>
                <a:ext cx="419168" cy="410429"/>
                <a:chOff x="6366933" y="309013"/>
                <a:chExt cx="1901295" cy="1861668"/>
              </a:xfrm>
              <a:solidFill>
                <a:srgbClr val="000000"/>
              </a:solidFill>
            </p:grpSpPr>
            <p:sp>
              <p:nvSpPr>
                <p:cNvPr id="296" name="Rechthoek 295"/>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7" name="Rechthoek 296"/>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8" name="Rechthoek 297"/>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9" name="Rechthoek 298"/>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0" name="Rechthoek 299"/>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1" name="Rechthoek 300"/>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2" name="Rechthoek 301"/>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3" name="Rechthoek 302"/>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4" name="Rechthoek 303"/>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5" name="Rechthoek 304"/>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6" name="Vrije vorm 305"/>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nvGrpSpPr>
            <p:cNvPr id="239" name="Groep 238"/>
            <p:cNvGrpSpPr/>
            <p:nvPr userDrawn="1"/>
          </p:nvGrpSpPr>
          <p:grpSpPr>
            <a:xfrm>
              <a:off x="-2950232" y="1207835"/>
              <a:ext cx="532929" cy="509563"/>
              <a:chOff x="-2880382" y="802341"/>
              <a:chExt cx="532929" cy="509563"/>
            </a:xfrm>
          </p:grpSpPr>
          <p:sp>
            <p:nvSpPr>
              <p:cNvPr id="272" name="Rechthoek 271"/>
              <p:cNvSpPr/>
              <p:nvPr userDrawn="1"/>
            </p:nvSpPr>
            <p:spPr>
              <a:xfrm>
                <a:off x="-2880382" y="802341"/>
                <a:ext cx="532929" cy="509563"/>
              </a:xfrm>
              <a:prstGeom prst="rect">
                <a:avLst/>
              </a:prstGeom>
              <a:solidFill>
                <a:sysClr val="window" lastClr="FFFFFF"/>
              </a:soli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pic>
            <p:nvPicPr>
              <p:cNvPr id="273"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635852" y="822181"/>
                <a:ext cx="226442" cy="208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4"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848026" y="822181"/>
                <a:ext cx="207168" cy="213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75" name="Groep 274"/>
              <p:cNvGrpSpPr/>
              <p:nvPr userDrawn="1"/>
            </p:nvGrpSpPr>
            <p:grpSpPr>
              <a:xfrm>
                <a:off x="-2802433" y="1123442"/>
                <a:ext cx="132915" cy="104889"/>
                <a:chOff x="-2796392" y="1123442"/>
                <a:chExt cx="120832" cy="104889"/>
              </a:xfrm>
            </p:grpSpPr>
            <p:sp>
              <p:nvSpPr>
                <p:cNvPr id="289" name="Rechthoek 288"/>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0" name="Rechthoek 289"/>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1" name="Rechthoek 290"/>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2" name="Rechthoek 291"/>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3" name="Rechthoek 292"/>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276" name="Groep 275"/>
              <p:cNvGrpSpPr/>
              <p:nvPr userDrawn="1"/>
            </p:nvGrpSpPr>
            <p:grpSpPr>
              <a:xfrm>
                <a:off x="-2575417" y="1123442"/>
                <a:ext cx="133930" cy="104889"/>
                <a:chOff x="-2556734" y="1123442"/>
                <a:chExt cx="147324" cy="104889"/>
              </a:xfrm>
            </p:grpSpPr>
            <p:grpSp>
              <p:nvGrpSpPr>
                <p:cNvPr id="277" name="Groep 276"/>
                <p:cNvGrpSpPr/>
                <p:nvPr userDrawn="1"/>
              </p:nvGrpSpPr>
              <p:grpSpPr>
                <a:xfrm>
                  <a:off x="-2556734" y="1123442"/>
                  <a:ext cx="68206" cy="104889"/>
                  <a:chOff x="-2796392" y="1123442"/>
                  <a:chExt cx="120832" cy="104889"/>
                </a:xfrm>
              </p:grpSpPr>
              <p:sp>
                <p:nvSpPr>
                  <p:cNvPr id="284" name="Rechthoek 283"/>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5" name="Rechthoek 284"/>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6" name="Rechthoek 285"/>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7" name="Rechthoek 286"/>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8" name="Rechthoek 287"/>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278" name="Groep 277"/>
                <p:cNvGrpSpPr/>
                <p:nvPr userDrawn="1"/>
              </p:nvGrpSpPr>
              <p:grpSpPr>
                <a:xfrm>
                  <a:off x="-2477616" y="1123442"/>
                  <a:ext cx="68206" cy="104889"/>
                  <a:chOff x="-2796392" y="1123442"/>
                  <a:chExt cx="120832" cy="104889"/>
                </a:xfrm>
              </p:grpSpPr>
              <p:sp>
                <p:nvSpPr>
                  <p:cNvPr id="279" name="Rechthoek 278"/>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0" name="Rechthoek 279"/>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1" name="Rechthoek 280"/>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2" name="Rechthoek 281"/>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3" name="Rechthoek 282"/>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grpSp>
          <p:nvGrpSpPr>
            <p:cNvPr id="240" name="Groep 239"/>
            <p:cNvGrpSpPr/>
            <p:nvPr userDrawn="1"/>
          </p:nvGrpSpPr>
          <p:grpSpPr>
            <a:xfrm>
              <a:off x="-1948476" y="1281164"/>
              <a:ext cx="413704" cy="427699"/>
              <a:chOff x="-1845083" y="758027"/>
              <a:chExt cx="633799" cy="622540"/>
            </a:xfrm>
          </p:grpSpPr>
          <p:sp>
            <p:nvSpPr>
              <p:cNvPr id="259" name="Afgeronde rechthoek 258"/>
              <p:cNvSpPr/>
              <p:nvPr userDrawn="1"/>
            </p:nvSpPr>
            <p:spPr>
              <a:xfrm>
                <a:off x="-184508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260" name="Groep 259"/>
              <p:cNvGrpSpPr/>
              <p:nvPr userDrawn="1"/>
            </p:nvGrpSpPr>
            <p:grpSpPr>
              <a:xfrm>
                <a:off x="-1737762" y="864082"/>
                <a:ext cx="419168" cy="410429"/>
                <a:chOff x="3708400" y="309013"/>
                <a:chExt cx="1901295" cy="1861668"/>
              </a:xfrm>
              <a:solidFill>
                <a:srgbClr val="000000"/>
              </a:solidFill>
            </p:grpSpPr>
            <p:sp>
              <p:nvSpPr>
                <p:cNvPr id="261" name="Rechthoek 260"/>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2" name="Rechthoek 261"/>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3" name="Rechthoek 262"/>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4" name="Rechthoek 263"/>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5" name="Rechthoek 264"/>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6" name="Rechthoek 265"/>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7" name="Rechthoek 266"/>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8" name="Rechthoek 267"/>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9" name="Rechthoek 268"/>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0" name="Rechthoek 269"/>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1" name="Vrije vorm 270"/>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cxnSp>
          <p:nvCxnSpPr>
            <p:cNvPr id="241" name="Rechte verbindingslijn 240"/>
            <p:cNvCxnSpPr/>
            <p:nvPr userDrawn="1"/>
          </p:nvCxnSpPr>
          <p:spPr>
            <a:xfrm>
              <a:off x="-2814292" y="1441193"/>
              <a:ext cx="865816" cy="53821"/>
            </a:xfrm>
            <a:prstGeom prst="line">
              <a:avLst/>
            </a:prstGeom>
            <a:noFill/>
            <a:ln w="9525" cap="flat" cmpd="sng" algn="ctr">
              <a:solidFill>
                <a:schemeClr val="accent1"/>
              </a:solidFill>
              <a:prstDash val="solid"/>
              <a:headEnd type="oval"/>
            </a:ln>
            <a:effectLst/>
          </p:spPr>
        </p:cxnSp>
        <p:cxnSp>
          <p:nvCxnSpPr>
            <p:cNvPr id="242" name="Rechte verbindingslijn 241"/>
            <p:cNvCxnSpPr/>
            <p:nvPr userDrawn="1"/>
          </p:nvCxnSpPr>
          <p:spPr>
            <a:xfrm flipV="1">
              <a:off x="-2453902" y="1030591"/>
              <a:ext cx="505426" cy="283623"/>
            </a:xfrm>
            <a:prstGeom prst="line">
              <a:avLst/>
            </a:prstGeom>
            <a:noFill/>
            <a:ln w="9525" cap="flat" cmpd="sng" algn="ctr">
              <a:solidFill>
                <a:schemeClr val="accent1"/>
              </a:solidFill>
              <a:prstDash val="solid"/>
              <a:headEnd type="oval"/>
            </a:ln>
            <a:effectLst/>
          </p:spPr>
        </p:cxnSp>
        <p:sp>
          <p:nvSpPr>
            <p:cNvPr id="243" name="Textfield placeholder"/>
            <p:cNvSpPr txBox="1">
              <a:spLocks/>
            </p:cNvSpPr>
            <p:nvPr userDrawn="1"/>
          </p:nvSpPr>
          <p:spPr>
            <a:xfrm>
              <a:off x="-1341598" y="816743"/>
              <a:ext cx="1056968" cy="427698"/>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hoog</a:t>
              </a:r>
            </a:p>
          </p:txBody>
        </p:sp>
        <p:sp>
          <p:nvSpPr>
            <p:cNvPr id="244" name="Textfield placeholder"/>
            <p:cNvSpPr txBox="1">
              <a:spLocks/>
            </p:cNvSpPr>
            <p:nvPr userDrawn="1"/>
          </p:nvSpPr>
          <p:spPr>
            <a:xfrm>
              <a:off x="-1341599" y="1281164"/>
              <a:ext cx="1070223" cy="427699"/>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laag</a:t>
              </a:r>
            </a:p>
          </p:txBody>
        </p:sp>
        <p:sp>
          <p:nvSpPr>
            <p:cNvPr id="245" name="Ovaal 244"/>
            <p:cNvSpPr/>
            <p:nvPr userDrawn="1"/>
          </p:nvSpPr>
          <p:spPr>
            <a:xfrm>
              <a:off x="-2959433" y="338208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5</a:t>
              </a:r>
            </a:p>
          </p:txBody>
        </p:sp>
        <p:sp>
          <p:nvSpPr>
            <p:cNvPr id="246" name="Textfield placeholder"/>
            <p:cNvSpPr txBox="1">
              <a:spLocks/>
            </p:cNvSpPr>
            <p:nvPr userDrawn="1"/>
          </p:nvSpPr>
          <p:spPr>
            <a:xfrm>
              <a:off x="-2571950" y="3382082"/>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60000" lvl="4" indent="-360000" defTabSz="179388">
                <a:lnSpc>
                  <a:spcPct val="120000"/>
                </a:lnSpc>
                <a:spcBef>
                  <a:spcPts val="0"/>
                </a:spcBef>
                <a:spcAft>
                  <a:spcPts val="900"/>
                </a:spcAft>
                <a:buClr>
                  <a:srgbClr val="ED1A3B"/>
                </a:buClr>
                <a:buFont typeface="+mj-lt"/>
                <a:buAutoNum type="arabicPeriod"/>
                <a:defRPr/>
              </a:pPr>
              <a:r>
                <a:rPr lang="nl-NL" sz="1200" b="0" dirty="0">
                  <a:solidFill>
                    <a:srgbClr val="404040"/>
                  </a:solidFill>
                </a:rPr>
                <a:t>Numeriek (12 pt.)</a:t>
              </a:r>
            </a:p>
          </p:txBody>
        </p:sp>
        <p:grpSp>
          <p:nvGrpSpPr>
            <p:cNvPr id="247" name="Groep 246"/>
            <p:cNvGrpSpPr/>
            <p:nvPr userDrawn="1"/>
          </p:nvGrpSpPr>
          <p:grpSpPr>
            <a:xfrm>
              <a:off x="-2950232" y="816050"/>
              <a:ext cx="528695" cy="344202"/>
              <a:chOff x="-2880382" y="410556"/>
              <a:chExt cx="528695" cy="344202"/>
            </a:xfrm>
          </p:grpSpPr>
          <p:sp>
            <p:nvSpPr>
              <p:cNvPr id="257" name="Afgeronde rechthoek 256"/>
              <p:cNvSpPr/>
              <p:nvPr userDrawn="1"/>
            </p:nvSpPr>
            <p:spPr>
              <a:xfrm>
                <a:off x="-2874214" y="410556"/>
                <a:ext cx="522527" cy="339183"/>
              </a:xfrm>
              <a:prstGeom prst="roundRect">
                <a:avLst>
                  <a:gd name="adj" fmla="val 7565"/>
                </a:avLst>
              </a:prstGeom>
              <a:gradFill>
                <a:gsLst>
                  <a:gs pos="0">
                    <a:srgbClr val="FFEC8F"/>
                  </a:gs>
                  <a:gs pos="100000">
                    <a:srgbClr val="FFFFFF"/>
                  </a:gs>
                </a:gsLst>
                <a:lin ang="5400000" scaled="0"/>
              </a:gra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sp>
            <p:nvSpPr>
              <p:cNvPr id="258" name="Vrije vorm 257"/>
              <p:cNvSpPr/>
              <p:nvPr userDrawn="1"/>
            </p:nvSpPr>
            <p:spPr>
              <a:xfrm>
                <a:off x="-2880382" y="452699"/>
                <a:ext cx="528695" cy="302059"/>
              </a:xfrm>
              <a:custGeom>
                <a:avLst/>
                <a:gdLst>
                  <a:gd name="connsiteX0" fmla="*/ 55524 w 528695"/>
                  <a:gd name="connsiteY0" fmla="*/ 0 h 302059"/>
                  <a:gd name="connsiteX1" fmla="*/ 455496 w 528695"/>
                  <a:gd name="connsiteY1" fmla="*/ 0 h 302059"/>
                  <a:gd name="connsiteX2" fmla="*/ 475205 w 528695"/>
                  <a:gd name="connsiteY2" fmla="*/ 19709 h 302059"/>
                  <a:gd name="connsiteX3" fmla="*/ 475205 w 528695"/>
                  <a:gd name="connsiteY3" fmla="*/ 230056 h 302059"/>
                  <a:gd name="connsiteX4" fmla="*/ 516694 w 528695"/>
                  <a:gd name="connsiteY4" fmla="*/ 230056 h 302059"/>
                  <a:gd name="connsiteX5" fmla="*/ 528695 w 528695"/>
                  <a:gd name="connsiteY5" fmla="*/ 242057 h 302059"/>
                  <a:gd name="connsiteX6" fmla="*/ 528695 w 528695"/>
                  <a:gd name="connsiteY6" fmla="*/ 290058 h 302059"/>
                  <a:gd name="connsiteX7" fmla="*/ 516694 w 528695"/>
                  <a:gd name="connsiteY7" fmla="*/ 302059 h 302059"/>
                  <a:gd name="connsiteX8" fmla="*/ 12001 w 528695"/>
                  <a:gd name="connsiteY8" fmla="*/ 302059 h 302059"/>
                  <a:gd name="connsiteX9" fmla="*/ 0 w 528695"/>
                  <a:gd name="connsiteY9" fmla="*/ 290058 h 302059"/>
                  <a:gd name="connsiteX10" fmla="*/ 0 w 528695"/>
                  <a:gd name="connsiteY10" fmla="*/ 242057 h 302059"/>
                  <a:gd name="connsiteX11" fmla="*/ 12001 w 528695"/>
                  <a:gd name="connsiteY11" fmla="*/ 230056 h 302059"/>
                  <a:gd name="connsiteX12" fmla="*/ 35815 w 528695"/>
                  <a:gd name="connsiteY12" fmla="*/ 230056 h 302059"/>
                  <a:gd name="connsiteX13" fmla="*/ 35815 w 528695"/>
                  <a:gd name="connsiteY13" fmla="*/ 19709 h 302059"/>
                  <a:gd name="connsiteX14" fmla="*/ 55524 w 528695"/>
                  <a:gd name="connsiteY14" fmla="*/ 0 h 3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8695" h="302059">
                    <a:moveTo>
                      <a:pt x="55524" y="0"/>
                    </a:moveTo>
                    <a:lnTo>
                      <a:pt x="455496" y="0"/>
                    </a:lnTo>
                    <a:cubicBezTo>
                      <a:pt x="466381" y="0"/>
                      <a:pt x="475205" y="8824"/>
                      <a:pt x="475205" y="19709"/>
                    </a:cubicBezTo>
                    <a:lnTo>
                      <a:pt x="475205" y="230056"/>
                    </a:lnTo>
                    <a:lnTo>
                      <a:pt x="516694" y="230056"/>
                    </a:lnTo>
                    <a:cubicBezTo>
                      <a:pt x="523322" y="230056"/>
                      <a:pt x="528695" y="235429"/>
                      <a:pt x="528695" y="242057"/>
                    </a:cubicBezTo>
                    <a:lnTo>
                      <a:pt x="528695" y="290058"/>
                    </a:lnTo>
                    <a:cubicBezTo>
                      <a:pt x="528695" y="296686"/>
                      <a:pt x="523322" y="302059"/>
                      <a:pt x="516694" y="302059"/>
                    </a:cubicBezTo>
                    <a:lnTo>
                      <a:pt x="12001" y="302059"/>
                    </a:lnTo>
                    <a:cubicBezTo>
                      <a:pt x="5373" y="302059"/>
                      <a:pt x="0" y="296686"/>
                      <a:pt x="0" y="290058"/>
                    </a:cubicBezTo>
                    <a:lnTo>
                      <a:pt x="0" y="242057"/>
                    </a:lnTo>
                    <a:cubicBezTo>
                      <a:pt x="0" y="235429"/>
                      <a:pt x="5373" y="230056"/>
                      <a:pt x="12001" y="230056"/>
                    </a:cubicBezTo>
                    <a:lnTo>
                      <a:pt x="35815" y="230056"/>
                    </a:lnTo>
                    <a:lnTo>
                      <a:pt x="35815" y="19709"/>
                    </a:lnTo>
                    <a:cubicBezTo>
                      <a:pt x="35815" y="8824"/>
                      <a:pt x="44639" y="0"/>
                      <a:pt x="55524" y="0"/>
                    </a:cubicBezTo>
                    <a:close/>
                  </a:path>
                </a:pathLst>
              </a:custGeom>
              <a:solidFill>
                <a:sysClr val="window" lastClr="FFFFFF">
                  <a:lumMod val="95000"/>
                </a:sysClr>
              </a:solidFill>
              <a:ln w="9525" cap="flat" cmpd="sng" algn="ctr">
                <a:solidFill>
                  <a:srgbClr val="FFFFFF">
                    <a:lumMod val="90000"/>
                  </a:srgbClr>
                </a:solidFill>
                <a:prstDash val="solid"/>
                <a:miter lim="800000"/>
              </a:ln>
              <a:effectLst/>
            </p:spPr>
            <p:txBody>
              <a:bodyPr rot="0" spcFirstLastPara="0" vert="horz" wrap="square" lIns="108000" tIns="36000" rIns="108000" bIns="10800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900" dirty="0">
                    <a:solidFill>
                      <a:prstClr val="black"/>
                    </a:solidFill>
                    <a:latin typeface="Segoe UI Light"/>
                  </a:rPr>
                  <a:t>Start</a:t>
                </a:r>
              </a:p>
            </p:txBody>
          </p:sp>
        </p:grpSp>
        <p:sp>
          <p:nvSpPr>
            <p:cNvPr id="248" name="Tekstvak 65"/>
            <p:cNvSpPr txBox="1"/>
            <p:nvPr userDrawn="1"/>
          </p:nvSpPr>
          <p:spPr>
            <a:xfrm>
              <a:off x="-2959433" y="372104"/>
              <a:ext cx="2679887" cy="453396"/>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nl-NL" sz="1200" kern="0" dirty="0">
                  <a:solidFill>
                    <a:srgbClr val="000000"/>
                  </a:solidFill>
                  <a:latin typeface="Segoe UI Light" panose="020B0502040204020203" pitchFamily="34" charset="0"/>
                  <a:cs typeface="Segoe UI Light" panose="020B0502040204020203" pitchFamily="34" charset="0"/>
                </a:rPr>
                <a:t>Ga naar de tab </a:t>
              </a:r>
              <a:r>
                <a:rPr lang="nl-NL" sz="1200" b="1" kern="0" dirty="0">
                  <a:solidFill>
                    <a:srgbClr val="000000"/>
                  </a:solidFill>
                  <a:latin typeface="Segoe UI Light" panose="020B0502040204020203" pitchFamily="34" charset="0"/>
                  <a:cs typeface="Segoe UI Light" panose="020B0502040204020203" pitchFamily="34" charset="0"/>
                </a:rPr>
                <a:t>Start’ </a:t>
              </a:r>
              <a:r>
                <a:rPr lang="nl-NL" sz="1200" kern="0" dirty="0">
                  <a:solidFill>
                    <a:srgbClr val="000000"/>
                  </a:solidFill>
                  <a:latin typeface="Segoe UI Light" panose="020B0502040204020203" pitchFamily="34" charset="0"/>
                  <a:cs typeface="Segoe UI Light" panose="020B0502040204020203" pitchFamily="34" charset="0"/>
                </a:rPr>
                <a:t>en vind onderstaande knoppen onder </a:t>
              </a:r>
              <a:r>
                <a:rPr lang="nl-NL" sz="1200" b="1" kern="0" dirty="0">
                  <a:solidFill>
                    <a:srgbClr val="000000"/>
                  </a:solidFill>
                  <a:latin typeface="Segoe UI Light" panose="020B0502040204020203" pitchFamily="34" charset="0"/>
                  <a:cs typeface="Segoe UI Light" panose="020B0502040204020203" pitchFamily="34" charset="0"/>
                </a:rPr>
                <a:t>‘Alinea’</a:t>
              </a:r>
            </a:p>
          </p:txBody>
        </p:sp>
        <p:sp>
          <p:nvSpPr>
            <p:cNvPr id="249" name="Ovaal 248"/>
            <p:cNvSpPr/>
            <p:nvPr userDrawn="1"/>
          </p:nvSpPr>
          <p:spPr>
            <a:xfrm>
              <a:off x="-2959433" y="375153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6</a:t>
              </a:r>
            </a:p>
          </p:txBody>
        </p:sp>
        <p:sp>
          <p:nvSpPr>
            <p:cNvPr id="250" name="Textfield placeholder"/>
            <p:cNvSpPr txBox="1">
              <a:spLocks/>
            </p:cNvSpPr>
            <p:nvPr userDrawn="1"/>
          </p:nvSpPr>
          <p:spPr>
            <a:xfrm>
              <a:off x="-2571950" y="3751536"/>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0000" lvl="5" indent="-270000" defTabSz="179388">
                <a:lnSpc>
                  <a:spcPct val="120000"/>
                </a:lnSpc>
                <a:spcAft>
                  <a:spcPts val="900"/>
                </a:spcAft>
                <a:buClr>
                  <a:srgbClr val="ED1A3B"/>
                </a:buClr>
                <a:buSzPct val="80000"/>
                <a:buFont typeface="Wingdings 3" panose="05040102010807070707" pitchFamily="18" charset="2"/>
                <a:buChar char=""/>
                <a:defRPr/>
              </a:pPr>
              <a:r>
                <a:rPr lang="nl-NL" sz="1200" cap="none" dirty="0">
                  <a:solidFill>
                    <a:srgbClr val="535353"/>
                  </a:solidFill>
                </a:rPr>
                <a:t># Bullets (12 pt.)</a:t>
              </a:r>
            </a:p>
          </p:txBody>
        </p:sp>
        <p:sp>
          <p:nvSpPr>
            <p:cNvPr id="251" name="Ovaal 250"/>
            <p:cNvSpPr/>
            <p:nvPr userDrawn="1"/>
          </p:nvSpPr>
          <p:spPr>
            <a:xfrm>
              <a:off x="-2959433" y="414870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7</a:t>
              </a:r>
            </a:p>
          </p:txBody>
        </p:sp>
        <p:sp>
          <p:nvSpPr>
            <p:cNvPr id="252" name="Textfield placeholder"/>
            <p:cNvSpPr txBox="1">
              <a:spLocks/>
            </p:cNvSpPr>
            <p:nvPr userDrawn="1"/>
          </p:nvSpPr>
          <p:spPr>
            <a:xfrm>
              <a:off x="-2571950" y="414870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6" indent="0" defTabSz="179388">
                <a:lnSpc>
                  <a:spcPct val="120000"/>
                </a:lnSpc>
                <a:spcBef>
                  <a:spcPts val="0"/>
                </a:spcBef>
                <a:spcAft>
                  <a:spcPts val="900"/>
                </a:spcAft>
                <a:buClr>
                  <a:srgbClr val="ED1A3B"/>
                </a:buClr>
                <a:buSzPct val="90000"/>
                <a:buFont typeface="+mj-lt"/>
                <a:buNone/>
                <a:defRPr/>
              </a:pPr>
              <a:r>
                <a:rPr lang="nl-NL" sz="1200" i="1" dirty="0">
                  <a:solidFill>
                    <a:srgbClr val="404040"/>
                  </a:solidFill>
                </a:rPr>
                <a:t>Cursief donker (12 pt.)</a:t>
              </a:r>
            </a:p>
          </p:txBody>
        </p:sp>
        <p:sp>
          <p:nvSpPr>
            <p:cNvPr id="253" name="Ovaal 252"/>
            <p:cNvSpPr/>
            <p:nvPr userDrawn="1"/>
          </p:nvSpPr>
          <p:spPr>
            <a:xfrm>
              <a:off x="-2959433" y="454586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8</a:t>
              </a:r>
            </a:p>
          </p:txBody>
        </p:sp>
        <p:sp>
          <p:nvSpPr>
            <p:cNvPr id="254" name="Textfield placeholder"/>
            <p:cNvSpPr txBox="1">
              <a:spLocks/>
            </p:cNvSpPr>
            <p:nvPr userDrawn="1"/>
          </p:nvSpPr>
          <p:spPr>
            <a:xfrm>
              <a:off x="-2571950" y="4545864"/>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7" indent="0" defTabSz="179388">
                <a:lnSpc>
                  <a:spcPct val="80000"/>
                </a:lnSpc>
                <a:spcBef>
                  <a:spcPts val="0"/>
                </a:spcBef>
                <a:spcAft>
                  <a:spcPts val="900"/>
                </a:spcAft>
                <a:buClr>
                  <a:srgbClr val="ED1A3B"/>
                </a:buClr>
                <a:buFont typeface="Arial" pitchFamily="34" charset="0"/>
                <a:buNone/>
                <a:defRPr/>
              </a:pPr>
              <a:r>
                <a:rPr lang="nl-NL" sz="1200" i="1" dirty="0">
                  <a:solidFill>
                    <a:srgbClr val="A3B0C0"/>
                  </a:solidFill>
                </a:rPr>
                <a:t>Cursief Licht (12 pt.)</a:t>
              </a:r>
            </a:p>
          </p:txBody>
        </p:sp>
        <p:sp>
          <p:nvSpPr>
            <p:cNvPr id="255" name="Ovaal 254"/>
            <p:cNvSpPr/>
            <p:nvPr userDrawn="1"/>
          </p:nvSpPr>
          <p:spPr>
            <a:xfrm>
              <a:off x="-2959433" y="488761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9</a:t>
              </a:r>
            </a:p>
          </p:txBody>
        </p:sp>
        <p:sp>
          <p:nvSpPr>
            <p:cNvPr id="256" name="Textfield placeholder"/>
            <p:cNvSpPr txBox="1">
              <a:spLocks/>
            </p:cNvSpPr>
            <p:nvPr userDrawn="1"/>
          </p:nvSpPr>
          <p:spPr>
            <a:xfrm>
              <a:off x="-2571950" y="488761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8" indent="0" defTabSz="179388">
                <a:lnSpc>
                  <a:spcPct val="80000"/>
                </a:lnSpc>
                <a:spcBef>
                  <a:spcPts val="0"/>
                </a:spcBef>
                <a:spcAft>
                  <a:spcPts val="900"/>
                </a:spcAft>
                <a:buClr>
                  <a:srgbClr val="ED1A3B"/>
                </a:buClr>
                <a:buFont typeface="Arial" pitchFamily="34" charset="0"/>
                <a:buNone/>
                <a:defRPr/>
              </a:pPr>
              <a:r>
                <a:rPr lang="nl-NL" sz="1400" b="1" dirty="0">
                  <a:solidFill>
                    <a:srgbClr val="ED1A3B"/>
                  </a:solidFill>
                </a:rPr>
                <a:t>Subtitel (14 pt.)</a:t>
              </a:r>
            </a:p>
          </p:txBody>
        </p:sp>
      </p:grpSp>
      <p:sp>
        <p:nvSpPr>
          <p:cNvPr id="125" name="Hyperlink - Inhoudsopgave">
            <a:hlinkClick r:id="rId5" action="ppaction://hlinksldjump"/>
          </p:cNvPr>
          <p:cNvSpPr/>
          <p:nvPr userDrawn="1"/>
        </p:nvSpPr>
        <p:spPr>
          <a:xfrm>
            <a:off x="10197856" y="5889801"/>
            <a:ext cx="2000494" cy="968199"/>
          </a:xfrm>
          <a:prstGeom prst="rect">
            <a:avLst/>
          </a:prstGeom>
          <a:solidFill>
            <a:srgbClr val="ED1A3B">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cxnSp>
        <p:nvCxnSpPr>
          <p:cNvPr id="17" name="Grijze lijn - boven"/>
          <p:cNvCxnSpPr/>
          <p:nvPr/>
        </p:nvCxnSpPr>
        <p:spPr>
          <a:xfrm flipH="1">
            <a:off x="664804" y="1358670"/>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1" name="Scheidingslijn - Pasfoto_02 / Pasfoto_03"/>
          <p:cNvCxnSpPr/>
          <p:nvPr/>
        </p:nvCxnSpPr>
        <p:spPr>
          <a:xfrm>
            <a:off x="7756565" y="1670861"/>
            <a:ext cx="0" cy="3816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2" name="Scheidingslijn - Pasfoto_01 / Pasfoto_02"/>
          <p:cNvCxnSpPr/>
          <p:nvPr/>
        </p:nvCxnSpPr>
        <p:spPr>
          <a:xfrm>
            <a:off x="4126094" y="1670861"/>
            <a:ext cx="0" cy="3816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23" name="Tijdelijke aanduiding voor Dianummer"/>
          <p:cNvSpPr>
            <a:spLocks noGrp="1"/>
          </p:cNvSpPr>
          <p:nvPr>
            <p:ph type="sldNum" sz="quarter" idx="4"/>
          </p:nvPr>
        </p:nvSpPr>
        <p:spPr>
          <a:xfrm>
            <a:off x="5770549" y="6295992"/>
            <a:ext cx="657251" cy="365125"/>
          </a:xfrm>
          <a:prstGeom prst="rect">
            <a:avLst/>
          </a:prstGeom>
        </p:spPr>
        <p:txBody>
          <a:bodyPr vert="horz" lIns="91440" tIns="45720" rIns="91440" bIns="45720" rtlCol="0" anchor="ctr"/>
          <a:lstStyle>
            <a:lvl1pPr algn="ctr">
              <a:defRPr sz="800">
                <a:solidFill>
                  <a:schemeClr val="tx1">
                    <a:tint val="75000"/>
                  </a:schemeClr>
                </a:solidFill>
              </a:defRPr>
            </a:lvl1pPr>
          </a:lstStyle>
          <a:p>
            <a:fld id="{1B3FA67A-C720-417A-A072-0CD211FD8662}" type="slidenum">
              <a:rPr lang="nl-NL" smtClean="0">
                <a:solidFill>
                  <a:srgbClr val="000000">
                    <a:tint val="75000"/>
                  </a:srgbClr>
                </a:solidFill>
              </a:rPr>
              <a:pPr/>
              <a:t>‹nr.›</a:t>
            </a:fld>
            <a:endParaRPr lang="nl-NL" dirty="0">
              <a:solidFill>
                <a:srgbClr val="000000">
                  <a:tint val="75000"/>
                </a:srgbClr>
              </a:solidFill>
            </a:endParaRPr>
          </a:p>
        </p:txBody>
      </p:sp>
      <p:sp>
        <p:nvSpPr>
          <p:cNvPr id="20" name="Tijdelijke aanduiding voor Pasfoto_03"/>
          <p:cNvSpPr>
            <a:spLocks noGrp="1"/>
          </p:cNvSpPr>
          <p:nvPr>
            <p:ph type="pic" idx="21"/>
          </p:nvPr>
        </p:nvSpPr>
        <p:spPr>
          <a:xfrm>
            <a:off x="7925051" y="1692127"/>
            <a:ext cx="1022581" cy="1089008"/>
          </a:xfrm>
          <a:solidFill>
            <a:schemeClr val="accent5">
              <a:lumMod val="20000"/>
              <a:lumOff val="80000"/>
            </a:schemeClr>
          </a:solidFill>
          <a:ln w="19050">
            <a:solidFill>
              <a:schemeClr val="accent6"/>
            </a:solidFill>
            <a:miter lim="800000"/>
          </a:ln>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14" name="Tijdelijke aanduiding voor Pasfoto_02"/>
          <p:cNvSpPr>
            <a:spLocks noGrp="1"/>
          </p:cNvSpPr>
          <p:nvPr>
            <p:ph type="pic" idx="18"/>
          </p:nvPr>
        </p:nvSpPr>
        <p:spPr>
          <a:xfrm>
            <a:off x="4294580" y="1692127"/>
            <a:ext cx="1022581" cy="1089008"/>
          </a:xfrm>
          <a:solidFill>
            <a:schemeClr val="accent5">
              <a:lumMod val="20000"/>
              <a:lumOff val="80000"/>
            </a:schemeClr>
          </a:solidFill>
          <a:ln w="19050">
            <a:solidFill>
              <a:schemeClr val="accent6"/>
            </a:solidFill>
            <a:miter lim="800000"/>
          </a:ln>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11" name="Tijdelijke aanduiding voor Pasfoto_01"/>
          <p:cNvSpPr>
            <a:spLocks noGrp="1"/>
          </p:cNvSpPr>
          <p:nvPr>
            <p:ph type="pic" idx="13"/>
          </p:nvPr>
        </p:nvSpPr>
        <p:spPr>
          <a:xfrm>
            <a:off x="688875" y="1692127"/>
            <a:ext cx="1022581" cy="1089008"/>
          </a:xfrm>
          <a:solidFill>
            <a:schemeClr val="accent5">
              <a:lumMod val="20000"/>
              <a:lumOff val="80000"/>
            </a:schemeClr>
          </a:solidFill>
          <a:ln w="19050">
            <a:solidFill>
              <a:schemeClr val="accent6"/>
            </a:solidFill>
            <a:miter lim="800000"/>
          </a:ln>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122" name="Tijdelijke aanduiding voor Tekst bij Pasfoto_03"/>
          <p:cNvSpPr>
            <a:spLocks noGrp="1"/>
          </p:cNvSpPr>
          <p:nvPr>
            <p:ph type="body" orient="vert" idx="25" hasCustomPrompt="1"/>
          </p:nvPr>
        </p:nvSpPr>
        <p:spPr>
          <a:xfrm>
            <a:off x="9143962" y="1692127"/>
            <a:ext cx="2243073" cy="3693600"/>
          </a:xfrm>
        </p:spPr>
        <p:txBody>
          <a:bodyPr vert="horz" lIns="0" tIns="0" rIns="0" bIns="0" numCol="1"/>
          <a:lstStyle>
            <a:lvl1pPr>
              <a:defRPr sz="1200"/>
            </a:lvl1pPr>
            <a:lvl2pPr marL="180975" indent="-180975">
              <a:defRPr sz="1200"/>
            </a:lvl2pPr>
            <a:lvl3pPr marL="360363" indent="-179388">
              <a:defRPr sz="1200"/>
            </a:lvl3pPr>
            <a:lvl4pPr marL="541338" indent="-180975">
              <a:defRPr sz="1200"/>
            </a:lvl4pPr>
            <a:lvl5pPr marL="265113" indent="-265113">
              <a:defRPr sz="1200"/>
            </a:lvl5pPr>
            <a:lvl6pPr marL="444500" indent="-179388">
              <a:defRPr sz="1200"/>
            </a:lvl6pPr>
            <a:lvl7pPr>
              <a:defRPr sz="1200"/>
            </a:lvl7pPr>
            <a:lvl8pPr>
              <a:defRPr sz="1200"/>
            </a:lvl8pPr>
            <a:lvl9pPr>
              <a:defRPr sz="1400"/>
            </a:lvl9pPr>
          </a:lstStyle>
          <a:p>
            <a:pPr lvl="0"/>
            <a:r>
              <a:rPr lang="nl-NL" dirty="0"/>
              <a:t>Leestekst</a:t>
            </a:r>
          </a:p>
          <a:p>
            <a:pPr lvl="1"/>
            <a:r>
              <a:rPr lang="nl-NL" dirty="0"/>
              <a:t>Bullets</a:t>
            </a:r>
          </a:p>
          <a:p>
            <a:pPr lvl="2"/>
            <a:r>
              <a:rPr lang="nl-NL" dirty="0"/>
              <a:t>Sub-bullets</a:t>
            </a:r>
          </a:p>
          <a:p>
            <a:pPr lvl="3"/>
            <a:r>
              <a:rPr lang="nl-NL" dirty="0"/>
              <a:t>Sub-sub-bullets</a:t>
            </a:r>
          </a:p>
          <a:p>
            <a:pPr lvl="4"/>
            <a:r>
              <a:rPr lang="nl-NL" dirty="0"/>
              <a:t>Numeriek</a:t>
            </a:r>
          </a:p>
          <a:p>
            <a:pPr lvl="5"/>
            <a:r>
              <a:rPr lang="nl-NL" dirty="0"/>
              <a:t># Bullets</a:t>
            </a:r>
          </a:p>
          <a:p>
            <a:pPr lvl="6"/>
            <a:r>
              <a:rPr lang="nl-NL" dirty="0"/>
              <a:t>Cursief donker</a:t>
            </a:r>
          </a:p>
          <a:p>
            <a:pPr lvl="7"/>
            <a:r>
              <a:rPr lang="nl-NL" dirty="0"/>
              <a:t>Cursief licht</a:t>
            </a:r>
          </a:p>
          <a:p>
            <a:pPr lvl="8"/>
            <a:r>
              <a:rPr lang="nl-NL" dirty="0"/>
              <a:t>Subtitel</a:t>
            </a:r>
          </a:p>
        </p:txBody>
      </p:sp>
      <p:sp>
        <p:nvSpPr>
          <p:cNvPr id="121" name="Tijdelijke aanduiding voor Tekst bij Pasfoto_02"/>
          <p:cNvSpPr>
            <a:spLocks noGrp="1"/>
          </p:cNvSpPr>
          <p:nvPr>
            <p:ph type="body" orient="vert" idx="24" hasCustomPrompt="1"/>
          </p:nvPr>
        </p:nvSpPr>
        <p:spPr>
          <a:xfrm>
            <a:off x="5513490" y="1692127"/>
            <a:ext cx="2243073" cy="3693600"/>
          </a:xfrm>
        </p:spPr>
        <p:txBody>
          <a:bodyPr vert="horz" lIns="0" tIns="0" rIns="0" bIns="0" numCol="1"/>
          <a:lstStyle>
            <a:lvl1pPr>
              <a:defRPr sz="1200"/>
            </a:lvl1pPr>
            <a:lvl2pPr marL="180975" indent="-180975">
              <a:defRPr sz="1200"/>
            </a:lvl2pPr>
            <a:lvl3pPr marL="360363" indent="-179388">
              <a:defRPr sz="1200"/>
            </a:lvl3pPr>
            <a:lvl4pPr marL="541338" indent="-180975">
              <a:defRPr sz="1200"/>
            </a:lvl4pPr>
            <a:lvl5pPr marL="265113" indent="-265113">
              <a:defRPr sz="1200"/>
            </a:lvl5pPr>
            <a:lvl6pPr marL="444500" indent="-179388">
              <a:defRPr sz="1200"/>
            </a:lvl6pPr>
            <a:lvl7pPr>
              <a:defRPr sz="1200"/>
            </a:lvl7pPr>
            <a:lvl8pPr>
              <a:defRPr sz="1200"/>
            </a:lvl8pPr>
            <a:lvl9pPr>
              <a:defRPr sz="1400"/>
            </a:lvl9pPr>
          </a:lstStyle>
          <a:p>
            <a:pPr lvl="0"/>
            <a:r>
              <a:rPr lang="nl-NL" dirty="0"/>
              <a:t>Leestekst</a:t>
            </a:r>
          </a:p>
          <a:p>
            <a:pPr lvl="1"/>
            <a:r>
              <a:rPr lang="nl-NL" dirty="0"/>
              <a:t>Bullets</a:t>
            </a:r>
          </a:p>
          <a:p>
            <a:pPr lvl="2"/>
            <a:r>
              <a:rPr lang="nl-NL" dirty="0"/>
              <a:t>Sub-bullets</a:t>
            </a:r>
          </a:p>
          <a:p>
            <a:pPr lvl="3"/>
            <a:r>
              <a:rPr lang="nl-NL" dirty="0"/>
              <a:t>Sub-sub-bullets</a:t>
            </a:r>
          </a:p>
          <a:p>
            <a:pPr lvl="4"/>
            <a:r>
              <a:rPr lang="nl-NL" dirty="0"/>
              <a:t>Numeriek</a:t>
            </a:r>
          </a:p>
          <a:p>
            <a:pPr lvl="5"/>
            <a:r>
              <a:rPr lang="nl-NL" dirty="0"/>
              <a:t># Bullets</a:t>
            </a:r>
          </a:p>
          <a:p>
            <a:pPr lvl="6"/>
            <a:r>
              <a:rPr lang="nl-NL" dirty="0"/>
              <a:t>Cursief donker</a:t>
            </a:r>
          </a:p>
          <a:p>
            <a:pPr lvl="7"/>
            <a:r>
              <a:rPr lang="nl-NL" dirty="0"/>
              <a:t>Cursief licht</a:t>
            </a:r>
          </a:p>
          <a:p>
            <a:pPr lvl="8"/>
            <a:r>
              <a:rPr lang="nl-NL" dirty="0"/>
              <a:t>Subtitel</a:t>
            </a:r>
          </a:p>
        </p:txBody>
      </p:sp>
      <p:sp>
        <p:nvSpPr>
          <p:cNvPr id="120" name="Tijdelijke aanduiding voor Tekst bij Pasfoto_01"/>
          <p:cNvSpPr>
            <a:spLocks noGrp="1"/>
          </p:cNvSpPr>
          <p:nvPr>
            <p:ph type="body" orient="vert" idx="15" hasCustomPrompt="1"/>
          </p:nvPr>
        </p:nvSpPr>
        <p:spPr>
          <a:xfrm>
            <a:off x="1883020" y="1692127"/>
            <a:ext cx="2243073" cy="3693600"/>
          </a:xfrm>
        </p:spPr>
        <p:txBody>
          <a:bodyPr vert="horz" lIns="0" tIns="0" rIns="0" bIns="0" numCol="1"/>
          <a:lstStyle>
            <a:lvl1pPr>
              <a:defRPr sz="1200"/>
            </a:lvl1pPr>
            <a:lvl2pPr marL="180975" indent="-180975">
              <a:defRPr sz="1200"/>
            </a:lvl2pPr>
            <a:lvl3pPr marL="360363" indent="-179388">
              <a:defRPr sz="1200"/>
            </a:lvl3pPr>
            <a:lvl4pPr marL="541338" indent="-180975">
              <a:defRPr sz="1200"/>
            </a:lvl4pPr>
            <a:lvl5pPr marL="265113" indent="-265113">
              <a:defRPr sz="1200"/>
            </a:lvl5pPr>
            <a:lvl6pPr marL="444500" indent="-179388">
              <a:defRPr sz="1200"/>
            </a:lvl6pPr>
            <a:lvl7pPr>
              <a:defRPr sz="1200"/>
            </a:lvl7pPr>
            <a:lvl8pPr>
              <a:defRPr sz="1200"/>
            </a:lvl8pPr>
            <a:lvl9pPr>
              <a:defRPr sz="1400"/>
            </a:lvl9pPr>
          </a:lstStyle>
          <a:p>
            <a:pPr lvl="0"/>
            <a:r>
              <a:rPr lang="nl-NL" dirty="0"/>
              <a:t>Leestekst</a:t>
            </a:r>
          </a:p>
          <a:p>
            <a:pPr lvl="1"/>
            <a:r>
              <a:rPr lang="nl-NL" dirty="0"/>
              <a:t>Bullets</a:t>
            </a:r>
          </a:p>
          <a:p>
            <a:pPr lvl="2"/>
            <a:r>
              <a:rPr lang="nl-NL" dirty="0"/>
              <a:t>Sub-bullets</a:t>
            </a:r>
          </a:p>
          <a:p>
            <a:pPr lvl="3"/>
            <a:r>
              <a:rPr lang="nl-NL" dirty="0"/>
              <a:t>Sub-sub-bullets</a:t>
            </a:r>
          </a:p>
          <a:p>
            <a:pPr lvl="4"/>
            <a:r>
              <a:rPr lang="nl-NL" dirty="0"/>
              <a:t>Numeriek</a:t>
            </a:r>
          </a:p>
          <a:p>
            <a:pPr lvl="5"/>
            <a:r>
              <a:rPr lang="nl-NL" dirty="0"/>
              <a:t># Bullets</a:t>
            </a:r>
          </a:p>
          <a:p>
            <a:pPr lvl="6"/>
            <a:r>
              <a:rPr lang="nl-NL" dirty="0"/>
              <a:t>Cursief donker</a:t>
            </a:r>
          </a:p>
          <a:p>
            <a:pPr lvl="7"/>
            <a:r>
              <a:rPr lang="nl-NL" dirty="0"/>
              <a:t>Cursief licht</a:t>
            </a:r>
          </a:p>
          <a:p>
            <a:pPr lvl="8"/>
            <a:r>
              <a:rPr lang="nl-NL" dirty="0"/>
              <a:t>Subtitel</a:t>
            </a:r>
          </a:p>
        </p:txBody>
      </p:sp>
      <p:sp>
        <p:nvSpPr>
          <p:cNvPr id="16" name="Tijdelijke aanduiding voor Subtitel"/>
          <p:cNvSpPr>
            <a:spLocks noGrp="1"/>
          </p:cNvSpPr>
          <p:nvPr>
            <p:ph type="body" idx="14"/>
          </p:nvPr>
        </p:nvSpPr>
        <p:spPr>
          <a:xfrm>
            <a:off x="664109" y="1001348"/>
            <a:ext cx="10870131" cy="317758"/>
          </a:xfrm>
        </p:spPr>
        <p:txBody>
          <a:bodyPr bIns="72000" anchor="t" anchorCtr="0"/>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2" name="Tijdelijke aanduiding voor Titel"/>
          <p:cNvSpPr>
            <a:spLocks noGrp="1"/>
          </p:cNvSpPr>
          <p:nvPr>
            <p:ph type="title"/>
          </p:nvPr>
        </p:nvSpPr>
        <p:spPr>
          <a:xfrm>
            <a:off x="664109" y="464521"/>
            <a:ext cx="10870131" cy="533219"/>
          </a:xfrm>
        </p:spPr>
        <p:txBody>
          <a:bodyPr/>
          <a:lstStyle/>
          <a:p>
            <a:r>
              <a:rPr lang="nl-NL"/>
              <a:t>Klik om stijl te bewerken</a:t>
            </a:r>
            <a:endParaRPr lang="nl-NL" dirty="0"/>
          </a:p>
        </p:txBody>
      </p:sp>
    </p:spTree>
    <p:extLst>
      <p:ext uri="{BB962C8B-B14F-4D97-AF65-F5344CB8AC3E}">
        <p14:creationId xmlns:p14="http://schemas.microsoft.com/office/powerpoint/2010/main" val="2430134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Voorstellen pasfoto 2x">
    <p:spTree>
      <p:nvGrpSpPr>
        <p:cNvPr id="1" name=""/>
        <p:cNvGrpSpPr/>
        <p:nvPr/>
      </p:nvGrpSpPr>
      <p:grpSpPr>
        <a:xfrm>
          <a:off x="0" y="0"/>
          <a:ext cx="0" cy="0"/>
          <a:chOff x="0" y="0"/>
          <a:chExt cx="0" cy="0"/>
        </a:xfrm>
      </p:grpSpPr>
      <p:sp>
        <p:nvSpPr>
          <p:cNvPr id="13" name="Naam indeling - Voorstellen pasfoto 2x"/>
          <p:cNvSpPr txBox="1"/>
          <p:nvPr/>
        </p:nvSpPr>
        <p:spPr>
          <a:xfrm>
            <a:off x="1" y="-453266"/>
            <a:ext cx="3582333" cy="276999"/>
          </a:xfrm>
          <a:prstGeom prst="rect">
            <a:avLst/>
          </a:prstGeom>
          <a:noFill/>
        </p:spPr>
        <p:txBody>
          <a:bodyPr wrap="square" lIns="0" tIns="0" rIns="0" bIns="0" rtlCol="0">
            <a:spAutoFit/>
          </a:bodyPr>
          <a:lstStyle/>
          <a:p>
            <a:pPr defTabSz="914112"/>
            <a:r>
              <a:rPr lang="nl-NL" dirty="0">
                <a:solidFill>
                  <a:srgbClr val="404040"/>
                </a:solidFill>
                <a:latin typeface="Calibri" panose="020F0502020204030204" pitchFamily="34" charset="0"/>
              </a:rPr>
              <a:t>Voorstellen pasfoto 2x</a:t>
            </a:r>
            <a:endParaRPr lang="en-GB" dirty="0">
              <a:solidFill>
                <a:srgbClr val="404040"/>
              </a:solidFill>
              <a:latin typeface="Calibri" panose="020F0502020204030204" pitchFamily="34" charset="0"/>
            </a:endParaRPr>
          </a:p>
        </p:txBody>
      </p:sp>
      <p:grpSp>
        <p:nvGrpSpPr>
          <p:cNvPr id="101" name="Instructie - Afbeelding invoegen"/>
          <p:cNvGrpSpPr/>
          <p:nvPr/>
        </p:nvGrpSpPr>
        <p:grpSpPr>
          <a:xfrm>
            <a:off x="12437931" y="14898"/>
            <a:ext cx="2717569" cy="3676571"/>
            <a:chOff x="12434693" y="14897"/>
            <a:chExt cx="2716862" cy="3676571"/>
          </a:xfrm>
        </p:grpSpPr>
        <p:sp>
          <p:nvSpPr>
            <p:cNvPr id="102" name="Rechthoek 101"/>
            <p:cNvSpPr/>
            <p:nvPr/>
          </p:nvSpPr>
          <p:spPr>
            <a:xfrm>
              <a:off x="12441150" y="14897"/>
              <a:ext cx="2696270" cy="161771"/>
            </a:xfrm>
            <a:prstGeom prst="rect">
              <a:avLst/>
            </a:prstGeom>
            <a:noFill/>
            <a:ln w="25400" cap="flat" cmpd="sng" algn="ctr">
              <a:noFill/>
              <a:prstDash val="solid"/>
            </a:ln>
            <a:effectLst/>
          </p:spPr>
          <p:txBody>
            <a:bodyPr lIns="0" tIns="0" rIns="0" bIns="0" rtlCol="0" anchor="t"/>
            <a:lstStyle/>
            <a:p>
              <a:pPr defTabSz="914112">
                <a:lnSpc>
                  <a:spcPct val="80000"/>
                </a:lnSpc>
              </a:pPr>
              <a:r>
                <a:rPr lang="nl-NL" sz="1600" b="1" kern="0" cap="all" dirty="0">
                  <a:solidFill>
                    <a:srgbClr val="ED1A3B"/>
                  </a:solidFill>
                  <a:cs typeface="Segoe UI Light" panose="020B0502040204020203" pitchFamily="34" charset="0"/>
                </a:rPr>
                <a:t>AFBEELDING INVOEGEN</a:t>
              </a:r>
            </a:p>
          </p:txBody>
        </p:sp>
        <p:sp>
          <p:nvSpPr>
            <p:cNvPr id="103" name="Tekstvak 33"/>
            <p:cNvSpPr txBox="1"/>
            <p:nvPr/>
          </p:nvSpPr>
          <p:spPr>
            <a:xfrm>
              <a:off x="12441149" y="814239"/>
              <a:ext cx="2710405" cy="719877"/>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Indien nodig, verwijder de bestaande afbeelding. Klik op het pictogram </a:t>
              </a:r>
              <a:br>
                <a:rPr lang="nl-NL" sz="1200" kern="0" dirty="0">
                  <a:solidFill>
                    <a:srgbClr val="000000"/>
                  </a:solidFill>
                  <a:latin typeface="Trebuchet MS"/>
                  <a:cs typeface="Segoe UI Light" panose="020B0502040204020203" pitchFamily="34" charset="0"/>
                </a:rPr>
              </a:br>
              <a:r>
                <a:rPr lang="nl-NL" sz="1200" kern="0" dirty="0">
                  <a:solidFill>
                    <a:srgbClr val="000000"/>
                  </a:solidFill>
                  <a:latin typeface="Trebuchet MS"/>
                  <a:cs typeface="Segoe UI Light" panose="020B0502040204020203" pitchFamily="34" charset="0"/>
                </a:rPr>
                <a:t>om een afbeelding in te voegen</a:t>
              </a:r>
              <a:br>
                <a:rPr lang="nl-NL" sz="1200" kern="0" dirty="0">
                  <a:solidFill>
                    <a:srgbClr val="000000"/>
                  </a:solidFill>
                  <a:latin typeface="Trebuchet MS"/>
                  <a:cs typeface="Segoe UI Light" panose="020B0502040204020203" pitchFamily="34" charset="0"/>
                </a:rPr>
              </a:br>
              <a:r>
                <a:rPr lang="nl-NL" sz="1100" i="1" kern="0" dirty="0">
                  <a:solidFill>
                    <a:srgbClr val="000000"/>
                  </a:solidFill>
                  <a:latin typeface="Trebuchet MS"/>
                  <a:cs typeface="Segoe UI Light" panose="020B0502040204020203" pitchFamily="34" charset="0"/>
                </a:rPr>
                <a:t>(zie onderstaand voorbeeld).</a:t>
              </a:r>
            </a:p>
          </p:txBody>
        </p:sp>
        <p:sp>
          <p:nvSpPr>
            <p:cNvPr id="104" name="Tekstvak 33"/>
            <p:cNvSpPr txBox="1"/>
            <p:nvPr/>
          </p:nvSpPr>
          <p:spPr>
            <a:xfrm>
              <a:off x="12441149" y="2793904"/>
              <a:ext cx="2710405" cy="395943"/>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Selecteer de afbeelding die u wilt invoegen en klik op </a:t>
              </a:r>
              <a:r>
                <a:rPr lang="nl-NL" sz="1200" b="1" kern="0" dirty="0">
                  <a:solidFill>
                    <a:srgbClr val="000000"/>
                  </a:solidFill>
                  <a:latin typeface="Trebuchet MS"/>
                  <a:cs typeface="Segoe UI Light" panose="020B0502040204020203" pitchFamily="34" charset="0"/>
                </a:rPr>
                <a:t>‘Invoegen’</a:t>
              </a:r>
            </a:p>
          </p:txBody>
        </p:sp>
        <p:sp>
          <p:nvSpPr>
            <p:cNvPr id="105" name="Ovaal 104"/>
            <p:cNvSpPr/>
            <p:nvPr/>
          </p:nvSpPr>
          <p:spPr>
            <a:xfrm>
              <a:off x="12441150" y="379292"/>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1</a:t>
              </a:r>
            </a:p>
          </p:txBody>
        </p:sp>
        <p:sp>
          <p:nvSpPr>
            <p:cNvPr id="106" name="Ovaal 105"/>
            <p:cNvSpPr/>
            <p:nvPr/>
          </p:nvSpPr>
          <p:spPr>
            <a:xfrm>
              <a:off x="12441150" y="2337208"/>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2</a:t>
              </a:r>
            </a:p>
          </p:txBody>
        </p:sp>
        <p:cxnSp>
          <p:nvCxnSpPr>
            <p:cNvPr id="107" name="Rechte verbindingslijn 106"/>
            <p:cNvCxnSpPr/>
            <p:nvPr/>
          </p:nvCxnSpPr>
          <p:spPr>
            <a:xfrm>
              <a:off x="12441150" y="248176"/>
              <a:ext cx="2710405" cy="0"/>
            </a:xfrm>
            <a:prstGeom prst="line">
              <a:avLst/>
            </a:prstGeom>
            <a:noFill/>
            <a:ln w="9525" cap="flat" cmpd="sng" algn="ctr">
              <a:solidFill>
                <a:schemeClr val="accent1"/>
              </a:solidFill>
              <a:prstDash val="solid"/>
            </a:ln>
            <a:effectLst/>
          </p:spPr>
        </p:cxnSp>
        <p:cxnSp>
          <p:nvCxnSpPr>
            <p:cNvPr id="108" name="Rechte verbindingslijn 107"/>
            <p:cNvCxnSpPr/>
            <p:nvPr/>
          </p:nvCxnSpPr>
          <p:spPr>
            <a:xfrm>
              <a:off x="12441149" y="2212830"/>
              <a:ext cx="2710405" cy="0"/>
            </a:xfrm>
            <a:prstGeom prst="line">
              <a:avLst/>
            </a:prstGeom>
            <a:noFill/>
            <a:ln w="9525" cap="flat" cmpd="sng" algn="ctr">
              <a:solidFill>
                <a:schemeClr val="accent1"/>
              </a:solidFill>
              <a:prstDash val="solid"/>
            </a:ln>
            <a:effectLst/>
          </p:spPr>
        </p:cxnSp>
        <p:cxnSp>
          <p:nvCxnSpPr>
            <p:cNvPr id="109" name="Rechte verbindingslijn 108"/>
            <p:cNvCxnSpPr/>
            <p:nvPr/>
          </p:nvCxnSpPr>
          <p:spPr>
            <a:xfrm>
              <a:off x="12444679" y="3691468"/>
              <a:ext cx="2706875" cy="0"/>
            </a:xfrm>
            <a:prstGeom prst="line">
              <a:avLst/>
            </a:prstGeom>
            <a:noFill/>
            <a:ln w="9525" cap="flat" cmpd="sng" algn="ctr">
              <a:solidFill>
                <a:schemeClr val="accent1"/>
              </a:solidFill>
              <a:prstDash val="solid"/>
            </a:ln>
            <a:effectLst/>
          </p:spPr>
        </p:cxnSp>
        <p:pic>
          <p:nvPicPr>
            <p:cNvPr id="110" name="Icoontje afbeeldi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434693" y="1677764"/>
              <a:ext cx="403210" cy="403210"/>
            </a:xfrm>
            <a:prstGeom prst="rect">
              <a:avLst/>
            </a:prstGeom>
          </p:spPr>
        </p:pic>
        <p:grpSp>
          <p:nvGrpSpPr>
            <p:cNvPr id="111" name="Groep 110"/>
            <p:cNvGrpSpPr/>
            <p:nvPr/>
          </p:nvGrpSpPr>
          <p:grpSpPr>
            <a:xfrm>
              <a:off x="12450571" y="3301369"/>
              <a:ext cx="1002992" cy="267962"/>
              <a:chOff x="13560784" y="3471416"/>
              <a:chExt cx="1114138" cy="297656"/>
            </a:xfrm>
          </p:grpSpPr>
          <p:sp>
            <p:nvSpPr>
              <p:cNvPr id="112" name="Afgeronde rechthoek 88"/>
              <p:cNvSpPr/>
              <p:nvPr/>
            </p:nvSpPr>
            <p:spPr>
              <a:xfrm>
                <a:off x="13560784" y="3471416"/>
                <a:ext cx="1114138" cy="297656"/>
              </a:xfrm>
              <a:prstGeom prst="roundRect">
                <a:avLst/>
              </a:prstGeom>
              <a:gradFill flip="none" rotWithShape="1">
                <a:gsLst>
                  <a:gs pos="4000">
                    <a:srgbClr val="00B0F0"/>
                  </a:gs>
                  <a:gs pos="0">
                    <a:srgbClr val="0070C0"/>
                  </a:gs>
                  <a:gs pos="100000">
                    <a:srgbClr val="0070C0"/>
                  </a:gs>
                  <a:gs pos="12000">
                    <a:srgbClr val="D1EAFF"/>
                  </a:gs>
                  <a:gs pos="96000">
                    <a:srgbClr val="00B0F0"/>
                  </a:gs>
                  <a:gs pos="89000">
                    <a:srgbClr val="DDF4FF"/>
                  </a:gs>
                  <a:gs pos="43000">
                    <a:srgbClr val="D1EAFF"/>
                  </a:gs>
                  <a:gs pos="51000">
                    <a:srgbClr val="DDF4FF"/>
                  </a:gs>
                </a:gsLst>
                <a:lin ang="16200000" scaled="1"/>
                <a:tileRect/>
              </a:gradFill>
              <a:ln w="63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dirty="0">
                  <a:solidFill>
                    <a:srgbClr val="FFFFFF"/>
                  </a:solidFill>
                </a:endParaRPr>
              </a:p>
            </p:txBody>
          </p:sp>
          <p:sp>
            <p:nvSpPr>
              <p:cNvPr id="113" name="Tekstvak 112"/>
              <p:cNvSpPr txBox="1"/>
              <p:nvPr/>
            </p:nvSpPr>
            <p:spPr>
              <a:xfrm>
                <a:off x="13573594" y="3488254"/>
                <a:ext cx="888311" cy="273506"/>
              </a:xfrm>
              <a:prstGeom prst="rect">
                <a:avLst/>
              </a:prstGeom>
              <a:noFill/>
            </p:spPr>
            <p:txBody>
              <a:bodyPr wrap="square" rtlCol="0" anchor="ctr">
                <a:spAutoFit/>
              </a:bodyPr>
              <a:lstStyle>
                <a:defPPr>
                  <a:defRPr lang="nl-NL"/>
                </a:defPPr>
                <a:lvl1pPr marR="0" lvl="0" indent="0" algn="ctr" fontAlgn="auto">
                  <a:lnSpc>
                    <a:spcPct val="100000"/>
                  </a:lnSpc>
                  <a:spcBef>
                    <a:spcPts val="0"/>
                  </a:spcBef>
                  <a:spcAft>
                    <a:spcPts val="0"/>
                  </a:spcAft>
                  <a:buClrTx/>
                  <a:buSzTx/>
                  <a:buFontTx/>
                  <a:buNone/>
                  <a:tabLst/>
                  <a:defRPr kumimoji="0" sz="900" i="0" u="none" strike="noStrike" kern="0" cap="none" spc="0" normalizeH="0" baseline="0">
                    <a:ln>
                      <a:noFill/>
                    </a:ln>
                    <a:effectLst>
                      <a:outerShdw blurRad="25400" algn="ctr" rotWithShape="0">
                        <a:prstClr val="white"/>
                      </a:outerShdw>
                    </a:effectLst>
                    <a:uLnTx/>
                    <a:uFillTx/>
                    <a:latin typeface="Segoe UI Light" panose="020B0502040204020203" pitchFamily="34" charset="0"/>
                    <a:cs typeface="Segoe UI Light" panose="020B0502040204020203" pitchFamily="34" charset="0"/>
                  </a:defRPr>
                </a:lvl1pPr>
                <a:lvl2pPr fontAlgn="base">
                  <a:spcBef>
                    <a:spcPct val="0"/>
                  </a:spcBef>
                  <a:spcAft>
                    <a:spcPct val="0"/>
                  </a:spcAft>
                  <a:defRPr>
                    <a:latin typeface="Arial" charset="0"/>
                    <a:cs typeface="Arial" charset="0"/>
                  </a:defRPr>
                </a:lvl2pPr>
                <a:lvl3pPr fontAlgn="base">
                  <a:spcBef>
                    <a:spcPct val="0"/>
                  </a:spcBef>
                  <a:spcAft>
                    <a:spcPct val="0"/>
                  </a:spcAft>
                  <a:defRPr>
                    <a:latin typeface="Arial" charset="0"/>
                    <a:cs typeface="Arial" charset="0"/>
                  </a:defRPr>
                </a:lvl3pPr>
                <a:lvl4pPr fontAlgn="base">
                  <a:spcBef>
                    <a:spcPct val="0"/>
                  </a:spcBef>
                  <a:spcAft>
                    <a:spcPct val="0"/>
                  </a:spcAft>
                  <a:defRPr>
                    <a:latin typeface="Arial" charset="0"/>
                    <a:cs typeface="Arial" charset="0"/>
                  </a:defRPr>
                </a:lvl4pPr>
                <a:lvl5pPr fontAlgn="base">
                  <a:spcBef>
                    <a:spcPct val="0"/>
                  </a:spcBef>
                  <a:spcAft>
                    <a:spcPct val="0"/>
                  </a:spcAft>
                  <a:defRPr>
                    <a:latin typeface="Arial" charset="0"/>
                    <a:cs typeface="Arial" charset="0"/>
                  </a:defRPr>
                </a:lvl5pPr>
                <a:lvl6pPr>
                  <a:defRPr>
                    <a:latin typeface="Arial" charset="0"/>
                    <a:cs typeface="Arial" charset="0"/>
                  </a:defRPr>
                </a:lvl6pPr>
                <a:lvl7pPr>
                  <a:defRPr>
                    <a:latin typeface="Arial" charset="0"/>
                    <a:cs typeface="Arial" charset="0"/>
                  </a:defRPr>
                </a:lvl7pPr>
                <a:lvl8pPr>
                  <a:defRPr>
                    <a:latin typeface="Arial" charset="0"/>
                    <a:cs typeface="Arial" charset="0"/>
                  </a:defRPr>
                </a:lvl8pPr>
                <a:lvl9pPr>
                  <a:defRPr>
                    <a:latin typeface="Arial" charset="0"/>
                    <a:cs typeface="Arial" charset="0"/>
                  </a:defRPr>
                </a:lvl9pPr>
              </a:lstStyle>
              <a:p>
                <a:pPr defTabSz="914112"/>
                <a:r>
                  <a:rPr lang="nl-NL" sz="1000" dirty="0">
                    <a:solidFill>
                      <a:srgbClr val="000000"/>
                    </a:solidFill>
                    <a:latin typeface="Trebuchet MS"/>
                  </a:rPr>
                  <a:t>Invoegen</a:t>
                </a:r>
              </a:p>
            </p:txBody>
          </p:sp>
          <p:cxnSp>
            <p:nvCxnSpPr>
              <p:cNvPr id="114" name="Rechte verbindingslijn 113"/>
              <p:cNvCxnSpPr/>
              <p:nvPr/>
            </p:nvCxnSpPr>
            <p:spPr>
              <a:xfrm>
                <a:off x="14461905" y="3507058"/>
                <a:ext cx="0" cy="224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5" name="Gelijkbenige driehoek 114"/>
              <p:cNvSpPr/>
              <p:nvPr/>
            </p:nvSpPr>
            <p:spPr>
              <a:xfrm rot="10800000">
                <a:off x="14518584" y="3600521"/>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112"/>
                <a:endParaRPr lang="nl-NL" dirty="0">
                  <a:solidFill>
                    <a:srgbClr val="FFFFFF"/>
                  </a:solidFill>
                </a:endParaRPr>
              </a:p>
            </p:txBody>
          </p:sp>
        </p:grpSp>
      </p:grpSp>
      <p:grpSp>
        <p:nvGrpSpPr>
          <p:cNvPr id="219" name="Instructie - Tekst niveaus"/>
          <p:cNvGrpSpPr/>
          <p:nvPr userDrawn="1"/>
        </p:nvGrpSpPr>
        <p:grpSpPr>
          <a:xfrm>
            <a:off x="-3117849" y="365"/>
            <a:ext cx="2823358" cy="5254722"/>
            <a:chOff x="-2959433" y="-5444"/>
            <a:chExt cx="2822623" cy="5254722"/>
          </a:xfrm>
        </p:grpSpPr>
        <p:sp>
          <p:nvSpPr>
            <p:cNvPr id="220" name="Rechthoek 219"/>
            <p:cNvSpPr/>
            <p:nvPr userDrawn="1"/>
          </p:nvSpPr>
          <p:spPr>
            <a:xfrm>
              <a:off x="-2959433" y="-5444"/>
              <a:ext cx="2572469" cy="280344"/>
            </a:xfrm>
            <a:prstGeom prst="rect">
              <a:avLst/>
            </a:prstGeom>
            <a:noFill/>
            <a:ln w="25400" cap="flat" cmpd="sng" algn="ctr">
              <a:noFill/>
              <a:prstDash val="solid"/>
            </a:ln>
            <a:effectLst/>
          </p:spPr>
          <p:txBody>
            <a:bodyPr lIns="0" tIns="0" rIns="0" bIns="0" rtlCol="0" anchor="t"/>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nl-NL" sz="1600" b="1" kern="0" dirty="0">
                  <a:solidFill>
                    <a:srgbClr val="ED1A3B"/>
                  </a:solidFill>
                  <a:cs typeface="Segoe UI Light" panose="020B0502040204020203" pitchFamily="34" charset="0"/>
                </a:rPr>
                <a:t>TEKST NIVEAUS</a:t>
              </a:r>
            </a:p>
          </p:txBody>
        </p:sp>
        <p:sp>
          <p:nvSpPr>
            <p:cNvPr id="221" name="Textfield placeholder"/>
            <p:cNvSpPr txBox="1">
              <a:spLocks/>
            </p:cNvSpPr>
            <p:nvPr userDrawn="1"/>
          </p:nvSpPr>
          <p:spPr>
            <a:xfrm>
              <a:off x="-2587337" y="2675411"/>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0" lvl="2"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a:solidFill>
                    <a:srgbClr val="404040"/>
                  </a:solidFill>
                </a:rPr>
                <a:t>Sub-bullets (12 pt.)</a:t>
              </a:r>
            </a:p>
          </p:txBody>
        </p:sp>
        <p:sp>
          <p:nvSpPr>
            <p:cNvPr id="222" name="Ovaal 221"/>
            <p:cNvSpPr/>
            <p:nvPr userDrawn="1"/>
          </p:nvSpPr>
          <p:spPr>
            <a:xfrm>
              <a:off x="-2959433" y="196874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1</a:t>
              </a:r>
            </a:p>
          </p:txBody>
        </p:sp>
        <p:sp>
          <p:nvSpPr>
            <p:cNvPr id="223" name="Ovaal 222"/>
            <p:cNvSpPr/>
            <p:nvPr userDrawn="1"/>
          </p:nvSpPr>
          <p:spPr>
            <a:xfrm>
              <a:off x="-2959433" y="232207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2</a:t>
              </a:r>
            </a:p>
          </p:txBody>
        </p:sp>
        <p:sp>
          <p:nvSpPr>
            <p:cNvPr id="224" name="Ovaal 223"/>
            <p:cNvSpPr/>
            <p:nvPr userDrawn="1"/>
          </p:nvSpPr>
          <p:spPr>
            <a:xfrm>
              <a:off x="-2959433" y="267541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3</a:t>
              </a:r>
            </a:p>
          </p:txBody>
        </p:sp>
        <p:sp>
          <p:nvSpPr>
            <p:cNvPr id="225" name="Ovaal 224"/>
            <p:cNvSpPr/>
            <p:nvPr userDrawn="1"/>
          </p:nvSpPr>
          <p:spPr>
            <a:xfrm>
              <a:off x="-2959433" y="302874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4</a:t>
              </a:r>
            </a:p>
          </p:txBody>
        </p:sp>
        <p:sp>
          <p:nvSpPr>
            <p:cNvPr id="226" name="Textfield placeholder"/>
            <p:cNvSpPr txBox="1">
              <a:spLocks/>
            </p:cNvSpPr>
            <p:nvPr userDrawn="1"/>
          </p:nvSpPr>
          <p:spPr>
            <a:xfrm>
              <a:off x="-2571950" y="1966925"/>
              <a:ext cx="2163709" cy="261500"/>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79388">
                <a:lnSpc>
                  <a:spcPct val="120000"/>
                </a:lnSpc>
                <a:spcBef>
                  <a:spcPts val="0"/>
                </a:spcBef>
                <a:spcAft>
                  <a:spcPts val="900"/>
                </a:spcAft>
                <a:buClr>
                  <a:srgbClr val="000000"/>
                </a:buClr>
                <a:buSzPct val="100000"/>
                <a:buFont typeface="Arial" pitchFamily="34" charset="0"/>
                <a:buNone/>
                <a:defRPr/>
              </a:pPr>
              <a:r>
                <a:rPr lang="nl-NL" sz="1200" dirty="0">
                  <a:solidFill>
                    <a:srgbClr val="535353"/>
                  </a:solidFill>
                </a:rPr>
                <a:t>Leestekst (12 pt.)</a:t>
              </a:r>
            </a:p>
          </p:txBody>
        </p:sp>
        <p:sp>
          <p:nvSpPr>
            <p:cNvPr id="227" name="Textfield placeholder"/>
            <p:cNvSpPr txBox="1">
              <a:spLocks/>
            </p:cNvSpPr>
            <p:nvPr userDrawn="1"/>
          </p:nvSpPr>
          <p:spPr>
            <a:xfrm>
              <a:off x="-2571950" y="2322077"/>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70000" lvl="1"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err="1">
                  <a:solidFill>
                    <a:srgbClr val="535353"/>
                  </a:solidFill>
                </a:rPr>
                <a:t>Bullets</a:t>
              </a:r>
              <a:r>
                <a:rPr lang="nl-NL" sz="1200" dirty="0">
                  <a:solidFill>
                    <a:srgbClr val="535353"/>
                  </a:solidFill>
                </a:rPr>
                <a:t> (12 </a:t>
              </a:r>
              <a:r>
                <a:rPr lang="nl-NL" sz="1200" dirty="0" err="1">
                  <a:solidFill>
                    <a:srgbClr val="535353"/>
                  </a:solidFill>
                </a:rPr>
                <a:t>pt</a:t>
              </a:r>
              <a:r>
                <a:rPr lang="nl-NL" sz="1200" dirty="0">
                  <a:solidFill>
                    <a:srgbClr val="535353"/>
                  </a:solidFill>
                </a:rPr>
                <a:t>.)</a:t>
              </a:r>
            </a:p>
          </p:txBody>
        </p:sp>
        <p:sp>
          <p:nvSpPr>
            <p:cNvPr id="228" name="Textfield placeholder"/>
            <p:cNvSpPr txBox="1">
              <a:spLocks/>
            </p:cNvSpPr>
            <p:nvPr userDrawn="1"/>
          </p:nvSpPr>
          <p:spPr>
            <a:xfrm>
              <a:off x="-2571951" y="3028747"/>
              <a:ext cx="2435141"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10000" lvl="3" indent="-270000" algn="l" defTabSz="179388" rtl="0" eaLnBrk="1" latinLnBrk="0" hangingPunct="1">
                <a:lnSpc>
                  <a:spcPct val="120000"/>
                </a:lnSpc>
                <a:spcBef>
                  <a:spcPts val="0"/>
                </a:spcBef>
                <a:spcAft>
                  <a:spcPts val="900"/>
                </a:spcAft>
                <a:buClr>
                  <a:schemeClr val="accent2"/>
                </a:buClr>
                <a:buSzPct val="80000"/>
                <a:buFont typeface="Wingdings 3" panose="05040102010807070707" pitchFamily="18" charset="2"/>
                <a:buChar char=""/>
                <a:defRPr/>
              </a:pPr>
              <a:r>
                <a:rPr lang="nl-NL" sz="1200" b="0" kern="1200" dirty="0">
                  <a:solidFill>
                    <a:srgbClr val="404040"/>
                  </a:solidFill>
                  <a:latin typeface="+mn-lt"/>
                  <a:ea typeface="+mn-ea"/>
                  <a:cs typeface="+mn-cs"/>
                </a:rPr>
                <a:t>Sub-sub-bullets (12 pt.)</a:t>
              </a:r>
            </a:p>
          </p:txBody>
        </p:sp>
        <p:cxnSp>
          <p:nvCxnSpPr>
            <p:cNvPr id="229" name="Rechte verbindingslijn 228"/>
            <p:cNvCxnSpPr/>
            <p:nvPr userDrawn="1"/>
          </p:nvCxnSpPr>
          <p:spPr>
            <a:xfrm>
              <a:off x="-2959100" y="274900"/>
              <a:ext cx="2674470" cy="0"/>
            </a:xfrm>
            <a:prstGeom prst="line">
              <a:avLst/>
            </a:prstGeom>
            <a:noFill/>
            <a:ln w="9525" cap="flat" cmpd="sng" algn="ctr">
              <a:solidFill>
                <a:schemeClr val="accent1"/>
              </a:solidFill>
              <a:prstDash val="solid"/>
            </a:ln>
            <a:effectLst/>
          </p:spPr>
        </p:cxnSp>
        <p:cxnSp>
          <p:nvCxnSpPr>
            <p:cNvPr id="230" name="Rechte verbindingslijn 229"/>
            <p:cNvCxnSpPr/>
            <p:nvPr userDrawn="1"/>
          </p:nvCxnSpPr>
          <p:spPr>
            <a:xfrm>
              <a:off x="-2959100" y="1841989"/>
              <a:ext cx="2661379" cy="0"/>
            </a:xfrm>
            <a:prstGeom prst="line">
              <a:avLst/>
            </a:prstGeom>
            <a:noFill/>
            <a:ln w="9525" cap="flat" cmpd="sng" algn="ctr">
              <a:solidFill>
                <a:schemeClr val="accent1"/>
              </a:solidFill>
              <a:prstDash val="solid"/>
            </a:ln>
            <a:effectLst/>
          </p:spPr>
        </p:cxnSp>
        <p:cxnSp>
          <p:nvCxnSpPr>
            <p:cNvPr id="231" name="Rechte verbindingslijn 230"/>
            <p:cNvCxnSpPr/>
            <p:nvPr userDrawn="1"/>
          </p:nvCxnSpPr>
          <p:spPr>
            <a:xfrm>
              <a:off x="-2959100" y="5249278"/>
              <a:ext cx="2661379" cy="0"/>
            </a:xfrm>
            <a:prstGeom prst="line">
              <a:avLst/>
            </a:prstGeom>
            <a:noFill/>
            <a:ln w="9525" cap="flat" cmpd="sng" algn="ctr">
              <a:solidFill>
                <a:schemeClr val="accent1"/>
              </a:solidFill>
              <a:prstDash val="solid"/>
            </a:ln>
            <a:effectLst/>
          </p:spPr>
        </p:cxnSp>
        <p:grpSp>
          <p:nvGrpSpPr>
            <p:cNvPr id="232" name="Groep 231"/>
            <p:cNvGrpSpPr/>
            <p:nvPr userDrawn="1"/>
          </p:nvGrpSpPr>
          <p:grpSpPr>
            <a:xfrm>
              <a:off x="-1948476" y="816741"/>
              <a:ext cx="409108" cy="427699"/>
              <a:chOff x="-1085063" y="758027"/>
              <a:chExt cx="633799" cy="622540"/>
            </a:xfrm>
          </p:grpSpPr>
          <p:sp>
            <p:nvSpPr>
              <p:cNvPr id="288" name="Afgeronde rechthoek 287"/>
              <p:cNvSpPr/>
              <p:nvPr userDrawn="1"/>
            </p:nvSpPr>
            <p:spPr>
              <a:xfrm>
                <a:off x="-108506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289" name="Groep 288"/>
              <p:cNvGrpSpPr/>
              <p:nvPr userDrawn="1"/>
            </p:nvGrpSpPr>
            <p:grpSpPr>
              <a:xfrm>
                <a:off x="-977739" y="864082"/>
                <a:ext cx="419168" cy="410429"/>
                <a:chOff x="6366933" y="309013"/>
                <a:chExt cx="1901295" cy="1861668"/>
              </a:xfrm>
              <a:solidFill>
                <a:srgbClr val="000000"/>
              </a:solidFill>
            </p:grpSpPr>
            <p:sp>
              <p:nvSpPr>
                <p:cNvPr id="290" name="Rechthoek 289"/>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1" name="Rechthoek 290"/>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2" name="Rechthoek 291"/>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3" name="Rechthoek 292"/>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4" name="Rechthoek 293"/>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5" name="Rechthoek 294"/>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6" name="Rechthoek 295"/>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7" name="Rechthoek 296"/>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8" name="Rechthoek 297"/>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9" name="Rechthoek 298"/>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0" name="Vrije vorm 299"/>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nvGrpSpPr>
            <p:cNvPr id="233" name="Groep 232"/>
            <p:cNvGrpSpPr/>
            <p:nvPr userDrawn="1"/>
          </p:nvGrpSpPr>
          <p:grpSpPr>
            <a:xfrm>
              <a:off x="-2950232" y="1207835"/>
              <a:ext cx="532929" cy="509563"/>
              <a:chOff x="-2880382" y="802341"/>
              <a:chExt cx="532929" cy="509563"/>
            </a:xfrm>
          </p:grpSpPr>
          <p:sp>
            <p:nvSpPr>
              <p:cNvPr id="266" name="Rechthoek 265"/>
              <p:cNvSpPr/>
              <p:nvPr userDrawn="1"/>
            </p:nvSpPr>
            <p:spPr>
              <a:xfrm>
                <a:off x="-2880382" y="802341"/>
                <a:ext cx="532929" cy="509563"/>
              </a:xfrm>
              <a:prstGeom prst="rect">
                <a:avLst/>
              </a:prstGeom>
              <a:solidFill>
                <a:sysClr val="window" lastClr="FFFFFF"/>
              </a:soli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pic>
            <p:nvPicPr>
              <p:cNvPr id="267"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635852" y="822181"/>
                <a:ext cx="226442" cy="208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8"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848026" y="822181"/>
                <a:ext cx="207168" cy="213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69" name="Groep 268"/>
              <p:cNvGrpSpPr/>
              <p:nvPr userDrawn="1"/>
            </p:nvGrpSpPr>
            <p:grpSpPr>
              <a:xfrm>
                <a:off x="-2802433" y="1123442"/>
                <a:ext cx="132915" cy="104889"/>
                <a:chOff x="-2796392" y="1123442"/>
                <a:chExt cx="120832" cy="104889"/>
              </a:xfrm>
            </p:grpSpPr>
            <p:sp>
              <p:nvSpPr>
                <p:cNvPr id="283" name="Rechthoek 282"/>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4" name="Rechthoek 283"/>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5" name="Rechthoek 284"/>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6" name="Rechthoek 285"/>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7" name="Rechthoek 286"/>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270" name="Groep 269"/>
              <p:cNvGrpSpPr/>
              <p:nvPr userDrawn="1"/>
            </p:nvGrpSpPr>
            <p:grpSpPr>
              <a:xfrm>
                <a:off x="-2575417" y="1123442"/>
                <a:ext cx="133930" cy="104889"/>
                <a:chOff x="-2556734" y="1123442"/>
                <a:chExt cx="147324" cy="104889"/>
              </a:xfrm>
            </p:grpSpPr>
            <p:grpSp>
              <p:nvGrpSpPr>
                <p:cNvPr id="271" name="Groep 270"/>
                <p:cNvGrpSpPr/>
                <p:nvPr userDrawn="1"/>
              </p:nvGrpSpPr>
              <p:grpSpPr>
                <a:xfrm>
                  <a:off x="-2556734" y="1123442"/>
                  <a:ext cx="68206" cy="104889"/>
                  <a:chOff x="-2796392" y="1123442"/>
                  <a:chExt cx="120832" cy="104889"/>
                </a:xfrm>
              </p:grpSpPr>
              <p:sp>
                <p:nvSpPr>
                  <p:cNvPr id="278" name="Rechthoek 277"/>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9" name="Rechthoek 278"/>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0" name="Rechthoek 279"/>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1" name="Rechthoek 280"/>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2" name="Rechthoek 281"/>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272" name="Groep 271"/>
                <p:cNvGrpSpPr/>
                <p:nvPr userDrawn="1"/>
              </p:nvGrpSpPr>
              <p:grpSpPr>
                <a:xfrm>
                  <a:off x="-2477616" y="1123442"/>
                  <a:ext cx="68206" cy="104889"/>
                  <a:chOff x="-2796392" y="1123442"/>
                  <a:chExt cx="120832" cy="104889"/>
                </a:xfrm>
              </p:grpSpPr>
              <p:sp>
                <p:nvSpPr>
                  <p:cNvPr id="273" name="Rechthoek 272"/>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4" name="Rechthoek 273"/>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5" name="Rechthoek 274"/>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6" name="Rechthoek 275"/>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7" name="Rechthoek 276"/>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grpSp>
          <p:nvGrpSpPr>
            <p:cNvPr id="234" name="Groep 233"/>
            <p:cNvGrpSpPr/>
            <p:nvPr userDrawn="1"/>
          </p:nvGrpSpPr>
          <p:grpSpPr>
            <a:xfrm>
              <a:off x="-1948476" y="1281164"/>
              <a:ext cx="413704" cy="427699"/>
              <a:chOff x="-1845083" y="758027"/>
              <a:chExt cx="633799" cy="622540"/>
            </a:xfrm>
          </p:grpSpPr>
          <p:sp>
            <p:nvSpPr>
              <p:cNvPr id="253" name="Afgeronde rechthoek 252"/>
              <p:cNvSpPr/>
              <p:nvPr userDrawn="1"/>
            </p:nvSpPr>
            <p:spPr>
              <a:xfrm>
                <a:off x="-184508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254" name="Groep 253"/>
              <p:cNvGrpSpPr/>
              <p:nvPr userDrawn="1"/>
            </p:nvGrpSpPr>
            <p:grpSpPr>
              <a:xfrm>
                <a:off x="-1737762" y="864082"/>
                <a:ext cx="419168" cy="410429"/>
                <a:chOff x="3708400" y="309013"/>
                <a:chExt cx="1901295" cy="1861668"/>
              </a:xfrm>
              <a:solidFill>
                <a:srgbClr val="000000"/>
              </a:solidFill>
            </p:grpSpPr>
            <p:sp>
              <p:nvSpPr>
                <p:cNvPr id="255" name="Rechthoek 254"/>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6" name="Rechthoek 255"/>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7" name="Rechthoek 256"/>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8" name="Rechthoek 257"/>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9" name="Rechthoek 258"/>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0" name="Rechthoek 259"/>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1" name="Rechthoek 260"/>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2" name="Rechthoek 261"/>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3" name="Rechthoek 262"/>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4" name="Rechthoek 263"/>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5" name="Vrije vorm 264"/>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cxnSp>
          <p:nvCxnSpPr>
            <p:cNvPr id="235" name="Rechte verbindingslijn 234"/>
            <p:cNvCxnSpPr/>
            <p:nvPr userDrawn="1"/>
          </p:nvCxnSpPr>
          <p:spPr>
            <a:xfrm>
              <a:off x="-2814292" y="1441193"/>
              <a:ext cx="865816" cy="53821"/>
            </a:xfrm>
            <a:prstGeom prst="line">
              <a:avLst/>
            </a:prstGeom>
            <a:noFill/>
            <a:ln w="9525" cap="flat" cmpd="sng" algn="ctr">
              <a:solidFill>
                <a:schemeClr val="accent1"/>
              </a:solidFill>
              <a:prstDash val="solid"/>
              <a:headEnd type="oval"/>
            </a:ln>
            <a:effectLst/>
          </p:spPr>
        </p:cxnSp>
        <p:cxnSp>
          <p:nvCxnSpPr>
            <p:cNvPr id="236" name="Rechte verbindingslijn 235"/>
            <p:cNvCxnSpPr/>
            <p:nvPr userDrawn="1"/>
          </p:nvCxnSpPr>
          <p:spPr>
            <a:xfrm flipV="1">
              <a:off x="-2453902" y="1030591"/>
              <a:ext cx="505426" cy="283623"/>
            </a:xfrm>
            <a:prstGeom prst="line">
              <a:avLst/>
            </a:prstGeom>
            <a:noFill/>
            <a:ln w="9525" cap="flat" cmpd="sng" algn="ctr">
              <a:solidFill>
                <a:schemeClr val="accent1"/>
              </a:solidFill>
              <a:prstDash val="solid"/>
              <a:headEnd type="oval"/>
            </a:ln>
            <a:effectLst/>
          </p:spPr>
        </p:cxnSp>
        <p:sp>
          <p:nvSpPr>
            <p:cNvPr id="237" name="Textfield placeholder"/>
            <p:cNvSpPr txBox="1">
              <a:spLocks/>
            </p:cNvSpPr>
            <p:nvPr userDrawn="1"/>
          </p:nvSpPr>
          <p:spPr>
            <a:xfrm>
              <a:off x="-1341598" y="816743"/>
              <a:ext cx="1056968" cy="427698"/>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hoog</a:t>
              </a:r>
            </a:p>
          </p:txBody>
        </p:sp>
        <p:sp>
          <p:nvSpPr>
            <p:cNvPr id="238" name="Textfield placeholder"/>
            <p:cNvSpPr txBox="1">
              <a:spLocks/>
            </p:cNvSpPr>
            <p:nvPr userDrawn="1"/>
          </p:nvSpPr>
          <p:spPr>
            <a:xfrm>
              <a:off x="-1341599" y="1281164"/>
              <a:ext cx="1070223" cy="427699"/>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laag</a:t>
              </a:r>
            </a:p>
          </p:txBody>
        </p:sp>
        <p:sp>
          <p:nvSpPr>
            <p:cNvPr id="239" name="Ovaal 238"/>
            <p:cNvSpPr/>
            <p:nvPr userDrawn="1"/>
          </p:nvSpPr>
          <p:spPr>
            <a:xfrm>
              <a:off x="-2959433" y="338208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5</a:t>
              </a:r>
            </a:p>
          </p:txBody>
        </p:sp>
        <p:sp>
          <p:nvSpPr>
            <p:cNvPr id="240" name="Textfield placeholder"/>
            <p:cNvSpPr txBox="1">
              <a:spLocks/>
            </p:cNvSpPr>
            <p:nvPr userDrawn="1"/>
          </p:nvSpPr>
          <p:spPr>
            <a:xfrm>
              <a:off x="-2571950" y="3382082"/>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60000" lvl="4" indent="-360000" defTabSz="179388">
                <a:lnSpc>
                  <a:spcPct val="120000"/>
                </a:lnSpc>
                <a:spcBef>
                  <a:spcPts val="0"/>
                </a:spcBef>
                <a:spcAft>
                  <a:spcPts val="900"/>
                </a:spcAft>
                <a:buClr>
                  <a:srgbClr val="ED1A3B"/>
                </a:buClr>
                <a:buFont typeface="+mj-lt"/>
                <a:buAutoNum type="arabicPeriod"/>
                <a:defRPr/>
              </a:pPr>
              <a:r>
                <a:rPr lang="nl-NL" sz="1200" b="0" dirty="0">
                  <a:solidFill>
                    <a:srgbClr val="404040"/>
                  </a:solidFill>
                </a:rPr>
                <a:t>Numeriek (12 pt.)</a:t>
              </a:r>
            </a:p>
          </p:txBody>
        </p:sp>
        <p:grpSp>
          <p:nvGrpSpPr>
            <p:cNvPr id="241" name="Groep 240"/>
            <p:cNvGrpSpPr/>
            <p:nvPr userDrawn="1"/>
          </p:nvGrpSpPr>
          <p:grpSpPr>
            <a:xfrm>
              <a:off x="-2950232" y="816050"/>
              <a:ext cx="528695" cy="344202"/>
              <a:chOff x="-2880382" y="410556"/>
              <a:chExt cx="528695" cy="344202"/>
            </a:xfrm>
          </p:grpSpPr>
          <p:sp>
            <p:nvSpPr>
              <p:cNvPr id="251" name="Afgeronde rechthoek 250"/>
              <p:cNvSpPr/>
              <p:nvPr userDrawn="1"/>
            </p:nvSpPr>
            <p:spPr>
              <a:xfrm>
                <a:off x="-2874214" y="410556"/>
                <a:ext cx="522527" cy="339183"/>
              </a:xfrm>
              <a:prstGeom prst="roundRect">
                <a:avLst>
                  <a:gd name="adj" fmla="val 7565"/>
                </a:avLst>
              </a:prstGeom>
              <a:gradFill>
                <a:gsLst>
                  <a:gs pos="0">
                    <a:srgbClr val="FFEC8F"/>
                  </a:gs>
                  <a:gs pos="100000">
                    <a:srgbClr val="FFFFFF"/>
                  </a:gs>
                </a:gsLst>
                <a:lin ang="5400000" scaled="0"/>
              </a:gra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sp>
            <p:nvSpPr>
              <p:cNvPr id="252" name="Vrije vorm 251"/>
              <p:cNvSpPr/>
              <p:nvPr userDrawn="1"/>
            </p:nvSpPr>
            <p:spPr>
              <a:xfrm>
                <a:off x="-2880382" y="452699"/>
                <a:ext cx="528695" cy="302059"/>
              </a:xfrm>
              <a:custGeom>
                <a:avLst/>
                <a:gdLst>
                  <a:gd name="connsiteX0" fmla="*/ 55524 w 528695"/>
                  <a:gd name="connsiteY0" fmla="*/ 0 h 302059"/>
                  <a:gd name="connsiteX1" fmla="*/ 455496 w 528695"/>
                  <a:gd name="connsiteY1" fmla="*/ 0 h 302059"/>
                  <a:gd name="connsiteX2" fmla="*/ 475205 w 528695"/>
                  <a:gd name="connsiteY2" fmla="*/ 19709 h 302059"/>
                  <a:gd name="connsiteX3" fmla="*/ 475205 w 528695"/>
                  <a:gd name="connsiteY3" fmla="*/ 230056 h 302059"/>
                  <a:gd name="connsiteX4" fmla="*/ 516694 w 528695"/>
                  <a:gd name="connsiteY4" fmla="*/ 230056 h 302059"/>
                  <a:gd name="connsiteX5" fmla="*/ 528695 w 528695"/>
                  <a:gd name="connsiteY5" fmla="*/ 242057 h 302059"/>
                  <a:gd name="connsiteX6" fmla="*/ 528695 w 528695"/>
                  <a:gd name="connsiteY6" fmla="*/ 290058 h 302059"/>
                  <a:gd name="connsiteX7" fmla="*/ 516694 w 528695"/>
                  <a:gd name="connsiteY7" fmla="*/ 302059 h 302059"/>
                  <a:gd name="connsiteX8" fmla="*/ 12001 w 528695"/>
                  <a:gd name="connsiteY8" fmla="*/ 302059 h 302059"/>
                  <a:gd name="connsiteX9" fmla="*/ 0 w 528695"/>
                  <a:gd name="connsiteY9" fmla="*/ 290058 h 302059"/>
                  <a:gd name="connsiteX10" fmla="*/ 0 w 528695"/>
                  <a:gd name="connsiteY10" fmla="*/ 242057 h 302059"/>
                  <a:gd name="connsiteX11" fmla="*/ 12001 w 528695"/>
                  <a:gd name="connsiteY11" fmla="*/ 230056 h 302059"/>
                  <a:gd name="connsiteX12" fmla="*/ 35815 w 528695"/>
                  <a:gd name="connsiteY12" fmla="*/ 230056 h 302059"/>
                  <a:gd name="connsiteX13" fmla="*/ 35815 w 528695"/>
                  <a:gd name="connsiteY13" fmla="*/ 19709 h 302059"/>
                  <a:gd name="connsiteX14" fmla="*/ 55524 w 528695"/>
                  <a:gd name="connsiteY14" fmla="*/ 0 h 3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8695" h="302059">
                    <a:moveTo>
                      <a:pt x="55524" y="0"/>
                    </a:moveTo>
                    <a:lnTo>
                      <a:pt x="455496" y="0"/>
                    </a:lnTo>
                    <a:cubicBezTo>
                      <a:pt x="466381" y="0"/>
                      <a:pt x="475205" y="8824"/>
                      <a:pt x="475205" y="19709"/>
                    </a:cubicBezTo>
                    <a:lnTo>
                      <a:pt x="475205" y="230056"/>
                    </a:lnTo>
                    <a:lnTo>
                      <a:pt x="516694" y="230056"/>
                    </a:lnTo>
                    <a:cubicBezTo>
                      <a:pt x="523322" y="230056"/>
                      <a:pt x="528695" y="235429"/>
                      <a:pt x="528695" y="242057"/>
                    </a:cubicBezTo>
                    <a:lnTo>
                      <a:pt x="528695" y="290058"/>
                    </a:lnTo>
                    <a:cubicBezTo>
                      <a:pt x="528695" y="296686"/>
                      <a:pt x="523322" y="302059"/>
                      <a:pt x="516694" y="302059"/>
                    </a:cubicBezTo>
                    <a:lnTo>
                      <a:pt x="12001" y="302059"/>
                    </a:lnTo>
                    <a:cubicBezTo>
                      <a:pt x="5373" y="302059"/>
                      <a:pt x="0" y="296686"/>
                      <a:pt x="0" y="290058"/>
                    </a:cubicBezTo>
                    <a:lnTo>
                      <a:pt x="0" y="242057"/>
                    </a:lnTo>
                    <a:cubicBezTo>
                      <a:pt x="0" y="235429"/>
                      <a:pt x="5373" y="230056"/>
                      <a:pt x="12001" y="230056"/>
                    </a:cubicBezTo>
                    <a:lnTo>
                      <a:pt x="35815" y="230056"/>
                    </a:lnTo>
                    <a:lnTo>
                      <a:pt x="35815" y="19709"/>
                    </a:lnTo>
                    <a:cubicBezTo>
                      <a:pt x="35815" y="8824"/>
                      <a:pt x="44639" y="0"/>
                      <a:pt x="55524" y="0"/>
                    </a:cubicBezTo>
                    <a:close/>
                  </a:path>
                </a:pathLst>
              </a:custGeom>
              <a:solidFill>
                <a:sysClr val="window" lastClr="FFFFFF">
                  <a:lumMod val="95000"/>
                </a:sysClr>
              </a:solidFill>
              <a:ln w="9525" cap="flat" cmpd="sng" algn="ctr">
                <a:solidFill>
                  <a:srgbClr val="FFFFFF">
                    <a:lumMod val="90000"/>
                  </a:srgbClr>
                </a:solidFill>
                <a:prstDash val="solid"/>
                <a:miter lim="800000"/>
              </a:ln>
              <a:effectLst/>
            </p:spPr>
            <p:txBody>
              <a:bodyPr rot="0" spcFirstLastPara="0" vert="horz" wrap="square" lIns="108000" tIns="36000" rIns="108000" bIns="10800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900" dirty="0">
                    <a:solidFill>
                      <a:prstClr val="black"/>
                    </a:solidFill>
                    <a:latin typeface="Segoe UI Light"/>
                  </a:rPr>
                  <a:t>Start</a:t>
                </a:r>
              </a:p>
            </p:txBody>
          </p:sp>
        </p:grpSp>
        <p:sp>
          <p:nvSpPr>
            <p:cNvPr id="242" name="Tekstvak 65"/>
            <p:cNvSpPr txBox="1"/>
            <p:nvPr userDrawn="1"/>
          </p:nvSpPr>
          <p:spPr>
            <a:xfrm>
              <a:off x="-2959433" y="372104"/>
              <a:ext cx="2679887" cy="453396"/>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nl-NL" sz="1200" kern="0" dirty="0">
                  <a:solidFill>
                    <a:srgbClr val="000000"/>
                  </a:solidFill>
                  <a:latin typeface="Segoe UI Light" panose="020B0502040204020203" pitchFamily="34" charset="0"/>
                  <a:cs typeface="Segoe UI Light" panose="020B0502040204020203" pitchFamily="34" charset="0"/>
                </a:rPr>
                <a:t>Ga naar de tab </a:t>
              </a:r>
              <a:r>
                <a:rPr lang="nl-NL" sz="1200" b="1" kern="0" dirty="0">
                  <a:solidFill>
                    <a:srgbClr val="000000"/>
                  </a:solidFill>
                  <a:latin typeface="Segoe UI Light" panose="020B0502040204020203" pitchFamily="34" charset="0"/>
                  <a:cs typeface="Segoe UI Light" panose="020B0502040204020203" pitchFamily="34" charset="0"/>
                </a:rPr>
                <a:t>Start’ </a:t>
              </a:r>
              <a:r>
                <a:rPr lang="nl-NL" sz="1200" kern="0" dirty="0">
                  <a:solidFill>
                    <a:srgbClr val="000000"/>
                  </a:solidFill>
                  <a:latin typeface="Segoe UI Light" panose="020B0502040204020203" pitchFamily="34" charset="0"/>
                  <a:cs typeface="Segoe UI Light" panose="020B0502040204020203" pitchFamily="34" charset="0"/>
                </a:rPr>
                <a:t>en vind onderstaande knoppen onder </a:t>
              </a:r>
              <a:r>
                <a:rPr lang="nl-NL" sz="1200" b="1" kern="0" dirty="0">
                  <a:solidFill>
                    <a:srgbClr val="000000"/>
                  </a:solidFill>
                  <a:latin typeface="Segoe UI Light" panose="020B0502040204020203" pitchFamily="34" charset="0"/>
                  <a:cs typeface="Segoe UI Light" panose="020B0502040204020203" pitchFamily="34" charset="0"/>
                </a:rPr>
                <a:t>‘Alinea’</a:t>
              </a:r>
            </a:p>
          </p:txBody>
        </p:sp>
        <p:sp>
          <p:nvSpPr>
            <p:cNvPr id="243" name="Ovaal 242"/>
            <p:cNvSpPr/>
            <p:nvPr userDrawn="1"/>
          </p:nvSpPr>
          <p:spPr>
            <a:xfrm>
              <a:off x="-2959433" y="375153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6</a:t>
              </a:r>
            </a:p>
          </p:txBody>
        </p:sp>
        <p:sp>
          <p:nvSpPr>
            <p:cNvPr id="244" name="Textfield placeholder"/>
            <p:cNvSpPr txBox="1">
              <a:spLocks/>
            </p:cNvSpPr>
            <p:nvPr userDrawn="1"/>
          </p:nvSpPr>
          <p:spPr>
            <a:xfrm>
              <a:off x="-2571950" y="3751536"/>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0000" lvl="5" indent="-270000" defTabSz="179388">
                <a:lnSpc>
                  <a:spcPct val="120000"/>
                </a:lnSpc>
                <a:spcAft>
                  <a:spcPts val="900"/>
                </a:spcAft>
                <a:buClr>
                  <a:srgbClr val="ED1A3B"/>
                </a:buClr>
                <a:buSzPct val="80000"/>
                <a:buFont typeface="Wingdings 3" panose="05040102010807070707" pitchFamily="18" charset="2"/>
                <a:buChar char=""/>
                <a:defRPr/>
              </a:pPr>
              <a:r>
                <a:rPr lang="nl-NL" sz="1200" cap="none" dirty="0">
                  <a:solidFill>
                    <a:srgbClr val="535353"/>
                  </a:solidFill>
                </a:rPr>
                <a:t># Bullets (12 pt.)</a:t>
              </a:r>
            </a:p>
          </p:txBody>
        </p:sp>
        <p:sp>
          <p:nvSpPr>
            <p:cNvPr id="245" name="Ovaal 244"/>
            <p:cNvSpPr/>
            <p:nvPr userDrawn="1"/>
          </p:nvSpPr>
          <p:spPr>
            <a:xfrm>
              <a:off x="-2959433" y="414870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7</a:t>
              </a:r>
            </a:p>
          </p:txBody>
        </p:sp>
        <p:sp>
          <p:nvSpPr>
            <p:cNvPr id="246" name="Textfield placeholder"/>
            <p:cNvSpPr txBox="1">
              <a:spLocks/>
            </p:cNvSpPr>
            <p:nvPr userDrawn="1"/>
          </p:nvSpPr>
          <p:spPr>
            <a:xfrm>
              <a:off x="-2571950" y="414870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6" indent="0" defTabSz="179388">
                <a:lnSpc>
                  <a:spcPct val="120000"/>
                </a:lnSpc>
                <a:spcBef>
                  <a:spcPts val="0"/>
                </a:spcBef>
                <a:spcAft>
                  <a:spcPts val="900"/>
                </a:spcAft>
                <a:buClr>
                  <a:srgbClr val="ED1A3B"/>
                </a:buClr>
                <a:buSzPct val="90000"/>
                <a:buFont typeface="+mj-lt"/>
                <a:buNone/>
                <a:defRPr/>
              </a:pPr>
              <a:r>
                <a:rPr lang="nl-NL" sz="1200" i="1" dirty="0">
                  <a:solidFill>
                    <a:srgbClr val="404040"/>
                  </a:solidFill>
                </a:rPr>
                <a:t>Cursief donker (12 pt.)</a:t>
              </a:r>
            </a:p>
          </p:txBody>
        </p:sp>
        <p:sp>
          <p:nvSpPr>
            <p:cNvPr id="247" name="Ovaal 246"/>
            <p:cNvSpPr/>
            <p:nvPr userDrawn="1"/>
          </p:nvSpPr>
          <p:spPr>
            <a:xfrm>
              <a:off x="-2959433" y="454586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8</a:t>
              </a:r>
            </a:p>
          </p:txBody>
        </p:sp>
        <p:sp>
          <p:nvSpPr>
            <p:cNvPr id="248" name="Textfield placeholder"/>
            <p:cNvSpPr txBox="1">
              <a:spLocks/>
            </p:cNvSpPr>
            <p:nvPr userDrawn="1"/>
          </p:nvSpPr>
          <p:spPr>
            <a:xfrm>
              <a:off x="-2571950" y="4545864"/>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7" indent="0" defTabSz="179388">
                <a:lnSpc>
                  <a:spcPct val="80000"/>
                </a:lnSpc>
                <a:spcBef>
                  <a:spcPts val="0"/>
                </a:spcBef>
                <a:spcAft>
                  <a:spcPts val="900"/>
                </a:spcAft>
                <a:buClr>
                  <a:srgbClr val="ED1A3B"/>
                </a:buClr>
                <a:buFont typeface="Arial" pitchFamily="34" charset="0"/>
                <a:buNone/>
                <a:defRPr/>
              </a:pPr>
              <a:r>
                <a:rPr lang="nl-NL" sz="1200" i="1" dirty="0">
                  <a:solidFill>
                    <a:srgbClr val="A3B0C0"/>
                  </a:solidFill>
                </a:rPr>
                <a:t>Cursief Licht (12 pt.)</a:t>
              </a:r>
            </a:p>
          </p:txBody>
        </p:sp>
        <p:sp>
          <p:nvSpPr>
            <p:cNvPr id="249" name="Ovaal 248"/>
            <p:cNvSpPr/>
            <p:nvPr userDrawn="1"/>
          </p:nvSpPr>
          <p:spPr>
            <a:xfrm>
              <a:off x="-2959433" y="488761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9</a:t>
              </a:r>
            </a:p>
          </p:txBody>
        </p:sp>
        <p:sp>
          <p:nvSpPr>
            <p:cNvPr id="250" name="Textfield placeholder"/>
            <p:cNvSpPr txBox="1">
              <a:spLocks/>
            </p:cNvSpPr>
            <p:nvPr userDrawn="1"/>
          </p:nvSpPr>
          <p:spPr>
            <a:xfrm>
              <a:off x="-2571950" y="488761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8" indent="0" defTabSz="179388">
                <a:lnSpc>
                  <a:spcPct val="80000"/>
                </a:lnSpc>
                <a:spcBef>
                  <a:spcPts val="0"/>
                </a:spcBef>
                <a:spcAft>
                  <a:spcPts val="900"/>
                </a:spcAft>
                <a:buClr>
                  <a:srgbClr val="ED1A3B"/>
                </a:buClr>
                <a:buFont typeface="Arial" pitchFamily="34" charset="0"/>
                <a:buNone/>
                <a:defRPr/>
              </a:pPr>
              <a:r>
                <a:rPr lang="nl-NL" sz="1400" b="1" dirty="0">
                  <a:solidFill>
                    <a:srgbClr val="ED1A3B"/>
                  </a:solidFill>
                </a:rPr>
                <a:t>Subtitel (14 pt.)</a:t>
              </a:r>
            </a:p>
          </p:txBody>
        </p:sp>
      </p:grpSp>
      <p:sp>
        <p:nvSpPr>
          <p:cNvPr id="120" name="Hyperlink - Inhoudsopgave">
            <a:hlinkClick r:id="rId5" action="ppaction://hlinksldjump"/>
          </p:cNvPr>
          <p:cNvSpPr/>
          <p:nvPr userDrawn="1"/>
        </p:nvSpPr>
        <p:spPr>
          <a:xfrm>
            <a:off x="10197856" y="5889801"/>
            <a:ext cx="2000494" cy="968199"/>
          </a:xfrm>
          <a:prstGeom prst="rect">
            <a:avLst/>
          </a:prstGeom>
          <a:solidFill>
            <a:srgbClr val="ED1A3B">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cxnSp>
        <p:nvCxnSpPr>
          <p:cNvPr id="15" name="Grijze lijn - boven"/>
          <p:cNvCxnSpPr/>
          <p:nvPr/>
        </p:nvCxnSpPr>
        <p:spPr>
          <a:xfrm flipH="1">
            <a:off x="664804" y="1358670"/>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3" name="Scheidingslijn - Pasfoto_01 / Pasfoto_02"/>
          <p:cNvCxnSpPr/>
          <p:nvPr/>
        </p:nvCxnSpPr>
        <p:spPr>
          <a:xfrm>
            <a:off x="5875835" y="1670861"/>
            <a:ext cx="0" cy="3816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8" name="Tijdelijke aanduiding voor Dianummer"/>
          <p:cNvSpPr>
            <a:spLocks noGrp="1"/>
          </p:cNvSpPr>
          <p:nvPr>
            <p:ph type="sldNum" sz="quarter" idx="4"/>
          </p:nvPr>
        </p:nvSpPr>
        <p:spPr>
          <a:xfrm>
            <a:off x="5770549" y="6295992"/>
            <a:ext cx="657251" cy="365125"/>
          </a:xfrm>
          <a:prstGeom prst="rect">
            <a:avLst/>
          </a:prstGeom>
        </p:spPr>
        <p:txBody>
          <a:bodyPr vert="horz" lIns="91440" tIns="45720" rIns="91440" bIns="45720" rtlCol="0" anchor="ctr"/>
          <a:lstStyle>
            <a:lvl1pPr algn="ctr">
              <a:defRPr sz="800">
                <a:solidFill>
                  <a:schemeClr val="tx1">
                    <a:tint val="75000"/>
                  </a:schemeClr>
                </a:solidFill>
              </a:defRPr>
            </a:lvl1pPr>
          </a:lstStyle>
          <a:p>
            <a:fld id="{1B3FA67A-C720-417A-A072-0CD211FD8662}" type="slidenum">
              <a:rPr lang="nl-NL" smtClean="0">
                <a:solidFill>
                  <a:srgbClr val="000000">
                    <a:tint val="75000"/>
                  </a:srgbClr>
                </a:solidFill>
              </a:rPr>
              <a:pPr/>
              <a:t>‹nr.›</a:t>
            </a:fld>
            <a:endParaRPr lang="nl-NL" dirty="0">
              <a:solidFill>
                <a:srgbClr val="000000">
                  <a:tint val="75000"/>
                </a:srgbClr>
              </a:solidFill>
            </a:endParaRPr>
          </a:p>
        </p:txBody>
      </p:sp>
      <p:sp>
        <p:nvSpPr>
          <p:cNvPr id="20" name="Tijdelijke aanduiding voor Pasfoto_02"/>
          <p:cNvSpPr>
            <a:spLocks noGrp="1"/>
          </p:cNvSpPr>
          <p:nvPr>
            <p:ph type="pic" idx="21"/>
          </p:nvPr>
        </p:nvSpPr>
        <p:spPr>
          <a:xfrm>
            <a:off x="6099175" y="1692127"/>
            <a:ext cx="1022581" cy="1089008"/>
          </a:xfrm>
          <a:solidFill>
            <a:schemeClr val="accent5">
              <a:lumMod val="20000"/>
              <a:lumOff val="80000"/>
            </a:schemeClr>
          </a:solidFill>
          <a:ln w="19050">
            <a:solidFill>
              <a:schemeClr val="accent6"/>
            </a:solidFill>
            <a:miter lim="800000"/>
          </a:ln>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p>
        </p:txBody>
      </p:sp>
      <p:sp>
        <p:nvSpPr>
          <p:cNvPr id="11" name="Tijdelijke aanduiding voor Pasfoto_01"/>
          <p:cNvSpPr>
            <a:spLocks noGrp="1"/>
          </p:cNvSpPr>
          <p:nvPr>
            <p:ph type="pic" idx="13"/>
          </p:nvPr>
        </p:nvSpPr>
        <p:spPr>
          <a:xfrm>
            <a:off x="688875" y="1692127"/>
            <a:ext cx="1022581" cy="1089008"/>
          </a:xfrm>
          <a:solidFill>
            <a:schemeClr val="accent5">
              <a:lumMod val="20000"/>
              <a:lumOff val="80000"/>
            </a:schemeClr>
          </a:solidFill>
          <a:ln w="19050">
            <a:solidFill>
              <a:schemeClr val="accent6"/>
            </a:solidFill>
            <a:miter lim="800000"/>
          </a:ln>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117" name="Tijdelijke aanduiding voor Tekst bij Pasfoto_02"/>
          <p:cNvSpPr>
            <a:spLocks noGrp="1"/>
          </p:cNvSpPr>
          <p:nvPr>
            <p:ph type="body" orient="vert" idx="24" hasCustomPrompt="1"/>
          </p:nvPr>
        </p:nvSpPr>
        <p:spPr>
          <a:xfrm>
            <a:off x="7326350" y="1692127"/>
            <a:ext cx="3442496" cy="3693600"/>
          </a:xfrm>
        </p:spPr>
        <p:txBody>
          <a:bodyPr vert="horz" lIns="0" tIns="0" rIns="0" bIns="0" numCol="1"/>
          <a:lstStyle>
            <a:lvl1pPr>
              <a:defRPr sz="1200"/>
            </a:lvl1pPr>
            <a:lvl2pPr marL="180975" indent="-180975">
              <a:defRPr sz="1200"/>
            </a:lvl2pPr>
            <a:lvl3pPr marL="360363" indent="-179388">
              <a:defRPr sz="1200"/>
            </a:lvl3pPr>
            <a:lvl4pPr marL="541338" indent="-180975">
              <a:defRPr sz="1200"/>
            </a:lvl4pPr>
            <a:lvl5pPr marL="265113" indent="-265113">
              <a:defRPr sz="1200"/>
            </a:lvl5pPr>
            <a:lvl6pPr marL="444500" indent="-179388">
              <a:defRPr sz="1200"/>
            </a:lvl6pPr>
            <a:lvl7pPr>
              <a:defRPr sz="1200"/>
            </a:lvl7pPr>
            <a:lvl8pPr>
              <a:defRPr sz="1200"/>
            </a:lvl8pPr>
            <a:lvl9pPr>
              <a:defRPr sz="1400"/>
            </a:lvl9pPr>
          </a:lstStyle>
          <a:p>
            <a:pPr lvl="0"/>
            <a:r>
              <a:rPr lang="nl-NL" dirty="0"/>
              <a:t>Leestekst</a:t>
            </a:r>
          </a:p>
          <a:p>
            <a:pPr lvl="1"/>
            <a:r>
              <a:rPr lang="nl-NL" dirty="0"/>
              <a:t>Bullets</a:t>
            </a:r>
          </a:p>
          <a:p>
            <a:pPr lvl="2"/>
            <a:r>
              <a:rPr lang="nl-NL" dirty="0"/>
              <a:t>Sub-bullets</a:t>
            </a:r>
          </a:p>
          <a:p>
            <a:pPr lvl="3"/>
            <a:r>
              <a:rPr lang="nl-NL" dirty="0"/>
              <a:t>Sub-sub-bullets</a:t>
            </a:r>
          </a:p>
          <a:p>
            <a:pPr lvl="4"/>
            <a:r>
              <a:rPr lang="nl-NL" dirty="0"/>
              <a:t>Numeriek</a:t>
            </a:r>
          </a:p>
          <a:p>
            <a:pPr lvl="5"/>
            <a:r>
              <a:rPr lang="nl-NL" dirty="0"/>
              <a:t># Bullets</a:t>
            </a:r>
          </a:p>
          <a:p>
            <a:pPr lvl="6"/>
            <a:r>
              <a:rPr lang="nl-NL" dirty="0"/>
              <a:t>Cursief donker</a:t>
            </a:r>
          </a:p>
          <a:p>
            <a:pPr lvl="7"/>
            <a:r>
              <a:rPr lang="nl-NL" dirty="0"/>
              <a:t>Cursief licht</a:t>
            </a:r>
          </a:p>
          <a:p>
            <a:pPr lvl="8"/>
            <a:r>
              <a:rPr lang="nl-NL" dirty="0"/>
              <a:t>Subtitel</a:t>
            </a:r>
          </a:p>
        </p:txBody>
      </p:sp>
      <p:sp>
        <p:nvSpPr>
          <p:cNvPr id="116" name="Tijdelijke aanduiding voor Tekst bij Pasfoto_01"/>
          <p:cNvSpPr>
            <a:spLocks noGrp="1"/>
          </p:cNvSpPr>
          <p:nvPr>
            <p:ph type="body" orient="vert" idx="15" hasCustomPrompt="1"/>
          </p:nvPr>
        </p:nvSpPr>
        <p:spPr>
          <a:xfrm>
            <a:off x="1883018" y="1692127"/>
            <a:ext cx="3442496" cy="3693600"/>
          </a:xfrm>
        </p:spPr>
        <p:txBody>
          <a:bodyPr vert="horz" lIns="0" tIns="0" rIns="0" bIns="0" numCol="1"/>
          <a:lstStyle>
            <a:lvl1pPr>
              <a:defRPr sz="1200"/>
            </a:lvl1pPr>
            <a:lvl2pPr marL="180975" indent="-180975">
              <a:defRPr sz="1200"/>
            </a:lvl2pPr>
            <a:lvl3pPr marL="360363" indent="-179388">
              <a:defRPr sz="1200"/>
            </a:lvl3pPr>
            <a:lvl4pPr marL="541338" indent="-180975">
              <a:defRPr sz="1200"/>
            </a:lvl4pPr>
            <a:lvl5pPr marL="265113" indent="-265113">
              <a:defRPr sz="1200"/>
            </a:lvl5pPr>
            <a:lvl6pPr marL="444500" indent="-179388">
              <a:defRPr sz="1200"/>
            </a:lvl6pPr>
            <a:lvl7pPr>
              <a:defRPr sz="1200"/>
            </a:lvl7pPr>
            <a:lvl8pPr>
              <a:defRPr sz="1200"/>
            </a:lvl8pPr>
            <a:lvl9pPr>
              <a:defRPr sz="1400"/>
            </a:lvl9pPr>
          </a:lstStyle>
          <a:p>
            <a:pPr lvl="0"/>
            <a:r>
              <a:rPr lang="nl-NL" dirty="0"/>
              <a:t>Leestekst</a:t>
            </a:r>
          </a:p>
          <a:p>
            <a:pPr lvl="1"/>
            <a:r>
              <a:rPr lang="nl-NL" dirty="0"/>
              <a:t>Bullets</a:t>
            </a:r>
          </a:p>
          <a:p>
            <a:pPr lvl="2"/>
            <a:r>
              <a:rPr lang="nl-NL" dirty="0"/>
              <a:t>Sub-bullets</a:t>
            </a:r>
          </a:p>
          <a:p>
            <a:pPr lvl="3"/>
            <a:r>
              <a:rPr lang="nl-NL" dirty="0"/>
              <a:t>Sub-sub-bullets</a:t>
            </a:r>
          </a:p>
          <a:p>
            <a:pPr lvl="4"/>
            <a:r>
              <a:rPr lang="nl-NL" dirty="0"/>
              <a:t>Numeriek</a:t>
            </a:r>
          </a:p>
          <a:p>
            <a:pPr lvl="5"/>
            <a:r>
              <a:rPr lang="nl-NL" dirty="0"/>
              <a:t># Bullets</a:t>
            </a:r>
          </a:p>
          <a:p>
            <a:pPr lvl="6"/>
            <a:r>
              <a:rPr lang="nl-NL" dirty="0"/>
              <a:t>Cursief donker</a:t>
            </a:r>
          </a:p>
          <a:p>
            <a:pPr lvl="7"/>
            <a:r>
              <a:rPr lang="nl-NL" dirty="0"/>
              <a:t>Cursief licht</a:t>
            </a:r>
          </a:p>
          <a:p>
            <a:pPr lvl="8"/>
            <a:r>
              <a:rPr lang="nl-NL" dirty="0"/>
              <a:t>Subtitel</a:t>
            </a:r>
          </a:p>
        </p:txBody>
      </p:sp>
      <p:sp>
        <p:nvSpPr>
          <p:cNvPr id="14" name="Tijdelijke aanduiding voor Subtitel"/>
          <p:cNvSpPr>
            <a:spLocks noGrp="1"/>
          </p:cNvSpPr>
          <p:nvPr>
            <p:ph type="body" idx="14"/>
          </p:nvPr>
        </p:nvSpPr>
        <p:spPr>
          <a:xfrm>
            <a:off x="664109" y="1001348"/>
            <a:ext cx="10870131" cy="317758"/>
          </a:xfrm>
        </p:spPr>
        <p:txBody>
          <a:bodyPr bIns="72000" anchor="t" anchorCtr="0"/>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2" name="Tijdelijke aanduiding voor Titel"/>
          <p:cNvSpPr>
            <a:spLocks noGrp="1"/>
          </p:cNvSpPr>
          <p:nvPr>
            <p:ph type="title"/>
          </p:nvPr>
        </p:nvSpPr>
        <p:spPr>
          <a:xfrm>
            <a:off x="664109" y="464521"/>
            <a:ext cx="10870131" cy="533219"/>
          </a:xfrm>
        </p:spPr>
        <p:txBody>
          <a:bodyPr/>
          <a:lstStyle/>
          <a:p>
            <a:r>
              <a:rPr lang="nl-NL"/>
              <a:t>Klik om stijl te bewerken</a:t>
            </a:r>
            <a:endParaRPr lang="nl-NL" dirty="0"/>
          </a:p>
        </p:txBody>
      </p:sp>
    </p:spTree>
    <p:extLst>
      <p:ext uri="{BB962C8B-B14F-4D97-AF65-F5344CB8AC3E}">
        <p14:creationId xmlns:p14="http://schemas.microsoft.com/office/powerpoint/2010/main" val="2683232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Voorstellen pasfoto 1x">
    <p:spTree>
      <p:nvGrpSpPr>
        <p:cNvPr id="1" name=""/>
        <p:cNvGrpSpPr/>
        <p:nvPr/>
      </p:nvGrpSpPr>
      <p:grpSpPr>
        <a:xfrm>
          <a:off x="0" y="0"/>
          <a:ext cx="0" cy="0"/>
          <a:chOff x="0" y="0"/>
          <a:chExt cx="0" cy="0"/>
        </a:xfrm>
      </p:grpSpPr>
      <p:sp>
        <p:nvSpPr>
          <p:cNvPr id="231" name="Rechthoek 230"/>
          <p:cNvSpPr/>
          <p:nvPr userDrawn="1"/>
        </p:nvSpPr>
        <p:spPr>
          <a:xfrm>
            <a:off x="3290863" y="1358671"/>
            <a:ext cx="8243377" cy="444046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en-GB">
              <a:solidFill>
                <a:srgbClr val="FFFFFF"/>
              </a:solidFill>
            </a:endParaRPr>
          </a:p>
        </p:txBody>
      </p:sp>
      <p:sp>
        <p:nvSpPr>
          <p:cNvPr id="2" name="Titel 1"/>
          <p:cNvSpPr>
            <a:spLocks noGrp="1"/>
          </p:cNvSpPr>
          <p:nvPr>
            <p:ph type="title"/>
          </p:nvPr>
        </p:nvSpPr>
        <p:spPr>
          <a:xfrm>
            <a:off x="664109" y="464521"/>
            <a:ext cx="10870131" cy="533219"/>
          </a:xfrm>
        </p:spPr>
        <p:txBody>
          <a:bodyPr/>
          <a:lstStyle/>
          <a:p>
            <a:r>
              <a:rPr lang="nl-NL"/>
              <a:t>Klik om stijl te bewerken</a:t>
            </a:r>
            <a:endParaRPr lang="nl-NL" dirty="0"/>
          </a:p>
        </p:txBody>
      </p:sp>
      <p:sp>
        <p:nvSpPr>
          <p:cNvPr id="17" name="Tijdelijke aanduiding voor tekst 2"/>
          <p:cNvSpPr>
            <a:spLocks noGrp="1"/>
          </p:cNvSpPr>
          <p:nvPr>
            <p:ph type="body" idx="14"/>
          </p:nvPr>
        </p:nvSpPr>
        <p:spPr>
          <a:xfrm>
            <a:off x="664109" y="1001348"/>
            <a:ext cx="10870131" cy="317758"/>
          </a:xfrm>
        </p:spPr>
        <p:txBody>
          <a:bodyPr bIns="72000" anchor="t" anchorCtr="0"/>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11" name="Tijdelijke aanduiding voor afbeelding 2"/>
          <p:cNvSpPr>
            <a:spLocks noGrp="1"/>
          </p:cNvSpPr>
          <p:nvPr>
            <p:ph type="pic" idx="13"/>
          </p:nvPr>
        </p:nvSpPr>
        <p:spPr>
          <a:xfrm>
            <a:off x="688875" y="1692127"/>
            <a:ext cx="1022581" cy="1089008"/>
          </a:xfrm>
          <a:solidFill>
            <a:schemeClr val="accent5">
              <a:lumMod val="20000"/>
              <a:lumOff val="80000"/>
            </a:schemeClr>
          </a:solidFill>
          <a:ln w="19050">
            <a:solidFill>
              <a:schemeClr val="accent6"/>
            </a:solidFill>
            <a:miter lim="800000"/>
          </a:ln>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16" name="Tekstvak 15"/>
          <p:cNvSpPr txBox="1"/>
          <p:nvPr/>
        </p:nvSpPr>
        <p:spPr>
          <a:xfrm>
            <a:off x="1" y="-453266"/>
            <a:ext cx="3582333" cy="276999"/>
          </a:xfrm>
          <a:prstGeom prst="rect">
            <a:avLst/>
          </a:prstGeom>
          <a:noFill/>
        </p:spPr>
        <p:txBody>
          <a:bodyPr wrap="square" lIns="0" tIns="0" rIns="0" bIns="0" rtlCol="0">
            <a:spAutoFit/>
          </a:bodyPr>
          <a:lstStyle/>
          <a:p>
            <a:pPr defTabSz="914112"/>
            <a:r>
              <a:rPr lang="nl-NL" dirty="0">
                <a:solidFill>
                  <a:srgbClr val="404040"/>
                </a:solidFill>
                <a:latin typeface="Calibri" panose="020F0502020204030204" pitchFamily="34" charset="0"/>
              </a:rPr>
              <a:t>Voorstellen pasfoto 1x</a:t>
            </a:r>
            <a:endParaRPr lang="en-GB" dirty="0">
              <a:solidFill>
                <a:srgbClr val="404040"/>
              </a:solidFill>
              <a:latin typeface="Calibri" panose="020F0502020204030204" pitchFamily="34" charset="0"/>
            </a:endParaRPr>
          </a:p>
        </p:txBody>
      </p:sp>
      <p:cxnSp>
        <p:nvCxnSpPr>
          <p:cNvPr id="21" name="Rechte verbindingslijn 20"/>
          <p:cNvCxnSpPr/>
          <p:nvPr/>
        </p:nvCxnSpPr>
        <p:spPr>
          <a:xfrm flipH="1">
            <a:off x="664804" y="1358670"/>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25" name="Instructie Tekst"/>
          <p:cNvGrpSpPr/>
          <p:nvPr/>
        </p:nvGrpSpPr>
        <p:grpSpPr>
          <a:xfrm>
            <a:off x="-2916872" y="0"/>
            <a:ext cx="2688757" cy="5254722"/>
            <a:chOff x="-2959433" y="-5444"/>
            <a:chExt cx="2688057" cy="5254722"/>
          </a:xfrm>
        </p:grpSpPr>
        <p:sp>
          <p:nvSpPr>
            <p:cNvPr id="28" name="Rechthoek 27"/>
            <p:cNvSpPr/>
            <p:nvPr/>
          </p:nvSpPr>
          <p:spPr>
            <a:xfrm>
              <a:off x="-2959433" y="-5444"/>
              <a:ext cx="2572469" cy="280344"/>
            </a:xfrm>
            <a:prstGeom prst="rect">
              <a:avLst/>
            </a:prstGeom>
            <a:noFill/>
            <a:ln w="25400" cap="flat" cmpd="sng" algn="ctr">
              <a:noFill/>
              <a:prstDash val="solid"/>
            </a:ln>
            <a:effectLst/>
          </p:spPr>
          <p:txBody>
            <a:bodyPr lIns="0" tIns="0" rIns="0" bIns="0" rtlCol="0" anchor="t"/>
            <a:lstStyle/>
            <a:p>
              <a:pPr>
                <a:lnSpc>
                  <a:spcPct val="80000"/>
                </a:lnSpc>
                <a:defRPr/>
              </a:pPr>
              <a:r>
                <a:rPr lang="nl-NL" sz="1600" b="1" kern="0" dirty="0">
                  <a:solidFill>
                    <a:srgbClr val="ED1A3B"/>
                  </a:solidFill>
                  <a:cs typeface="Segoe UI Light" panose="020B0502040204020203" pitchFamily="34" charset="0"/>
                </a:rPr>
                <a:t>TEKST NIVEAUS</a:t>
              </a:r>
            </a:p>
          </p:txBody>
        </p:sp>
        <p:sp>
          <p:nvSpPr>
            <p:cNvPr id="29" name="Textfield placeholder"/>
            <p:cNvSpPr txBox="1">
              <a:spLocks/>
            </p:cNvSpPr>
            <p:nvPr/>
          </p:nvSpPr>
          <p:spPr>
            <a:xfrm>
              <a:off x="-2587337" y="2675411"/>
              <a:ext cx="2163709" cy="259683"/>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358775" lvl="2" indent="-179388" defTabSz="179388">
                <a:lnSpc>
                  <a:spcPct val="120000"/>
                </a:lnSpc>
                <a:spcBef>
                  <a:spcPts val="0"/>
                </a:spcBef>
                <a:spcAft>
                  <a:spcPts val="900"/>
                </a:spcAft>
                <a:buClr>
                  <a:srgbClr val="ED1A3B"/>
                </a:buClr>
                <a:buSzPct val="80000"/>
                <a:buFont typeface="Trebuchet MS" pitchFamily="34" charset="0"/>
                <a:buChar char="□"/>
                <a:defRPr/>
              </a:pPr>
              <a:r>
                <a:rPr lang="nl-NL" sz="1200" dirty="0">
                  <a:solidFill>
                    <a:srgbClr val="404040"/>
                  </a:solidFill>
                </a:rPr>
                <a:t>Sub-bullets (12 pt.)</a:t>
              </a:r>
            </a:p>
          </p:txBody>
        </p:sp>
        <p:sp>
          <p:nvSpPr>
            <p:cNvPr id="30" name="Ovaal 29"/>
            <p:cNvSpPr/>
            <p:nvPr/>
          </p:nvSpPr>
          <p:spPr>
            <a:xfrm>
              <a:off x="-2959433" y="196874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nl-NL" sz="1050" kern="0" dirty="0">
                  <a:solidFill>
                    <a:prstClr val="white"/>
                  </a:solidFill>
                  <a:cs typeface="Segoe UI Light" panose="020B0502040204020203" pitchFamily="34" charset="0"/>
                </a:rPr>
                <a:t>1</a:t>
              </a:r>
            </a:p>
          </p:txBody>
        </p:sp>
        <p:sp>
          <p:nvSpPr>
            <p:cNvPr id="31" name="Ovaal 30"/>
            <p:cNvSpPr/>
            <p:nvPr/>
          </p:nvSpPr>
          <p:spPr>
            <a:xfrm>
              <a:off x="-2959433" y="2322077"/>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nl-NL" sz="1050" kern="0" dirty="0">
                  <a:solidFill>
                    <a:prstClr val="white"/>
                  </a:solidFill>
                  <a:cs typeface="Segoe UI Light" panose="020B0502040204020203" pitchFamily="34" charset="0"/>
                </a:rPr>
                <a:t>2</a:t>
              </a:r>
            </a:p>
          </p:txBody>
        </p:sp>
        <p:sp>
          <p:nvSpPr>
            <p:cNvPr id="32" name="Ovaal 31"/>
            <p:cNvSpPr/>
            <p:nvPr/>
          </p:nvSpPr>
          <p:spPr>
            <a:xfrm>
              <a:off x="-2959433" y="267541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nl-NL" sz="1050" kern="0" dirty="0">
                  <a:solidFill>
                    <a:prstClr val="white"/>
                  </a:solidFill>
                  <a:cs typeface="Segoe UI Light" panose="020B0502040204020203" pitchFamily="34" charset="0"/>
                </a:rPr>
                <a:t>3</a:t>
              </a:r>
            </a:p>
          </p:txBody>
        </p:sp>
        <p:sp>
          <p:nvSpPr>
            <p:cNvPr id="33" name="Ovaal 32"/>
            <p:cNvSpPr/>
            <p:nvPr/>
          </p:nvSpPr>
          <p:spPr>
            <a:xfrm>
              <a:off x="-2959433" y="3028747"/>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nl-NL" sz="1050" kern="0" dirty="0">
                  <a:solidFill>
                    <a:prstClr val="white"/>
                  </a:solidFill>
                  <a:cs typeface="Segoe UI Light" panose="020B0502040204020203" pitchFamily="34" charset="0"/>
                </a:rPr>
                <a:t>4</a:t>
              </a:r>
            </a:p>
          </p:txBody>
        </p:sp>
        <p:sp>
          <p:nvSpPr>
            <p:cNvPr id="34" name="Textfield placeholder"/>
            <p:cNvSpPr txBox="1">
              <a:spLocks/>
            </p:cNvSpPr>
            <p:nvPr/>
          </p:nvSpPr>
          <p:spPr>
            <a:xfrm>
              <a:off x="-2571950" y="1966925"/>
              <a:ext cx="2163709" cy="26150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defTabSz="179388">
                <a:lnSpc>
                  <a:spcPct val="120000"/>
                </a:lnSpc>
                <a:spcBef>
                  <a:spcPts val="0"/>
                </a:spcBef>
                <a:spcAft>
                  <a:spcPts val="900"/>
                </a:spcAft>
                <a:buClr>
                  <a:srgbClr val="000000"/>
                </a:buClr>
                <a:buSzPct val="100000"/>
                <a:buFont typeface="Arial" pitchFamily="34" charset="0"/>
                <a:buNone/>
                <a:defRPr/>
              </a:pPr>
              <a:r>
                <a:rPr lang="nl-NL" sz="1200" dirty="0">
                  <a:solidFill>
                    <a:srgbClr val="535353"/>
                  </a:solidFill>
                </a:rPr>
                <a:t>Leestekst (12 pt.)</a:t>
              </a:r>
            </a:p>
          </p:txBody>
        </p:sp>
        <p:sp>
          <p:nvSpPr>
            <p:cNvPr id="35" name="Textfield placeholder"/>
            <p:cNvSpPr txBox="1">
              <a:spLocks/>
            </p:cNvSpPr>
            <p:nvPr/>
          </p:nvSpPr>
          <p:spPr>
            <a:xfrm>
              <a:off x="-2571950" y="2322077"/>
              <a:ext cx="2163709" cy="259683"/>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79388" lvl="1" indent="-179388" defTabSz="179388">
                <a:lnSpc>
                  <a:spcPct val="120000"/>
                </a:lnSpc>
                <a:spcBef>
                  <a:spcPts val="0"/>
                </a:spcBef>
                <a:spcAft>
                  <a:spcPts val="900"/>
                </a:spcAft>
                <a:buClr>
                  <a:srgbClr val="ED1A3B"/>
                </a:buClr>
                <a:buSzTx/>
                <a:buFont typeface="Wingdings" panose="05000000000000000000" pitchFamily="2" charset="2"/>
                <a:buChar char="§"/>
                <a:defRPr/>
              </a:pPr>
              <a:r>
                <a:rPr lang="nl-NL" sz="1200" dirty="0">
                  <a:solidFill>
                    <a:srgbClr val="535353"/>
                  </a:solidFill>
                </a:rPr>
                <a:t>Bullets (12 pt.)</a:t>
              </a:r>
            </a:p>
          </p:txBody>
        </p:sp>
        <p:sp>
          <p:nvSpPr>
            <p:cNvPr id="36" name="Textfield placeholder"/>
            <p:cNvSpPr txBox="1">
              <a:spLocks/>
            </p:cNvSpPr>
            <p:nvPr/>
          </p:nvSpPr>
          <p:spPr>
            <a:xfrm>
              <a:off x="-2571950" y="3028747"/>
              <a:ext cx="2163709" cy="259683"/>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11175" lvl="3" indent="-157163" defTabSz="179388">
                <a:lnSpc>
                  <a:spcPct val="120000"/>
                </a:lnSpc>
                <a:spcBef>
                  <a:spcPts val="0"/>
                </a:spcBef>
                <a:spcAft>
                  <a:spcPts val="900"/>
                </a:spcAft>
                <a:buClr>
                  <a:srgbClr val="404040"/>
                </a:buClr>
                <a:buFont typeface="Wingdings" pitchFamily="2" charset="2"/>
                <a:buChar char="§"/>
                <a:defRPr/>
              </a:pPr>
              <a:r>
                <a:rPr lang="nl-NL" sz="1200" b="0" dirty="0">
                  <a:solidFill>
                    <a:srgbClr val="404040"/>
                  </a:solidFill>
                </a:rPr>
                <a:t>Sub-sub-bullets (12 pt.)</a:t>
              </a:r>
            </a:p>
          </p:txBody>
        </p:sp>
        <p:cxnSp>
          <p:nvCxnSpPr>
            <p:cNvPr id="37" name="Rechte verbindingslijn 36"/>
            <p:cNvCxnSpPr/>
            <p:nvPr/>
          </p:nvCxnSpPr>
          <p:spPr>
            <a:xfrm>
              <a:off x="-2959100" y="274900"/>
              <a:ext cx="2674470" cy="0"/>
            </a:xfrm>
            <a:prstGeom prst="line">
              <a:avLst/>
            </a:prstGeom>
            <a:noFill/>
            <a:ln w="9525" cap="flat" cmpd="sng" algn="ctr">
              <a:solidFill>
                <a:schemeClr val="accent1"/>
              </a:solidFill>
              <a:prstDash val="solid"/>
            </a:ln>
            <a:effectLst/>
          </p:spPr>
        </p:cxnSp>
        <p:cxnSp>
          <p:nvCxnSpPr>
            <p:cNvPr id="38" name="Rechte verbindingslijn 37"/>
            <p:cNvCxnSpPr/>
            <p:nvPr/>
          </p:nvCxnSpPr>
          <p:spPr>
            <a:xfrm>
              <a:off x="-2959100" y="1841989"/>
              <a:ext cx="2661379" cy="0"/>
            </a:xfrm>
            <a:prstGeom prst="line">
              <a:avLst/>
            </a:prstGeom>
            <a:noFill/>
            <a:ln w="9525" cap="flat" cmpd="sng" algn="ctr">
              <a:solidFill>
                <a:schemeClr val="accent1"/>
              </a:solidFill>
              <a:prstDash val="solid"/>
            </a:ln>
            <a:effectLst/>
          </p:spPr>
        </p:cxnSp>
        <p:cxnSp>
          <p:nvCxnSpPr>
            <p:cNvPr id="39" name="Rechte verbindingslijn 38"/>
            <p:cNvCxnSpPr/>
            <p:nvPr/>
          </p:nvCxnSpPr>
          <p:spPr>
            <a:xfrm>
              <a:off x="-2959100" y="5249278"/>
              <a:ext cx="2661379" cy="0"/>
            </a:xfrm>
            <a:prstGeom prst="line">
              <a:avLst/>
            </a:prstGeom>
            <a:noFill/>
            <a:ln w="9525" cap="flat" cmpd="sng" algn="ctr">
              <a:solidFill>
                <a:schemeClr val="accent1"/>
              </a:solidFill>
              <a:prstDash val="solid"/>
            </a:ln>
            <a:effectLst/>
          </p:spPr>
        </p:cxnSp>
        <p:grpSp>
          <p:nvGrpSpPr>
            <p:cNvPr id="40" name="Groep 39"/>
            <p:cNvGrpSpPr/>
            <p:nvPr/>
          </p:nvGrpSpPr>
          <p:grpSpPr>
            <a:xfrm>
              <a:off x="-1948476" y="816741"/>
              <a:ext cx="409108" cy="427699"/>
              <a:chOff x="-1085063" y="758027"/>
              <a:chExt cx="633799" cy="622540"/>
            </a:xfrm>
          </p:grpSpPr>
          <p:sp>
            <p:nvSpPr>
              <p:cNvPr id="96" name="Afgeronde rechthoek 94"/>
              <p:cNvSpPr/>
              <p:nvPr/>
            </p:nvSpPr>
            <p:spPr>
              <a:xfrm>
                <a:off x="-108506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grpSp>
            <p:nvGrpSpPr>
              <p:cNvPr id="97" name="Groep 96"/>
              <p:cNvGrpSpPr/>
              <p:nvPr/>
            </p:nvGrpSpPr>
            <p:grpSpPr>
              <a:xfrm>
                <a:off x="-977746" y="864082"/>
                <a:ext cx="419166" cy="410430"/>
                <a:chOff x="6366933" y="309013"/>
                <a:chExt cx="1901295" cy="1861668"/>
              </a:xfrm>
              <a:solidFill>
                <a:srgbClr val="000000"/>
              </a:solidFill>
            </p:grpSpPr>
            <p:sp>
              <p:nvSpPr>
                <p:cNvPr id="98" name="Rechthoek 97"/>
                <p:cNvSpPr/>
                <p:nvPr/>
              </p:nvSpPr>
              <p:spPr>
                <a:xfrm>
                  <a:off x="6608189" y="535149"/>
                  <a:ext cx="457575" cy="149549"/>
                </a:xfrm>
                <a:prstGeom prst="rect">
                  <a:avLst/>
                </a:prstGeom>
                <a:grp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99" name="Rechthoek 98"/>
                <p:cNvSpPr/>
                <p:nvPr/>
              </p:nvSpPr>
              <p:spPr>
                <a:xfrm>
                  <a:off x="6608189" y="1512611"/>
                  <a:ext cx="457575" cy="149549"/>
                </a:xfrm>
                <a:prstGeom prst="rect">
                  <a:avLst/>
                </a:prstGeom>
                <a:grp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100" name="Rechthoek 99"/>
                <p:cNvSpPr/>
                <p:nvPr/>
              </p:nvSpPr>
              <p:spPr>
                <a:xfrm>
                  <a:off x="6608189" y="1780625"/>
                  <a:ext cx="457575" cy="149549"/>
                </a:xfrm>
                <a:prstGeom prst="rect">
                  <a:avLst/>
                </a:prstGeom>
                <a:grp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101" name="Rechthoek 100"/>
                <p:cNvSpPr/>
                <p:nvPr/>
              </p:nvSpPr>
              <p:spPr>
                <a:xfrm>
                  <a:off x="7252238" y="535149"/>
                  <a:ext cx="1015990" cy="149549"/>
                </a:xfrm>
                <a:prstGeom prst="rect">
                  <a:avLst/>
                </a:prstGeom>
                <a:grp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102" name="Rechthoek 101"/>
                <p:cNvSpPr/>
                <p:nvPr/>
              </p:nvSpPr>
              <p:spPr>
                <a:xfrm>
                  <a:off x="7252238" y="1512611"/>
                  <a:ext cx="1015990" cy="149549"/>
                </a:xfrm>
                <a:prstGeom prst="rect">
                  <a:avLst/>
                </a:prstGeom>
                <a:grp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103" name="Rechthoek 102"/>
                <p:cNvSpPr/>
                <p:nvPr/>
              </p:nvSpPr>
              <p:spPr>
                <a:xfrm>
                  <a:off x="7252238" y="1780625"/>
                  <a:ext cx="177790" cy="149549"/>
                </a:xfrm>
                <a:prstGeom prst="rect">
                  <a:avLst/>
                </a:prstGeom>
                <a:grp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104" name="Rechthoek 103"/>
                <p:cNvSpPr/>
                <p:nvPr/>
              </p:nvSpPr>
              <p:spPr>
                <a:xfrm>
                  <a:off x="7252238" y="854236"/>
                  <a:ext cx="1015990" cy="149549"/>
                </a:xfrm>
                <a:prstGeom prst="rect">
                  <a:avLst/>
                </a:prstGeom>
                <a:grp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105" name="Rechthoek 104"/>
                <p:cNvSpPr/>
                <p:nvPr/>
              </p:nvSpPr>
              <p:spPr>
                <a:xfrm>
                  <a:off x="7252238" y="1191263"/>
                  <a:ext cx="606415" cy="199049"/>
                </a:xfrm>
                <a:prstGeom prst="rect">
                  <a:avLst/>
                </a:prstGeom>
                <a:grp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106" name="Rechthoek 105"/>
                <p:cNvSpPr/>
                <p:nvPr/>
              </p:nvSpPr>
              <p:spPr>
                <a:xfrm>
                  <a:off x="7252238" y="309013"/>
                  <a:ext cx="88895" cy="149549"/>
                </a:xfrm>
                <a:prstGeom prst="rect">
                  <a:avLst/>
                </a:prstGeom>
                <a:grp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107" name="Rechthoek 106"/>
                <p:cNvSpPr/>
                <p:nvPr/>
              </p:nvSpPr>
              <p:spPr>
                <a:xfrm>
                  <a:off x="7252238" y="2021132"/>
                  <a:ext cx="88895" cy="149549"/>
                </a:xfrm>
                <a:prstGeom prst="rect">
                  <a:avLst/>
                </a:prstGeom>
                <a:grp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108" name="Vrije vorm 106"/>
                <p:cNvSpPr/>
                <p:nvPr/>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grpSp>
        </p:grpSp>
        <p:grpSp>
          <p:nvGrpSpPr>
            <p:cNvPr id="41" name="Groep 40"/>
            <p:cNvGrpSpPr/>
            <p:nvPr/>
          </p:nvGrpSpPr>
          <p:grpSpPr>
            <a:xfrm>
              <a:off x="-2950232" y="1207835"/>
              <a:ext cx="532929" cy="509563"/>
              <a:chOff x="-2880382" y="802341"/>
              <a:chExt cx="532929" cy="509563"/>
            </a:xfrm>
          </p:grpSpPr>
          <p:sp>
            <p:nvSpPr>
              <p:cNvPr id="74" name="Rechthoek 73"/>
              <p:cNvSpPr/>
              <p:nvPr/>
            </p:nvSpPr>
            <p:spPr>
              <a:xfrm>
                <a:off x="-2880382" y="802341"/>
                <a:ext cx="532929" cy="509563"/>
              </a:xfrm>
              <a:prstGeom prst="rect">
                <a:avLst/>
              </a:prstGeom>
              <a:solidFill>
                <a:sysClr val="window" lastClr="FFFFFF"/>
              </a:solidFill>
              <a:ln w="12700" cap="flat" cmpd="sng" algn="ctr">
                <a:noFill/>
                <a:prstDash val="solid"/>
                <a:miter lim="800000"/>
              </a:ln>
              <a:effectLst/>
            </p:spPr>
            <p:txBody>
              <a:bodyPr rtlCol="0" anchor="ctr"/>
              <a:lstStyle/>
              <a:p>
                <a:pPr algn="ctr">
                  <a:defRPr/>
                </a:pPr>
                <a:endParaRPr lang="nl-NL" kern="0" dirty="0">
                  <a:solidFill>
                    <a:prstClr val="white"/>
                  </a:solidFill>
                  <a:latin typeface="Segoe UI Light"/>
                </a:endParaRPr>
              </a:p>
            </p:txBody>
          </p:sp>
          <p:pic>
            <p:nvPicPr>
              <p:cNvPr id="7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35852" y="822181"/>
                <a:ext cx="226442" cy="208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848026" y="822181"/>
                <a:ext cx="207168" cy="213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77" name="Groep 76"/>
              <p:cNvGrpSpPr/>
              <p:nvPr/>
            </p:nvGrpSpPr>
            <p:grpSpPr>
              <a:xfrm>
                <a:off x="-2802433" y="1123442"/>
                <a:ext cx="132915" cy="104889"/>
                <a:chOff x="-2796392" y="1123442"/>
                <a:chExt cx="120832" cy="104889"/>
              </a:xfrm>
            </p:grpSpPr>
            <p:sp>
              <p:nvSpPr>
                <p:cNvPr id="91" name="Rechthoek 90"/>
                <p:cNvSpPr/>
                <p:nvPr/>
              </p:nvSpPr>
              <p:spPr>
                <a:xfrm>
                  <a:off x="-2796392" y="1123442"/>
                  <a:ext cx="120832" cy="11624"/>
                </a:xfrm>
                <a:prstGeom prst="rect">
                  <a:avLst/>
                </a:prstGeom>
                <a:solidFill>
                  <a:srgbClr val="000000"/>
                </a:solid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92" name="Rechthoek 91"/>
                <p:cNvSpPr/>
                <p:nvPr/>
              </p:nvSpPr>
              <p:spPr>
                <a:xfrm>
                  <a:off x="-2796392" y="1146758"/>
                  <a:ext cx="120832" cy="11624"/>
                </a:xfrm>
                <a:prstGeom prst="rect">
                  <a:avLst/>
                </a:prstGeom>
                <a:solidFill>
                  <a:srgbClr val="000000"/>
                </a:solid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93" name="Rechthoek 92"/>
                <p:cNvSpPr/>
                <p:nvPr/>
              </p:nvSpPr>
              <p:spPr>
                <a:xfrm>
                  <a:off x="-2796392" y="1193390"/>
                  <a:ext cx="120832" cy="11624"/>
                </a:xfrm>
                <a:prstGeom prst="rect">
                  <a:avLst/>
                </a:prstGeom>
                <a:solidFill>
                  <a:srgbClr val="000000"/>
                </a:solid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94" name="Rechthoek 93"/>
                <p:cNvSpPr/>
                <p:nvPr/>
              </p:nvSpPr>
              <p:spPr>
                <a:xfrm>
                  <a:off x="-2796392" y="1216707"/>
                  <a:ext cx="120832" cy="11624"/>
                </a:xfrm>
                <a:prstGeom prst="rect">
                  <a:avLst/>
                </a:prstGeom>
                <a:solidFill>
                  <a:srgbClr val="000000"/>
                </a:solid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95" name="Rechthoek 94"/>
                <p:cNvSpPr/>
                <p:nvPr/>
              </p:nvSpPr>
              <p:spPr>
                <a:xfrm>
                  <a:off x="-2796392" y="1170074"/>
                  <a:ext cx="120832" cy="11624"/>
                </a:xfrm>
                <a:prstGeom prst="rect">
                  <a:avLst/>
                </a:prstGeom>
                <a:solidFill>
                  <a:srgbClr val="000000"/>
                </a:solid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grpSp>
          <p:grpSp>
            <p:nvGrpSpPr>
              <p:cNvPr id="78" name="Groep 77"/>
              <p:cNvGrpSpPr/>
              <p:nvPr/>
            </p:nvGrpSpPr>
            <p:grpSpPr>
              <a:xfrm>
                <a:off x="-2575435" y="1123442"/>
                <a:ext cx="133931" cy="104889"/>
                <a:chOff x="-2556734" y="1123442"/>
                <a:chExt cx="147324" cy="104889"/>
              </a:xfrm>
            </p:grpSpPr>
            <p:grpSp>
              <p:nvGrpSpPr>
                <p:cNvPr id="79" name="Groep 78"/>
                <p:cNvGrpSpPr/>
                <p:nvPr/>
              </p:nvGrpSpPr>
              <p:grpSpPr>
                <a:xfrm>
                  <a:off x="-2556734" y="1123442"/>
                  <a:ext cx="68206" cy="104889"/>
                  <a:chOff x="-2796392" y="1123442"/>
                  <a:chExt cx="120832" cy="104889"/>
                </a:xfrm>
              </p:grpSpPr>
              <p:sp>
                <p:nvSpPr>
                  <p:cNvPr id="86" name="Rechthoek 85"/>
                  <p:cNvSpPr/>
                  <p:nvPr/>
                </p:nvSpPr>
                <p:spPr>
                  <a:xfrm>
                    <a:off x="-2796392" y="1123442"/>
                    <a:ext cx="120832" cy="11624"/>
                  </a:xfrm>
                  <a:prstGeom prst="rect">
                    <a:avLst/>
                  </a:prstGeom>
                  <a:solidFill>
                    <a:srgbClr val="000000"/>
                  </a:solid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87" name="Rechthoek 86"/>
                  <p:cNvSpPr/>
                  <p:nvPr/>
                </p:nvSpPr>
                <p:spPr>
                  <a:xfrm>
                    <a:off x="-2796392" y="1146758"/>
                    <a:ext cx="120832" cy="11624"/>
                  </a:xfrm>
                  <a:prstGeom prst="rect">
                    <a:avLst/>
                  </a:prstGeom>
                  <a:solidFill>
                    <a:srgbClr val="000000"/>
                  </a:solid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88" name="Rechthoek 87"/>
                  <p:cNvSpPr/>
                  <p:nvPr/>
                </p:nvSpPr>
                <p:spPr>
                  <a:xfrm>
                    <a:off x="-2796392" y="1193390"/>
                    <a:ext cx="120832" cy="11624"/>
                  </a:xfrm>
                  <a:prstGeom prst="rect">
                    <a:avLst/>
                  </a:prstGeom>
                  <a:solidFill>
                    <a:srgbClr val="000000"/>
                  </a:solid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89" name="Rechthoek 88"/>
                  <p:cNvSpPr/>
                  <p:nvPr/>
                </p:nvSpPr>
                <p:spPr>
                  <a:xfrm>
                    <a:off x="-2796392" y="1216707"/>
                    <a:ext cx="120832" cy="11624"/>
                  </a:xfrm>
                  <a:prstGeom prst="rect">
                    <a:avLst/>
                  </a:prstGeom>
                  <a:solidFill>
                    <a:srgbClr val="000000"/>
                  </a:solid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90" name="Rechthoek 89"/>
                  <p:cNvSpPr/>
                  <p:nvPr/>
                </p:nvSpPr>
                <p:spPr>
                  <a:xfrm>
                    <a:off x="-2796392" y="1170074"/>
                    <a:ext cx="120832" cy="11624"/>
                  </a:xfrm>
                  <a:prstGeom prst="rect">
                    <a:avLst/>
                  </a:prstGeom>
                  <a:solidFill>
                    <a:srgbClr val="000000"/>
                  </a:solid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grpSp>
            <p:grpSp>
              <p:nvGrpSpPr>
                <p:cNvPr id="80" name="Groep 79"/>
                <p:cNvGrpSpPr/>
                <p:nvPr/>
              </p:nvGrpSpPr>
              <p:grpSpPr>
                <a:xfrm>
                  <a:off x="-2477616" y="1123442"/>
                  <a:ext cx="68206" cy="104889"/>
                  <a:chOff x="-2796392" y="1123442"/>
                  <a:chExt cx="120832" cy="104889"/>
                </a:xfrm>
              </p:grpSpPr>
              <p:sp>
                <p:nvSpPr>
                  <p:cNvPr id="81" name="Rechthoek 80"/>
                  <p:cNvSpPr/>
                  <p:nvPr/>
                </p:nvSpPr>
                <p:spPr>
                  <a:xfrm>
                    <a:off x="-2796392" y="1123442"/>
                    <a:ext cx="120832" cy="11624"/>
                  </a:xfrm>
                  <a:prstGeom prst="rect">
                    <a:avLst/>
                  </a:prstGeom>
                  <a:solidFill>
                    <a:srgbClr val="000000"/>
                  </a:solid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82" name="Rechthoek 81"/>
                  <p:cNvSpPr/>
                  <p:nvPr/>
                </p:nvSpPr>
                <p:spPr>
                  <a:xfrm>
                    <a:off x="-2796392" y="1146758"/>
                    <a:ext cx="120832" cy="11624"/>
                  </a:xfrm>
                  <a:prstGeom prst="rect">
                    <a:avLst/>
                  </a:prstGeom>
                  <a:solidFill>
                    <a:srgbClr val="000000"/>
                  </a:solid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83" name="Rechthoek 82"/>
                  <p:cNvSpPr/>
                  <p:nvPr/>
                </p:nvSpPr>
                <p:spPr>
                  <a:xfrm>
                    <a:off x="-2796392" y="1193390"/>
                    <a:ext cx="120832" cy="11624"/>
                  </a:xfrm>
                  <a:prstGeom prst="rect">
                    <a:avLst/>
                  </a:prstGeom>
                  <a:solidFill>
                    <a:srgbClr val="000000"/>
                  </a:solid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84" name="Rechthoek 83"/>
                  <p:cNvSpPr/>
                  <p:nvPr/>
                </p:nvSpPr>
                <p:spPr>
                  <a:xfrm>
                    <a:off x="-2796392" y="1216707"/>
                    <a:ext cx="120832" cy="11624"/>
                  </a:xfrm>
                  <a:prstGeom prst="rect">
                    <a:avLst/>
                  </a:prstGeom>
                  <a:solidFill>
                    <a:srgbClr val="000000"/>
                  </a:solid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85" name="Rechthoek 84"/>
                  <p:cNvSpPr/>
                  <p:nvPr/>
                </p:nvSpPr>
                <p:spPr>
                  <a:xfrm>
                    <a:off x="-2796392" y="1170074"/>
                    <a:ext cx="120832" cy="11624"/>
                  </a:xfrm>
                  <a:prstGeom prst="rect">
                    <a:avLst/>
                  </a:prstGeom>
                  <a:solidFill>
                    <a:srgbClr val="000000"/>
                  </a:solid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grpSp>
          </p:grpSp>
        </p:grpSp>
        <p:grpSp>
          <p:nvGrpSpPr>
            <p:cNvPr id="42" name="Groep 41"/>
            <p:cNvGrpSpPr/>
            <p:nvPr/>
          </p:nvGrpSpPr>
          <p:grpSpPr>
            <a:xfrm>
              <a:off x="-1948476" y="1281164"/>
              <a:ext cx="413704" cy="427699"/>
              <a:chOff x="-1845083" y="758027"/>
              <a:chExt cx="633799" cy="622540"/>
            </a:xfrm>
          </p:grpSpPr>
          <p:sp>
            <p:nvSpPr>
              <p:cNvPr id="61" name="Afgeronde rechthoek 59"/>
              <p:cNvSpPr/>
              <p:nvPr/>
            </p:nvSpPr>
            <p:spPr>
              <a:xfrm>
                <a:off x="-184508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grpSp>
            <p:nvGrpSpPr>
              <p:cNvPr id="62" name="Groep 61"/>
              <p:cNvGrpSpPr/>
              <p:nvPr/>
            </p:nvGrpSpPr>
            <p:grpSpPr>
              <a:xfrm>
                <a:off x="-1737766" y="864082"/>
                <a:ext cx="419166" cy="410430"/>
                <a:chOff x="3708400" y="309013"/>
                <a:chExt cx="1901295" cy="1861668"/>
              </a:xfrm>
              <a:solidFill>
                <a:srgbClr val="000000"/>
              </a:solidFill>
            </p:grpSpPr>
            <p:sp>
              <p:nvSpPr>
                <p:cNvPr id="63" name="Rechthoek 62"/>
                <p:cNvSpPr/>
                <p:nvPr/>
              </p:nvSpPr>
              <p:spPr>
                <a:xfrm>
                  <a:off x="3949656" y="535149"/>
                  <a:ext cx="457575" cy="149549"/>
                </a:xfrm>
                <a:prstGeom prst="rect">
                  <a:avLst/>
                </a:prstGeom>
                <a:grp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64" name="Rechthoek 63"/>
                <p:cNvSpPr/>
                <p:nvPr/>
              </p:nvSpPr>
              <p:spPr>
                <a:xfrm>
                  <a:off x="3949656" y="1512611"/>
                  <a:ext cx="457575" cy="149549"/>
                </a:xfrm>
                <a:prstGeom prst="rect">
                  <a:avLst/>
                </a:prstGeom>
                <a:grp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65" name="Rechthoek 64"/>
                <p:cNvSpPr/>
                <p:nvPr/>
              </p:nvSpPr>
              <p:spPr>
                <a:xfrm>
                  <a:off x="3949656" y="1780625"/>
                  <a:ext cx="457575" cy="149549"/>
                </a:xfrm>
                <a:prstGeom prst="rect">
                  <a:avLst/>
                </a:prstGeom>
                <a:grp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66" name="Rechthoek 65"/>
                <p:cNvSpPr/>
                <p:nvPr/>
              </p:nvSpPr>
              <p:spPr>
                <a:xfrm>
                  <a:off x="4593705" y="535149"/>
                  <a:ext cx="1015990" cy="149549"/>
                </a:xfrm>
                <a:prstGeom prst="rect">
                  <a:avLst/>
                </a:prstGeom>
                <a:grp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67" name="Rechthoek 66"/>
                <p:cNvSpPr/>
                <p:nvPr/>
              </p:nvSpPr>
              <p:spPr>
                <a:xfrm>
                  <a:off x="4593705" y="1512611"/>
                  <a:ext cx="1015990" cy="149549"/>
                </a:xfrm>
                <a:prstGeom prst="rect">
                  <a:avLst/>
                </a:prstGeom>
                <a:grp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68" name="Rechthoek 67"/>
                <p:cNvSpPr/>
                <p:nvPr/>
              </p:nvSpPr>
              <p:spPr>
                <a:xfrm>
                  <a:off x="4593705" y="1780625"/>
                  <a:ext cx="177790" cy="149549"/>
                </a:xfrm>
                <a:prstGeom prst="rect">
                  <a:avLst/>
                </a:prstGeom>
                <a:grp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69" name="Rechthoek 68"/>
                <p:cNvSpPr/>
                <p:nvPr/>
              </p:nvSpPr>
              <p:spPr>
                <a:xfrm>
                  <a:off x="4593705" y="854236"/>
                  <a:ext cx="1015990" cy="149549"/>
                </a:xfrm>
                <a:prstGeom prst="rect">
                  <a:avLst/>
                </a:prstGeom>
                <a:grp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70" name="Rechthoek 69"/>
                <p:cNvSpPr/>
                <p:nvPr/>
              </p:nvSpPr>
              <p:spPr>
                <a:xfrm>
                  <a:off x="4593705" y="1191263"/>
                  <a:ext cx="606415" cy="199049"/>
                </a:xfrm>
                <a:prstGeom prst="rect">
                  <a:avLst/>
                </a:prstGeom>
                <a:grp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71" name="Rechthoek 70"/>
                <p:cNvSpPr/>
                <p:nvPr/>
              </p:nvSpPr>
              <p:spPr>
                <a:xfrm>
                  <a:off x="4593705" y="309013"/>
                  <a:ext cx="88895" cy="149549"/>
                </a:xfrm>
                <a:prstGeom prst="rect">
                  <a:avLst/>
                </a:prstGeom>
                <a:grp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72" name="Rechthoek 71"/>
                <p:cNvSpPr/>
                <p:nvPr/>
              </p:nvSpPr>
              <p:spPr>
                <a:xfrm>
                  <a:off x="4593705" y="2021132"/>
                  <a:ext cx="88895" cy="149549"/>
                </a:xfrm>
                <a:prstGeom prst="rect">
                  <a:avLst/>
                </a:prstGeom>
                <a:grp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73" name="Vrije vorm 71"/>
                <p:cNvSpPr/>
                <p:nvPr/>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grpSp>
        </p:grpSp>
        <p:cxnSp>
          <p:nvCxnSpPr>
            <p:cNvPr id="43" name="Rechte verbindingslijn 42"/>
            <p:cNvCxnSpPr>
              <a:stCxn id="76" idx="2"/>
              <a:endCxn id="61" idx="1"/>
            </p:cNvCxnSpPr>
            <p:nvPr/>
          </p:nvCxnSpPr>
          <p:spPr>
            <a:xfrm>
              <a:off x="-2814292" y="1441193"/>
              <a:ext cx="865816" cy="53821"/>
            </a:xfrm>
            <a:prstGeom prst="line">
              <a:avLst/>
            </a:prstGeom>
            <a:noFill/>
            <a:ln w="9525" cap="flat" cmpd="sng" algn="ctr">
              <a:solidFill>
                <a:schemeClr val="accent1"/>
              </a:solidFill>
              <a:prstDash val="solid"/>
              <a:headEnd type="oval"/>
            </a:ln>
            <a:effectLst/>
          </p:spPr>
        </p:cxnSp>
        <p:cxnSp>
          <p:nvCxnSpPr>
            <p:cNvPr id="44" name="Rechte verbindingslijn 43"/>
            <p:cNvCxnSpPr>
              <a:endCxn id="96" idx="1"/>
            </p:cNvCxnSpPr>
            <p:nvPr/>
          </p:nvCxnSpPr>
          <p:spPr>
            <a:xfrm flipV="1">
              <a:off x="-2453902" y="1030591"/>
              <a:ext cx="505426" cy="283623"/>
            </a:xfrm>
            <a:prstGeom prst="line">
              <a:avLst/>
            </a:prstGeom>
            <a:noFill/>
            <a:ln w="9525" cap="flat" cmpd="sng" algn="ctr">
              <a:solidFill>
                <a:schemeClr val="accent1"/>
              </a:solidFill>
              <a:prstDash val="solid"/>
              <a:headEnd type="oval"/>
            </a:ln>
            <a:effectLst/>
          </p:spPr>
        </p:cxnSp>
        <p:sp>
          <p:nvSpPr>
            <p:cNvPr id="45" name="Textfield placeholder"/>
            <p:cNvSpPr txBox="1">
              <a:spLocks/>
            </p:cNvSpPr>
            <p:nvPr/>
          </p:nvSpPr>
          <p:spPr>
            <a:xfrm>
              <a:off x="-1341598" y="816743"/>
              <a:ext cx="1056968" cy="42769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hoog</a:t>
              </a:r>
            </a:p>
          </p:txBody>
        </p:sp>
        <p:sp>
          <p:nvSpPr>
            <p:cNvPr id="46" name="Textfield placeholder"/>
            <p:cNvSpPr txBox="1">
              <a:spLocks/>
            </p:cNvSpPr>
            <p:nvPr/>
          </p:nvSpPr>
          <p:spPr>
            <a:xfrm>
              <a:off x="-1341599" y="1281164"/>
              <a:ext cx="1070223"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laag</a:t>
              </a:r>
            </a:p>
          </p:txBody>
        </p:sp>
        <p:sp>
          <p:nvSpPr>
            <p:cNvPr id="47" name="Ovaal 46"/>
            <p:cNvSpPr/>
            <p:nvPr/>
          </p:nvSpPr>
          <p:spPr>
            <a:xfrm>
              <a:off x="-2959433" y="338208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nl-NL" sz="1050" kern="0" dirty="0">
                  <a:solidFill>
                    <a:prstClr val="white"/>
                  </a:solidFill>
                  <a:cs typeface="Segoe UI Light" panose="020B0502040204020203" pitchFamily="34" charset="0"/>
                </a:rPr>
                <a:t>5</a:t>
              </a:r>
            </a:p>
          </p:txBody>
        </p:sp>
        <p:sp>
          <p:nvSpPr>
            <p:cNvPr id="48" name="Textfield placeholder"/>
            <p:cNvSpPr txBox="1">
              <a:spLocks/>
            </p:cNvSpPr>
            <p:nvPr/>
          </p:nvSpPr>
          <p:spPr>
            <a:xfrm>
              <a:off x="-2571950" y="3382082"/>
              <a:ext cx="2163709" cy="259683"/>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355600" lvl="4" indent="-355600" defTabSz="179388">
                <a:lnSpc>
                  <a:spcPct val="120000"/>
                </a:lnSpc>
                <a:spcBef>
                  <a:spcPts val="0"/>
                </a:spcBef>
                <a:spcAft>
                  <a:spcPts val="900"/>
                </a:spcAft>
                <a:buClr>
                  <a:srgbClr val="ED1A3B"/>
                </a:buClr>
                <a:buFont typeface="+mj-lt"/>
                <a:buAutoNum type="arabicPeriod"/>
                <a:defRPr/>
              </a:pPr>
              <a:r>
                <a:rPr lang="nl-NL" sz="1200" b="0" dirty="0">
                  <a:solidFill>
                    <a:srgbClr val="404040"/>
                  </a:solidFill>
                </a:rPr>
                <a:t>Numeriek (12 pt.)</a:t>
              </a:r>
            </a:p>
          </p:txBody>
        </p:sp>
        <p:grpSp>
          <p:nvGrpSpPr>
            <p:cNvPr id="49" name="Groep 48"/>
            <p:cNvGrpSpPr/>
            <p:nvPr/>
          </p:nvGrpSpPr>
          <p:grpSpPr>
            <a:xfrm>
              <a:off x="-2950232" y="816050"/>
              <a:ext cx="528695" cy="344202"/>
              <a:chOff x="-2880382" y="410556"/>
              <a:chExt cx="528695" cy="344202"/>
            </a:xfrm>
          </p:grpSpPr>
          <p:sp>
            <p:nvSpPr>
              <p:cNvPr id="59" name="Afgeronde rechthoek 57"/>
              <p:cNvSpPr/>
              <p:nvPr/>
            </p:nvSpPr>
            <p:spPr>
              <a:xfrm>
                <a:off x="-2874214" y="410556"/>
                <a:ext cx="522527" cy="339183"/>
              </a:xfrm>
              <a:prstGeom prst="roundRect">
                <a:avLst>
                  <a:gd name="adj" fmla="val 7565"/>
                </a:avLst>
              </a:prstGeom>
              <a:gradFill>
                <a:gsLst>
                  <a:gs pos="0">
                    <a:srgbClr val="FFEC8F"/>
                  </a:gs>
                  <a:gs pos="100000">
                    <a:srgbClr val="FFFFFF"/>
                  </a:gs>
                </a:gsLst>
                <a:lin ang="5400000" scaled="0"/>
              </a:gradFill>
              <a:ln w="12700" cap="flat" cmpd="sng" algn="ctr">
                <a:noFill/>
                <a:prstDash val="solid"/>
                <a:miter lim="800000"/>
              </a:ln>
              <a:effectLst/>
            </p:spPr>
            <p:txBody>
              <a:bodyPr rtlCol="0" anchor="ctr"/>
              <a:lstStyle/>
              <a:p>
                <a:pPr algn="ctr">
                  <a:defRPr/>
                </a:pPr>
                <a:endParaRPr lang="nl-NL" kern="0" dirty="0">
                  <a:solidFill>
                    <a:prstClr val="white"/>
                  </a:solidFill>
                  <a:latin typeface="Segoe UI Light"/>
                </a:endParaRPr>
              </a:p>
            </p:txBody>
          </p:sp>
          <p:sp>
            <p:nvSpPr>
              <p:cNvPr id="60" name="Vrije vorm 58"/>
              <p:cNvSpPr/>
              <p:nvPr/>
            </p:nvSpPr>
            <p:spPr>
              <a:xfrm>
                <a:off x="-2880382" y="452699"/>
                <a:ext cx="528695" cy="302059"/>
              </a:xfrm>
              <a:custGeom>
                <a:avLst/>
                <a:gdLst>
                  <a:gd name="connsiteX0" fmla="*/ 55524 w 528695"/>
                  <a:gd name="connsiteY0" fmla="*/ 0 h 302059"/>
                  <a:gd name="connsiteX1" fmla="*/ 455496 w 528695"/>
                  <a:gd name="connsiteY1" fmla="*/ 0 h 302059"/>
                  <a:gd name="connsiteX2" fmla="*/ 475205 w 528695"/>
                  <a:gd name="connsiteY2" fmla="*/ 19709 h 302059"/>
                  <a:gd name="connsiteX3" fmla="*/ 475205 w 528695"/>
                  <a:gd name="connsiteY3" fmla="*/ 230056 h 302059"/>
                  <a:gd name="connsiteX4" fmla="*/ 516694 w 528695"/>
                  <a:gd name="connsiteY4" fmla="*/ 230056 h 302059"/>
                  <a:gd name="connsiteX5" fmla="*/ 528695 w 528695"/>
                  <a:gd name="connsiteY5" fmla="*/ 242057 h 302059"/>
                  <a:gd name="connsiteX6" fmla="*/ 528695 w 528695"/>
                  <a:gd name="connsiteY6" fmla="*/ 290058 h 302059"/>
                  <a:gd name="connsiteX7" fmla="*/ 516694 w 528695"/>
                  <a:gd name="connsiteY7" fmla="*/ 302059 h 302059"/>
                  <a:gd name="connsiteX8" fmla="*/ 12001 w 528695"/>
                  <a:gd name="connsiteY8" fmla="*/ 302059 h 302059"/>
                  <a:gd name="connsiteX9" fmla="*/ 0 w 528695"/>
                  <a:gd name="connsiteY9" fmla="*/ 290058 h 302059"/>
                  <a:gd name="connsiteX10" fmla="*/ 0 w 528695"/>
                  <a:gd name="connsiteY10" fmla="*/ 242057 h 302059"/>
                  <a:gd name="connsiteX11" fmla="*/ 12001 w 528695"/>
                  <a:gd name="connsiteY11" fmla="*/ 230056 h 302059"/>
                  <a:gd name="connsiteX12" fmla="*/ 35815 w 528695"/>
                  <a:gd name="connsiteY12" fmla="*/ 230056 h 302059"/>
                  <a:gd name="connsiteX13" fmla="*/ 35815 w 528695"/>
                  <a:gd name="connsiteY13" fmla="*/ 19709 h 302059"/>
                  <a:gd name="connsiteX14" fmla="*/ 55524 w 528695"/>
                  <a:gd name="connsiteY14" fmla="*/ 0 h 3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8695" h="302059">
                    <a:moveTo>
                      <a:pt x="55524" y="0"/>
                    </a:moveTo>
                    <a:lnTo>
                      <a:pt x="455496" y="0"/>
                    </a:lnTo>
                    <a:cubicBezTo>
                      <a:pt x="466381" y="0"/>
                      <a:pt x="475205" y="8824"/>
                      <a:pt x="475205" y="19709"/>
                    </a:cubicBezTo>
                    <a:lnTo>
                      <a:pt x="475205" y="230056"/>
                    </a:lnTo>
                    <a:lnTo>
                      <a:pt x="516694" y="230056"/>
                    </a:lnTo>
                    <a:cubicBezTo>
                      <a:pt x="523322" y="230056"/>
                      <a:pt x="528695" y="235429"/>
                      <a:pt x="528695" y="242057"/>
                    </a:cubicBezTo>
                    <a:lnTo>
                      <a:pt x="528695" y="290058"/>
                    </a:lnTo>
                    <a:cubicBezTo>
                      <a:pt x="528695" y="296686"/>
                      <a:pt x="523322" y="302059"/>
                      <a:pt x="516694" y="302059"/>
                    </a:cubicBezTo>
                    <a:lnTo>
                      <a:pt x="12001" y="302059"/>
                    </a:lnTo>
                    <a:cubicBezTo>
                      <a:pt x="5373" y="302059"/>
                      <a:pt x="0" y="296686"/>
                      <a:pt x="0" y="290058"/>
                    </a:cubicBezTo>
                    <a:lnTo>
                      <a:pt x="0" y="242057"/>
                    </a:lnTo>
                    <a:cubicBezTo>
                      <a:pt x="0" y="235429"/>
                      <a:pt x="5373" y="230056"/>
                      <a:pt x="12001" y="230056"/>
                    </a:cubicBezTo>
                    <a:lnTo>
                      <a:pt x="35815" y="230056"/>
                    </a:lnTo>
                    <a:lnTo>
                      <a:pt x="35815" y="19709"/>
                    </a:lnTo>
                    <a:cubicBezTo>
                      <a:pt x="35815" y="8824"/>
                      <a:pt x="44639" y="0"/>
                      <a:pt x="55524" y="0"/>
                    </a:cubicBezTo>
                    <a:close/>
                  </a:path>
                </a:pathLst>
              </a:custGeom>
              <a:solidFill>
                <a:sysClr val="window" lastClr="FFFFFF">
                  <a:lumMod val="95000"/>
                </a:sysClr>
              </a:solidFill>
              <a:ln w="9525" cap="flat" cmpd="sng" algn="ctr">
                <a:solidFill>
                  <a:srgbClr val="FFFFFF">
                    <a:lumMod val="90000"/>
                  </a:srgbClr>
                </a:solidFill>
                <a:prstDash val="solid"/>
                <a:miter lim="800000"/>
              </a:ln>
              <a:effectLst/>
            </p:spPr>
            <p:txBody>
              <a:bodyPr rot="0" spcFirstLastPara="0" vert="horz" wrap="square" lIns="108000" tIns="36000" rIns="108000" bIns="10800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nl-NL" sz="900" dirty="0">
                    <a:solidFill>
                      <a:prstClr val="black"/>
                    </a:solidFill>
                    <a:latin typeface="Segoe UI Light"/>
                  </a:rPr>
                  <a:t>Start</a:t>
                </a:r>
              </a:p>
            </p:txBody>
          </p:sp>
        </p:grpSp>
        <p:sp>
          <p:nvSpPr>
            <p:cNvPr id="50" name="Tekstvak 49"/>
            <p:cNvSpPr txBox="1"/>
            <p:nvPr/>
          </p:nvSpPr>
          <p:spPr>
            <a:xfrm>
              <a:off x="-2959433" y="372104"/>
              <a:ext cx="2679887" cy="453396"/>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fontAlgn="auto">
                <a:spcBef>
                  <a:spcPts val="0"/>
                </a:spcBef>
                <a:spcAft>
                  <a:spcPts val="0"/>
                </a:spcAft>
                <a:defRPr/>
              </a:pPr>
              <a:r>
                <a:rPr lang="nl-NL" sz="1200" kern="0" dirty="0">
                  <a:solidFill>
                    <a:srgbClr val="000000"/>
                  </a:solidFill>
                  <a:latin typeface="Segoe UI Light" panose="020B0502040204020203" pitchFamily="34" charset="0"/>
                  <a:cs typeface="Segoe UI Light" panose="020B0502040204020203" pitchFamily="34" charset="0"/>
                </a:rPr>
                <a:t>Ga naar de tab </a:t>
              </a:r>
              <a:r>
                <a:rPr lang="nl-NL" sz="1200" b="1" kern="0" dirty="0">
                  <a:solidFill>
                    <a:srgbClr val="000000"/>
                  </a:solidFill>
                  <a:latin typeface="Segoe UI Light" panose="020B0502040204020203" pitchFamily="34" charset="0"/>
                  <a:cs typeface="Segoe UI Light" panose="020B0502040204020203" pitchFamily="34" charset="0"/>
                </a:rPr>
                <a:t>Start’ </a:t>
              </a:r>
              <a:r>
                <a:rPr lang="nl-NL" sz="1200" kern="0" dirty="0">
                  <a:solidFill>
                    <a:srgbClr val="000000"/>
                  </a:solidFill>
                  <a:latin typeface="Segoe UI Light" panose="020B0502040204020203" pitchFamily="34" charset="0"/>
                  <a:cs typeface="Segoe UI Light" panose="020B0502040204020203" pitchFamily="34" charset="0"/>
                </a:rPr>
                <a:t>en vind onderstaande knoppen onder </a:t>
              </a:r>
              <a:r>
                <a:rPr lang="nl-NL" sz="1200" b="1" kern="0" dirty="0">
                  <a:solidFill>
                    <a:srgbClr val="000000"/>
                  </a:solidFill>
                  <a:latin typeface="Segoe UI Light" panose="020B0502040204020203" pitchFamily="34" charset="0"/>
                  <a:cs typeface="Segoe UI Light" panose="020B0502040204020203" pitchFamily="34" charset="0"/>
                </a:rPr>
                <a:t>‘Alinea’</a:t>
              </a:r>
            </a:p>
          </p:txBody>
        </p:sp>
        <p:sp>
          <p:nvSpPr>
            <p:cNvPr id="51" name="Ovaal 50"/>
            <p:cNvSpPr/>
            <p:nvPr/>
          </p:nvSpPr>
          <p:spPr>
            <a:xfrm>
              <a:off x="-2959433" y="375153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nl-NL" sz="1050" kern="0" dirty="0">
                  <a:solidFill>
                    <a:prstClr val="white"/>
                  </a:solidFill>
                  <a:cs typeface="Segoe UI Light" panose="020B0502040204020203" pitchFamily="34" charset="0"/>
                </a:rPr>
                <a:t>6</a:t>
              </a:r>
            </a:p>
          </p:txBody>
        </p:sp>
        <p:sp>
          <p:nvSpPr>
            <p:cNvPr id="52" name="Textfield placeholder"/>
            <p:cNvSpPr txBox="1">
              <a:spLocks/>
            </p:cNvSpPr>
            <p:nvPr/>
          </p:nvSpPr>
          <p:spPr>
            <a:xfrm>
              <a:off x="-2571950" y="3751536"/>
              <a:ext cx="2163709" cy="259683"/>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8163" lvl="5" indent="-182563" defTabSz="179388">
                <a:lnSpc>
                  <a:spcPct val="120000"/>
                </a:lnSpc>
                <a:spcAft>
                  <a:spcPts val="900"/>
                </a:spcAft>
                <a:buClr>
                  <a:srgbClr val="ED1A3B"/>
                </a:buClr>
                <a:buFont typeface="Wingdings" panose="05000000000000000000" pitchFamily="2" charset="2"/>
                <a:buChar char="§"/>
                <a:defRPr/>
              </a:pPr>
              <a:r>
                <a:rPr lang="nl-NL" sz="1200" cap="none" dirty="0">
                  <a:solidFill>
                    <a:srgbClr val="535353"/>
                  </a:solidFill>
                </a:rPr>
                <a:t># Bullets (12 pt.)</a:t>
              </a:r>
            </a:p>
          </p:txBody>
        </p:sp>
        <p:sp>
          <p:nvSpPr>
            <p:cNvPr id="53" name="Ovaal 52"/>
            <p:cNvSpPr/>
            <p:nvPr/>
          </p:nvSpPr>
          <p:spPr>
            <a:xfrm>
              <a:off x="-2959433" y="414870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nl-NL" sz="1050" kern="0" dirty="0">
                  <a:solidFill>
                    <a:prstClr val="white"/>
                  </a:solidFill>
                  <a:cs typeface="Segoe UI Light" panose="020B0502040204020203" pitchFamily="34" charset="0"/>
                </a:rPr>
                <a:t>7</a:t>
              </a:r>
            </a:p>
          </p:txBody>
        </p:sp>
        <p:sp>
          <p:nvSpPr>
            <p:cNvPr id="54" name="Textfield placeholder"/>
            <p:cNvSpPr txBox="1">
              <a:spLocks/>
            </p:cNvSpPr>
            <p:nvPr/>
          </p:nvSpPr>
          <p:spPr>
            <a:xfrm>
              <a:off x="-2571950" y="4148700"/>
              <a:ext cx="2163709" cy="259683"/>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6" indent="0" defTabSz="179388">
                <a:lnSpc>
                  <a:spcPct val="120000"/>
                </a:lnSpc>
                <a:spcBef>
                  <a:spcPts val="0"/>
                </a:spcBef>
                <a:spcAft>
                  <a:spcPts val="900"/>
                </a:spcAft>
                <a:buClr>
                  <a:srgbClr val="ED1A3B"/>
                </a:buClr>
                <a:buSzPct val="90000"/>
                <a:buFont typeface="+mj-lt"/>
                <a:buNone/>
                <a:defRPr/>
              </a:pPr>
              <a:r>
                <a:rPr lang="nl-NL" sz="1200" i="1" dirty="0">
                  <a:solidFill>
                    <a:srgbClr val="404040"/>
                  </a:solidFill>
                </a:rPr>
                <a:t>Cursief donker (12 pt.)</a:t>
              </a:r>
            </a:p>
          </p:txBody>
        </p:sp>
        <p:sp>
          <p:nvSpPr>
            <p:cNvPr id="55" name="Ovaal 54"/>
            <p:cNvSpPr/>
            <p:nvPr/>
          </p:nvSpPr>
          <p:spPr>
            <a:xfrm>
              <a:off x="-2959433" y="454586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nl-NL" sz="1050" kern="0" dirty="0">
                  <a:solidFill>
                    <a:prstClr val="white"/>
                  </a:solidFill>
                  <a:cs typeface="Segoe UI Light" panose="020B0502040204020203" pitchFamily="34" charset="0"/>
                </a:rPr>
                <a:t>8</a:t>
              </a:r>
            </a:p>
          </p:txBody>
        </p:sp>
        <p:sp>
          <p:nvSpPr>
            <p:cNvPr id="56" name="Textfield placeholder"/>
            <p:cNvSpPr txBox="1">
              <a:spLocks/>
            </p:cNvSpPr>
            <p:nvPr/>
          </p:nvSpPr>
          <p:spPr>
            <a:xfrm>
              <a:off x="-2571950" y="4545864"/>
              <a:ext cx="2163709" cy="259683"/>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7" indent="0" defTabSz="179388">
                <a:lnSpc>
                  <a:spcPct val="80000"/>
                </a:lnSpc>
                <a:spcBef>
                  <a:spcPts val="0"/>
                </a:spcBef>
                <a:spcAft>
                  <a:spcPts val="900"/>
                </a:spcAft>
                <a:buClr>
                  <a:srgbClr val="ED1A3B"/>
                </a:buClr>
                <a:buFont typeface="Arial" pitchFamily="34" charset="0"/>
                <a:buNone/>
                <a:defRPr/>
              </a:pPr>
              <a:r>
                <a:rPr lang="nl-NL" sz="1200" i="1" dirty="0">
                  <a:solidFill>
                    <a:srgbClr val="A3B0C0"/>
                  </a:solidFill>
                </a:rPr>
                <a:t>Cursief Licht (12 pt.)</a:t>
              </a:r>
            </a:p>
          </p:txBody>
        </p:sp>
        <p:sp>
          <p:nvSpPr>
            <p:cNvPr id="57" name="Ovaal 56"/>
            <p:cNvSpPr/>
            <p:nvPr/>
          </p:nvSpPr>
          <p:spPr>
            <a:xfrm>
              <a:off x="-2959433" y="488761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nl-NL" sz="1050" kern="0" dirty="0">
                  <a:solidFill>
                    <a:prstClr val="white"/>
                  </a:solidFill>
                  <a:cs typeface="Segoe UI Light" panose="020B0502040204020203" pitchFamily="34" charset="0"/>
                </a:rPr>
                <a:t>9</a:t>
              </a:r>
            </a:p>
          </p:txBody>
        </p:sp>
        <p:sp>
          <p:nvSpPr>
            <p:cNvPr id="58" name="Textfield placeholder"/>
            <p:cNvSpPr txBox="1">
              <a:spLocks/>
            </p:cNvSpPr>
            <p:nvPr/>
          </p:nvSpPr>
          <p:spPr>
            <a:xfrm>
              <a:off x="-2571950" y="4887610"/>
              <a:ext cx="2163709" cy="259683"/>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8" indent="0" defTabSz="179388">
                <a:lnSpc>
                  <a:spcPct val="80000"/>
                </a:lnSpc>
                <a:spcBef>
                  <a:spcPts val="0"/>
                </a:spcBef>
                <a:spcAft>
                  <a:spcPts val="900"/>
                </a:spcAft>
                <a:buClr>
                  <a:srgbClr val="ED1A3B"/>
                </a:buClr>
                <a:buFont typeface="Arial" pitchFamily="34" charset="0"/>
                <a:buNone/>
                <a:defRPr/>
              </a:pPr>
              <a:r>
                <a:rPr lang="nl-NL" sz="1400" b="1" dirty="0">
                  <a:solidFill>
                    <a:srgbClr val="ED1A3B"/>
                  </a:solidFill>
                </a:rPr>
                <a:t>Subtitel (14 pt.)</a:t>
              </a:r>
            </a:p>
          </p:txBody>
        </p:sp>
      </p:grpSp>
      <p:grpSp>
        <p:nvGrpSpPr>
          <p:cNvPr id="109" name="Groep 108"/>
          <p:cNvGrpSpPr/>
          <p:nvPr/>
        </p:nvGrpSpPr>
        <p:grpSpPr>
          <a:xfrm>
            <a:off x="12437931" y="14898"/>
            <a:ext cx="2717569" cy="3676571"/>
            <a:chOff x="12434693" y="14897"/>
            <a:chExt cx="2716862" cy="3676571"/>
          </a:xfrm>
        </p:grpSpPr>
        <p:sp>
          <p:nvSpPr>
            <p:cNvPr id="110" name="Rechthoek 109"/>
            <p:cNvSpPr/>
            <p:nvPr/>
          </p:nvSpPr>
          <p:spPr>
            <a:xfrm>
              <a:off x="12441150" y="14897"/>
              <a:ext cx="2696270" cy="161771"/>
            </a:xfrm>
            <a:prstGeom prst="rect">
              <a:avLst/>
            </a:prstGeom>
            <a:noFill/>
            <a:ln w="25400" cap="flat" cmpd="sng" algn="ctr">
              <a:noFill/>
              <a:prstDash val="solid"/>
            </a:ln>
            <a:effectLst/>
          </p:spPr>
          <p:txBody>
            <a:bodyPr lIns="0" tIns="0" rIns="0" bIns="0" rtlCol="0" anchor="t"/>
            <a:lstStyle/>
            <a:p>
              <a:pPr defTabSz="914112">
                <a:lnSpc>
                  <a:spcPct val="80000"/>
                </a:lnSpc>
              </a:pPr>
              <a:r>
                <a:rPr lang="nl-NL" sz="1600" b="1" kern="0" cap="all" dirty="0">
                  <a:solidFill>
                    <a:srgbClr val="ED1A3B"/>
                  </a:solidFill>
                  <a:cs typeface="Segoe UI Light" panose="020B0502040204020203" pitchFamily="34" charset="0"/>
                </a:rPr>
                <a:t>AFBEELDING INVOEGEN</a:t>
              </a:r>
            </a:p>
          </p:txBody>
        </p:sp>
        <p:sp>
          <p:nvSpPr>
            <p:cNvPr id="111" name="Tekstvak 33"/>
            <p:cNvSpPr txBox="1"/>
            <p:nvPr/>
          </p:nvSpPr>
          <p:spPr>
            <a:xfrm>
              <a:off x="12441149" y="814239"/>
              <a:ext cx="2710405" cy="719877"/>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Indien nodig, verwijder de bestaande afbeelding. Klik op het pictogram </a:t>
              </a:r>
              <a:br>
                <a:rPr lang="nl-NL" sz="1200" kern="0" dirty="0">
                  <a:solidFill>
                    <a:srgbClr val="000000"/>
                  </a:solidFill>
                  <a:latin typeface="Trebuchet MS"/>
                  <a:cs typeface="Segoe UI Light" panose="020B0502040204020203" pitchFamily="34" charset="0"/>
                </a:rPr>
              </a:br>
              <a:r>
                <a:rPr lang="nl-NL" sz="1200" kern="0" dirty="0">
                  <a:solidFill>
                    <a:srgbClr val="000000"/>
                  </a:solidFill>
                  <a:latin typeface="Trebuchet MS"/>
                  <a:cs typeface="Segoe UI Light" panose="020B0502040204020203" pitchFamily="34" charset="0"/>
                </a:rPr>
                <a:t>om een afbeelding in te voegen</a:t>
              </a:r>
              <a:br>
                <a:rPr lang="nl-NL" sz="1200" kern="0" dirty="0">
                  <a:solidFill>
                    <a:srgbClr val="000000"/>
                  </a:solidFill>
                  <a:latin typeface="Trebuchet MS"/>
                  <a:cs typeface="Segoe UI Light" panose="020B0502040204020203" pitchFamily="34" charset="0"/>
                </a:rPr>
              </a:br>
              <a:r>
                <a:rPr lang="nl-NL" sz="1100" i="1" kern="0" dirty="0">
                  <a:solidFill>
                    <a:srgbClr val="000000"/>
                  </a:solidFill>
                  <a:latin typeface="Trebuchet MS"/>
                  <a:cs typeface="Segoe UI Light" panose="020B0502040204020203" pitchFamily="34" charset="0"/>
                </a:rPr>
                <a:t>(zie onderstaand voorbeeld).</a:t>
              </a:r>
            </a:p>
          </p:txBody>
        </p:sp>
        <p:sp>
          <p:nvSpPr>
            <p:cNvPr id="112" name="Tekstvak 33"/>
            <p:cNvSpPr txBox="1"/>
            <p:nvPr/>
          </p:nvSpPr>
          <p:spPr>
            <a:xfrm>
              <a:off x="12441149" y="2793904"/>
              <a:ext cx="2710405" cy="395943"/>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Selecteer de afbeelding die u wilt invoegen en klik op </a:t>
              </a:r>
              <a:r>
                <a:rPr lang="nl-NL" sz="1200" b="1" kern="0" dirty="0">
                  <a:solidFill>
                    <a:srgbClr val="000000"/>
                  </a:solidFill>
                  <a:latin typeface="Trebuchet MS"/>
                  <a:cs typeface="Segoe UI Light" panose="020B0502040204020203" pitchFamily="34" charset="0"/>
                </a:rPr>
                <a:t>‘Invoegen’</a:t>
              </a:r>
            </a:p>
          </p:txBody>
        </p:sp>
        <p:sp>
          <p:nvSpPr>
            <p:cNvPr id="113" name="Ovaal 112"/>
            <p:cNvSpPr/>
            <p:nvPr/>
          </p:nvSpPr>
          <p:spPr>
            <a:xfrm>
              <a:off x="12441150" y="379292"/>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1</a:t>
              </a:r>
            </a:p>
          </p:txBody>
        </p:sp>
        <p:sp>
          <p:nvSpPr>
            <p:cNvPr id="114" name="Ovaal 113"/>
            <p:cNvSpPr/>
            <p:nvPr/>
          </p:nvSpPr>
          <p:spPr>
            <a:xfrm>
              <a:off x="12441150" y="2337208"/>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2</a:t>
              </a:r>
            </a:p>
          </p:txBody>
        </p:sp>
        <p:cxnSp>
          <p:nvCxnSpPr>
            <p:cNvPr id="115" name="Rechte verbindingslijn 114"/>
            <p:cNvCxnSpPr/>
            <p:nvPr/>
          </p:nvCxnSpPr>
          <p:spPr>
            <a:xfrm>
              <a:off x="12441150" y="248176"/>
              <a:ext cx="2710405" cy="0"/>
            </a:xfrm>
            <a:prstGeom prst="line">
              <a:avLst/>
            </a:prstGeom>
            <a:noFill/>
            <a:ln w="9525" cap="flat" cmpd="sng" algn="ctr">
              <a:solidFill>
                <a:schemeClr val="accent1"/>
              </a:solidFill>
              <a:prstDash val="solid"/>
            </a:ln>
            <a:effectLst/>
          </p:spPr>
        </p:cxnSp>
        <p:cxnSp>
          <p:nvCxnSpPr>
            <p:cNvPr id="116" name="Rechte verbindingslijn 115"/>
            <p:cNvCxnSpPr/>
            <p:nvPr/>
          </p:nvCxnSpPr>
          <p:spPr>
            <a:xfrm>
              <a:off x="12441149" y="2212830"/>
              <a:ext cx="2710405" cy="0"/>
            </a:xfrm>
            <a:prstGeom prst="line">
              <a:avLst/>
            </a:prstGeom>
            <a:noFill/>
            <a:ln w="9525" cap="flat" cmpd="sng" algn="ctr">
              <a:solidFill>
                <a:schemeClr val="accent1"/>
              </a:solidFill>
              <a:prstDash val="solid"/>
            </a:ln>
            <a:effectLst/>
          </p:spPr>
        </p:cxnSp>
        <p:cxnSp>
          <p:nvCxnSpPr>
            <p:cNvPr id="117" name="Rechte verbindingslijn 116"/>
            <p:cNvCxnSpPr/>
            <p:nvPr/>
          </p:nvCxnSpPr>
          <p:spPr>
            <a:xfrm>
              <a:off x="12444679" y="3691468"/>
              <a:ext cx="2706875" cy="0"/>
            </a:xfrm>
            <a:prstGeom prst="line">
              <a:avLst/>
            </a:prstGeom>
            <a:noFill/>
            <a:ln w="9525" cap="flat" cmpd="sng" algn="ctr">
              <a:solidFill>
                <a:schemeClr val="accent1"/>
              </a:solidFill>
              <a:prstDash val="solid"/>
            </a:ln>
            <a:effectLst/>
          </p:spPr>
        </p:cxnSp>
        <p:pic>
          <p:nvPicPr>
            <p:cNvPr id="118" name="Icoontje afbeeldi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434693" y="1677764"/>
              <a:ext cx="403210" cy="403210"/>
            </a:xfrm>
            <a:prstGeom prst="rect">
              <a:avLst/>
            </a:prstGeom>
          </p:spPr>
        </p:pic>
        <p:grpSp>
          <p:nvGrpSpPr>
            <p:cNvPr id="119" name="Groep 118"/>
            <p:cNvGrpSpPr/>
            <p:nvPr/>
          </p:nvGrpSpPr>
          <p:grpSpPr>
            <a:xfrm>
              <a:off x="12450571" y="3301369"/>
              <a:ext cx="1002992" cy="267962"/>
              <a:chOff x="13560784" y="3471416"/>
              <a:chExt cx="1114138" cy="297656"/>
            </a:xfrm>
          </p:grpSpPr>
          <p:sp>
            <p:nvSpPr>
              <p:cNvPr id="120" name="Afgeronde rechthoek 88"/>
              <p:cNvSpPr/>
              <p:nvPr/>
            </p:nvSpPr>
            <p:spPr>
              <a:xfrm>
                <a:off x="13560784" y="3471416"/>
                <a:ext cx="1114138" cy="297656"/>
              </a:xfrm>
              <a:prstGeom prst="roundRect">
                <a:avLst/>
              </a:prstGeom>
              <a:gradFill flip="none" rotWithShape="1">
                <a:gsLst>
                  <a:gs pos="4000">
                    <a:srgbClr val="00B0F0"/>
                  </a:gs>
                  <a:gs pos="0">
                    <a:srgbClr val="0070C0"/>
                  </a:gs>
                  <a:gs pos="100000">
                    <a:srgbClr val="0070C0"/>
                  </a:gs>
                  <a:gs pos="12000">
                    <a:srgbClr val="D1EAFF"/>
                  </a:gs>
                  <a:gs pos="96000">
                    <a:srgbClr val="00B0F0"/>
                  </a:gs>
                  <a:gs pos="89000">
                    <a:srgbClr val="DDF4FF"/>
                  </a:gs>
                  <a:gs pos="43000">
                    <a:srgbClr val="D1EAFF"/>
                  </a:gs>
                  <a:gs pos="51000">
                    <a:srgbClr val="DDF4FF"/>
                  </a:gs>
                </a:gsLst>
                <a:lin ang="16200000" scaled="1"/>
                <a:tileRect/>
              </a:gradFill>
              <a:ln w="63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dirty="0">
                  <a:solidFill>
                    <a:srgbClr val="FFFFFF"/>
                  </a:solidFill>
                </a:endParaRPr>
              </a:p>
            </p:txBody>
          </p:sp>
          <p:sp>
            <p:nvSpPr>
              <p:cNvPr id="121" name="Tekstvak 120"/>
              <p:cNvSpPr txBox="1"/>
              <p:nvPr/>
            </p:nvSpPr>
            <p:spPr>
              <a:xfrm>
                <a:off x="13573594" y="3488254"/>
                <a:ext cx="888311" cy="273506"/>
              </a:xfrm>
              <a:prstGeom prst="rect">
                <a:avLst/>
              </a:prstGeom>
              <a:noFill/>
            </p:spPr>
            <p:txBody>
              <a:bodyPr wrap="square" rtlCol="0" anchor="ctr">
                <a:spAutoFit/>
              </a:bodyPr>
              <a:lstStyle>
                <a:defPPr>
                  <a:defRPr lang="nl-NL"/>
                </a:defPPr>
                <a:lvl1pPr marR="0" lvl="0" indent="0" algn="ctr" fontAlgn="auto">
                  <a:lnSpc>
                    <a:spcPct val="100000"/>
                  </a:lnSpc>
                  <a:spcBef>
                    <a:spcPts val="0"/>
                  </a:spcBef>
                  <a:spcAft>
                    <a:spcPts val="0"/>
                  </a:spcAft>
                  <a:buClrTx/>
                  <a:buSzTx/>
                  <a:buFontTx/>
                  <a:buNone/>
                  <a:tabLst/>
                  <a:defRPr kumimoji="0" sz="900" i="0" u="none" strike="noStrike" kern="0" cap="none" spc="0" normalizeH="0" baseline="0">
                    <a:ln>
                      <a:noFill/>
                    </a:ln>
                    <a:effectLst>
                      <a:outerShdw blurRad="25400" algn="ctr" rotWithShape="0">
                        <a:prstClr val="white"/>
                      </a:outerShdw>
                    </a:effectLst>
                    <a:uLnTx/>
                    <a:uFillTx/>
                    <a:latin typeface="Segoe UI Light" panose="020B0502040204020203" pitchFamily="34" charset="0"/>
                    <a:cs typeface="Segoe UI Light" panose="020B0502040204020203" pitchFamily="34" charset="0"/>
                  </a:defRPr>
                </a:lvl1pPr>
                <a:lvl2pPr fontAlgn="base">
                  <a:spcBef>
                    <a:spcPct val="0"/>
                  </a:spcBef>
                  <a:spcAft>
                    <a:spcPct val="0"/>
                  </a:spcAft>
                  <a:defRPr>
                    <a:latin typeface="Arial" charset="0"/>
                    <a:cs typeface="Arial" charset="0"/>
                  </a:defRPr>
                </a:lvl2pPr>
                <a:lvl3pPr fontAlgn="base">
                  <a:spcBef>
                    <a:spcPct val="0"/>
                  </a:spcBef>
                  <a:spcAft>
                    <a:spcPct val="0"/>
                  </a:spcAft>
                  <a:defRPr>
                    <a:latin typeface="Arial" charset="0"/>
                    <a:cs typeface="Arial" charset="0"/>
                  </a:defRPr>
                </a:lvl3pPr>
                <a:lvl4pPr fontAlgn="base">
                  <a:spcBef>
                    <a:spcPct val="0"/>
                  </a:spcBef>
                  <a:spcAft>
                    <a:spcPct val="0"/>
                  </a:spcAft>
                  <a:defRPr>
                    <a:latin typeface="Arial" charset="0"/>
                    <a:cs typeface="Arial" charset="0"/>
                  </a:defRPr>
                </a:lvl4pPr>
                <a:lvl5pPr fontAlgn="base">
                  <a:spcBef>
                    <a:spcPct val="0"/>
                  </a:spcBef>
                  <a:spcAft>
                    <a:spcPct val="0"/>
                  </a:spcAft>
                  <a:defRPr>
                    <a:latin typeface="Arial" charset="0"/>
                    <a:cs typeface="Arial" charset="0"/>
                  </a:defRPr>
                </a:lvl5pPr>
                <a:lvl6pPr>
                  <a:defRPr>
                    <a:latin typeface="Arial" charset="0"/>
                    <a:cs typeface="Arial" charset="0"/>
                  </a:defRPr>
                </a:lvl6pPr>
                <a:lvl7pPr>
                  <a:defRPr>
                    <a:latin typeface="Arial" charset="0"/>
                    <a:cs typeface="Arial" charset="0"/>
                  </a:defRPr>
                </a:lvl7pPr>
                <a:lvl8pPr>
                  <a:defRPr>
                    <a:latin typeface="Arial" charset="0"/>
                    <a:cs typeface="Arial" charset="0"/>
                  </a:defRPr>
                </a:lvl8pPr>
                <a:lvl9pPr>
                  <a:defRPr>
                    <a:latin typeface="Arial" charset="0"/>
                    <a:cs typeface="Arial" charset="0"/>
                  </a:defRPr>
                </a:lvl9pPr>
              </a:lstStyle>
              <a:p>
                <a:pPr defTabSz="914112"/>
                <a:r>
                  <a:rPr lang="nl-NL" sz="1000" dirty="0">
                    <a:solidFill>
                      <a:srgbClr val="000000"/>
                    </a:solidFill>
                    <a:latin typeface="Trebuchet MS"/>
                  </a:rPr>
                  <a:t>Invoegen</a:t>
                </a:r>
              </a:p>
            </p:txBody>
          </p:sp>
          <p:cxnSp>
            <p:nvCxnSpPr>
              <p:cNvPr id="122" name="Rechte verbindingslijn 121"/>
              <p:cNvCxnSpPr/>
              <p:nvPr/>
            </p:nvCxnSpPr>
            <p:spPr>
              <a:xfrm>
                <a:off x="14461905" y="3507058"/>
                <a:ext cx="0" cy="224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3" name="Gelijkbenige driehoek 122"/>
              <p:cNvSpPr/>
              <p:nvPr/>
            </p:nvSpPr>
            <p:spPr>
              <a:xfrm rot="10800000">
                <a:off x="14518584" y="3600521"/>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112"/>
                <a:endParaRPr lang="nl-NL" dirty="0">
                  <a:solidFill>
                    <a:srgbClr val="FFFFFF"/>
                  </a:solidFill>
                </a:endParaRPr>
              </a:p>
            </p:txBody>
          </p:sp>
        </p:grpSp>
      </p:grpSp>
      <p:sp>
        <p:nvSpPr>
          <p:cNvPr id="124" name="Tijdelijke aanduiding voor verticale tekst 2"/>
          <p:cNvSpPr>
            <a:spLocks noGrp="1"/>
          </p:cNvSpPr>
          <p:nvPr>
            <p:ph type="body" orient="vert" idx="15" hasCustomPrompt="1"/>
          </p:nvPr>
        </p:nvSpPr>
        <p:spPr>
          <a:xfrm>
            <a:off x="688874" y="3081983"/>
            <a:ext cx="2261545" cy="2466754"/>
          </a:xfrm>
        </p:spPr>
        <p:txBody>
          <a:bodyPr vert="horz" lIns="0" tIns="0" rIns="0" bIns="0" numCol="1"/>
          <a:lstStyle>
            <a:lvl1pPr>
              <a:defRPr sz="1200"/>
            </a:lvl1pPr>
            <a:lvl2pPr marL="180975" indent="-180975">
              <a:defRPr sz="1200"/>
            </a:lvl2pPr>
            <a:lvl3pPr marL="360363" indent="-179388">
              <a:defRPr sz="1200"/>
            </a:lvl3pPr>
            <a:lvl4pPr marL="541338" indent="-180975">
              <a:defRPr sz="1200"/>
            </a:lvl4pPr>
            <a:lvl5pPr marL="265113" indent="-265113">
              <a:defRPr sz="1200"/>
            </a:lvl5pPr>
            <a:lvl6pPr marL="444500" indent="-179388">
              <a:defRPr sz="1200"/>
            </a:lvl6pPr>
            <a:lvl7pPr>
              <a:defRPr sz="1200"/>
            </a:lvl7pPr>
            <a:lvl8pPr>
              <a:defRPr sz="1200"/>
            </a:lvl8pPr>
            <a:lvl9pPr>
              <a:defRPr sz="1400"/>
            </a:lvl9pPr>
          </a:lstStyle>
          <a:p>
            <a:pPr lvl="0"/>
            <a:r>
              <a:rPr lang="nl-NL" dirty="0"/>
              <a:t>Leestekst</a:t>
            </a:r>
          </a:p>
          <a:p>
            <a:pPr lvl="1"/>
            <a:r>
              <a:rPr lang="nl-NL" dirty="0"/>
              <a:t>Bullets</a:t>
            </a:r>
          </a:p>
          <a:p>
            <a:pPr lvl="2"/>
            <a:r>
              <a:rPr lang="nl-NL" dirty="0"/>
              <a:t>Sub-bullets</a:t>
            </a:r>
          </a:p>
          <a:p>
            <a:pPr lvl="3"/>
            <a:r>
              <a:rPr lang="nl-NL" dirty="0"/>
              <a:t>Sub-sub-bullets</a:t>
            </a:r>
          </a:p>
          <a:p>
            <a:pPr lvl="4"/>
            <a:r>
              <a:rPr lang="nl-NL" dirty="0"/>
              <a:t>Numeriek</a:t>
            </a:r>
          </a:p>
          <a:p>
            <a:pPr lvl="5"/>
            <a:r>
              <a:rPr lang="nl-NL" dirty="0"/>
              <a:t># Bullets</a:t>
            </a:r>
          </a:p>
          <a:p>
            <a:pPr lvl="6"/>
            <a:r>
              <a:rPr lang="nl-NL" dirty="0"/>
              <a:t>Cursief donker</a:t>
            </a:r>
          </a:p>
          <a:p>
            <a:pPr lvl="7"/>
            <a:r>
              <a:rPr lang="nl-NL" dirty="0"/>
              <a:t>Cursief licht</a:t>
            </a:r>
          </a:p>
          <a:p>
            <a:pPr lvl="8"/>
            <a:r>
              <a:rPr lang="nl-NL" dirty="0"/>
              <a:t>Subtitel</a:t>
            </a:r>
          </a:p>
        </p:txBody>
      </p:sp>
      <p:sp>
        <p:nvSpPr>
          <p:cNvPr id="125" name="Tijdelijke aanduiding voor verticale tekst 2"/>
          <p:cNvSpPr>
            <a:spLocks noGrp="1"/>
          </p:cNvSpPr>
          <p:nvPr>
            <p:ph type="body" orient="vert" idx="24" hasCustomPrompt="1"/>
          </p:nvPr>
        </p:nvSpPr>
        <p:spPr>
          <a:xfrm>
            <a:off x="3540258" y="1670861"/>
            <a:ext cx="7815502" cy="3877876"/>
          </a:xfrm>
        </p:spPr>
        <p:txBody>
          <a:bodyPr vert="horz" lIns="0" tIns="0" rIns="0" bIns="0" numCol="3"/>
          <a:lstStyle>
            <a:lvl1pPr>
              <a:defRPr sz="1000"/>
            </a:lvl1pPr>
            <a:lvl2pPr marL="180975" indent="-180975">
              <a:defRPr sz="1000"/>
            </a:lvl2pPr>
            <a:lvl3pPr marL="360363" indent="-179388">
              <a:defRPr sz="1000"/>
            </a:lvl3pPr>
            <a:lvl4pPr marL="541338" indent="-180975">
              <a:defRPr sz="1000"/>
            </a:lvl4pPr>
            <a:lvl5pPr marL="265113" indent="-265113">
              <a:defRPr sz="1000"/>
            </a:lvl5pPr>
            <a:lvl6pPr marL="444500" indent="-179388">
              <a:defRPr sz="1000"/>
            </a:lvl6pPr>
            <a:lvl7pPr>
              <a:defRPr sz="1000"/>
            </a:lvl7pPr>
            <a:lvl8pPr>
              <a:defRPr sz="1000"/>
            </a:lvl8pPr>
            <a:lvl9pPr>
              <a:defRPr sz="1100"/>
            </a:lvl9pPr>
          </a:lstStyle>
          <a:p>
            <a:pPr lvl="0"/>
            <a:r>
              <a:rPr lang="nl-NL" dirty="0"/>
              <a:t>Leestekst</a:t>
            </a:r>
          </a:p>
          <a:p>
            <a:pPr lvl="1"/>
            <a:r>
              <a:rPr lang="nl-NL" dirty="0"/>
              <a:t>Bullets</a:t>
            </a:r>
          </a:p>
          <a:p>
            <a:pPr lvl="2"/>
            <a:r>
              <a:rPr lang="nl-NL" dirty="0"/>
              <a:t>Sub-bullets</a:t>
            </a:r>
          </a:p>
          <a:p>
            <a:pPr lvl="3"/>
            <a:r>
              <a:rPr lang="nl-NL" dirty="0"/>
              <a:t>Sub-sub-bullets</a:t>
            </a:r>
          </a:p>
          <a:p>
            <a:pPr lvl="4"/>
            <a:r>
              <a:rPr lang="nl-NL" dirty="0"/>
              <a:t>Numeriek</a:t>
            </a:r>
          </a:p>
          <a:p>
            <a:pPr lvl="5"/>
            <a:r>
              <a:rPr lang="nl-NL" dirty="0"/>
              <a:t># Bullets</a:t>
            </a:r>
          </a:p>
          <a:p>
            <a:pPr lvl="6"/>
            <a:r>
              <a:rPr lang="nl-NL" dirty="0"/>
              <a:t>Cursief donker</a:t>
            </a:r>
          </a:p>
          <a:p>
            <a:pPr lvl="7"/>
            <a:r>
              <a:rPr lang="nl-NL" dirty="0"/>
              <a:t>Cursief licht</a:t>
            </a:r>
          </a:p>
          <a:p>
            <a:pPr lvl="8"/>
            <a:r>
              <a:rPr lang="nl-NL" dirty="0"/>
              <a:t>Subtitel</a:t>
            </a:r>
          </a:p>
        </p:txBody>
      </p:sp>
      <p:sp>
        <p:nvSpPr>
          <p:cNvPr id="128" name="Tijdelijke aanduiding voor dianummer 4"/>
          <p:cNvSpPr>
            <a:spLocks noGrp="1"/>
          </p:cNvSpPr>
          <p:nvPr>
            <p:ph type="sldNum" sz="quarter" idx="4"/>
          </p:nvPr>
        </p:nvSpPr>
        <p:spPr>
          <a:xfrm>
            <a:off x="5770549" y="6295992"/>
            <a:ext cx="657251" cy="365125"/>
          </a:xfrm>
          <a:prstGeom prst="rect">
            <a:avLst/>
          </a:prstGeom>
        </p:spPr>
        <p:txBody>
          <a:bodyPr vert="horz" lIns="91440" tIns="45720" rIns="91440" bIns="45720" rtlCol="0" anchor="ctr"/>
          <a:lstStyle>
            <a:lvl1pPr algn="ctr">
              <a:defRPr sz="800">
                <a:solidFill>
                  <a:schemeClr val="tx1">
                    <a:tint val="75000"/>
                  </a:schemeClr>
                </a:solidFill>
              </a:defRPr>
            </a:lvl1pPr>
          </a:lstStyle>
          <a:p>
            <a:fld id="{1B3FA67A-C720-417A-A072-0CD211FD8662}" type="slidenum">
              <a:rPr lang="nl-NL" smtClean="0">
                <a:solidFill>
                  <a:srgbClr val="000000">
                    <a:tint val="75000"/>
                  </a:srgbClr>
                </a:solidFill>
              </a:rPr>
              <a:pPr/>
              <a:t>‹nr.›</a:t>
            </a:fld>
            <a:endParaRPr lang="nl-NL" dirty="0">
              <a:solidFill>
                <a:srgbClr val="000000">
                  <a:tint val="75000"/>
                </a:srgbClr>
              </a:solidFill>
            </a:endParaRPr>
          </a:p>
        </p:txBody>
      </p:sp>
      <p:cxnSp>
        <p:nvCxnSpPr>
          <p:cNvPr id="130" name="Rechte verbindingslijn 129"/>
          <p:cNvCxnSpPr/>
          <p:nvPr userDrawn="1"/>
        </p:nvCxnSpPr>
        <p:spPr>
          <a:xfrm flipH="1">
            <a:off x="664804" y="1358670"/>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134" name="Instructie Tekst"/>
          <p:cNvGrpSpPr/>
          <p:nvPr userDrawn="1"/>
        </p:nvGrpSpPr>
        <p:grpSpPr>
          <a:xfrm>
            <a:off x="-2916872" y="0"/>
            <a:ext cx="2688757" cy="5254722"/>
            <a:chOff x="-2959433" y="-5444"/>
            <a:chExt cx="2688057" cy="5254722"/>
          </a:xfrm>
        </p:grpSpPr>
        <p:sp>
          <p:nvSpPr>
            <p:cNvPr id="135" name="Rechthoek 134"/>
            <p:cNvSpPr/>
            <p:nvPr userDrawn="1"/>
          </p:nvSpPr>
          <p:spPr>
            <a:xfrm>
              <a:off x="-2959433" y="-5444"/>
              <a:ext cx="2572469" cy="280344"/>
            </a:xfrm>
            <a:prstGeom prst="rect">
              <a:avLst/>
            </a:prstGeom>
            <a:noFill/>
            <a:ln w="25400" cap="flat" cmpd="sng" algn="ctr">
              <a:noFill/>
              <a:prstDash val="solid"/>
            </a:ln>
            <a:effectLst/>
          </p:spPr>
          <p:txBody>
            <a:bodyPr lIns="0" tIns="0" rIns="0" bIns="0" rtlCol="0" anchor="t"/>
            <a:lstStyle/>
            <a:p>
              <a:pPr>
                <a:lnSpc>
                  <a:spcPct val="80000"/>
                </a:lnSpc>
                <a:defRPr/>
              </a:pPr>
              <a:r>
                <a:rPr lang="nl-NL" sz="1600" b="1" kern="0" dirty="0">
                  <a:solidFill>
                    <a:srgbClr val="ED1A3B"/>
                  </a:solidFill>
                  <a:cs typeface="Segoe UI Light" panose="020B0502040204020203" pitchFamily="34" charset="0"/>
                </a:rPr>
                <a:t>TEKST NIVEAUS</a:t>
              </a:r>
            </a:p>
          </p:txBody>
        </p:sp>
        <p:sp>
          <p:nvSpPr>
            <p:cNvPr id="136" name="Textfield placeholder"/>
            <p:cNvSpPr txBox="1">
              <a:spLocks/>
            </p:cNvSpPr>
            <p:nvPr userDrawn="1"/>
          </p:nvSpPr>
          <p:spPr>
            <a:xfrm>
              <a:off x="-2587337" y="2675411"/>
              <a:ext cx="2163709" cy="259683"/>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358775" lvl="2" indent="-179388" defTabSz="179388">
                <a:lnSpc>
                  <a:spcPct val="120000"/>
                </a:lnSpc>
                <a:spcBef>
                  <a:spcPts val="0"/>
                </a:spcBef>
                <a:spcAft>
                  <a:spcPts val="900"/>
                </a:spcAft>
                <a:buClr>
                  <a:srgbClr val="ED1A3B"/>
                </a:buClr>
                <a:buSzPct val="80000"/>
                <a:buFont typeface="Trebuchet MS" pitchFamily="34" charset="0"/>
                <a:buChar char="□"/>
                <a:defRPr/>
              </a:pPr>
              <a:r>
                <a:rPr lang="nl-NL" sz="1200" dirty="0">
                  <a:solidFill>
                    <a:srgbClr val="404040"/>
                  </a:solidFill>
                </a:rPr>
                <a:t>Sub-bullets (12 pt.)</a:t>
              </a:r>
            </a:p>
          </p:txBody>
        </p:sp>
        <p:sp>
          <p:nvSpPr>
            <p:cNvPr id="137" name="Ovaal 136"/>
            <p:cNvSpPr/>
            <p:nvPr userDrawn="1"/>
          </p:nvSpPr>
          <p:spPr>
            <a:xfrm>
              <a:off x="-2959433" y="196874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nl-NL" sz="1050" kern="0" dirty="0">
                  <a:solidFill>
                    <a:prstClr val="white"/>
                  </a:solidFill>
                  <a:cs typeface="Segoe UI Light" panose="020B0502040204020203" pitchFamily="34" charset="0"/>
                </a:rPr>
                <a:t>1</a:t>
              </a:r>
            </a:p>
          </p:txBody>
        </p:sp>
        <p:sp>
          <p:nvSpPr>
            <p:cNvPr id="138" name="Ovaal 137"/>
            <p:cNvSpPr/>
            <p:nvPr userDrawn="1"/>
          </p:nvSpPr>
          <p:spPr>
            <a:xfrm>
              <a:off x="-2959433" y="2322077"/>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nl-NL" sz="1050" kern="0" dirty="0">
                  <a:solidFill>
                    <a:prstClr val="white"/>
                  </a:solidFill>
                  <a:cs typeface="Segoe UI Light" panose="020B0502040204020203" pitchFamily="34" charset="0"/>
                </a:rPr>
                <a:t>2</a:t>
              </a:r>
            </a:p>
          </p:txBody>
        </p:sp>
        <p:sp>
          <p:nvSpPr>
            <p:cNvPr id="139" name="Ovaal 138"/>
            <p:cNvSpPr/>
            <p:nvPr userDrawn="1"/>
          </p:nvSpPr>
          <p:spPr>
            <a:xfrm>
              <a:off x="-2959433" y="267541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nl-NL" sz="1050" kern="0" dirty="0">
                  <a:solidFill>
                    <a:prstClr val="white"/>
                  </a:solidFill>
                  <a:cs typeface="Segoe UI Light" panose="020B0502040204020203" pitchFamily="34" charset="0"/>
                </a:rPr>
                <a:t>3</a:t>
              </a:r>
            </a:p>
          </p:txBody>
        </p:sp>
        <p:sp>
          <p:nvSpPr>
            <p:cNvPr id="140" name="Ovaal 139"/>
            <p:cNvSpPr/>
            <p:nvPr userDrawn="1"/>
          </p:nvSpPr>
          <p:spPr>
            <a:xfrm>
              <a:off x="-2959433" y="3028747"/>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nl-NL" sz="1050" kern="0" dirty="0">
                  <a:solidFill>
                    <a:prstClr val="white"/>
                  </a:solidFill>
                  <a:cs typeface="Segoe UI Light" panose="020B0502040204020203" pitchFamily="34" charset="0"/>
                </a:rPr>
                <a:t>4</a:t>
              </a:r>
            </a:p>
          </p:txBody>
        </p:sp>
        <p:sp>
          <p:nvSpPr>
            <p:cNvPr id="141" name="Textfield placeholder"/>
            <p:cNvSpPr txBox="1">
              <a:spLocks/>
            </p:cNvSpPr>
            <p:nvPr userDrawn="1"/>
          </p:nvSpPr>
          <p:spPr>
            <a:xfrm>
              <a:off x="-2571950" y="1966925"/>
              <a:ext cx="2163709" cy="261500"/>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defTabSz="179388">
                <a:lnSpc>
                  <a:spcPct val="120000"/>
                </a:lnSpc>
                <a:spcBef>
                  <a:spcPts val="0"/>
                </a:spcBef>
                <a:spcAft>
                  <a:spcPts val="900"/>
                </a:spcAft>
                <a:buClr>
                  <a:srgbClr val="000000"/>
                </a:buClr>
                <a:buSzPct val="100000"/>
                <a:buFont typeface="Arial" pitchFamily="34" charset="0"/>
                <a:buNone/>
                <a:defRPr/>
              </a:pPr>
              <a:r>
                <a:rPr lang="nl-NL" sz="1200" dirty="0">
                  <a:solidFill>
                    <a:srgbClr val="535353"/>
                  </a:solidFill>
                </a:rPr>
                <a:t>Leestekst (12 pt.)</a:t>
              </a:r>
            </a:p>
          </p:txBody>
        </p:sp>
        <p:sp>
          <p:nvSpPr>
            <p:cNvPr id="142" name="Textfield placeholder"/>
            <p:cNvSpPr txBox="1">
              <a:spLocks/>
            </p:cNvSpPr>
            <p:nvPr userDrawn="1"/>
          </p:nvSpPr>
          <p:spPr>
            <a:xfrm>
              <a:off x="-2571950" y="2322077"/>
              <a:ext cx="2163709" cy="259683"/>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79388" lvl="1" indent="-179388" defTabSz="179388">
                <a:lnSpc>
                  <a:spcPct val="120000"/>
                </a:lnSpc>
                <a:spcBef>
                  <a:spcPts val="0"/>
                </a:spcBef>
                <a:spcAft>
                  <a:spcPts val="900"/>
                </a:spcAft>
                <a:buClr>
                  <a:srgbClr val="ED1A3B"/>
                </a:buClr>
                <a:buSzTx/>
                <a:buFont typeface="Wingdings" panose="05000000000000000000" pitchFamily="2" charset="2"/>
                <a:buChar char="§"/>
                <a:defRPr/>
              </a:pPr>
              <a:r>
                <a:rPr lang="nl-NL" sz="1200" dirty="0">
                  <a:solidFill>
                    <a:srgbClr val="535353"/>
                  </a:solidFill>
                </a:rPr>
                <a:t>Bullets (12 pt.)</a:t>
              </a:r>
            </a:p>
          </p:txBody>
        </p:sp>
        <p:sp>
          <p:nvSpPr>
            <p:cNvPr id="143" name="Textfield placeholder"/>
            <p:cNvSpPr txBox="1">
              <a:spLocks/>
            </p:cNvSpPr>
            <p:nvPr userDrawn="1"/>
          </p:nvSpPr>
          <p:spPr>
            <a:xfrm>
              <a:off x="-2571950" y="3028747"/>
              <a:ext cx="2163709" cy="259683"/>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11175" lvl="3" indent="-157163" defTabSz="179388">
                <a:lnSpc>
                  <a:spcPct val="120000"/>
                </a:lnSpc>
                <a:spcBef>
                  <a:spcPts val="0"/>
                </a:spcBef>
                <a:spcAft>
                  <a:spcPts val="900"/>
                </a:spcAft>
                <a:buClr>
                  <a:srgbClr val="404040"/>
                </a:buClr>
                <a:buFont typeface="Wingdings" pitchFamily="2" charset="2"/>
                <a:buChar char="§"/>
                <a:defRPr/>
              </a:pPr>
              <a:r>
                <a:rPr lang="nl-NL" sz="1200" b="0" dirty="0">
                  <a:solidFill>
                    <a:srgbClr val="404040"/>
                  </a:solidFill>
                </a:rPr>
                <a:t>Sub-sub-bullets (12 pt.)</a:t>
              </a:r>
            </a:p>
          </p:txBody>
        </p:sp>
        <p:cxnSp>
          <p:nvCxnSpPr>
            <p:cNvPr id="144" name="Rechte verbindingslijn 143"/>
            <p:cNvCxnSpPr/>
            <p:nvPr userDrawn="1"/>
          </p:nvCxnSpPr>
          <p:spPr>
            <a:xfrm>
              <a:off x="-2959100" y="274900"/>
              <a:ext cx="2674470" cy="0"/>
            </a:xfrm>
            <a:prstGeom prst="line">
              <a:avLst/>
            </a:prstGeom>
            <a:noFill/>
            <a:ln w="9525" cap="flat" cmpd="sng" algn="ctr">
              <a:solidFill>
                <a:schemeClr val="accent1"/>
              </a:solidFill>
              <a:prstDash val="solid"/>
            </a:ln>
            <a:effectLst/>
          </p:spPr>
        </p:cxnSp>
        <p:cxnSp>
          <p:nvCxnSpPr>
            <p:cNvPr id="145" name="Rechte verbindingslijn 144"/>
            <p:cNvCxnSpPr/>
            <p:nvPr userDrawn="1"/>
          </p:nvCxnSpPr>
          <p:spPr>
            <a:xfrm>
              <a:off x="-2959100" y="1841989"/>
              <a:ext cx="2661379" cy="0"/>
            </a:xfrm>
            <a:prstGeom prst="line">
              <a:avLst/>
            </a:prstGeom>
            <a:noFill/>
            <a:ln w="9525" cap="flat" cmpd="sng" algn="ctr">
              <a:solidFill>
                <a:schemeClr val="accent1"/>
              </a:solidFill>
              <a:prstDash val="solid"/>
            </a:ln>
            <a:effectLst/>
          </p:spPr>
        </p:cxnSp>
        <p:cxnSp>
          <p:nvCxnSpPr>
            <p:cNvPr id="146" name="Rechte verbindingslijn 145"/>
            <p:cNvCxnSpPr/>
            <p:nvPr userDrawn="1"/>
          </p:nvCxnSpPr>
          <p:spPr>
            <a:xfrm>
              <a:off x="-2959100" y="5249278"/>
              <a:ext cx="2661379" cy="0"/>
            </a:xfrm>
            <a:prstGeom prst="line">
              <a:avLst/>
            </a:prstGeom>
            <a:noFill/>
            <a:ln w="9525" cap="flat" cmpd="sng" algn="ctr">
              <a:solidFill>
                <a:schemeClr val="accent1"/>
              </a:solidFill>
              <a:prstDash val="solid"/>
            </a:ln>
            <a:effectLst/>
          </p:spPr>
        </p:cxnSp>
        <p:grpSp>
          <p:nvGrpSpPr>
            <p:cNvPr id="147" name="Groep 146"/>
            <p:cNvGrpSpPr/>
            <p:nvPr userDrawn="1"/>
          </p:nvGrpSpPr>
          <p:grpSpPr>
            <a:xfrm>
              <a:off x="-1948476" y="816741"/>
              <a:ext cx="409108" cy="427699"/>
              <a:chOff x="-1085063" y="758027"/>
              <a:chExt cx="633799" cy="622540"/>
            </a:xfrm>
          </p:grpSpPr>
          <p:sp>
            <p:nvSpPr>
              <p:cNvPr id="203" name="Afgeronde rechthoek 94"/>
              <p:cNvSpPr/>
              <p:nvPr userDrawn="1"/>
            </p:nvSpPr>
            <p:spPr>
              <a:xfrm>
                <a:off x="-108506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grpSp>
            <p:nvGrpSpPr>
              <p:cNvPr id="204" name="Groep 203"/>
              <p:cNvGrpSpPr/>
              <p:nvPr userDrawn="1"/>
            </p:nvGrpSpPr>
            <p:grpSpPr>
              <a:xfrm>
                <a:off x="-977746" y="864082"/>
                <a:ext cx="419166" cy="410430"/>
                <a:chOff x="6366933" y="309013"/>
                <a:chExt cx="1901295" cy="1861668"/>
              </a:xfrm>
              <a:solidFill>
                <a:srgbClr val="000000"/>
              </a:solidFill>
            </p:grpSpPr>
            <p:sp>
              <p:nvSpPr>
                <p:cNvPr id="205" name="Rechthoek 204"/>
                <p:cNvSpPr/>
                <p:nvPr userDrawn="1"/>
              </p:nvSpPr>
              <p:spPr>
                <a:xfrm>
                  <a:off x="6608189" y="535149"/>
                  <a:ext cx="457575" cy="149549"/>
                </a:xfrm>
                <a:prstGeom prst="rect">
                  <a:avLst/>
                </a:prstGeom>
                <a:grp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206" name="Rechthoek 205"/>
                <p:cNvSpPr/>
                <p:nvPr userDrawn="1"/>
              </p:nvSpPr>
              <p:spPr>
                <a:xfrm>
                  <a:off x="6608189" y="1512611"/>
                  <a:ext cx="457575" cy="149549"/>
                </a:xfrm>
                <a:prstGeom prst="rect">
                  <a:avLst/>
                </a:prstGeom>
                <a:grp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207" name="Rechthoek 206"/>
                <p:cNvSpPr/>
                <p:nvPr userDrawn="1"/>
              </p:nvSpPr>
              <p:spPr>
                <a:xfrm>
                  <a:off x="6608189" y="1780625"/>
                  <a:ext cx="457575" cy="149549"/>
                </a:xfrm>
                <a:prstGeom prst="rect">
                  <a:avLst/>
                </a:prstGeom>
                <a:grp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208" name="Rechthoek 207"/>
                <p:cNvSpPr/>
                <p:nvPr userDrawn="1"/>
              </p:nvSpPr>
              <p:spPr>
                <a:xfrm>
                  <a:off x="7252238" y="535149"/>
                  <a:ext cx="1015990" cy="149549"/>
                </a:xfrm>
                <a:prstGeom prst="rect">
                  <a:avLst/>
                </a:prstGeom>
                <a:grp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209" name="Rechthoek 208"/>
                <p:cNvSpPr/>
                <p:nvPr userDrawn="1"/>
              </p:nvSpPr>
              <p:spPr>
                <a:xfrm>
                  <a:off x="7252238" y="1512611"/>
                  <a:ext cx="1015990" cy="149549"/>
                </a:xfrm>
                <a:prstGeom prst="rect">
                  <a:avLst/>
                </a:prstGeom>
                <a:grp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210" name="Rechthoek 209"/>
                <p:cNvSpPr/>
                <p:nvPr userDrawn="1"/>
              </p:nvSpPr>
              <p:spPr>
                <a:xfrm>
                  <a:off x="7252238" y="1780625"/>
                  <a:ext cx="177790" cy="149549"/>
                </a:xfrm>
                <a:prstGeom prst="rect">
                  <a:avLst/>
                </a:prstGeom>
                <a:grp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211" name="Rechthoek 210"/>
                <p:cNvSpPr/>
                <p:nvPr userDrawn="1"/>
              </p:nvSpPr>
              <p:spPr>
                <a:xfrm>
                  <a:off x="7252238" y="854236"/>
                  <a:ext cx="1015990" cy="149549"/>
                </a:xfrm>
                <a:prstGeom prst="rect">
                  <a:avLst/>
                </a:prstGeom>
                <a:grp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212" name="Rechthoek 211"/>
                <p:cNvSpPr/>
                <p:nvPr userDrawn="1"/>
              </p:nvSpPr>
              <p:spPr>
                <a:xfrm>
                  <a:off x="7252238" y="1191263"/>
                  <a:ext cx="606415" cy="199049"/>
                </a:xfrm>
                <a:prstGeom prst="rect">
                  <a:avLst/>
                </a:prstGeom>
                <a:grp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213" name="Rechthoek 212"/>
                <p:cNvSpPr/>
                <p:nvPr userDrawn="1"/>
              </p:nvSpPr>
              <p:spPr>
                <a:xfrm>
                  <a:off x="7252238" y="309013"/>
                  <a:ext cx="88895" cy="149549"/>
                </a:xfrm>
                <a:prstGeom prst="rect">
                  <a:avLst/>
                </a:prstGeom>
                <a:grp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214" name="Rechthoek 213"/>
                <p:cNvSpPr/>
                <p:nvPr userDrawn="1"/>
              </p:nvSpPr>
              <p:spPr>
                <a:xfrm>
                  <a:off x="7252238" y="2021132"/>
                  <a:ext cx="88895" cy="149549"/>
                </a:xfrm>
                <a:prstGeom prst="rect">
                  <a:avLst/>
                </a:prstGeom>
                <a:grp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215" name="Vrije vorm 106"/>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grpSp>
        </p:grpSp>
        <p:grpSp>
          <p:nvGrpSpPr>
            <p:cNvPr id="148" name="Groep 147"/>
            <p:cNvGrpSpPr/>
            <p:nvPr/>
          </p:nvGrpSpPr>
          <p:grpSpPr>
            <a:xfrm>
              <a:off x="-2950232" y="1207835"/>
              <a:ext cx="532929" cy="509563"/>
              <a:chOff x="-2880382" y="802341"/>
              <a:chExt cx="532929" cy="509563"/>
            </a:xfrm>
          </p:grpSpPr>
          <p:sp>
            <p:nvSpPr>
              <p:cNvPr id="181" name="Rechthoek 180"/>
              <p:cNvSpPr/>
              <p:nvPr/>
            </p:nvSpPr>
            <p:spPr>
              <a:xfrm>
                <a:off x="-2880382" y="802341"/>
                <a:ext cx="532929" cy="509563"/>
              </a:xfrm>
              <a:prstGeom prst="rect">
                <a:avLst/>
              </a:prstGeom>
              <a:solidFill>
                <a:sysClr val="window" lastClr="FFFFFF"/>
              </a:solidFill>
              <a:ln w="12700" cap="flat" cmpd="sng" algn="ctr">
                <a:noFill/>
                <a:prstDash val="solid"/>
                <a:miter lim="800000"/>
              </a:ln>
              <a:effectLst/>
            </p:spPr>
            <p:txBody>
              <a:bodyPr rtlCol="0" anchor="ctr"/>
              <a:lstStyle/>
              <a:p>
                <a:pPr algn="ctr">
                  <a:defRPr/>
                </a:pPr>
                <a:endParaRPr lang="nl-NL" kern="0" dirty="0">
                  <a:solidFill>
                    <a:prstClr val="white"/>
                  </a:solidFill>
                  <a:latin typeface="Segoe UI Light"/>
                </a:endParaRPr>
              </a:p>
            </p:txBody>
          </p:sp>
          <p:pic>
            <p:nvPicPr>
              <p:cNvPr id="18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35852" y="822181"/>
                <a:ext cx="226442" cy="208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3"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848026" y="822181"/>
                <a:ext cx="207168" cy="213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84" name="Groep 183"/>
              <p:cNvGrpSpPr/>
              <p:nvPr/>
            </p:nvGrpSpPr>
            <p:grpSpPr>
              <a:xfrm>
                <a:off x="-2802433" y="1123442"/>
                <a:ext cx="132915" cy="104889"/>
                <a:chOff x="-2796392" y="1123442"/>
                <a:chExt cx="120832" cy="104889"/>
              </a:xfrm>
            </p:grpSpPr>
            <p:sp>
              <p:nvSpPr>
                <p:cNvPr id="198" name="Rechthoek 197"/>
                <p:cNvSpPr/>
                <p:nvPr/>
              </p:nvSpPr>
              <p:spPr>
                <a:xfrm>
                  <a:off x="-2796392" y="1123442"/>
                  <a:ext cx="120832" cy="11624"/>
                </a:xfrm>
                <a:prstGeom prst="rect">
                  <a:avLst/>
                </a:prstGeom>
                <a:solidFill>
                  <a:srgbClr val="000000"/>
                </a:solid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199" name="Rechthoek 198"/>
                <p:cNvSpPr/>
                <p:nvPr/>
              </p:nvSpPr>
              <p:spPr>
                <a:xfrm>
                  <a:off x="-2796392" y="1146758"/>
                  <a:ext cx="120832" cy="11624"/>
                </a:xfrm>
                <a:prstGeom prst="rect">
                  <a:avLst/>
                </a:prstGeom>
                <a:solidFill>
                  <a:srgbClr val="000000"/>
                </a:solid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200" name="Rechthoek 199"/>
                <p:cNvSpPr/>
                <p:nvPr/>
              </p:nvSpPr>
              <p:spPr>
                <a:xfrm>
                  <a:off x="-2796392" y="1193390"/>
                  <a:ext cx="120832" cy="11624"/>
                </a:xfrm>
                <a:prstGeom prst="rect">
                  <a:avLst/>
                </a:prstGeom>
                <a:solidFill>
                  <a:srgbClr val="000000"/>
                </a:solid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201" name="Rechthoek 200"/>
                <p:cNvSpPr/>
                <p:nvPr/>
              </p:nvSpPr>
              <p:spPr>
                <a:xfrm>
                  <a:off x="-2796392" y="1216707"/>
                  <a:ext cx="120832" cy="11624"/>
                </a:xfrm>
                <a:prstGeom prst="rect">
                  <a:avLst/>
                </a:prstGeom>
                <a:solidFill>
                  <a:srgbClr val="000000"/>
                </a:solid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202" name="Rechthoek 201"/>
                <p:cNvSpPr/>
                <p:nvPr/>
              </p:nvSpPr>
              <p:spPr>
                <a:xfrm>
                  <a:off x="-2796392" y="1170074"/>
                  <a:ext cx="120832" cy="11624"/>
                </a:xfrm>
                <a:prstGeom prst="rect">
                  <a:avLst/>
                </a:prstGeom>
                <a:solidFill>
                  <a:srgbClr val="000000"/>
                </a:solid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grpSp>
          <p:grpSp>
            <p:nvGrpSpPr>
              <p:cNvPr id="185" name="Groep 184"/>
              <p:cNvGrpSpPr/>
              <p:nvPr/>
            </p:nvGrpSpPr>
            <p:grpSpPr>
              <a:xfrm>
                <a:off x="-2575435" y="1123442"/>
                <a:ext cx="133931" cy="104889"/>
                <a:chOff x="-2556734" y="1123442"/>
                <a:chExt cx="147324" cy="104889"/>
              </a:xfrm>
            </p:grpSpPr>
            <p:grpSp>
              <p:nvGrpSpPr>
                <p:cNvPr id="186" name="Groep 185"/>
                <p:cNvGrpSpPr/>
                <p:nvPr/>
              </p:nvGrpSpPr>
              <p:grpSpPr>
                <a:xfrm>
                  <a:off x="-2556734" y="1123442"/>
                  <a:ext cx="68206" cy="104889"/>
                  <a:chOff x="-2796392" y="1123442"/>
                  <a:chExt cx="120832" cy="104889"/>
                </a:xfrm>
              </p:grpSpPr>
              <p:sp>
                <p:nvSpPr>
                  <p:cNvPr id="193" name="Rechthoek 192"/>
                  <p:cNvSpPr/>
                  <p:nvPr/>
                </p:nvSpPr>
                <p:spPr>
                  <a:xfrm>
                    <a:off x="-2796392" y="1123442"/>
                    <a:ext cx="120832" cy="11624"/>
                  </a:xfrm>
                  <a:prstGeom prst="rect">
                    <a:avLst/>
                  </a:prstGeom>
                  <a:solidFill>
                    <a:srgbClr val="000000"/>
                  </a:solid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194" name="Rechthoek 193"/>
                  <p:cNvSpPr/>
                  <p:nvPr/>
                </p:nvSpPr>
                <p:spPr>
                  <a:xfrm>
                    <a:off x="-2796392" y="1146758"/>
                    <a:ext cx="120832" cy="11624"/>
                  </a:xfrm>
                  <a:prstGeom prst="rect">
                    <a:avLst/>
                  </a:prstGeom>
                  <a:solidFill>
                    <a:srgbClr val="000000"/>
                  </a:solid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195" name="Rechthoek 194"/>
                  <p:cNvSpPr/>
                  <p:nvPr/>
                </p:nvSpPr>
                <p:spPr>
                  <a:xfrm>
                    <a:off x="-2796392" y="1193390"/>
                    <a:ext cx="120832" cy="11624"/>
                  </a:xfrm>
                  <a:prstGeom prst="rect">
                    <a:avLst/>
                  </a:prstGeom>
                  <a:solidFill>
                    <a:srgbClr val="000000"/>
                  </a:solid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196" name="Rechthoek 195"/>
                  <p:cNvSpPr/>
                  <p:nvPr/>
                </p:nvSpPr>
                <p:spPr>
                  <a:xfrm>
                    <a:off x="-2796392" y="1216707"/>
                    <a:ext cx="120832" cy="11624"/>
                  </a:xfrm>
                  <a:prstGeom prst="rect">
                    <a:avLst/>
                  </a:prstGeom>
                  <a:solidFill>
                    <a:srgbClr val="000000"/>
                  </a:solid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197" name="Rechthoek 196"/>
                  <p:cNvSpPr/>
                  <p:nvPr/>
                </p:nvSpPr>
                <p:spPr>
                  <a:xfrm>
                    <a:off x="-2796392" y="1170074"/>
                    <a:ext cx="120832" cy="11624"/>
                  </a:xfrm>
                  <a:prstGeom prst="rect">
                    <a:avLst/>
                  </a:prstGeom>
                  <a:solidFill>
                    <a:srgbClr val="000000"/>
                  </a:solid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grpSp>
            <p:grpSp>
              <p:nvGrpSpPr>
                <p:cNvPr id="187" name="Groep 186"/>
                <p:cNvGrpSpPr/>
                <p:nvPr/>
              </p:nvGrpSpPr>
              <p:grpSpPr>
                <a:xfrm>
                  <a:off x="-2477616" y="1123442"/>
                  <a:ext cx="68206" cy="104889"/>
                  <a:chOff x="-2796392" y="1123442"/>
                  <a:chExt cx="120832" cy="104889"/>
                </a:xfrm>
              </p:grpSpPr>
              <p:sp>
                <p:nvSpPr>
                  <p:cNvPr id="188" name="Rechthoek 187"/>
                  <p:cNvSpPr/>
                  <p:nvPr/>
                </p:nvSpPr>
                <p:spPr>
                  <a:xfrm>
                    <a:off x="-2796392" y="1123442"/>
                    <a:ext cx="120832" cy="11624"/>
                  </a:xfrm>
                  <a:prstGeom prst="rect">
                    <a:avLst/>
                  </a:prstGeom>
                  <a:solidFill>
                    <a:srgbClr val="000000"/>
                  </a:solid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189" name="Rechthoek 188"/>
                  <p:cNvSpPr/>
                  <p:nvPr/>
                </p:nvSpPr>
                <p:spPr>
                  <a:xfrm>
                    <a:off x="-2796392" y="1146758"/>
                    <a:ext cx="120832" cy="11624"/>
                  </a:xfrm>
                  <a:prstGeom prst="rect">
                    <a:avLst/>
                  </a:prstGeom>
                  <a:solidFill>
                    <a:srgbClr val="000000"/>
                  </a:solid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190" name="Rechthoek 189"/>
                  <p:cNvSpPr/>
                  <p:nvPr/>
                </p:nvSpPr>
                <p:spPr>
                  <a:xfrm>
                    <a:off x="-2796392" y="1193390"/>
                    <a:ext cx="120832" cy="11624"/>
                  </a:xfrm>
                  <a:prstGeom prst="rect">
                    <a:avLst/>
                  </a:prstGeom>
                  <a:solidFill>
                    <a:srgbClr val="000000"/>
                  </a:solid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191" name="Rechthoek 190"/>
                  <p:cNvSpPr/>
                  <p:nvPr/>
                </p:nvSpPr>
                <p:spPr>
                  <a:xfrm>
                    <a:off x="-2796392" y="1216707"/>
                    <a:ext cx="120832" cy="11624"/>
                  </a:xfrm>
                  <a:prstGeom prst="rect">
                    <a:avLst/>
                  </a:prstGeom>
                  <a:solidFill>
                    <a:srgbClr val="000000"/>
                  </a:solid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192" name="Rechthoek 191"/>
                  <p:cNvSpPr/>
                  <p:nvPr/>
                </p:nvSpPr>
                <p:spPr>
                  <a:xfrm>
                    <a:off x="-2796392" y="1170074"/>
                    <a:ext cx="120832" cy="11624"/>
                  </a:xfrm>
                  <a:prstGeom prst="rect">
                    <a:avLst/>
                  </a:prstGeom>
                  <a:solidFill>
                    <a:srgbClr val="000000"/>
                  </a:solid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grpSp>
          </p:grpSp>
        </p:grpSp>
        <p:grpSp>
          <p:nvGrpSpPr>
            <p:cNvPr id="149" name="Groep 148"/>
            <p:cNvGrpSpPr/>
            <p:nvPr userDrawn="1"/>
          </p:nvGrpSpPr>
          <p:grpSpPr>
            <a:xfrm>
              <a:off x="-1948476" y="1281164"/>
              <a:ext cx="413704" cy="427699"/>
              <a:chOff x="-1845083" y="758027"/>
              <a:chExt cx="633799" cy="622540"/>
            </a:xfrm>
          </p:grpSpPr>
          <p:sp>
            <p:nvSpPr>
              <p:cNvPr id="168" name="Afgeronde rechthoek 59"/>
              <p:cNvSpPr/>
              <p:nvPr userDrawn="1"/>
            </p:nvSpPr>
            <p:spPr>
              <a:xfrm>
                <a:off x="-184508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grpSp>
            <p:nvGrpSpPr>
              <p:cNvPr id="169" name="Groep 168"/>
              <p:cNvGrpSpPr/>
              <p:nvPr userDrawn="1"/>
            </p:nvGrpSpPr>
            <p:grpSpPr>
              <a:xfrm>
                <a:off x="-1737766" y="864082"/>
                <a:ext cx="419166" cy="410430"/>
                <a:chOff x="3708400" y="309013"/>
                <a:chExt cx="1901295" cy="1861668"/>
              </a:xfrm>
              <a:solidFill>
                <a:srgbClr val="000000"/>
              </a:solidFill>
            </p:grpSpPr>
            <p:sp>
              <p:nvSpPr>
                <p:cNvPr id="170" name="Rechthoek 169"/>
                <p:cNvSpPr/>
                <p:nvPr userDrawn="1"/>
              </p:nvSpPr>
              <p:spPr>
                <a:xfrm>
                  <a:off x="3949656" y="535149"/>
                  <a:ext cx="457575" cy="149549"/>
                </a:xfrm>
                <a:prstGeom prst="rect">
                  <a:avLst/>
                </a:prstGeom>
                <a:grp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171" name="Rechthoek 170"/>
                <p:cNvSpPr/>
                <p:nvPr userDrawn="1"/>
              </p:nvSpPr>
              <p:spPr>
                <a:xfrm>
                  <a:off x="3949656" y="1512611"/>
                  <a:ext cx="457575" cy="149549"/>
                </a:xfrm>
                <a:prstGeom prst="rect">
                  <a:avLst/>
                </a:prstGeom>
                <a:grp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172" name="Rechthoek 171"/>
                <p:cNvSpPr/>
                <p:nvPr userDrawn="1"/>
              </p:nvSpPr>
              <p:spPr>
                <a:xfrm>
                  <a:off x="3949656" y="1780625"/>
                  <a:ext cx="457575" cy="149549"/>
                </a:xfrm>
                <a:prstGeom prst="rect">
                  <a:avLst/>
                </a:prstGeom>
                <a:grp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173" name="Rechthoek 172"/>
                <p:cNvSpPr/>
                <p:nvPr userDrawn="1"/>
              </p:nvSpPr>
              <p:spPr>
                <a:xfrm>
                  <a:off x="4593705" y="535149"/>
                  <a:ext cx="1015990" cy="149549"/>
                </a:xfrm>
                <a:prstGeom prst="rect">
                  <a:avLst/>
                </a:prstGeom>
                <a:grp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174" name="Rechthoek 173"/>
                <p:cNvSpPr/>
                <p:nvPr userDrawn="1"/>
              </p:nvSpPr>
              <p:spPr>
                <a:xfrm>
                  <a:off x="4593705" y="1512611"/>
                  <a:ext cx="1015990" cy="149549"/>
                </a:xfrm>
                <a:prstGeom prst="rect">
                  <a:avLst/>
                </a:prstGeom>
                <a:grp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175" name="Rechthoek 174"/>
                <p:cNvSpPr/>
                <p:nvPr userDrawn="1"/>
              </p:nvSpPr>
              <p:spPr>
                <a:xfrm>
                  <a:off x="4593705" y="1780625"/>
                  <a:ext cx="177790" cy="149549"/>
                </a:xfrm>
                <a:prstGeom prst="rect">
                  <a:avLst/>
                </a:prstGeom>
                <a:grp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176" name="Rechthoek 175"/>
                <p:cNvSpPr/>
                <p:nvPr userDrawn="1"/>
              </p:nvSpPr>
              <p:spPr>
                <a:xfrm>
                  <a:off x="4593705" y="854236"/>
                  <a:ext cx="1015990" cy="149549"/>
                </a:xfrm>
                <a:prstGeom prst="rect">
                  <a:avLst/>
                </a:prstGeom>
                <a:grp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177" name="Rechthoek 176"/>
                <p:cNvSpPr/>
                <p:nvPr userDrawn="1"/>
              </p:nvSpPr>
              <p:spPr>
                <a:xfrm>
                  <a:off x="4593705" y="1191263"/>
                  <a:ext cx="606415" cy="199049"/>
                </a:xfrm>
                <a:prstGeom prst="rect">
                  <a:avLst/>
                </a:prstGeom>
                <a:grp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178" name="Rechthoek 177"/>
                <p:cNvSpPr/>
                <p:nvPr userDrawn="1"/>
              </p:nvSpPr>
              <p:spPr>
                <a:xfrm>
                  <a:off x="4593705" y="309013"/>
                  <a:ext cx="88895" cy="149549"/>
                </a:xfrm>
                <a:prstGeom prst="rect">
                  <a:avLst/>
                </a:prstGeom>
                <a:grp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179" name="Rechthoek 178"/>
                <p:cNvSpPr/>
                <p:nvPr userDrawn="1"/>
              </p:nvSpPr>
              <p:spPr>
                <a:xfrm>
                  <a:off x="4593705" y="2021132"/>
                  <a:ext cx="88895" cy="149549"/>
                </a:xfrm>
                <a:prstGeom prst="rect">
                  <a:avLst/>
                </a:prstGeom>
                <a:grp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sp>
              <p:nvSpPr>
                <p:cNvPr id="180" name="Vrije vorm 71"/>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p>
                  <a:pPr algn="ctr">
                    <a:defRPr/>
                  </a:pPr>
                  <a:endParaRPr lang="nl-NL" kern="0" dirty="0">
                    <a:solidFill>
                      <a:srgbClr val="EF291F"/>
                    </a:solidFill>
                    <a:cs typeface="Segoe UI Light" panose="020B0502040204020203" pitchFamily="34" charset="0"/>
                  </a:endParaRPr>
                </a:p>
              </p:txBody>
            </p:sp>
          </p:grpSp>
        </p:grpSp>
        <p:cxnSp>
          <p:nvCxnSpPr>
            <p:cNvPr id="150" name="Rechte verbindingslijn 149"/>
            <p:cNvCxnSpPr>
              <a:stCxn id="76" idx="2"/>
              <a:endCxn id="61" idx="1"/>
            </p:cNvCxnSpPr>
            <p:nvPr userDrawn="1"/>
          </p:nvCxnSpPr>
          <p:spPr>
            <a:xfrm>
              <a:off x="-2814292" y="1441193"/>
              <a:ext cx="865816" cy="53821"/>
            </a:xfrm>
            <a:prstGeom prst="line">
              <a:avLst/>
            </a:prstGeom>
            <a:noFill/>
            <a:ln w="9525" cap="flat" cmpd="sng" algn="ctr">
              <a:solidFill>
                <a:schemeClr val="accent1"/>
              </a:solidFill>
              <a:prstDash val="solid"/>
              <a:headEnd type="oval"/>
            </a:ln>
            <a:effectLst/>
          </p:spPr>
        </p:cxnSp>
        <p:cxnSp>
          <p:nvCxnSpPr>
            <p:cNvPr id="151" name="Rechte verbindingslijn 150"/>
            <p:cNvCxnSpPr>
              <a:endCxn id="96" idx="1"/>
            </p:cNvCxnSpPr>
            <p:nvPr userDrawn="1"/>
          </p:nvCxnSpPr>
          <p:spPr>
            <a:xfrm flipV="1">
              <a:off x="-2453902" y="1030591"/>
              <a:ext cx="505426" cy="283623"/>
            </a:xfrm>
            <a:prstGeom prst="line">
              <a:avLst/>
            </a:prstGeom>
            <a:noFill/>
            <a:ln w="9525" cap="flat" cmpd="sng" algn="ctr">
              <a:solidFill>
                <a:schemeClr val="accent1"/>
              </a:solidFill>
              <a:prstDash val="solid"/>
              <a:headEnd type="oval"/>
            </a:ln>
            <a:effectLst/>
          </p:spPr>
        </p:cxnSp>
        <p:sp>
          <p:nvSpPr>
            <p:cNvPr id="152" name="Textfield placeholder"/>
            <p:cNvSpPr txBox="1">
              <a:spLocks/>
            </p:cNvSpPr>
            <p:nvPr userDrawn="1"/>
          </p:nvSpPr>
          <p:spPr>
            <a:xfrm>
              <a:off x="-1341598" y="816743"/>
              <a:ext cx="1056968" cy="42769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hoog</a:t>
              </a:r>
            </a:p>
          </p:txBody>
        </p:sp>
        <p:sp>
          <p:nvSpPr>
            <p:cNvPr id="153" name="Textfield placeholder"/>
            <p:cNvSpPr txBox="1">
              <a:spLocks/>
            </p:cNvSpPr>
            <p:nvPr userDrawn="1"/>
          </p:nvSpPr>
          <p:spPr>
            <a:xfrm>
              <a:off x="-1341599" y="1281164"/>
              <a:ext cx="1070223"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laag</a:t>
              </a:r>
            </a:p>
          </p:txBody>
        </p:sp>
        <p:sp>
          <p:nvSpPr>
            <p:cNvPr id="154" name="Ovaal 153"/>
            <p:cNvSpPr/>
            <p:nvPr userDrawn="1"/>
          </p:nvSpPr>
          <p:spPr>
            <a:xfrm>
              <a:off x="-2959433" y="3382082"/>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nl-NL" sz="1050" kern="0" dirty="0">
                  <a:solidFill>
                    <a:prstClr val="white"/>
                  </a:solidFill>
                  <a:cs typeface="Segoe UI Light" panose="020B0502040204020203" pitchFamily="34" charset="0"/>
                </a:rPr>
                <a:t>5</a:t>
              </a:r>
            </a:p>
          </p:txBody>
        </p:sp>
        <p:sp>
          <p:nvSpPr>
            <p:cNvPr id="155" name="Textfield placeholder"/>
            <p:cNvSpPr txBox="1">
              <a:spLocks/>
            </p:cNvSpPr>
            <p:nvPr/>
          </p:nvSpPr>
          <p:spPr>
            <a:xfrm>
              <a:off x="-2571950" y="3382082"/>
              <a:ext cx="2163709" cy="259683"/>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355600" lvl="4" indent="-355600" defTabSz="179388">
                <a:lnSpc>
                  <a:spcPct val="120000"/>
                </a:lnSpc>
                <a:spcBef>
                  <a:spcPts val="0"/>
                </a:spcBef>
                <a:spcAft>
                  <a:spcPts val="900"/>
                </a:spcAft>
                <a:buClr>
                  <a:srgbClr val="ED1A3B"/>
                </a:buClr>
                <a:buFont typeface="+mj-lt"/>
                <a:buAutoNum type="arabicPeriod"/>
                <a:defRPr/>
              </a:pPr>
              <a:r>
                <a:rPr lang="nl-NL" sz="1200" b="0" dirty="0">
                  <a:solidFill>
                    <a:srgbClr val="404040"/>
                  </a:solidFill>
                </a:rPr>
                <a:t>Numeriek (12 pt.)</a:t>
              </a:r>
            </a:p>
          </p:txBody>
        </p:sp>
        <p:grpSp>
          <p:nvGrpSpPr>
            <p:cNvPr id="156" name="Groep 155"/>
            <p:cNvGrpSpPr/>
            <p:nvPr/>
          </p:nvGrpSpPr>
          <p:grpSpPr>
            <a:xfrm>
              <a:off x="-2950232" y="816050"/>
              <a:ext cx="528695" cy="344202"/>
              <a:chOff x="-2880382" y="410556"/>
              <a:chExt cx="528695" cy="344202"/>
            </a:xfrm>
          </p:grpSpPr>
          <p:sp>
            <p:nvSpPr>
              <p:cNvPr id="166" name="Afgeronde rechthoek 57"/>
              <p:cNvSpPr/>
              <p:nvPr/>
            </p:nvSpPr>
            <p:spPr>
              <a:xfrm>
                <a:off x="-2874214" y="410556"/>
                <a:ext cx="522527" cy="339183"/>
              </a:xfrm>
              <a:prstGeom prst="roundRect">
                <a:avLst>
                  <a:gd name="adj" fmla="val 7565"/>
                </a:avLst>
              </a:prstGeom>
              <a:gradFill>
                <a:gsLst>
                  <a:gs pos="0">
                    <a:srgbClr val="FFEC8F"/>
                  </a:gs>
                  <a:gs pos="100000">
                    <a:srgbClr val="FFFFFF"/>
                  </a:gs>
                </a:gsLst>
                <a:lin ang="5400000" scaled="0"/>
              </a:gradFill>
              <a:ln w="12700" cap="flat" cmpd="sng" algn="ctr">
                <a:noFill/>
                <a:prstDash val="solid"/>
                <a:miter lim="800000"/>
              </a:ln>
              <a:effectLst/>
            </p:spPr>
            <p:txBody>
              <a:bodyPr rtlCol="0" anchor="ctr"/>
              <a:lstStyle/>
              <a:p>
                <a:pPr algn="ctr">
                  <a:defRPr/>
                </a:pPr>
                <a:endParaRPr lang="nl-NL" kern="0" dirty="0">
                  <a:solidFill>
                    <a:prstClr val="white"/>
                  </a:solidFill>
                  <a:latin typeface="Segoe UI Light"/>
                </a:endParaRPr>
              </a:p>
            </p:txBody>
          </p:sp>
          <p:sp>
            <p:nvSpPr>
              <p:cNvPr id="167" name="Vrije vorm 58"/>
              <p:cNvSpPr/>
              <p:nvPr/>
            </p:nvSpPr>
            <p:spPr>
              <a:xfrm>
                <a:off x="-2880382" y="452699"/>
                <a:ext cx="528695" cy="302059"/>
              </a:xfrm>
              <a:custGeom>
                <a:avLst/>
                <a:gdLst>
                  <a:gd name="connsiteX0" fmla="*/ 55524 w 528695"/>
                  <a:gd name="connsiteY0" fmla="*/ 0 h 302059"/>
                  <a:gd name="connsiteX1" fmla="*/ 455496 w 528695"/>
                  <a:gd name="connsiteY1" fmla="*/ 0 h 302059"/>
                  <a:gd name="connsiteX2" fmla="*/ 475205 w 528695"/>
                  <a:gd name="connsiteY2" fmla="*/ 19709 h 302059"/>
                  <a:gd name="connsiteX3" fmla="*/ 475205 w 528695"/>
                  <a:gd name="connsiteY3" fmla="*/ 230056 h 302059"/>
                  <a:gd name="connsiteX4" fmla="*/ 516694 w 528695"/>
                  <a:gd name="connsiteY4" fmla="*/ 230056 h 302059"/>
                  <a:gd name="connsiteX5" fmla="*/ 528695 w 528695"/>
                  <a:gd name="connsiteY5" fmla="*/ 242057 h 302059"/>
                  <a:gd name="connsiteX6" fmla="*/ 528695 w 528695"/>
                  <a:gd name="connsiteY6" fmla="*/ 290058 h 302059"/>
                  <a:gd name="connsiteX7" fmla="*/ 516694 w 528695"/>
                  <a:gd name="connsiteY7" fmla="*/ 302059 h 302059"/>
                  <a:gd name="connsiteX8" fmla="*/ 12001 w 528695"/>
                  <a:gd name="connsiteY8" fmla="*/ 302059 h 302059"/>
                  <a:gd name="connsiteX9" fmla="*/ 0 w 528695"/>
                  <a:gd name="connsiteY9" fmla="*/ 290058 h 302059"/>
                  <a:gd name="connsiteX10" fmla="*/ 0 w 528695"/>
                  <a:gd name="connsiteY10" fmla="*/ 242057 h 302059"/>
                  <a:gd name="connsiteX11" fmla="*/ 12001 w 528695"/>
                  <a:gd name="connsiteY11" fmla="*/ 230056 h 302059"/>
                  <a:gd name="connsiteX12" fmla="*/ 35815 w 528695"/>
                  <a:gd name="connsiteY12" fmla="*/ 230056 h 302059"/>
                  <a:gd name="connsiteX13" fmla="*/ 35815 w 528695"/>
                  <a:gd name="connsiteY13" fmla="*/ 19709 h 302059"/>
                  <a:gd name="connsiteX14" fmla="*/ 55524 w 528695"/>
                  <a:gd name="connsiteY14" fmla="*/ 0 h 3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8695" h="302059">
                    <a:moveTo>
                      <a:pt x="55524" y="0"/>
                    </a:moveTo>
                    <a:lnTo>
                      <a:pt x="455496" y="0"/>
                    </a:lnTo>
                    <a:cubicBezTo>
                      <a:pt x="466381" y="0"/>
                      <a:pt x="475205" y="8824"/>
                      <a:pt x="475205" y="19709"/>
                    </a:cubicBezTo>
                    <a:lnTo>
                      <a:pt x="475205" y="230056"/>
                    </a:lnTo>
                    <a:lnTo>
                      <a:pt x="516694" y="230056"/>
                    </a:lnTo>
                    <a:cubicBezTo>
                      <a:pt x="523322" y="230056"/>
                      <a:pt x="528695" y="235429"/>
                      <a:pt x="528695" y="242057"/>
                    </a:cubicBezTo>
                    <a:lnTo>
                      <a:pt x="528695" y="290058"/>
                    </a:lnTo>
                    <a:cubicBezTo>
                      <a:pt x="528695" y="296686"/>
                      <a:pt x="523322" y="302059"/>
                      <a:pt x="516694" y="302059"/>
                    </a:cubicBezTo>
                    <a:lnTo>
                      <a:pt x="12001" y="302059"/>
                    </a:lnTo>
                    <a:cubicBezTo>
                      <a:pt x="5373" y="302059"/>
                      <a:pt x="0" y="296686"/>
                      <a:pt x="0" y="290058"/>
                    </a:cubicBezTo>
                    <a:lnTo>
                      <a:pt x="0" y="242057"/>
                    </a:lnTo>
                    <a:cubicBezTo>
                      <a:pt x="0" y="235429"/>
                      <a:pt x="5373" y="230056"/>
                      <a:pt x="12001" y="230056"/>
                    </a:cubicBezTo>
                    <a:lnTo>
                      <a:pt x="35815" y="230056"/>
                    </a:lnTo>
                    <a:lnTo>
                      <a:pt x="35815" y="19709"/>
                    </a:lnTo>
                    <a:cubicBezTo>
                      <a:pt x="35815" y="8824"/>
                      <a:pt x="44639" y="0"/>
                      <a:pt x="55524" y="0"/>
                    </a:cubicBezTo>
                    <a:close/>
                  </a:path>
                </a:pathLst>
              </a:custGeom>
              <a:solidFill>
                <a:sysClr val="window" lastClr="FFFFFF">
                  <a:lumMod val="95000"/>
                </a:sysClr>
              </a:solidFill>
              <a:ln w="9525" cap="flat" cmpd="sng" algn="ctr">
                <a:solidFill>
                  <a:srgbClr val="FFFFFF">
                    <a:lumMod val="90000"/>
                  </a:srgbClr>
                </a:solidFill>
                <a:prstDash val="solid"/>
                <a:miter lim="800000"/>
              </a:ln>
              <a:effectLst/>
            </p:spPr>
            <p:txBody>
              <a:bodyPr rot="0" spcFirstLastPara="0" vert="horz" wrap="square" lIns="108000" tIns="36000" rIns="108000" bIns="10800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nl-NL" sz="900" dirty="0">
                    <a:solidFill>
                      <a:prstClr val="black"/>
                    </a:solidFill>
                    <a:latin typeface="Segoe UI Light"/>
                  </a:rPr>
                  <a:t>Start</a:t>
                </a:r>
              </a:p>
            </p:txBody>
          </p:sp>
        </p:grpSp>
        <p:sp>
          <p:nvSpPr>
            <p:cNvPr id="157" name="Tekstvak 156"/>
            <p:cNvSpPr txBox="1"/>
            <p:nvPr userDrawn="1"/>
          </p:nvSpPr>
          <p:spPr>
            <a:xfrm>
              <a:off x="-2959433" y="372104"/>
              <a:ext cx="2679887" cy="453396"/>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fontAlgn="auto">
                <a:spcBef>
                  <a:spcPts val="0"/>
                </a:spcBef>
                <a:spcAft>
                  <a:spcPts val="0"/>
                </a:spcAft>
                <a:defRPr/>
              </a:pPr>
              <a:r>
                <a:rPr lang="nl-NL" sz="1200" kern="0" dirty="0">
                  <a:solidFill>
                    <a:srgbClr val="000000"/>
                  </a:solidFill>
                  <a:latin typeface="Segoe UI Light" panose="020B0502040204020203" pitchFamily="34" charset="0"/>
                  <a:cs typeface="Segoe UI Light" panose="020B0502040204020203" pitchFamily="34" charset="0"/>
                </a:rPr>
                <a:t>Ga naar de tab </a:t>
              </a:r>
              <a:r>
                <a:rPr lang="nl-NL" sz="1200" b="1" kern="0" dirty="0">
                  <a:solidFill>
                    <a:srgbClr val="000000"/>
                  </a:solidFill>
                  <a:latin typeface="Segoe UI Light" panose="020B0502040204020203" pitchFamily="34" charset="0"/>
                  <a:cs typeface="Segoe UI Light" panose="020B0502040204020203" pitchFamily="34" charset="0"/>
                </a:rPr>
                <a:t>Start’ </a:t>
              </a:r>
              <a:r>
                <a:rPr lang="nl-NL" sz="1200" kern="0" dirty="0">
                  <a:solidFill>
                    <a:srgbClr val="000000"/>
                  </a:solidFill>
                  <a:latin typeface="Segoe UI Light" panose="020B0502040204020203" pitchFamily="34" charset="0"/>
                  <a:cs typeface="Segoe UI Light" panose="020B0502040204020203" pitchFamily="34" charset="0"/>
                </a:rPr>
                <a:t>en vind onderstaande knoppen onder </a:t>
              </a:r>
              <a:r>
                <a:rPr lang="nl-NL" sz="1200" b="1" kern="0" dirty="0">
                  <a:solidFill>
                    <a:srgbClr val="000000"/>
                  </a:solidFill>
                  <a:latin typeface="Segoe UI Light" panose="020B0502040204020203" pitchFamily="34" charset="0"/>
                  <a:cs typeface="Segoe UI Light" panose="020B0502040204020203" pitchFamily="34" charset="0"/>
                </a:rPr>
                <a:t>‘Alinea’</a:t>
              </a:r>
            </a:p>
          </p:txBody>
        </p:sp>
        <p:sp>
          <p:nvSpPr>
            <p:cNvPr id="158" name="Ovaal 157"/>
            <p:cNvSpPr/>
            <p:nvPr userDrawn="1"/>
          </p:nvSpPr>
          <p:spPr>
            <a:xfrm>
              <a:off x="-2959433" y="3751536"/>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nl-NL" sz="1050" kern="0" dirty="0">
                  <a:solidFill>
                    <a:prstClr val="white"/>
                  </a:solidFill>
                  <a:cs typeface="Segoe UI Light" panose="020B0502040204020203" pitchFamily="34" charset="0"/>
                </a:rPr>
                <a:t>6</a:t>
              </a:r>
            </a:p>
          </p:txBody>
        </p:sp>
        <p:sp>
          <p:nvSpPr>
            <p:cNvPr id="159" name="Textfield placeholder"/>
            <p:cNvSpPr txBox="1">
              <a:spLocks/>
            </p:cNvSpPr>
            <p:nvPr userDrawn="1"/>
          </p:nvSpPr>
          <p:spPr>
            <a:xfrm>
              <a:off x="-2571950" y="3751536"/>
              <a:ext cx="2163709" cy="259683"/>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8163" lvl="5" indent="-182563" defTabSz="179388">
                <a:lnSpc>
                  <a:spcPct val="120000"/>
                </a:lnSpc>
                <a:spcAft>
                  <a:spcPts val="900"/>
                </a:spcAft>
                <a:buClr>
                  <a:srgbClr val="ED1A3B"/>
                </a:buClr>
                <a:buFont typeface="Wingdings" panose="05000000000000000000" pitchFamily="2" charset="2"/>
                <a:buChar char="§"/>
                <a:defRPr/>
              </a:pPr>
              <a:r>
                <a:rPr lang="nl-NL" sz="1200" cap="none" dirty="0">
                  <a:solidFill>
                    <a:srgbClr val="535353"/>
                  </a:solidFill>
                </a:rPr>
                <a:t># Bullets (12 pt.)</a:t>
              </a:r>
            </a:p>
          </p:txBody>
        </p:sp>
        <p:sp>
          <p:nvSpPr>
            <p:cNvPr id="160" name="Ovaal 159"/>
            <p:cNvSpPr/>
            <p:nvPr userDrawn="1"/>
          </p:nvSpPr>
          <p:spPr>
            <a:xfrm>
              <a:off x="-2959433" y="414870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nl-NL" sz="1050" kern="0" dirty="0">
                  <a:solidFill>
                    <a:prstClr val="white"/>
                  </a:solidFill>
                  <a:cs typeface="Segoe UI Light" panose="020B0502040204020203" pitchFamily="34" charset="0"/>
                </a:rPr>
                <a:t>7</a:t>
              </a:r>
            </a:p>
          </p:txBody>
        </p:sp>
        <p:sp>
          <p:nvSpPr>
            <p:cNvPr id="161" name="Textfield placeholder"/>
            <p:cNvSpPr txBox="1">
              <a:spLocks/>
            </p:cNvSpPr>
            <p:nvPr userDrawn="1"/>
          </p:nvSpPr>
          <p:spPr>
            <a:xfrm>
              <a:off x="-2571950" y="4148700"/>
              <a:ext cx="2163709" cy="259683"/>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6" indent="0" defTabSz="179388">
                <a:lnSpc>
                  <a:spcPct val="120000"/>
                </a:lnSpc>
                <a:spcBef>
                  <a:spcPts val="0"/>
                </a:spcBef>
                <a:spcAft>
                  <a:spcPts val="900"/>
                </a:spcAft>
                <a:buClr>
                  <a:srgbClr val="ED1A3B"/>
                </a:buClr>
                <a:buSzPct val="90000"/>
                <a:buFont typeface="+mj-lt"/>
                <a:buNone/>
                <a:defRPr/>
              </a:pPr>
              <a:r>
                <a:rPr lang="nl-NL" sz="1200" i="1" dirty="0">
                  <a:solidFill>
                    <a:srgbClr val="404040"/>
                  </a:solidFill>
                </a:rPr>
                <a:t>Cursief donker (12 pt.)</a:t>
              </a:r>
            </a:p>
          </p:txBody>
        </p:sp>
        <p:sp>
          <p:nvSpPr>
            <p:cNvPr id="162" name="Ovaal 161"/>
            <p:cNvSpPr/>
            <p:nvPr userDrawn="1"/>
          </p:nvSpPr>
          <p:spPr>
            <a:xfrm>
              <a:off x="-2959433" y="4545864"/>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nl-NL" sz="1050" kern="0" dirty="0">
                  <a:solidFill>
                    <a:prstClr val="white"/>
                  </a:solidFill>
                  <a:cs typeface="Segoe UI Light" panose="020B0502040204020203" pitchFamily="34" charset="0"/>
                </a:rPr>
                <a:t>8</a:t>
              </a:r>
            </a:p>
          </p:txBody>
        </p:sp>
        <p:sp>
          <p:nvSpPr>
            <p:cNvPr id="163" name="Textfield placeholder"/>
            <p:cNvSpPr txBox="1">
              <a:spLocks/>
            </p:cNvSpPr>
            <p:nvPr userDrawn="1"/>
          </p:nvSpPr>
          <p:spPr>
            <a:xfrm>
              <a:off x="-2571950" y="4545864"/>
              <a:ext cx="2163709" cy="259683"/>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7" indent="0" defTabSz="179388">
                <a:lnSpc>
                  <a:spcPct val="80000"/>
                </a:lnSpc>
                <a:spcBef>
                  <a:spcPts val="0"/>
                </a:spcBef>
                <a:spcAft>
                  <a:spcPts val="900"/>
                </a:spcAft>
                <a:buClr>
                  <a:srgbClr val="ED1A3B"/>
                </a:buClr>
                <a:buFont typeface="Arial" pitchFamily="34" charset="0"/>
                <a:buNone/>
                <a:defRPr/>
              </a:pPr>
              <a:r>
                <a:rPr lang="nl-NL" sz="1200" i="1" dirty="0">
                  <a:solidFill>
                    <a:srgbClr val="A3B0C0"/>
                  </a:solidFill>
                </a:rPr>
                <a:t>Cursief Licht (12 pt.)</a:t>
              </a:r>
            </a:p>
          </p:txBody>
        </p:sp>
        <p:sp>
          <p:nvSpPr>
            <p:cNvPr id="164" name="Ovaal 163"/>
            <p:cNvSpPr/>
            <p:nvPr userDrawn="1"/>
          </p:nvSpPr>
          <p:spPr>
            <a:xfrm>
              <a:off x="-2959433" y="4887610"/>
              <a:ext cx="260914" cy="259683"/>
            </a:xfrm>
            <a:prstGeom prst="ellipse">
              <a:avLst/>
            </a:prstGeom>
            <a:solidFill>
              <a:schemeClr val="accent1"/>
            </a:solidFill>
            <a:ln w="25400" cap="flat" cmpd="sng" algn="ctr">
              <a:noFill/>
              <a:prstDash val="solid"/>
            </a:ln>
            <a:effectLst/>
          </p:spPr>
          <p:txBody>
            <a:bodyPr rtlCol="0" anchor="ctr"/>
            <a:lstStyle/>
            <a:p>
              <a:pPr algn="ctr">
                <a:defRPr/>
              </a:pPr>
              <a:r>
                <a:rPr lang="nl-NL" sz="1050" kern="0" dirty="0">
                  <a:solidFill>
                    <a:prstClr val="white"/>
                  </a:solidFill>
                  <a:cs typeface="Segoe UI Light" panose="020B0502040204020203" pitchFamily="34" charset="0"/>
                </a:rPr>
                <a:t>9</a:t>
              </a:r>
            </a:p>
          </p:txBody>
        </p:sp>
        <p:sp>
          <p:nvSpPr>
            <p:cNvPr id="165" name="Textfield placeholder"/>
            <p:cNvSpPr txBox="1">
              <a:spLocks/>
            </p:cNvSpPr>
            <p:nvPr userDrawn="1"/>
          </p:nvSpPr>
          <p:spPr>
            <a:xfrm>
              <a:off x="-2571950" y="4887610"/>
              <a:ext cx="2163709" cy="259683"/>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8" indent="0" defTabSz="179388">
                <a:lnSpc>
                  <a:spcPct val="80000"/>
                </a:lnSpc>
                <a:spcBef>
                  <a:spcPts val="0"/>
                </a:spcBef>
                <a:spcAft>
                  <a:spcPts val="900"/>
                </a:spcAft>
                <a:buClr>
                  <a:srgbClr val="ED1A3B"/>
                </a:buClr>
                <a:buFont typeface="Arial" pitchFamily="34" charset="0"/>
                <a:buNone/>
                <a:defRPr/>
              </a:pPr>
              <a:r>
                <a:rPr lang="nl-NL" sz="1400" b="1" dirty="0">
                  <a:solidFill>
                    <a:srgbClr val="ED1A3B"/>
                  </a:solidFill>
                </a:rPr>
                <a:t>Subtitel (14 pt.)</a:t>
              </a:r>
            </a:p>
          </p:txBody>
        </p:sp>
      </p:grpSp>
      <p:grpSp>
        <p:nvGrpSpPr>
          <p:cNvPr id="216" name="Groep 215"/>
          <p:cNvGrpSpPr/>
          <p:nvPr userDrawn="1"/>
        </p:nvGrpSpPr>
        <p:grpSpPr>
          <a:xfrm>
            <a:off x="12437931" y="14898"/>
            <a:ext cx="2717569" cy="3676571"/>
            <a:chOff x="12434693" y="14897"/>
            <a:chExt cx="2716862" cy="3676571"/>
          </a:xfrm>
        </p:grpSpPr>
        <p:sp>
          <p:nvSpPr>
            <p:cNvPr id="217" name="Rechthoek 216"/>
            <p:cNvSpPr/>
            <p:nvPr/>
          </p:nvSpPr>
          <p:spPr>
            <a:xfrm>
              <a:off x="12441150" y="14897"/>
              <a:ext cx="2696270" cy="161771"/>
            </a:xfrm>
            <a:prstGeom prst="rect">
              <a:avLst/>
            </a:prstGeom>
            <a:noFill/>
            <a:ln w="25400" cap="flat" cmpd="sng" algn="ctr">
              <a:noFill/>
              <a:prstDash val="solid"/>
            </a:ln>
            <a:effectLst/>
          </p:spPr>
          <p:txBody>
            <a:bodyPr lIns="0" tIns="0" rIns="0" bIns="0" rtlCol="0" anchor="t"/>
            <a:lstStyle/>
            <a:p>
              <a:pPr defTabSz="914112">
                <a:lnSpc>
                  <a:spcPct val="80000"/>
                </a:lnSpc>
              </a:pPr>
              <a:r>
                <a:rPr lang="nl-NL" sz="1600" b="1" kern="0" cap="all" dirty="0">
                  <a:solidFill>
                    <a:srgbClr val="ED1A3B"/>
                  </a:solidFill>
                  <a:cs typeface="Segoe UI Light" panose="020B0502040204020203" pitchFamily="34" charset="0"/>
                </a:rPr>
                <a:t>AFBEELDING INVOEGEN</a:t>
              </a:r>
            </a:p>
          </p:txBody>
        </p:sp>
        <p:sp>
          <p:nvSpPr>
            <p:cNvPr id="218" name="Tekstvak 33"/>
            <p:cNvSpPr txBox="1"/>
            <p:nvPr/>
          </p:nvSpPr>
          <p:spPr>
            <a:xfrm>
              <a:off x="12441149" y="814239"/>
              <a:ext cx="2710405" cy="719877"/>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Indien nodig, verwijder de bestaande afbeelding. Klik op het pictogram </a:t>
              </a:r>
              <a:br>
                <a:rPr lang="nl-NL" sz="1200" kern="0" dirty="0">
                  <a:solidFill>
                    <a:srgbClr val="000000"/>
                  </a:solidFill>
                  <a:latin typeface="Trebuchet MS"/>
                  <a:cs typeface="Segoe UI Light" panose="020B0502040204020203" pitchFamily="34" charset="0"/>
                </a:rPr>
              </a:br>
              <a:r>
                <a:rPr lang="nl-NL" sz="1200" kern="0" dirty="0">
                  <a:solidFill>
                    <a:srgbClr val="000000"/>
                  </a:solidFill>
                  <a:latin typeface="Trebuchet MS"/>
                  <a:cs typeface="Segoe UI Light" panose="020B0502040204020203" pitchFamily="34" charset="0"/>
                </a:rPr>
                <a:t>om een afbeelding in te voegen</a:t>
              </a:r>
              <a:br>
                <a:rPr lang="nl-NL" sz="1200" kern="0" dirty="0">
                  <a:solidFill>
                    <a:srgbClr val="000000"/>
                  </a:solidFill>
                  <a:latin typeface="Trebuchet MS"/>
                  <a:cs typeface="Segoe UI Light" panose="020B0502040204020203" pitchFamily="34" charset="0"/>
                </a:rPr>
              </a:br>
              <a:r>
                <a:rPr lang="nl-NL" sz="1100" i="1" kern="0" dirty="0">
                  <a:solidFill>
                    <a:srgbClr val="000000"/>
                  </a:solidFill>
                  <a:latin typeface="Trebuchet MS"/>
                  <a:cs typeface="Segoe UI Light" panose="020B0502040204020203" pitchFamily="34" charset="0"/>
                </a:rPr>
                <a:t>(zie onderstaand voorbeeld).</a:t>
              </a:r>
            </a:p>
          </p:txBody>
        </p:sp>
        <p:sp>
          <p:nvSpPr>
            <p:cNvPr id="219" name="Tekstvak 33"/>
            <p:cNvSpPr txBox="1"/>
            <p:nvPr/>
          </p:nvSpPr>
          <p:spPr>
            <a:xfrm>
              <a:off x="12441149" y="2793904"/>
              <a:ext cx="2710405" cy="395943"/>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Selecteer de afbeelding die u wilt invoegen en klik op </a:t>
              </a:r>
              <a:r>
                <a:rPr lang="nl-NL" sz="1200" b="1" kern="0" dirty="0">
                  <a:solidFill>
                    <a:srgbClr val="000000"/>
                  </a:solidFill>
                  <a:latin typeface="Trebuchet MS"/>
                  <a:cs typeface="Segoe UI Light" panose="020B0502040204020203" pitchFamily="34" charset="0"/>
                </a:rPr>
                <a:t>‘Invoegen’</a:t>
              </a:r>
            </a:p>
          </p:txBody>
        </p:sp>
        <p:sp>
          <p:nvSpPr>
            <p:cNvPr id="220" name="Ovaal 219"/>
            <p:cNvSpPr/>
            <p:nvPr/>
          </p:nvSpPr>
          <p:spPr>
            <a:xfrm>
              <a:off x="12441150" y="379292"/>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1</a:t>
              </a:r>
            </a:p>
          </p:txBody>
        </p:sp>
        <p:sp>
          <p:nvSpPr>
            <p:cNvPr id="221" name="Ovaal 220"/>
            <p:cNvSpPr/>
            <p:nvPr/>
          </p:nvSpPr>
          <p:spPr>
            <a:xfrm>
              <a:off x="12441150" y="2337208"/>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2</a:t>
              </a:r>
            </a:p>
          </p:txBody>
        </p:sp>
        <p:cxnSp>
          <p:nvCxnSpPr>
            <p:cNvPr id="222" name="Rechte verbindingslijn 221"/>
            <p:cNvCxnSpPr/>
            <p:nvPr/>
          </p:nvCxnSpPr>
          <p:spPr>
            <a:xfrm>
              <a:off x="12441150" y="248176"/>
              <a:ext cx="2710405" cy="0"/>
            </a:xfrm>
            <a:prstGeom prst="line">
              <a:avLst/>
            </a:prstGeom>
            <a:noFill/>
            <a:ln w="9525" cap="flat" cmpd="sng" algn="ctr">
              <a:solidFill>
                <a:schemeClr val="accent1"/>
              </a:solidFill>
              <a:prstDash val="solid"/>
            </a:ln>
            <a:effectLst/>
          </p:spPr>
        </p:cxnSp>
        <p:cxnSp>
          <p:nvCxnSpPr>
            <p:cNvPr id="223" name="Rechte verbindingslijn 222"/>
            <p:cNvCxnSpPr/>
            <p:nvPr/>
          </p:nvCxnSpPr>
          <p:spPr>
            <a:xfrm>
              <a:off x="12441149" y="2212830"/>
              <a:ext cx="2710405" cy="0"/>
            </a:xfrm>
            <a:prstGeom prst="line">
              <a:avLst/>
            </a:prstGeom>
            <a:noFill/>
            <a:ln w="9525" cap="flat" cmpd="sng" algn="ctr">
              <a:solidFill>
                <a:schemeClr val="accent1"/>
              </a:solidFill>
              <a:prstDash val="solid"/>
            </a:ln>
            <a:effectLst/>
          </p:spPr>
        </p:cxnSp>
        <p:cxnSp>
          <p:nvCxnSpPr>
            <p:cNvPr id="224" name="Rechte verbindingslijn 223"/>
            <p:cNvCxnSpPr/>
            <p:nvPr/>
          </p:nvCxnSpPr>
          <p:spPr>
            <a:xfrm>
              <a:off x="12444679" y="3691468"/>
              <a:ext cx="2706875" cy="0"/>
            </a:xfrm>
            <a:prstGeom prst="line">
              <a:avLst/>
            </a:prstGeom>
            <a:noFill/>
            <a:ln w="9525" cap="flat" cmpd="sng" algn="ctr">
              <a:solidFill>
                <a:schemeClr val="accent1"/>
              </a:solidFill>
              <a:prstDash val="solid"/>
            </a:ln>
            <a:effectLst/>
          </p:spPr>
        </p:cxnSp>
        <p:pic>
          <p:nvPicPr>
            <p:cNvPr id="225" name="Icoontje afbeeldi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434693" y="1677764"/>
              <a:ext cx="403210" cy="403210"/>
            </a:xfrm>
            <a:prstGeom prst="rect">
              <a:avLst/>
            </a:prstGeom>
          </p:spPr>
        </p:pic>
        <p:grpSp>
          <p:nvGrpSpPr>
            <p:cNvPr id="226" name="Groep 225"/>
            <p:cNvGrpSpPr/>
            <p:nvPr/>
          </p:nvGrpSpPr>
          <p:grpSpPr>
            <a:xfrm>
              <a:off x="12450571" y="3301369"/>
              <a:ext cx="1002992" cy="267962"/>
              <a:chOff x="13560784" y="3471416"/>
              <a:chExt cx="1114138" cy="297656"/>
            </a:xfrm>
          </p:grpSpPr>
          <p:sp>
            <p:nvSpPr>
              <p:cNvPr id="227" name="Afgeronde rechthoek 88"/>
              <p:cNvSpPr/>
              <p:nvPr/>
            </p:nvSpPr>
            <p:spPr>
              <a:xfrm>
                <a:off x="13560784" y="3471416"/>
                <a:ext cx="1114138" cy="297656"/>
              </a:xfrm>
              <a:prstGeom prst="roundRect">
                <a:avLst/>
              </a:prstGeom>
              <a:gradFill flip="none" rotWithShape="1">
                <a:gsLst>
                  <a:gs pos="4000">
                    <a:srgbClr val="00B0F0"/>
                  </a:gs>
                  <a:gs pos="0">
                    <a:srgbClr val="0070C0"/>
                  </a:gs>
                  <a:gs pos="100000">
                    <a:srgbClr val="0070C0"/>
                  </a:gs>
                  <a:gs pos="12000">
                    <a:srgbClr val="D1EAFF"/>
                  </a:gs>
                  <a:gs pos="96000">
                    <a:srgbClr val="00B0F0"/>
                  </a:gs>
                  <a:gs pos="89000">
                    <a:srgbClr val="DDF4FF"/>
                  </a:gs>
                  <a:gs pos="43000">
                    <a:srgbClr val="D1EAFF"/>
                  </a:gs>
                  <a:gs pos="51000">
                    <a:srgbClr val="DDF4FF"/>
                  </a:gs>
                </a:gsLst>
                <a:lin ang="16200000" scaled="1"/>
                <a:tileRect/>
              </a:gradFill>
              <a:ln w="63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dirty="0">
                  <a:solidFill>
                    <a:srgbClr val="FFFFFF"/>
                  </a:solidFill>
                </a:endParaRPr>
              </a:p>
            </p:txBody>
          </p:sp>
          <p:sp>
            <p:nvSpPr>
              <p:cNvPr id="228" name="Tekstvak 227"/>
              <p:cNvSpPr txBox="1"/>
              <p:nvPr/>
            </p:nvSpPr>
            <p:spPr>
              <a:xfrm>
                <a:off x="13573594" y="3488254"/>
                <a:ext cx="888311" cy="273506"/>
              </a:xfrm>
              <a:prstGeom prst="rect">
                <a:avLst/>
              </a:prstGeom>
              <a:noFill/>
            </p:spPr>
            <p:txBody>
              <a:bodyPr wrap="square" rtlCol="0" anchor="ctr">
                <a:spAutoFit/>
              </a:bodyPr>
              <a:lstStyle>
                <a:defPPr>
                  <a:defRPr lang="nl-NL"/>
                </a:defPPr>
                <a:lvl1pPr marR="0" lvl="0" indent="0" algn="ctr" fontAlgn="auto">
                  <a:lnSpc>
                    <a:spcPct val="100000"/>
                  </a:lnSpc>
                  <a:spcBef>
                    <a:spcPts val="0"/>
                  </a:spcBef>
                  <a:spcAft>
                    <a:spcPts val="0"/>
                  </a:spcAft>
                  <a:buClrTx/>
                  <a:buSzTx/>
                  <a:buFontTx/>
                  <a:buNone/>
                  <a:tabLst/>
                  <a:defRPr kumimoji="0" sz="900" i="0" u="none" strike="noStrike" kern="0" cap="none" spc="0" normalizeH="0" baseline="0">
                    <a:ln>
                      <a:noFill/>
                    </a:ln>
                    <a:effectLst>
                      <a:outerShdw blurRad="25400" algn="ctr" rotWithShape="0">
                        <a:prstClr val="white"/>
                      </a:outerShdw>
                    </a:effectLst>
                    <a:uLnTx/>
                    <a:uFillTx/>
                    <a:latin typeface="Segoe UI Light" panose="020B0502040204020203" pitchFamily="34" charset="0"/>
                    <a:cs typeface="Segoe UI Light" panose="020B0502040204020203" pitchFamily="34" charset="0"/>
                  </a:defRPr>
                </a:lvl1pPr>
                <a:lvl2pPr fontAlgn="base">
                  <a:spcBef>
                    <a:spcPct val="0"/>
                  </a:spcBef>
                  <a:spcAft>
                    <a:spcPct val="0"/>
                  </a:spcAft>
                  <a:defRPr>
                    <a:latin typeface="Arial" charset="0"/>
                    <a:cs typeface="Arial" charset="0"/>
                  </a:defRPr>
                </a:lvl2pPr>
                <a:lvl3pPr fontAlgn="base">
                  <a:spcBef>
                    <a:spcPct val="0"/>
                  </a:spcBef>
                  <a:spcAft>
                    <a:spcPct val="0"/>
                  </a:spcAft>
                  <a:defRPr>
                    <a:latin typeface="Arial" charset="0"/>
                    <a:cs typeface="Arial" charset="0"/>
                  </a:defRPr>
                </a:lvl3pPr>
                <a:lvl4pPr fontAlgn="base">
                  <a:spcBef>
                    <a:spcPct val="0"/>
                  </a:spcBef>
                  <a:spcAft>
                    <a:spcPct val="0"/>
                  </a:spcAft>
                  <a:defRPr>
                    <a:latin typeface="Arial" charset="0"/>
                    <a:cs typeface="Arial" charset="0"/>
                  </a:defRPr>
                </a:lvl4pPr>
                <a:lvl5pPr fontAlgn="base">
                  <a:spcBef>
                    <a:spcPct val="0"/>
                  </a:spcBef>
                  <a:spcAft>
                    <a:spcPct val="0"/>
                  </a:spcAft>
                  <a:defRPr>
                    <a:latin typeface="Arial" charset="0"/>
                    <a:cs typeface="Arial" charset="0"/>
                  </a:defRPr>
                </a:lvl5pPr>
                <a:lvl6pPr>
                  <a:defRPr>
                    <a:latin typeface="Arial" charset="0"/>
                    <a:cs typeface="Arial" charset="0"/>
                  </a:defRPr>
                </a:lvl6pPr>
                <a:lvl7pPr>
                  <a:defRPr>
                    <a:latin typeface="Arial" charset="0"/>
                    <a:cs typeface="Arial" charset="0"/>
                  </a:defRPr>
                </a:lvl7pPr>
                <a:lvl8pPr>
                  <a:defRPr>
                    <a:latin typeface="Arial" charset="0"/>
                    <a:cs typeface="Arial" charset="0"/>
                  </a:defRPr>
                </a:lvl8pPr>
                <a:lvl9pPr>
                  <a:defRPr>
                    <a:latin typeface="Arial" charset="0"/>
                    <a:cs typeface="Arial" charset="0"/>
                  </a:defRPr>
                </a:lvl9pPr>
              </a:lstStyle>
              <a:p>
                <a:pPr defTabSz="914112"/>
                <a:r>
                  <a:rPr lang="nl-NL" sz="1000" dirty="0">
                    <a:solidFill>
                      <a:srgbClr val="000000"/>
                    </a:solidFill>
                    <a:latin typeface="Trebuchet MS"/>
                  </a:rPr>
                  <a:t>Invoegen</a:t>
                </a:r>
              </a:p>
            </p:txBody>
          </p:sp>
          <p:cxnSp>
            <p:nvCxnSpPr>
              <p:cNvPr id="229" name="Rechte verbindingslijn 228"/>
              <p:cNvCxnSpPr/>
              <p:nvPr/>
            </p:nvCxnSpPr>
            <p:spPr>
              <a:xfrm>
                <a:off x="14461905" y="3507058"/>
                <a:ext cx="0" cy="224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0" name="Gelijkbenige driehoek 229"/>
              <p:cNvSpPr/>
              <p:nvPr/>
            </p:nvSpPr>
            <p:spPr>
              <a:xfrm rot="10800000">
                <a:off x="14518584" y="3600521"/>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112"/>
                <a:endParaRPr lang="nl-NL" dirty="0">
                  <a:solidFill>
                    <a:srgbClr val="FFFFFF"/>
                  </a:solidFill>
                </a:endParaRPr>
              </a:p>
            </p:txBody>
          </p:sp>
        </p:grpSp>
      </p:grpSp>
      <p:cxnSp>
        <p:nvCxnSpPr>
          <p:cNvPr id="232" name="Rechte verbindingslijn 231"/>
          <p:cNvCxnSpPr/>
          <p:nvPr userDrawn="1"/>
        </p:nvCxnSpPr>
        <p:spPr>
          <a:xfrm flipH="1">
            <a:off x="3290863" y="5776291"/>
            <a:ext cx="8241807" cy="22848"/>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1053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Voorstellen voetfoto 3x">
    <p:spTree>
      <p:nvGrpSpPr>
        <p:cNvPr id="1" name=""/>
        <p:cNvGrpSpPr/>
        <p:nvPr/>
      </p:nvGrpSpPr>
      <p:grpSpPr>
        <a:xfrm>
          <a:off x="0" y="0"/>
          <a:ext cx="0" cy="0"/>
          <a:chOff x="0" y="0"/>
          <a:chExt cx="0" cy="0"/>
        </a:xfrm>
      </p:grpSpPr>
      <p:sp>
        <p:nvSpPr>
          <p:cNvPr id="15" name="Naam indeling - Voorstellen voetfoto 3x"/>
          <p:cNvSpPr txBox="1"/>
          <p:nvPr/>
        </p:nvSpPr>
        <p:spPr>
          <a:xfrm>
            <a:off x="1" y="-453266"/>
            <a:ext cx="3582333" cy="276999"/>
          </a:xfrm>
          <a:prstGeom prst="rect">
            <a:avLst/>
          </a:prstGeom>
          <a:noFill/>
        </p:spPr>
        <p:txBody>
          <a:bodyPr wrap="square" lIns="0" tIns="0" rIns="0" bIns="0" rtlCol="0">
            <a:spAutoFit/>
          </a:bodyPr>
          <a:lstStyle/>
          <a:p>
            <a:pPr defTabSz="914112"/>
            <a:r>
              <a:rPr lang="nl-NL" dirty="0">
                <a:solidFill>
                  <a:srgbClr val="404040"/>
                </a:solidFill>
                <a:latin typeface="Calibri" panose="020F0502020204030204" pitchFamily="34" charset="0"/>
              </a:rPr>
              <a:t>Voorstellen voetfoto 3x</a:t>
            </a:r>
            <a:endParaRPr lang="en-GB" dirty="0">
              <a:solidFill>
                <a:srgbClr val="404040"/>
              </a:solidFill>
              <a:latin typeface="Calibri" panose="020F0502020204030204" pitchFamily="34" charset="0"/>
            </a:endParaRPr>
          </a:p>
        </p:txBody>
      </p:sp>
      <p:grpSp>
        <p:nvGrpSpPr>
          <p:cNvPr id="105" name="Instructie - Afbeelding invoegen"/>
          <p:cNvGrpSpPr/>
          <p:nvPr/>
        </p:nvGrpSpPr>
        <p:grpSpPr>
          <a:xfrm>
            <a:off x="12437931" y="14898"/>
            <a:ext cx="2717569" cy="3676571"/>
            <a:chOff x="12434693" y="14897"/>
            <a:chExt cx="2716862" cy="3676571"/>
          </a:xfrm>
        </p:grpSpPr>
        <p:sp>
          <p:nvSpPr>
            <p:cNvPr id="106" name="Rechthoek 105"/>
            <p:cNvSpPr/>
            <p:nvPr/>
          </p:nvSpPr>
          <p:spPr>
            <a:xfrm>
              <a:off x="12441150" y="14897"/>
              <a:ext cx="2696270" cy="161771"/>
            </a:xfrm>
            <a:prstGeom prst="rect">
              <a:avLst/>
            </a:prstGeom>
            <a:noFill/>
            <a:ln w="25400" cap="flat" cmpd="sng" algn="ctr">
              <a:noFill/>
              <a:prstDash val="solid"/>
            </a:ln>
            <a:effectLst/>
          </p:spPr>
          <p:txBody>
            <a:bodyPr lIns="0" tIns="0" rIns="0" bIns="0" rtlCol="0" anchor="t"/>
            <a:lstStyle/>
            <a:p>
              <a:pPr defTabSz="914112">
                <a:lnSpc>
                  <a:spcPct val="80000"/>
                </a:lnSpc>
              </a:pPr>
              <a:r>
                <a:rPr lang="nl-NL" sz="1600" b="1" kern="0" cap="all" dirty="0">
                  <a:solidFill>
                    <a:srgbClr val="ED1A3B"/>
                  </a:solidFill>
                  <a:cs typeface="Segoe UI Light" panose="020B0502040204020203" pitchFamily="34" charset="0"/>
                </a:rPr>
                <a:t>AFBEELDING INVOEGEN</a:t>
              </a:r>
            </a:p>
          </p:txBody>
        </p:sp>
        <p:sp>
          <p:nvSpPr>
            <p:cNvPr id="107" name="Tekstvak 33"/>
            <p:cNvSpPr txBox="1"/>
            <p:nvPr/>
          </p:nvSpPr>
          <p:spPr>
            <a:xfrm>
              <a:off x="12441149" y="814239"/>
              <a:ext cx="2710405" cy="719877"/>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Indien nodig, verwijder de bestaande afbeelding. Klik op het pictogram </a:t>
              </a:r>
              <a:br>
                <a:rPr lang="nl-NL" sz="1200" kern="0" dirty="0">
                  <a:solidFill>
                    <a:srgbClr val="000000"/>
                  </a:solidFill>
                  <a:latin typeface="Trebuchet MS"/>
                  <a:cs typeface="Segoe UI Light" panose="020B0502040204020203" pitchFamily="34" charset="0"/>
                </a:rPr>
              </a:br>
              <a:r>
                <a:rPr lang="nl-NL" sz="1200" kern="0" dirty="0">
                  <a:solidFill>
                    <a:srgbClr val="000000"/>
                  </a:solidFill>
                  <a:latin typeface="Trebuchet MS"/>
                  <a:cs typeface="Segoe UI Light" panose="020B0502040204020203" pitchFamily="34" charset="0"/>
                </a:rPr>
                <a:t>om een afbeelding in te voegen</a:t>
              </a:r>
              <a:br>
                <a:rPr lang="nl-NL" sz="1200" kern="0" dirty="0">
                  <a:solidFill>
                    <a:srgbClr val="000000"/>
                  </a:solidFill>
                  <a:latin typeface="Trebuchet MS"/>
                  <a:cs typeface="Segoe UI Light" panose="020B0502040204020203" pitchFamily="34" charset="0"/>
                </a:rPr>
              </a:br>
              <a:r>
                <a:rPr lang="nl-NL" sz="1100" i="1" kern="0" dirty="0">
                  <a:solidFill>
                    <a:srgbClr val="000000"/>
                  </a:solidFill>
                  <a:latin typeface="Trebuchet MS"/>
                  <a:cs typeface="Segoe UI Light" panose="020B0502040204020203" pitchFamily="34" charset="0"/>
                </a:rPr>
                <a:t>(zie onderstaand voorbeeld).</a:t>
              </a:r>
            </a:p>
          </p:txBody>
        </p:sp>
        <p:sp>
          <p:nvSpPr>
            <p:cNvPr id="108" name="Tekstvak 33"/>
            <p:cNvSpPr txBox="1"/>
            <p:nvPr/>
          </p:nvSpPr>
          <p:spPr>
            <a:xfrm>
              <a:off x="12441149" y="2793904"/>
              <a:ext cx="2710405" cy="395943"/>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Selecteer de afbeelding die u wilt invoegen en klik op </a:t>
              </a:r>
              <a:r>
                <a:rPr lang="nl-NL" sz="1200" b="1" kern="0" dirty="0">
                  <a:solidFill>
                    <a:srgbClr val="000000"/>
                  </a:solidFill>
                  <a:latin typeface="Trebuchet MS"/>
                  <a:cs typeface="Segoe UI Light" panose="020B0502040204020203" pitchFamily="34" charset="0"/>
                </a:rPr>
                <a:t>‘Invoegen’</a:t>
              </a:r>
            </a:p>
          </p:txBody>
        </p:sp>
        <p:sp>
          <p:nvSpPr>
            <p:cNvPr id="109" name="Ovaal 108"/>
            <p:cNvSpPr/>
            <p:nvPr/>
          </p:nvSpPr>
          <p:spPr>
            <a:xfrm>
              <a:off x="12441150" y="379292"/>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1</a:t>
              </a:r>
            </a:p>
          </p:txBody>
        </p:sp>
        <p:sp>
          <p:nvSpPr>
            <p:cNvPr id="110" name="Ovaal 109"/>
            <p:cNvSpPr/>
            <p:nvPr/>
          </p:nvSpPr>
          <p:spPr>
            <a:xfrm>
              <a:off x="12441150" y="2337208"/>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2</a:t>
              </a:r>
            </a:p>
          </p:txBody>
        </p:sp>
        <p:cxnSp>
          <p:nvCxnSpPr>
            <p:cNvPr id="111" name="Rechte verbindingslijn 110"/>
            <p:cNvCxnSpPr/>
            <p:nvPr/>
          </p:nvCxnSpPr>
          <p:spPr>
            <a:xfrm>
              <a:off x="12441150" y="248176"/>
              <a:ext cx="2710405" cy="0"/>
            </a:xfrm>
            <a:prstGeom prst="line">
              <a:avLst/>
            </a:prstGeom>
            <a:noFill/>
            <a:ln w="9525" cap="flat" cmpd="sng" algn="ctr">
              <a:solidFill>
                <a:schemeClr val="accent1"/>
              </a:solidFill>
              <a:prstDash val="solid"/>
            </a:ln>
            <a:effectLst/>
          </p:spPr>
        </p:cxnSp>
        <p:cxnSp>
          <p:nvCxnSpPr>
            <p:cNvPr id="112" name="Rechte verbindingslijn 111"/>
            <p:cNvCxnSpPr/>
            <p:nvPr/>
          </p:nvCxnSpPr>
          <p:spPr>
            <a:xfrm>
              <a:off x="12441149" y="2212830"/>
              <a:ext cx="2710405" cy="0"/>
            </a:xfrm>
            <a:prstGeom prst="line">
              <a:avLst/>
            </a:prstGeom>
            <a:noFill/>
            <a:ln w="9525" cap="flat" cmpd="sng" algn="ctr">
              <a:solidFill>
                <a:schemeClr val="accent1"/>
              </a:solidFill>
              <a:prstDash val="solid"/>
            </a:ln>
            <a:effectLst/>
          </p:spPr>
        </p:cxnSp>
        <p:cxnSp>
          <p:nvCxnSpPr>
            <p:cNvPr id="113" name="Rechte verbindingslijn 112"/>
            <p:cNvCxnSpPr/>
            <p:nvPr/>
          </p:nvCxnSpPr>
          <p:spPr>
            <a:xfrm>
              <a:off x="12444679" y="3691468"/>
              <a:ext cx="2706875" cy="0"/>
            </a:xfrm>
            <a:prstGeom prst="line">
              <a:avLst/>
            </a:prstGeom>
            <a:noFill/>
            <a:ln w="9525" cap="flat" cmpd="sng" algn="ctr">
              <a:solidFill>
                <a:schemeClr val="accent1"/>
              </a:solidFill>
              <a:prstDash val="solid"/>
            </a:ln>
            <a:effectLst/>
          </p:spPr>
        </p:cxnSp>
        <p:pic>
          <p:nvPicPr>
            <p:cNvPr id="114" name="Icoontje afbeeldi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434693" y="1677764"/>
              <a:ext cx="403210" cy="403210"/>
            </a:xfrm>
            <a:prstGeom prst="rect">
              <a:avLst/>
            </a:prstGeom>
          </p:spPr>
        </p:pic>
        <p:grpSp>
          <p:nvGrpSpPr>
            <p:cNvPr id="115" name="Groep 114"/>
            <p:cNvGrpSpPr/>
            <p:nvPr/>
          </p:nvGrpSpPr>
          <p:grpSpPr>
            <a:xfrm>
              <a:off x="12450571" y="3301369"/>
              <a:ext cx="1002992" cy="267962"/>
              <a:chOff x="13560784" y="3471416"/>
              <a:chExt cx="1114138" cy="297656"/>
            </a:xfrm>
          </p:grpSpPr>
          <p:sp>
            <p:nvSpPr>
              <p:cNvPr id="116" name="Afgeronde rechthoek 88"/>
              <p:cNvSpPr/>
              <p:nvPr/>
            </p:nvSpPr>
            <p:spPr>
              <a:xfrm>
                <a:off x="13560784" y="3471416"/>
                <a:ext cx="1114138" cy="297656"/>
              </a:xfrm>
              <a:prstGeom prst="roundRect">
                <a:avLst/>
              </a:prstGeom>
              <a:gradFill flip="none" rotWithShape="1">
                <a:gsLst>
                  <a:gs pos="4000">
                    <a:srgbClr val="00B0F0"/>
                  </a:gs>
                  <a:gs pos="0">
                    <a:srgbClr val="0070C0"/>
                  </a:gs>
                  <a:gs pos="100000">
                    <a:srgbClr val="0070C0"/>
                  </a:gs>
                  <a:gs pos="12000">
                    <a:srgbClr val="D1EAFF"/>
                  </a:gs>
                  <a:gs pos="96000">
                    <a:srgbClr val="00B0F0"/>
                  </a:gs>
                  <a:gs pos="89000">
                    <a:srgbClr val="DDF4FF"/>
                  </a:gs>
                  <a:gs pos="43000">
                    <a:srgbClr val="D1EAFF"/>
                  </a:gs>
                  <a:gs pos="51000">
                    <a:srgbClr val="DDF4FF"/>
                  </a:gs>
                </a:gsLst>
                <a:lin ang="16200000" scaled="1"/>
                <a:tileRect/>
              </a:gradFill>
              <a:ln w="63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dirty="0">
                  <a:solidFill>
                    <a:srgbClr val="FFFFFF"/>
                  </a:solidFill>
                </a:endParaRPr>
              </a:p>
            </p:txBody>
          </p:sp>
          <p:sp>
            <p:nvSpPr>
              <p:cNvPr id="117" name="Tekstvak 116"/>
              <p:cNvSpPr txBox="1"/>
              <p:nvPr/>
            </p:nvSpPr>
            <p:spPr>
              <a:xfrm>
                <a:off x="13573594" y="3488254"/>
                <a:ext cx="888311" cy="273506"/>
              </a:xfrm>
              <a:prstGeom prst="rect">
                <a:avLst/>
              </a:prstGeom>
              <a:noFill/>
            </p:spPr>
            <p:txBody>
              <a:bodyPr wrap="square" rtlCol="0" anchor="ctr">
                <a:spAutoFit/>
              </a:bodyPr>
              <a:lstStyle>
                <a:defPPr>
                  <a:defRPr lang="nl-NL"/>
                </a:defPPr>
                <a:lvl1pPr marR="0" lvl="0" indent="0" algn="ctr" fontAlgn="auto">
                  <a:lnSpc>
                    <a:spcPct val="100000"/>
                  </a:lnSpc>
                  <a:spcBef>
                    <a:spcPts val="0"/>
                  </a:spcBef>
                  <a:spcAft>
                    <a:spcPts val="0"/>
                  </a:spcAft>
                  <a:buClrTx/>
                  <a:buSzTx/>
                  <a:buFontTx/>
                  <a:buNone/>
                  <a:tabLst/>
                  <a:defRPr kumimoji="0" sz="900" i="0" u="none" strike="noStrike" kern="0" cap="none" spc="0" normalizeH="0" baseline="0">
                    <a:ln>
                      <a:noFill/>
                    </a:ln>
                    <a:effectLst>
                      <a:outerShdw blurRad="25400" algn="ctr" rotWithShape="0">
                        <a:prstClr val="white"/>
                      </a:outerShdw>
                    </a:effectLst>
                    <a:uLnTx/>
                    <a:uFillTx/>
                    <a:latin typeface="Segoe UI Light" panose="020B0502040204020203" pitchFamily="34" charset="0"/>
                    <a:cs typeface="Segoe UI Light" panose="020B0502040204020203" pitchFamily="34" charset="0"/>
                  </a:defRPr>
                </a:lvl1pPr>
                <a:lvl2pPr fontAlgn="base">
                  <a:spcBef>
                    <a:spcPct val="0"/>
                  </a:spcBef>
                  <a:spcAft>
                    <a:spcPct val="0"/>
                  </a:spcAft>
                  <a:defRPr>
                    <a:latin typeface="Arial" charset="0"/>
                    <a:cs typeface="Arial" charset="0"/>
                  </a:defRPr>
                </a:lvl2pPr>
                <a:lvl3pPr fontAlgn="base">
                  <a:spcBef>
                    <a:spcPct val="0"/>
                  </a:spcBef>
                  <a:spcAft>
                    <a:spcPct val="0"/>
                  </a:spcAft>
                  <a:defRPr>
                    <a:latin typeface="Arial" charset="0"/>
                    <a:cs typeface="Arial" charset="0"/>
                  </a:defRPr>
                </a:lvl3pPr>
                <a:lvl4pPr fontAlgn="base">
                  <a:spcBef>
                    <a:spcPct val="0"/>
                  </a:spcBef>
                  <a:spcAft>
                    <a:spcPct val="0"/>
                  </a:spcAft>
                  <a:defRPr>
                    <a:latin typeface="Arial" charset="0"/>
                    <a:cs typeface="Arial" charset="0"/>
                  </a:defRPr>
                </a:lvl4pPr>
                <a:lvl5pPr fontAlgn="base">
                  <a:spcBef>
                    <a:spcPct val="0"/>
                  </a:spcBef>
                  <a:spcAft>
                    <a:spcPct val="0"/>
                  </a:spcAft>
                  <a:defRPr>
                    <a:latin typeface="Arial" charset="0"/>
                    <a:cs typeface="Arial" charset="0"/>
                  </a:defRPr>
                </a:lvl5pPr>
                <a:lvl6pPr>
                  <a:defRPr>
                    <a:latin typeface="Arial" charset="0"/>
                    <a:cs typeface="Arial" charset="0"/>
                  </a:defRPr>
                </a:lvl6pPr>
                <a:lvl7pPr>
                  <a:defRPr>
                    <a:latin typeface="Arial" charset="0"/>
                    <a:cs typeface="Arial" charset="0"/>
                  </a:defRPr>
                </a:lvl7pPr>
                <a:lvl8pPr>
                  <a:defRPr>
                    <a:latin typeface="Arial" charset="0"/>
                    <a:cs typeface="Arial" charset="0"/>
                  </a:defRPr>
                </a:lvl8pPr>
                <a:lvl9pPr>
                  <a:defRPr>
                    <a:latin typeface="Arial" charset="0"/>
                    <a:cs typeface="Arial" charset="0"/>
                  </a:defRPr>
                </a:lvl9pPr>
              </a:lstStyle>
              <a:p>
                <a:pPr defTabSz="914112"/>
                <a:r>
                  <a:rPr lang="nl-NL" sz="1000" dirty="0">
                    <a:solidFill>
                      <a:srgbClr val="000000"/>
                    </a:solidFill>
                    <a:latin typeface="Trebuchet MS"/>
                  </a:rPr>
                  <a:t>Invoegen</a:t>
                </a:r>
              </a:p>
            </p:txBody>
          </p:sp>
          <p:cxnSp>
            <p:nvCxnSpPr>
              <p:cNvPr id="118" name="Rechte verbindingslijn 117"/>
              <p:cNvCxnSpPr/>
              <p:nvPr/>
            </p:nvCxnSpPr>
            <p:spPr>
              <a:xfrm>
                <a:off x="14461905" y="3507058"/>
                <a:ext cx="0" cy="224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9" name="Gelijkbenige driehoek 118"/>
              <p:cNvSpPr/>
              <p:nvPr/>
            </p:nvSpPr>
            <p:spPr>
              <a:xfrm rot="10800000">
                <a:off x="14518584" y="3600521"/>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112"/>
                <a:endParaRPr lang="nl-NL" dirty="0">
                  <a:solidFill>
                    <a:srgbClr val="FFFFFF"/>
                  </a:solidFill>
                </a:endParaRPr>
              </a:p>
            </p:txBody>
          </p:sp>
        </p:grpSp>
      </p:grpSp>
      <p:grpSp>
        <p:nvGrpSpPr>
          <p:cNvPr id="225" name="Instructie - Tekst niveaus"/>
          <p:cNvGrpSpPr/>
          <p:nvPr userDrawn="1"/>
        </p:nvGrpSpPr>
        <p:grpSpPr>
          <a:xfrm>
            <a:off x="-3117849" y="365"/>
            <a:ext cx="2823358" cy="5254722"/>
            <a:chOff x="-2959433" y="-5444"/>
            <a:chExt cx="2822623" cy="5254722"/>
          </a:xfrm>
        </p:grpSpPr>
        <p:sp>
          <p:nvSpPr>
            <p:cNvPr id="226" name="Rechthoek 225"/>
            <p:cNvSpPr/>
            <p:nvPr userDrawn="1"/>
          </p:nvSpPr>
          <p:spPr>
            <a:xfrm>
              <a:off x="-2959433" y="-5444"/>
              <a:ext cx="2572469" cy="280344"/>
            </a:xfrm>
            <a:prstGeom prst="rect">
              <a:avLst/>
            </a:prstGeom>
            <a:noFill/>
            <a:ln w="25400" cap="flat" cmpd="sng" algn="ctr">
              <a:noFill/>
              <a:prstDash val="solid"/>
            </a:ln>
            <a:effectLst/>
          </p:spPr>
          <p:txBody>
            <a:bodyPr lIns="0" tIns="0" rIns="0" bIns="0" rtlCol="0" anchor="t"/>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nl-NL" sz="1600" b="1" kern="0" dirty="0">
                  <a:solidFill>
                    <a:srgbClr val="ED1A3B"/>
                  </a:solidFill>
                  <a:cs typeface="Segoe UI Light" panose="020B0502040204020203" pitchFamily="34" charset="0"/>
                </a:rPr>
                <a:t>TEKST NIVEAUS</a:t>
              </a:r>
            </a:p>
          </p:txBody>
        </p:sp>
        <p:sp>
          <p:nvSpPr>
            <p:cNvPr id="227" name="Textfield placeholder"/>
            <p:cNvSpPr txBox="1">
              <a:spLocks/>
            </p:cNvSpPr>
            <p:nvPr userDrawn="1"/>
          </p:nvSpPr>
          <p:spPr>
            <a:xfrm>
              <a:off x="-2587337" y="2675411"/>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0" lvl="2"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a:solidFill>
                    <a:srgbClr val="404040"/>
                  </a:solidFill>
                </a:rPr>
                <a:t>Sub-bullets (12 pt.)</a:t>
              </a:r>
            </a:p>
          </p:txBody>
        </p:sp>
        <p:sp>
          <p:nvSpPr>
            <p:cNvPr id="228" name="Ovaal 227"/>
            <p:cNvSpPr/>
            <p:nvPr userDrawn="1"/>
          </p:nvSpPr>
          <p:spPr>
            <a:xfrm>
              <a:off x="-2959433" y="196874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1</a:t>
              </a:r>
            </a:p>
          </p:txBody>
        </p:sp>
        <p:sp>
          <p:nvSpPr>
            <p:cNvPr id="229" name="Ovaal 228"/>
            <p:cNvSpPr/>
            <p:nvPr userDrawn="1"/>
          </p:nvSpPr>
          <p:spPr>
            <a:xfrm>
              <a:off x="-2959433" y="232207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2</a:t>
              </a:r>
            </a:p>
          </p:txBody>
        </p:sp>
        <p:sp>
          <p:nvSpPr>
            <p:cNvPr id="230" name="Ovaal 229"/>
            <p:cNvSpPr/>
            <p:nvPr userDrawn="1"/>
          </p:nvSpPr>
          <p:spPr>
            <a:xfrm>
              <a:off x="-2959433" y="267541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3</a:t>
              </a:r>
            </a:p>
          </p:txBody>
        </p:sp>
        <p:sp>
          <p:nvSpPr>
            <p:cNvPr id="231" name="Ovaal 230"/>
            <p:cNvSpPr/>
            <p:nvPr userDrawn="1"/>
          </p:nvSpPr>
          <p:spPr>
            <a:xfrm>
              <a:off x="-2959433" y="302874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4</a:t>
              </a:r>
            </a:p>
          </p:txBody>
        </p:sp>
        <p:sp>
          <p:nvSpPr>
            <p:cNvPr id="232" name="Textfield placeholder"/>
            <p:cNvSpPr txBox="1">
              <a:spLocks/>
            </p:cNvSpPr>
            <p:nvPr userDrawn="1"/>
          </p:nvSpPr>
          <p:spPr>
            <a:xfrm>
              <a:off x="-2571950" y="1966925"/>
              <a:ext cx="2163709" cy="261500"/>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79388">
                <a:lnSpc>
                  <a:spcPct val="120000"/>
                </a:lnSpc>
                <a:spcBef>
                  <a:spcPts val="0"/>
                </a:spcBef>
                <a:spcAft>
                  <a:spcPts val="900"/>
                </a:spcAft>
                <a:buClr>
                  <a:srgbClr val="000000"/>
                </a:buClr>
                <a:buSzPct val="100000"/>
                <a:buFont typeface="Arial" pitchFamily="34" charset="0"/>
                <a:buNone/>
                <a:defRPr/>
              </a:pPr>
              <a:r>
                <a:rPr lang="nl-NL" sz="1200" dirty="0">
                  <a:solidFill>
                    <a:srgbClr val="535353"/>
                  </a:solidFill>
                </a:rPr>
                <a:t>Leestekst (12 pt.)</a:t>
              </a:r>
            </a:p>
          </p:txBody>
        </p:sp>
        <p:sp>
          <p:nvSpPr>
            <p:cNvPr id="233" name="Textfield placeholder"/>
            <p:cNvSpPr txBox="1">
              <a:spLocks/>
            </p:cNvSpPr>
            <p:nvPr userDrawn="1"/>
          </p:nvSpPr>
          <p:spPr>
            <a:xfrm>
              <a:off x="-2571950" y="2322077"/>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70000" lvl="1"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err="1">
                  <a:solidFill>
                    <a:srgbClr val="535353"/>
                  </a:solidFill>
                </a:rPr>
                <a:t>Bullets</a:t>
              </a:r>
              <a:r>
                <a:rPr lang="nl-NL" sz="1200" dirty="0">
                  <a:solidFill>
                    <a:srgbClr val="535353"/>
                  </a:solidFill>
                </a:rPr>
                <a:t> (12 </a:t>
              </a:r>
              <a:r>
                <a:rPr lang="nl-NL" sz="1200" dirty="0" err="1">
                  <a:solidFill>
                    <a:srgbClr val="535353"/>
                  </a:solidFill>
                </a:rPr>
                <a:t>pt</a:t>
              </a:r>
              <a:r>
                <a:rPr lang="nl-NL" sz="1200" dirty="0">
                  <a:solidFill>
                    <a:srgbClr val="535353"/>
                  </a:solidFill>
                </a:rPr>
                <a:t>.)</a:t>
              </a:r>
            </a:p>
          </p:txBody>
        </p:sp>
        <p:sp>
          <p:nvSpPr>
            <p:cNvPr id="234" name="Textfield placeholder"/>
            <p:cNvSpPr txBox="1">
              <a:spLocks/>
            </p:cNvSpPr>
            <p:nvPr userDrawn="1"/>
          </p:nvSpPr>
          <p:spPr>
            <a:xfrm>
              <a:off x="-2571951" y="3028747"/>
              <a:ext cx="2435141"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10000" lvl="3" indent="-270000" algn="l" defTabSz="179388" rtl="0" eaLnBrk="1" latinLnBrk="0" hangingPunct="1">
                <a:lnSpc>
                  <a:spcPct val="120000"/>
                </a:lnSpc>
                <a:spcBef>
                  <a:spcPts val="0"/>
                </a:spcBef>
                <a:spcAft>
                  <a:spcPts val="900"/>
                </a:spcAft>
                <a:buClr>
                  <a:schemeClr val="accent2"/>
                </a:buClr>
                <a:buSzPct val="80000"/>
                <a:buFont typeface="Wingdings 3" panose="05040102010807070707" pitchFamily="18" charset="2"/>
                <a:buChar char=""/>
                <a:defRPr/>
              </a:pPr>
              <a:r>
                <a:rPr lang="nl-NL" sz="1200" b="0" kern="1200" dirty="0">
                  <a:solidFill>
                    <a:srgbClr val="404040"/>
                  </a:solidFill>
                  <a:latin typeface="+mn-lt"/>
                  <a:ea typeface="+mn-ea"/>
                  <a:cs typeface="+mn-cs"/>
                </a:rPr>
                <a:t>Sub-sub-bullets (12 pt.)</a:t>
              </a:r>
            </a:p>
          </p:txBody>
        </p:sp>
        <p:cxnSp>
          <p:nvCxnSpPr>
            <p:cNvPr id="235" name="Rechte verbindingslijn 234"/>
            <p:cNvCxnSpPr/>
            <p:nvPr userDrawn="1"/>
          </p:nvCxnSpPr>
          <p:spPr>
            <a:xfrm>
              <a:off x="-2959100" y="274900"/>
              <a:ext cx="2674470" cy="0"/>
            </a:xfrm>
            <a:prstGeom prst="line">
              <a:avLst/>
            </a:prstGeom>
            <a:noFill/>
            <a:ln w="9525" cap="flat" cmpd="sng" algn="ctr">
              <a:solidFill>
                <a:schemeClr val="accent1"/>
              </a:solidFill>
              <a:prstDash val="solid"/>
            </a:ln>
            <a:effectLst/>
          </p:spPr>
        </p:cxnSp>
        <p:cxnSp>
          <p:nvCxnSpPr>
            <p:cNvPr id="236" name="Rechte verbindingslijn 235"/>
            <p:cNvCxnSpPr/>
            <p:nvPr userDrawn="1"/>
          </p:nvCxnSpPr>
          <p:spPr>
            <a:xfrm>
              <a:off x="-2959100" y="1841989"/>
              <a:ext cx="2661379" cy="0"/>
            </a:xfrm>
            <a:prstGeom prst="line">
              <a:avLst/>
            </a:prstGeom>
            <a:noFill/>
            <a:ln w="9525" cap="flat" cmpd="sng" algn="ctr">
              <a:solidFill>
                <a:schemeClr val="accent1"/>
              </a:solidFill>
              <a:prstDash val="solid"/>
            </a:ln>
            <a:effectLst/>
          </p:spPr>
        </p:cxnSp>
        <p:cxnSp>
          <p:nvCxnSpPr>
            <p:cNvPr id="237" name="Rechte verbindingslijn 236"/>
            <p:cNvCxnSpPr/>
            <p:nvPr userDrawn="1"/>
          </p:nvCxnSpPr>
          <p:spPr>
            <a:xfrm>
              <a:off x="-2959100" y="5249278"/>
              <a:ext cx="2661379" cy="0"/>
            </a:xfrm>
            <a:prstGeom prst="line">
              <a:avLst/>
            </a:prstGeom>
            <a:noFill/>
            <a:ln w="9525" cap="flat" cmpd="sng" algn="ctr">
              <a:solidFill>
                <a:schemeClr val="accent1"/>
              </a:solidFill>
              <a:prstDash val="solid"/>
            </a:ln>
            <a:effectLst/>
          </p:spPr>
        </p:cxnSp>
        <p:grpSp>
          <p:nvGrpSpPr>
            <p:cNvPr id="238" name="Groep 237"/>
            <p:cNvGrpSpPr/>
            <p:nvPr userDrawn="1"/>
          </p:nvGrpSpPr>
          <p:grpSpPr>
            <a:xfrm>
              <a:off x="-1948476" y="816741"/>
              <a:ext cx="409108" cy="427699"/>
              <a:chOff x="-1085063" y="758027"/>
              <a:chExt cx="633799" cy="622540"/>
            </a:xfrm>
          </p:grpSpPr>
          <p:sp>
            <p:nvSpPr>
              <p:cNvPr id="294" name="Afgeronde rechthoek 293"/>
              <p:cNvSpPr/>
              <p:nvPr userDrawn="1"/>
            </p:nvSpPr>
            <p:spPr>
              <a:xfrm>
                <a:off x="-108506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295" name="Groep 294"/>
              <p:cNvGrpSpPr/>
              <p:nvPr userDrawn="1"/>
            </p:nvGrpSpPr>
            <p:grpSpPr>
              <a:xfrm>
                <a:off x="-977739" y="864082"/>
                <a:ext cx="419168" cy="410429"/>
                <a:chOff x="6366933" y="309013"/>
                <a:chExt cx="1901295" cy="1861668"/>
              </a:xfrm>
              <a:solidFill>
                <a:srgbClr val="000000"/>
              </a:solidFill>
            </p:grpSpPr>
            <p:sp>
              <p:nvSpPr>
                <p:cNvPr id="296" name="Rechthoek 295"/>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7" name="Rechthoek 296"/>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8" name="Rechthoek 297"/>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9" name="Rechthoek 298"/>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0" name="Rechthoek 299"/>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1" name="Rechthoek 300"/>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2" name="Rechthoek 301"/>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3" name="Rechthoek 302"/>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4" name="Rechthoek 303"/>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5" name="Rechthoek 304"/>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6" name="Vrije vorm 305"/>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nvGrpSpPr>
            <p:cNvPr id="239" name="Groep 238"/>
            <p:cNvGrpSpPr/>
            <p:nvPr userDrawn="1"/>
          </p:nvGrpSpPr>
          <p:grpSpPr>
            <a:xfrm>
              <a:off x="-2950232" y="1207835"/>
              <a:ext cx="532929" cy="509563"/>
              <a:chOff x="-2880382" y="802341"/>
              <a:chExt cx="532929" cy="509563"/>
            </a:xfrm>
          </p:grpSpPr>
          <p:sp>
            <p:nvSpPr>
              <p:cNvPr id="272" name="Rechthoek 271"/>
              <p:cNvSpPr/>
              <p:nvPr userDrawn="1"/>
            </p:nvSpPr>
            <p:spPr>
              <a:xfrm>
                <a:off x="-2880382" y="802341"/>
                <a:ext cx="532929" cy="509563"/>
              </a:xfrm>
              <a:prstGeom prst="rect">
                <a:avLst/>
              </a:prstGeom>
              <a:solidFill>
                <a:sysClr val="window" lastClr="FFFFFF"/>
              </a:soli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pic>
            <p:nvPicPr>
              <p:cNvPr id="273"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635852" y="822181"/>
                <a:ext cx="226442" cy="208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4"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848026" y="822181"/>
                <a:ext cx="207168" cy="213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75" name="Groep 274"/>
              <p:cNvGrpSpPr/>
              <p:nvPr userDrawn="1"/>
            </p:nvGrpSpPr>
            <p:grpSpPr>
              <a:xfrm>
                <a:off x="-2802433" y="1123442"/>
                <a:ext cx="132915" cy="104889"/>
                <a:chOff x="-2796392" y="1123442"/>
                <a:chExt cx="120832" cy="104889"/>
              </a:xfrm>
            </p:grpSpPr>
            <p:sp>
              <p:nvSpPr>
                <p:cNvPr id="289" name="Rechthoek 288"/>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0" name="Rechthoek 289"/>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1" name="Rechthoek 290"/>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2" name="Rechthoek 291"/>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3" name="Rechthoek 292"/>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276" name="Groep 275"/>
              <p:cNvGrpSpPr/>
              <p:nvPr userDrawn="1"/>
            </p:nvGrpSpPr>
            <p:grpSpPr>
              <a:xfrm>
                <a:off x="-2575417" y="1123442"/>
                <a:ext cx="133930" cy="104889"/>
                <a:chOff x="-2556734" y="1123442"/>
                <a:chExt cx="147324" cy="104889"/>
              </a:xfrm>
            </p:grpSpPr>
            <p:grpSp>
              <p:nvGrpSpPr>
                <p:cNvPr id="277" name="Groep 276"/>
                <p:cNvGrpSpPr/>
                <p:nvPr userDrawn="1"/>
              </p:nvGrpSpPr>
              <p:grpSpPr>
                <a:xfrm>
                  <a:off x="-2556734" y="1123442"/>
                  <a:ext cx="68206" cy="104889"/>
                  <a:chOff x="-2796392" y="1123442"/>
                  <a:chExt cx="120832" cy="104889"/>
                </a:xfrm>
              </p:grpSpPr>
              <p:sp>
                <p:nvSpPr>
                  <p:cNvPr id="284" name="Rechthoek 283"/>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5" name="Rechthoek 284"/>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6" name="Rechthoek 285"/>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7" name="Rechthoek 286"/>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8" name="Rechthoek 287"/>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278" name="Groep 277"/>
                <p:cNvGrpSpPr/>
                <p:nvPr userDrawn="1"/>
              </p:nvGrpSpPr>
              <p:grpSpPr>
                <a:xfrm>
                  <a:off x="-2477616" y="1123442"/>
                  <a:ext cx="68206" cy="104889"/>
                  <a:chOff x="-2796392" y="1123442"/>
                  <a:chExt cx="120832" cy="104889"/>
                </a:xfrm>
              </p:grpSpPr>
              <p:sp>
                <p:nvSpPr>
                  <p:cNvPr id="279" name="Rechthoek 278"/>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0" name="Rechthoek 279"/>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1" name="Rechthoek 280"/>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2" name="Rechthoek 281"/>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3" name="Rechthoek 282"/>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grpSp>
          <p:nvGrpSpPr>
            <p:cNvPr id="240" name="Groep 239"/>
            <p:cNvGrpSpPr/>
            <p:nvPr userDrawn="1"/>
          </p:nvGrpSpPr>
          <p:grpSpPr>
            <a:xfrm>
              <a:off x="-1948476" y="1281164"/>
              <a:ext cx="413704" cy="427699"/>
              <a:chOff x="-1845083" y="758027"/>
              <a:chExt cx="633799" cy="622540"/>
            </a:xfrm>
          </p:grpSpPr>
          <p:sp>
            <p:nvSpPr>
              <p:cNvPr id="259" name="Afgeronde rechthoek 258"/>
              <p:cNvSpPr/>
              <p:nvPr userDrawn="1"/>
            </p:nvSpPr>
            <p:spPr>
              <a:xfrm>
                <a:off x="-184508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260" name="Groep 259"/>
              <p:cNvGrpSpPr/>
              <p:nvPr userDrawn="1"/>
            </p:nvGrpSpPr>
            <p:grpSpPr>
              <a:xfrm>
                <a:off x="-1737762" y="864082"/>
                <a:ext cx="419168" cy="410429"/>
                <a:chOff x="3708400" y="309013"/>
                <a:chExt cx="1901295" cy="1861668"/>
              </a:xfrm>
              <a:solidFill>
                <a:srgbClr val="000000"/>
              </a:solidFill>
            </p:grpSpPr>
            <p:sp>
              <p:nvSpPr>
                <p:cNvPr id="261" name="Rechthoek 260"/>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2" name="Rechthoek 261"/>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3" name="Rechthoek 262"/>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4" name="Rechthoek 263"/>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5" name="Rechthoek 264"/>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6" name="Rechthoek 265"/>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7" name="Rechthoek 266"/>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8" name="Rechthoek 267"/>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9" name="Rechthoek 268"/>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0" name="Rechthoek 269"/>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1" name="Vrije vorm 270"/>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cxnSp>
          <p:nvCxnSpPr>
            <p:cNvPr id="241" name="Rechte verbindingslijn 240"/>
            <p:cNvCxnSpPr/>
            <p:nvPr userDrawn="1"/>
          </p:nvCxnSpPr>
          <p:spPr>
            <a:xfrm>
              <a:off x="-2814292" y="1441193"/>
              <a:ext cx="865816" cy="53821"/>
            </a:xfrm>
            <a:prstGeom prst="line">
              <a:avLst/>
            </a:prstGeom>
            <a:noFill/>
            <a:ln w="9525" cap="flat" cmpd="sng" algn="ctr">
              <a:solidFill>
                <a:schemeClr val="accent1"/>
              </a:solidFill>
              <a:prstDash val="solid"/>
              <a:headEnd type="oval"/>
            </a:ln>
            <a:effectLst/>
          </p:spPr>
        </p:cxnSp>
        <p:cxnSp>
          <p:nvCxnSpPr>
            <p:cNvPr id="242" name="Rechte verbindingslijn 241"/>
            <p:cNvCxnSpPr/>
            <p:nvPr userDrawn="1"/>
          </p:nvCxnSpPr>
          <p:spPr>
            <a:xfrm flipV="1">
              <a:off x="-2453902" y="1030591"/>
              <a:ext cx="505426" cy="283623"/>
            </a:xfrm>
            <a:prstGeom prst="line">
              <a:avLst/>
            </a:prstGeom>
            <a:noFill/>
            <a:ln w="9525" cap="flat" cmpd="sng" algn="ctr">
              <a:solidFill>
                <a:schemeClr val="accent1"/>
              </a:solidFill>
              <a:prstDash val="solid"/>
              <a:headEnd type="oval"/>
            </a:ln>
            <a:effectLst/>
          </p:spPr>
        </p:cxnSp>
        <p:sp>
          <p:nvSpPr>
            <p:cNvPr id="243" name="Textfield placeholder"/>
            <p:cNvSpPr txBox="1">
              <a:spLocks/>
            </p:cNvSpPr>
            <p:nvPr userDrawn="1"/>
          </p:nvSpPr>
          <p:spPr>
            <a:xfrm>
              <a:off x="-1341598" y="816743"/>
              <a:ext cx="1056968" cy="427698"/>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hoog</a:t>
              </a:r>
            </a:p>
          </p:txBody>
        </p:sp>
        <p:sp>
          <p:nvSpPr>
            <p:cNvPr id="244" name="Textfield placeholder"/>
            <p:cNvSpPr txBox="1">
              <a:spLocks/>
            </p:cNvSpPr>
            <p:nvPr userDrawn="1"/>
          </p:nvSpPr>
          <p:spPr>
            <a:xfrm>
              <a:off x="-1341599" y="1281164"/>
              <a:ext cx="1070223" cy="427699"/>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laag</a:t>
              </a:r>
            </a:p>
          </p:txBody>
        </p:sp>
        <p:sp>
          <p:nvSpPr>
            <p:cNvPr id="245" name="Ovaal 244"/>
            <p:cNvSpPr/>
            <p:nvPr userDrawn="1"/>
          </p:nvSpPr>
          <p:spPr>
            <a:xfrm>
              <a:off x="-2959433" y="338208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5</a:t>
              </a:r>
            </a:p>
          </p:txBody>
        </p:sp>
        <p:sp>
          <p:nvSpPr>
            <p:cNvPr id="246" name="Textfield placeholder"/>
            <p:cNvSpPr txBox="1">
              <a:spLocks/>
            </p:cNvSpPr>
            <p:nvPr userDrawn="1"/>
          </p:nvSpPr>
          <p:spPr>
            <a:xfrm>
              <a:off x="-2571950" y="3382082"/>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60000" lvl="4" indent="-360000" defTabSz="179388">
                <a:lnSpc>
                  <a:spcPct val="120000"/>
                </a:lnSpc>
                <a:spcBef>
                  <a:spcPts val="0"/>
                </a:spcBef>
                <a:spcAft>
                  <a:spcPts val="900"/>
                </a:spcAft>
                <a:buClr>
                  <a:srgbClr val="ED1A3B"/>
                </a:buClr>
                <a:buFont typeface="+mj-lt"/>
                <a:buAutoNum type="arabicPeriod"/>
                <a:defRPr/>
              </a:pPr>
              <a:r>
                <a:rPr lang="nl-NL" sz="1200" b="0" dirty="0">
                  <a:solidFill>
                    <a:srgbClr val="404040"/>
                  </a:solidFill>
                </a:rPr>
                <a:t>Numeriek (12 pt.)</a:t>
              </a:r>
            </a:p>
          </p:txBody>
        </p:sp>
        <p:grpSp>
          <p:nvGrpSpPr>
            <p:cNvPr id="247" name="Groep 246"/>
            <p:cNvGrpSpPr/>
            <p:nvPr userDrawn="1"/>
          </p:nvGrpSpPr>
          <p:grpSpPr>
            <a:xfrm>
              <a:off x="-2950232" y="816050"/>
              <a:ext cx="528695" cy="344202"/>
              <a:chOff x="-2880382" y="410556"/>
              <a:chExt cx="528695" cy="344202"/>
            </a:xfrm>
          </p:grpSpPr>
          <p:sp>
            <p:nvSpPr>
              <p:cNvPr id="257" name="Afgeronde rechthoek 256"/>
              <p:cNvSpPr/>
              <p:nvPr userDrawn="1"/>
            </p:nvSpPr>
            <p:spPr>
              <a:xfrm>
                <a:off x="-2874214" y="410556"/>
                <a:ext cx="522527" cy="339183"/>
              </a:xfrm>
              <a:prstGeom prst="roundRect">
                <a:avLst>
                  <a:gd name="adj" fmla="val 7565"/>
                </a:avLst>
              </a:prstGeom>
              <a:gradFill>
                <a:gsLst>
                  <a:gs pos="0">
                    <a:srgbClr val="FFEC8F"/>
                  </a:gs>
                  <a:gs pos="100000">
                    <a:srgbClr val="FFFFFF"/>
                  </a:gs>
                </a:gsLst>
                <a:lin ang="5400000" scaled="0"/>
              </a:gra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sp>
            <p:nvSpPr>
              <p:cNvPr id="258" name="Vrije vorm 257"/>
              <p:cNvSpPr/>
              <p:nvPr userDrawn="1"/>
            </p:nvSpPr>
            <p:spPr>
              <a:xfrm>
                <a:off x="-2880382" y="452699"/>
                <a:ext cx="528695" cy="302059"/>
              </a:xfrm>
              <a:custGeom>
                <a:avLst/>
                <a:gdLst>
                  <a:gd name="connsiteX0" fmla="*/ 55524 w 528695"/>
                  <a:gd name="connsiteY0" fmla="*/ 0 h 302059"/>
                  <a:gd name="connsiteX1" fmla="*/ 455496 w 528695"/>
                  <a:gd name="connsiteY1" fmla="*/ 0 h 302059"/>
                  <a:gd name="connsiteX2" fmla="*/ 475205 w 528695"/>
                  <a:gd name="connsiteY2" fmla="*/ 19709 h 302059"/>
                  <a:gd name="connsiteX3" fmla="*/ 475205 w 528695"/>
                  <a:gd name="connsiteY3" fmla="*/ 230056 h 302059"/>
                  <a:gd name="connsiteX4" fmla="*/ 516694 w 528695"/>
                  <a:gd name="connsiteY4" fmla="*/ 230056 h 302059"/>
                  <a:gd name="connsiteX5" fmla="*/ 528695 w 528695"/>
                  <a:gd name="connsiteY5" fmla="*/ 242057 h 302059"/>
                  <a:gd name="connsiteX6" fmla="*/ 528695 w 528695"/>
                  <a:gd name="connsiteY6" fmla="*/ 290058 h 302059"/>
                  <a:gd name="connsiteX7" fmla="*/ 516694 w 528695"/>
                  <a:gd name="connsiteY7" fmla="*/ 302059 h 302059"/>
                  <a:gd name="connsiteX8" fmla="*/ 12001 w 528695"/>
                  <a:gd name="connsiteY8" fmla="*/ 302059 h 302059"/>
                  <a:gd name="connsiteX9" fmla="*/ 0 w 528695"/>
                  <a:gd name="connsiteY9" fmla="*/ 290058 h 302059"/>
                  <a:gd name="connsiteX10" fmla="*/ 0 w 528695"/>
                  <a:gd name="connsiteY10" fmla="*/ 242057 h 302059"/>
                  <a:gd name="connsiteX11" fmla="*/ 12001 w 528695"/>
                  <a:gd name="connsiteY11" fmla="*/ 230056 h 302059"/>
                  <a:gd name="connsiteX12" fmla="*/ 35815 w 528695"/>
                  <a:gd name="connsiteY12" fmla="*/ 230056 h 302059"/>
                  <a:gd name="connsiteX13" fmla="*/ 35815 w 528695"/>
                  <a:gd name="connsiteY13" fmla="*/ 19709 h 302059"/>
                  <a:gd name="connsiteX14" fmla="*/ 55524 w 528695"/>
                  <a:gd name="connsiteY14" fmla="*/ 0 h 3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8695" h="302059">
                    <a:moveTo>
                      <a:pt x="55524" y="0"/>
                    </a:moveTo>
                    <a:lnTo>
                      <a:pt x="455496" y="0"/>
                    </a:lnTo>
                    <a:cubicBezTo>
                      <a:pt x="466381" y="0"/>
                      <a:pt x="475205" y="8824"/>
                      <a:pt x="475205" y="19709"/>
                    </a:cubicBezTo>
                    <a:lnTo>
                      <a:pt x="475205" y="230056"/>
                    </a:lnTo>
                    <a:lnTo>
                      <a:pt x="516694" y="230056"/>
                    </a:lnTo>
                    <a:cubicBezTo>
                      <a:pt x="523322" y="230056"/>
                      <a:pt x="528695" y="235429"/>
                      <a:pt x="528695" y="242057"/>
                    </a:cubicBezTo>
                    <a:lnTo>
                      <a:pt x="528695" y="290058"/>
                    </a:lnTo>
                    <a:cubicBezTo>
                      <a:pt x="528695" y="296686"/>
                      <a:pt x="523322" y="302059"/>
                      <a:pt x="516694" y="302059"/>
                    </a:cubicBezTo>
                    <a:lnTo>
                      <a:pt x="12001" y="302059"/>
                    </a:lnTo>
                    <a:cubicBezTo>
                      <a:pt x="5373" y="302059"/>
                      <a:pt x="0" y="296686"/>
                      <a:pt x="0" y="290058"/>
                    </a:cubicBezTo>
                    <a:lnTo>
                      <a:pt x="0" y="242057"/>
                    </a:lnTo>
                    <a:cubicBezTo>
                      <a:pt x="0" y="235429"/>
                      <a:pt x="5373" y="230056"/>
                      <a:pt x="12001" y="230056"/>
                    </a:cubicBezTo>
                    <a:lnTo>
                      <a:pt x="35815" y="230056"/>
                    </a:lnTo>
                    <a:lnTo>
                      <a:pt x="35815" y="19709"/>
                    </a:lnTo>
                    <a:cubicBezTo>
                      <a:pt x="35815" y="8824"/>
                      <a:pt x="44639" y="0"/>
                      <a:pt x="55524" y="0"/>
                    </a:cubicBezTo>
                    <a:close/>
                  </a:path>
                </a:pathLst>
              </a:custGeom>
              <a:solidFill>
                <a:sysClr val="window" lastClr="FFFFFF">
                  <a:lumMod val="95000"/>
                </a:sysClr>
              </a:solidFill>
              <a:ln w="9525" cap="flat" cmpd="sng" algn="ctr">
                <a:solidFill>
                  <a:srgbClr val="FFFFFF">
                    <a:lumMod val="90000"/>
                  </a:srgbClr>
                </a:solidFill>
                <a:prstDash val="solid"/>
                <a:miter lim="800000"/>
              </a:ln>
              <a:effectLst/>
            </p:spPr>
            <p:txBody>
              <a:bodyPr rot="0" spcFirstLastPara="0" vert="horz" wrap="square" lIns="108000" tIns="36000" rIns="108000" bIns="10800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900" dirty="0">
                    <a:solidFill>
                      <a:prstClr val="black"/>
                    </a:solidFill>
                    <a:latin typeface="Segoe UI Light"/>
                  </a:rPr>
                  <a:t>Start</a:t>
                </a:r>
              </a:p>
            </p:txBody>
          </p:sp>
        </p:grpSp>
        <p:sp>
          <p:nvSpPr>
            <p:cNvPr id="248" name="Tekstvak 65"/>
            <p:cNvSpPr txBox="1"/>
            <p:nvPr userDrawn="1"/>
          </p:nvSpPr>
          <p:spPr>
            <a:xfrm>
              <a:off x="-2959433" y="372104"/>
              <a:ext cx="2679887" cy="453396"/>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nl-NL" sz="1200" kern="0" dirty="0">
                  <a:solidFill>
                    <a:srgbClr val="000000"/>
                  </a:solidFill>
                  <a:latin typeface="Segoe UI Light" panose="020B0502040204020203" pitchFamily="34" charset="0"/>
                  <a:cs typeface="Segoe UI Light" panose="020B0502040204020203" pitchFamily="34" charset="0"/>
                </a:rPr>
                <a:t>Ga naar de tab </a:t>
              </a:r>
              <a:r>
                <a:rPr lang="nl-NL" sz="1200" b="1" kern="0" dirty="0">
                  <a:solidFill>
                    <a:srgbClr val="000000"/>
                  </a:solidFill>
                  <a:latin typeface="Segoe UI Light" panose="020B0502040204020203" pitchFamily="34" charset="0"/>
                  <a:cs typeface="Segoe UI Light" panose="020B0502040204020203" pitchFamily="34" charset="0"/>
                </a:rPr>
                <a:t>Start’ </a:t>
              </a:r>
              <a:r>
                <a:rPr lang="nl-NL" sz="1200" kern="0" dirty="0">
                  <a:solidFill>
                    <a:srgbClr val="000000"/>
                  </a:solidFill>
                  <a:latin typeface="Segoe UI Light" panose="020B0502040204020203" pitchFamily="34" charset="0"/>
                  <a:cs typeface="Segoe UI Light" panose="020B0502040204020203" pitchFamily="34" charset="0"/>
                </a:rPr>
                <a:t>en vind onderstaande knoppen onder </a:t>
              </a:r>
              <a:r>
                <a:rPr lang="nl-NL" sz="1200" b="1" kern="0" dirty="0">
                  <a:solidFill>
                    <a:srgbClr val="000000"/>
                  </a:solidFill>
                  <a:latin typeface="Segoe UI Light" panose="020B0502040204020203" pitchFamily="34" charset="0"/>
                  <a:cs typeface="Segoe UI Light" panose="020B0502040204020203" pitchFamily="34" charset="0"/>
                </a:rPr>
                <a:t>‘Alinea’</a:t>
              </a:r>
            </a:p>
          </p:txBody>
        </p:sp>
        <p:sp>
          <p:nvSpPr>
            <p:cNvPr id="249" name="Ovaal 248"/>
            <p:cNvSpPr/>
            <p:nvPr userDrawn="1"/>
          </p:nvSpPr>
          <p:spPr>
            <a:xfrm>
              <a:off x="-2959433" y="375153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6</a:t>
              </a:r>
            </a:p>
          </p:txBody>
        </p:sp>
        <p:sp>
          <p:nvSpPr>
            <p:cNvPr id="250" name="Textfield placeholder"/>
            <p:cNvSpPr txBox="1">
              <a:spLocks/>
            </p:cNvSpPr>
            <p:nvPr userDrawn="1"/>
          </p:nvSpPr>
          <p:spPr>
            <a:xfrm>
              <a:off x="-2571950" y="3751536"/>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0000" lvl="5" indent="-270000" defTabSz="179388">
                <a:lnSpc>
                  <a:spcPct val="120000"/>
                </a:lnSpc>
                <a:spcAft>
                  <a:spcPts val="900"/>
                </a:spcAft>
                <a:buClr>
                  <a:srgbClr val="ED1A3B"/>
                </a:buClr>
                <a:buSzPct val="80000"/>
                <a:buFont typeface="Wingdings 3" panose="05040102010807070707" pitchFamily="18" charset="2"/>
                <a:buChar char=""/>
                <a:defRPr/>
              </a:pPr>
              <a:r>
                <a:rPr lang="nl-NL" sz="1200" cap="none" dirty="0">
                  <a:solidFill>
                    <a:srgbClr val="535353"/>
                  </a:solidFill>
                </a:rPr>
                <a:t># Bullets (12 pt.)</a:t>
              </a:r>
            </a:p>
          </p:txBody>
        </p:sp>
        <p:sp>
          <p:nvSpPr>
            <p:cNvPr id="251" name="Ovaal 250"/>
            <p:cNvSpPr/>
            <p:nvPr userDrawn="1"/>
          </p:nvSpPr>
          <p:spPr>
            <a:xfrm>
              <a:off x="-2959433" y="414870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7</a:t>
              </a:r>
            </a:p>
          </p:txBody>
        </p:sp>
        <p:sp>
          <p:nvSpPr>
            <p:cNvPr id="252" name="Textfield placeholder"/>
            <p:cNvSpPr txBox="1">
              <a:spLocks/>
            </p:cNvSpPr>
            <p:nvPr userDrawn="1"/>
          </p:nvSpPr>
          <p:spPr>
            <a:xfrm>
              <a:off x="-2571950" y="414870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6" indent="0" defTabSz="179388">
                <a:lnSpc>
                  <a:spcPct val="120000"/>
                </a:lnSpc>
                <a:spcBef>
                  <a:spcPts val="0"/>
                </a:spcBef>
                <a:spcAft>
                  <a:spcPts val="900"/>
                </a:spcAft>
                <a:buClr>
                  <a:srgbClr val="ED1A3B"/>
                </a:buClr>
                <a:buSzPct val="90000"/>
                <a:buFont typeface="+mj-lt"/>
                <a:buNone/>
                <a:defRPr/>
              </a:pPr>
              <a:r>
                <a:rPr lang="nl-NL" sz="1200" i="1" dirty="0">
                  <a:solidFill>
                    <a:srgbClr val="404040"/>
                  </a:solidFill>
                </a:rPr>
                <a:t>Cursief donker (12 pt.)</a:t>
              </a:r>
            </a:p>
          </p:txBody>
        </p:sp>
        <p:sp>
          <p:nvSpPr>
            <p:cNvPr id="253" name="Ovaal 252"/>
            <p:cNvSpPr/>
            <p:nvPr userDrawn="1"/>
          </p:nvSpPr>
          <p:spPr>
            <a:xfrm>
              <a:off x="-2959433" y="454586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8</a:t>
              </a:r>
            </a:p>
          </p:txBody>
        </p:sp>
        <p:sp>
          <p:nvSpPr>
            <p:cNvPr id="254" name="Textfield placeholder"/>
            <p:cNvSpPr txBox="1">
              <a:spLocks/>
            </p:cNvSpPr>
            <p:nvPr userDrawn="1"/>
          </p:nvSpPr>
          <p:spPr>
            <a:xfrm>
              <a:off x="-2571950" y="4545864"/>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7" indent="0" defTabSz="179388">
                <a:lnSpc>
                  <a:spcPct val="80000"/>
                </a:lnSpc>
                <a:spcBef>
                  <a:spcPts val="0"/>
                </a:spcBef>
                <a:spcAft>
                  <a:spcPts val="900"/>
                </a:spcAft>
                <a:buClr>
                  <a:srgbClr val="ED1A3B"/>
                </a:buClr>
                <a:buFont typeface="Arial" pitchFamily="34" charset="0"/>
                <a:buNone/>
                <a:defRPr/>
              </a:pPr>
              <a:r>
                <a:rPr lang="nl-NL" sz="1200" i="1" dirty="0">
                  <a:solidFill>
                    <a:srgbClr val="A3B0C0"/>
                  </a:solidFill>
                </a:rPr>
                <a:t>Cursief Licht (12 pt.)</a:t>
              </a:r>
            </a:p>
          </p:txBody>
        </p:sp>
        <p:sp>
          <p:nvSpPr>
            <p:cNvPr id="255" name="Ovaal 254"/>
            <p:cNvSpPr/>
            <p:nvPr userDrawn="1"/>
          </p:nvSpPr>
          <p:spPr>
            <a:xfrm>
              <a:off x="-2959433" y="488761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9</a:t>
              </a:r>
            </a:p>
          </p:txBody>
        </p:sp>
        <p:sp>
          <p:nvSpPr>
            <p:cNvPr id="256" name="Textfield placeholder"/>
            <p:cNvSpPr txBox="1">
              <a:spLocks/>
            </p:cNvSpPr>
            <p:nvPr userDrawn="1"/>
          </p:nvSpPr>
          <p:spPr>
            <a:xfrm>
              <a:off x="-2571950" y="488761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8" indent="0" defTabSz="179388">
                <a:lnSpc>
                  <a:spcPct val="80000"/>
                </a:lnSpc>
                <a:spcBef>
                  <a:spcPts val="0"/>
                </a:spcBef>
                <a:spcAft>
                  <a:spcPts val="900"/>
                </a:spcAft>
                <a:buClr>
                  <a:srgbClr val="ED1A3B"/>
                </a:buClr>
                <a:buFont typeface="Arial" pitchFamily="34" charset="0"/>
                <a:buNone/>
                <a:defRPr/>
              </a:pPr>
              <a:r>
                <a:rPr lang="nl-NL" sz="1400" b="1" dirty="0">
                  <a:solidFill>
                    <a:srgbClr val="ED1A3B"/>
                  </a:solidFill>
                </a:rPr>
                <a:t>Subtitel (14 pt.)</a:t>
              </a:r>
            </a:p>
          </p:txBody>
        </p:sp>
      </p:grpSp>
      <p:sp>
        <p:nvSpPr>
          <p:cNvPr id="125" name="Hyperlink - Inhoudsopgave">
            <a:hlinkClick r:id="rId5" action="ppaction://hlinksldjump"/>
          </p:cNvPr>
          <p:cNvSpPr/>
          <p:nvPr userDrawn="1"/>
        </p:nvSpPr>
        <p:spPr>
          <a:xfrm>
            <a:off x="10197856" y="5889801"/>
            <a:ext cx="2000494" cy="968199"/>
          </a:xfrm>
          <a:prstGeom prst="rect">
            <a:avLst/>
          </a:prstGeom>
          <a:solidFill>
            <a:srgbClr val="ED1A3B">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cxnSp>
        <p:nvCxnSpPr>
          <p:cNvPr id="17" name="Grijze lijn - boven"/>
          <p:cNvCxnSpPr/>
          <p:nvPr/>
        </p:nvCxnSpPr>
        <p:spPr>
          <a:xfrm flipH="1">
            <a:off x="664804" y="1358670"/>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 name="Scheidingslijn - Voetfoto_02 / Voetfoto_03"/>
          <p:cNvCxnSpPr/>
          <p:nvPr/>
        </p:nvCxnSpPr>
        <p:spPr>
          <a:xfrm>
            <a:off x="7829269" y="1670861"/>
            <a:ext cx="0" cy="3816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1" name="Scheidingslijn - Voetfoto_01 / Voetfoto_02"/>
          <p:cNvCxnSpPr/>
          <p:nvPr/>
        </p:nvCxnSpPr>
        <p:spPr>
          <a:xfrm>
            <a:off x="4188556" y="1670861"/>
            <a:ext cx="0" cy="3816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23" name="Tijdelijke aanduiding voor Dianummer"/>
          <p:cNvSpPr>
            <a:spLocks noGrp="1"/>
          </p:cNvSpPr>
          <p:nvPr>
            <p:ph type="sldNum" sz="quarter" idx="4"/>
          </p:nvPr>
        </p:nvSpPr>
        <p:spPr>
          <a:xfrm>
            <a:off x="5770549" y="6295992"/>
            <a:ext cx="657251" cy="365125"/>
          </a:xfrm>
          <a:prstGeom prst="rect">
            <a:avLst/>
          </a:prstGeom>
        </p:spPr>
        <p:txBody>
          <a:bodyPr vert="horz" lIns="91440" tIns="45720" rIns="91440" bIns="45720" rtlCol="0" anchor="ctr"/>
          <a:lstStyle>
            <a:lvl1pPr algn="ctr">
              <a:defRPr sz="800">
                <a:solidFill>
                  <a:schemeClr val="tx1">
                    <a:tint val="75000"/>
                  </a:schemeClr>
                </a:solidFill>
              </a:defRPr>
            </a:lvl1pPr>
          </a:lstStyle>
          <a:p>
            <a:fld id="{1B3FA67A-C720-417A-A072-0CD211FD8662}" type="slidenum">
              <a:rPr lang="nl-NL" smtClean="0">
                <a:solidFill>
                  <a:srgbClr val="000000">
                    <a:tint val="75000"/>
                  </a:srgbClr>
                </a:solidFill>
              </a:rPr>
              <a:pPr/>
              <a:t>‹nr.›</a:t>
            </a:fld>
            <a:endParaRPr lang="nl-NL" dirty="0">
              <a:solidFill>
                <a:srgbClr val="000000">
                  <a:tint val="75000"/>
                </a:srgbClr>
              </a:solidFill>
            </a:endParaRPr>
          </a:p>
        </p:txBody>
      </p:sp>
      <p:sp>
        <p:nvSpPr>
          <p:cNvPr id="20" name="Tijdelijke aanduiding voor Voetfoto_03"/>
          <p:cNvSpPr>
            <a:spLocks noGrp="1"/>
          </p:cNvSpPr>
          <p:nvPr>
            <p:ph type="pic" idx="21"/>
          </p:nvPr>
        </p:nvSpPr>
        <p:spPr>
          <a:xfrm>
            <a:off x="7945534" y="1474610"/>
            <a:ext cx="1711832" cy="3887178"/>
          </a:xfrm>
          <a:noFill/>
          <a:ln w="12700">
            <a:noFill/>
            <a:miter lim="800000"/>
          </a:ln>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14" name="Tijdelijke aanduiding voor Voetfoto_02"/>
          <p:cNvSpPr>
            <a:spLocks noGrp="1"/>
          </p:cNvSpPr>
          <p:nvPr>
            <p:ph type="pic" idx="18"/>
          </p:nvPr>
        </p:nvSpPr>
        <p:spPr>
          <a:xfrm>
            <a:off x="4304821" y="1474610"/>
            <a:ext cx="1711832" cy="3887178"/>
          </a:xfrm>
          <a:noFill/>
          <a:ln w="12700">
            <a:noFill/>
            <a:miter lim="800000"/>
          </a:ln>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p>
        </p:txBody>
      </p:sp>
      <p:sp>
        <p:nvSpPr>
          <p:cNvPr id="11" name="Tijdelijke aanduiding voor Voetfoto_01"/>
          <p:cNvSpPr>
            <a:spLocks noGrp="1"/>
          </p:cNvSpPr>
          <p:nvPr>
            <p:ph type="pic" idx="13"/>
          </p:nvPr>
        </p:nvSpPr>
        <p:spPr>
          <a:xfrm>
            <a:off x="664109" y="1474610"/>
            <a:ext cx="1711832" cy="3887178"/>
          </a:xfrm>
          <a:noFill/>
          <a:ln w="12700">
            <a:noFill/>
            <a:miter lim="800000"/>
          </a:ln>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122" name="Tijdelijke aanduiding voor Tekst bij Voetfoto_03"/>
          <p:cNvSpPr>
            <a:spLocks noGrp="1"/>
          </p:cNvSpPr>
          <p:nvPr>
            <p:ph type="body" orient="vert" idx="25" hasCustomPrompt="1"/>
          </p:nvPr>
        </p:nvSpPr>
        <p:spPr>
          <a:xfrm>
            <a:off x="9502837" y="2260634"/>
            <a:ext cx="1850876" cy="3101155"/>
          </a:xfrm>
        </p:spPr>
        <p:txBody>
          <a:bodyPr vert="horz" lIns="0" tIns="0" rIns="0" bIns="0" numCol="1"/>
          <a:lstStyle>
            <a:lvl1pPr>
              <a:defRPr sz="1200"/>
            </a:lvl1pPr>
            <a:lvl2pPr marL="180975" indent="-180975">
              <a:defRPr sz="1200"/>
            </a:lvl2pPr>
            <a:lvl3pPr marL="360363" indent="-179388">
              <a:defRPr sz="1200"/>
            </a:lvl3pPr>
            <a:lvl4pPr marL="541338" indent="-180975">
              <a:defRPr sz="1200"/>
            </a:lvl4pPr>
            <a:lvl5pPr marL="265113" indent="-265113">
              <a:defRPr sz="1200"/>
            </a:lvl5pPr>
            <a:lvl6pPr marL="444500" indent="-179388">
              <a:defRPr sz="1200"/>
            </a:lvl6pPr>
            <a:lvl7pPr>
              <a:defRPr sz="1200"/>
            </a:lvl7pPr>
            <a:lvl8pPr>
              <a:defRPr sz="1200"/>
            </a:lvl8pPr>
            <a:lvl9pPr>
              <a:defRPr sz="1400"/>
            </a:lvl9pPr>
          </a:lstStyle>
          <a:p>
            <a:pPr lvl="0"/>
            <a:r>
              <a:rPr lang="nl-NL" dirty="0"/>
              <a:t>Leestekst</a:t>
            </a:r>
          </a:p>
          <a:p>
            <a:pPr lvl="1"/>
            <a:r>
              <a:rPr lang="nl-NL" dirty="0"/>
              <a:t>Bullets</a:t>
            </a:r>
          </a:p>
          <a:p>
            <a:pPr lvl="2"/>
            <a:r>
              <a:rPr lang="nl-NL" dirty="0"/>
              <a:t>Sub-bullets</a:t>
            </a:r>
          </a:p>
          <a:p>
            <a:pPr lvl="3"/>
            <a:r>
              <a:rPr lang="nl-NL" dirty="0"/>
              <a:t>Sub-sub-bullets</a:t>
            </a:r>
          </a:p>
          <a:p>
            <a:pPr lvl="4"/>
            <a:r>
              <a:rPr lang="nl-NL" dirty="0"/>
              <a:t>Numeriek</a:t>
            </a:r>
          </a:p>
          <a:p>
            <a:pPr lvl="5"/>
            <a:r>
              <a:rPr lang="nl-NL" dirty="0"/>
              <a:t># Bullets</a:t>
            </a:r>
          </a:p>
          <a:p>
            <a:pPr lvl="6"/>
            <a:r>
              <a:rPr lang="nl-NL" dirty="0"/>
              <a:t>Cursief donker</a:t>
            </a:r>
          </a:p>
          <a:p>
            <a:pPr lvl="7"/>
            <a:r>
              <a:rPr lang="nl-NL" dirty="0"/>
              <a:t>Cursief licht</a:t>
            </a:r>
          </a:p>
          <a:p>
            <a:pPr lvl="8"/>
            <a:r>
              <a:rPr lang="nl-NL" dirty="0"/>
              <a:t>Subtitel</a:t>
            </a:r>
          </a:p>
        </p:txBody>
      </p:sp>
      <p:sp>
        <p:nvSpPr>
          <p:cNvPr id="121" name="Tijdelijke aanduiding voor Tekst bij Voetfoto_02"/>
          <p:cNvSpPr>
            <a:spLocks noGrp="1"/>
          </p:cNvSpPr>
          <p:nvPr>
            <p:ph type="body" orient="vert" idx="24" hasCustomPrompt="1"/>
          </p:nvPr>
        </p:nvSpPr>
        <p:spPr>
          <a:xfrm>
            <a:off x="5862128" y="2260634"/>
            <a:ext cx="1850876" cy="3101155"/>
          </a:xfrm>
        </p:spPr>
        <p:txBody>
          <a:bodyPr vert="horz" lIns="0" tIns="0" rIns="0" bIns="0" numCol="1"/>
          <a:lstStyle>
            <a:lvl1pPr>
              <a:defRPr sz="1200"/>
            </a:lvl1pPr>
            <a:lvl2pPr marL="180975" indent="-180975">
              <a:defRPr sz="1200"/>
            </a:lvl2pPr>
            <a:lvl3pPr marL="360363" indent="-179388">
              <a:defRPr sz="1200"/>
            </a:lvl3pPr>
            <a:lvl4pPr marL="541338" indent="-180975">
              <a:defRPr sz="1200"/>
            </a:lvl4pPr>
            <a:lvl5pPr marL="265113" indent="-265113">
              <a:defRPr sz="1200"/>
            </a:lvl5pPr>
            <a:lvl6pPr marL="444500" indent="-179388">
              <a:defRPr sz="1200"/>
            </a:lvl6pPr>
            <a:lvl7pPr>
              <a:defRPr sz="1200"/>
            </a:lvl7pPr>
            <a:lvl8pPr>
              <a:defRPr sz="1200"/>
            </a:lvl8pPr>
            <a:lvl9pPr>
              <a:defRPr sz="1400"/>
            </a:lvl9pPr>
          </a:lstStyle>
          <a:p>
            <a:pPr lvl="0"/>
            <a:r>
              <a:rPr lang="nl-NL" dirty="0"/>
              <a:t>Leestekst</a:t>
            </a:r>
          </a:p>
          <a:p>
            <a:pPr lvl="1"/>
            <a:r>
              <a:rPr lang="nl-NL" dirty="0"/>
              <a:t>Bullets</a:t>
            </a:r>
          </a:p>
          <a:p>
            <a:pPr lvl="2"/>
            <a:r>
              <a:rPr lang="nl-NL" dirty="0"/>
              <a:t>Sub-bullets</a:t>
            </a:r>
          </a:p>
          <a:p>
            <a:pPr lvl="3"/>
            <a:r>
              <a:rPr lang="nl-NL" dirty="0"/>
              <a:t>Sub-sub-bullets</a:t>
            </a:r>
          </a:p>
          <a:p>
            <a:pPr lvl="4"/>
            <a:r>
              <a:rPr lang="nl-NL" dirty="0"/>
              <a:t>Numeriek</a:t>
            </a:r>
          </a:p>
          <a:p>
            <a:pPr lvl="5"/>
            <a:r>
              <a:rPr lang="nl-NL" dirty="0"/>
              <a:t># Bullets</a:t>
            </a:r>
          </a:p>
          <a:p>
            <a:pPr lvl="6"/>
            <a:r>
              <a:rPr lang="nl-NL" dirty="0"/>
              <a:t>Cursief donker</a:t>
            </a:r>
          </a:p>
          <a:p>
            <a:pPr lvl="7"/>
            <a:r>
              <a:rPr lang="nl-NL" dirty="0"/>
              <a:t>Cursief licht</a:t>
            </a:r>
          </a:p>
          <a:p>
            <a:pPr lvl="8"/>
            <a:r>
              <a:rPr lang="nl-NL" dirty="0"/>
              <a:t>Subtitel</a:t>
            </a:r>
          </a:p>
        </p:txBody>
      </p:sp>
      <p:sp>
        <p:nvSpPr>
          <p:cNvPr id="120" name="Tijdelijke aanduiding voor Tekst bij Voetfoto_01"/>
          <p:cNvSpPr>
            <a:spLocks noGrp="1"/>
          </p:cNvSpPr>
          <p:nvPr>
            <p:ph type="body" orient="vert" idx="15" hasCustomPrompt="1"/>
          </p:nvPr>
        </p:nvSpPr>
        <p:spPr>
          <a:xfrm>
            <a:off x="2221415" y="2260634"/>
            <a:ext cx="1850876" cy="3101155"/>
          </a:xfrm>
        </p:spPr>
        <p:txBody>
          <a:bodyPr vert="horz" lIns="0" tIns="0" rIns="0" bIns="0" numCol="1"/>
          <a:lstStyle>
            <a:lvl1pPr>
              <a:defRPr sz="1200"/>
            </a:lvl1pPr>
            <a:lvl2pPr marL="180975" indent="-180975">
              <a:defRPr sz="1200"/>
            </a:lvl2pPr>
            <a:lvl3pPr marL="360363" indent="-179388">
              <a:defRPr sz="1200"/>
            </a:lvl3pPr>
            <a:lvl4pPr marL="541338" indent="-180975">
              <a:defRPr sz="1200"/>
            </a:lvl4pPr>
            <a:lvl5pPr marL="265113" indent="-265113">
              <a:defRPr sz="1200"/>
            </a:lvl5pPr>
            <a:lvl6pPr marL="444500" indent="-179388">
              <a:defRPr sz="1200"/>
            </a:lvl6pPr>
            <a:lvl7pPr>
              <a:defRPr sz="1200"/>
            </a:lvl7pPr>
            <a:lvl8pPr>
              <a:defRPr sz="1200"/>
            </a:lvl8pPr>
            <a:lvl9pPr>
              <a:defRPr sz="1400"/>
            </a:lvl9pPr>
          </a:lstStyle>
          <a:p>
            <a:pPr lvl="0"/>
            <a:r>
              <a:rPr lang="nl-NL" dirty="0"/>
              <a:t>Leestekst</a:t>
            </a:r>
          </a:p>
          <a:p>
            <a:pPr lvl="1"/>
            <a:r>
              <a:rPr lang="nl-NL" dirty="0"/>
              <a:t>Bullets</a:t>
            </a:r>
          </a:p>
          <a:p>
            <a:pPr lvl="2"/>
            <a:r>
              <a:rPr lang="nl-NL" dirty="0"/>
              <a:t>Sub-bullets</a:t>
            </a:r>
          </a:p>
          <a:p>
            <a:pPr lvl="3"/>
            <a:r>
              <a:rPr lang="nl-NL" dirty="0"/>
              <a:t>Sub-sub-bullets</a:t>
            </a:r>
          </a:p>
          <a:p>
            <a:pPr lvl="4"/>
            <a:r>
              <a:rPr lang="nl-NL" dirty="0"/>
              <a:t>Numeriek</a:t>
            </a:r>
          </a:p>
          <a:p>
            <a:pPr lvl="5"/>
            <a:r>
              <a:rPr lang="nl-NL" dirty="0"/>
              <a:t># Bullets</a:t>
            </a:r>
          </a:p>
          <a:p>
            <a:pPr lvl="6"/>
            <a:r>
              <a:rPr lang="nl-NL" dirty="0"/>
              <a:t>Cursief donker</a:t>
            </a:r>
          </a:p>
          <a:p>
            <a:pPr lvl="7"/>
            <a:r>
              <a:rPr lang="nl-NL" dirty="0"/>
              <a:t>Cursief licht</a:t>
            </a:r>
          </a:p>
          <a:p>
            <a:pPr lvl="8"/>
            <a:r>
              <a:rPr lang="nl-NL" dirty="0"/>
              <a:t>Subtitel</a:t>
            </a:r>
          </a:p>
        </p:txBody>
      </p:sp>
      <p:sp>
        <p:nvSpPr>
          <p:cNvPr id="16" name="Tijdelijke aanduiding voor Subtitel"/>
          <p:cNvSpPr>
            <a:spLocks noGrp="1"/>
          </p:cNvSpPr>
          <p:nvPr>
            <p:ph type="body" idx="14"/>
          </p:nvPr>
        </p:nvSpPr>
        <p:spPr>
          <a:xfrm>
            <a:off x="664109" y="1001348"/>
            <a:ext cx="10870131" cy="317758"/>
          </a:xfrm>
        </p:spPr>
        <p:txBody>
          <a:bodyPr bIns="72000" anchor="t" anchorCtr="0"/>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2" name="Tijdelijke aanduiding voor Titel"/>
          <p:cNvSpPr>
            <a:spLocks noGrp="1"/>
          </p:cNvSpPr>
          <p:nvPr>
            <p:ph type="title"/>
          </p:nvPr>
        </p:nvSpPr>
        <p:spPr>
          <a:xfrm>
            <a:off x="664109" y="464521"/>
            <a:ext cx="10870131" cy="533219"/>
          </a:xfrm>
        </p:spPr>
        <p:txBody>
          <a:bodyPr/>
          <a:lstStyle/>
          <a:p>
            <a:r>
              <a:rPr lang="nl-NL"/>
              <a:t>Klik om stijl te bewerken</a:t>
            </a:r>
            <a:endParaRPr lang="nl-NL" dirty="0"/>
          </a:p>
        </p:txBody>
      </p:sp>
    </p:spTree>
    <p:extLst>
      <p:ext uri="{BB962C8B-B14F-4D97-AF65-F5344CB8AC3E}">
        <p14:creationId xmlns:p14="http://schemas.microsoft.com/office/powerpoint/2010/main" val="3697163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Voorstellen voetfoto 2x">
    <p:spTree>
      <p:nvGrpSpPr>
        <p:cNvPr id="1" name=""/>
        <p:cNvGrpSpPr/>
        <p:nvPr/>
      </p:nvGrpSpPr>
      <p:grpSpPr>
        <a:xfrm>
          <a:off x="0" y="0"/>
          <a:ext cx="0" cy="0"/>
          <a:chOff x="0" y="0"/>
          <a:chExt cx="0" cy="0"/>
        </a:xfrm>
      </p:grpSpPr>
      <p:sp>
        <p:nvSpPr>
          <p:cNvPr id="15" name="Naam indeling - Voorstellen voetfoto 2x"/>
          <p:cNvSpPr txBox="1"/>
          <p:nvPr/>
        </p:nvSpPr>
        <p:spPr>
          <a:xfrm>
            <a:off x="1" y="-453266"/>
            <a:ext cx="3582333" cy="276999"/>
          </a:xfrm>
          <a:prstGeom prst="rect">
            <a:avLst/>
          </a:prstGeom>
          <a:noFill/>
        </p:spPr>
        <p:txBody>
          <a:bodyPr wrap="square" lIns="0" tIns="0" rIns="0" bIns="0" rtlCol="0">
            <a:spAutoFit/>
          </a:bodyPr>
          <a:lstStyle/>
          <a:p>
            <a:pPr defTabSz="914112"/>
            <a:r>
              <a:rPr lang="nl-NL" dirty="0">
                <a:solidFill>
                  <a:srgbClr val="404040"/>
                </a:solidFill>
                <a:latin typeface="Calibri" panose="020F0502020204030204" pitchFamily="34" charset="0"/>
              </a:rPr>
              <a:t>Voorstellen voetfoto 2x</a:t>
            </a:r>
            <a:endParaRPr lang="en-GB" dirty="0">
              <a:solidFill>
                <a:srgbClr val="404040"/>
              </a:solidFill>
              <a:latin typeface="Calibri" panose="020F0502020204030204" pitchFamily="34" charset="0"/>
            </a:endParaRPr>
          </a:p>
        </p:txBody>
      </p:sp>
      <p:grpSp>
        <p:nvGrpSpPr>
          <p:cNvPr id="105" name="Instructie - Afbeelding invoegen"/>
          <p:cNvGrpSpPr/>
          <p:nvPr/>
        </p:nvGrpSpPr>
        <p:grpSpPr>
          <a:xfrm>
            <a:off x="12437931" y="14898"/>
            <a:ext cx="2717569" cy="3676571"/>
            <a:chOff x="12434693" y="14897"/>
            <a:chExt cx="2716862" cy="3676571"/>
          </a:xfrm>
        </p:grpSpPr>
        <p:sp>
          <p:nvSpPr>
            <p:cNvPr id="106" name="Rechthoek 105"/>
            <p:cNvSpPr/>
            <p:nvPr/>
          </p:nvSpPr>
          <p:spPr>
            <a:xfrm>
              <a:off x="12441150" y="14897"/>
              <a:ext cx="2696270" cy="161771"/>
            </a:xfrm>
            <a:prstGeom prst="rect">
              <a:avLst/>
            </a:prstGeom>
            <a:noFill/>
            <a:ln w="25400" cap="flat" cmpd="sng" algn="ctr">
              <a:noFill/>
              <a:prstDash val="solid"/>
            </a:ln>
            <a:effectLst/>
          </p:spPr>
          <p:txBody>
            <a:bodyPr lIns="0" tIns="0" rIns="0" bIns="0" rtlCol="0" anchor="t"/>
            <a:lstStyle/>
            <a:p>
              <a:pPr defTabSz="914112">
                <a:lnSpc>
                  <a:spcPct val="80000"/>
                </a:lnSpc>
              </a:pPr>
              <a:r>
                <a:rPr lang="nl-NL" sz="1600" b="1" kern="0" cap="all" dirty="0">
                  <a:solidFill>
                    <a:srgbClr val="ED1A3B"/>
                  </a:solidFill>
                  <a:cs typeface="Segoe UI Light" panose="020B0502040204020203" pitchFamily="34" charset="0"/>
                </a:rPr>
                <a:t>AFBEELDING INVOEGEN</a:t>
              </a:r>
            </a:p>
          </p:txBody>
        </p:sp>
        <p:sp>
          <p:nvSpPr>
            <p:cNvPr id="107" name="Tekstvak 33"/>
            <p:cNvSpPr txBox="1"/>
            <p:nvPr/>
          </p:nvSpPr>
          <p:spPr>
            <a:xfrm>
              <a:off x="12441149" y="814239"/>
              <a:ext cx="2710405" cy="719877"/>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Indien nodig, verwijder de bestaande afbeelding. Klik op het pictogram </a:t>
              </a:r>
              <a:br>
                <a:rPr lang="nl-NL" sz="1200" kern="0" dirty="0">
                  <a:solidFill>
                    <a:srgbClr val="000000"/>
                  </a:solidFill>
                  <a:latin typeface="Trebuchet MS"/>
                  <a:cs typeface="Segoe UI Light" panose="020B0502040204020203" pitchFamily="34" charset="0"/>
                </a:rPr>
              </a:br>
              <a:r>
                <a:rPr lang="nl-NL" sz="1200" kern="0" dirty="0">
                  <a:solidFill>
                    <a:srgbClr val="000000"/>
                  </a:solidFill>
                  <a:latin typeface="Trebuchet MS"/>
                  <a:cs typeface="Segoe UI Light" panose="020B0502040204020203" pitchFamily="34" charset="0"/>
                </a:rPr>
                <a:t>om een afbeelding in te voegen</a:t>
              </a:r>
              <a:br>
                <a:rPr lang="nl-NL" sz="1200" kern="0" dirty="0">
                  <a:solidFill>
                    <a:srgbClr val="000000"/>
                  </a:solidFill>
                  <a:latin typeface="Trebuchet MS"/>
                  <a:cs typeface="Segoe UI Light" panose="020B0502040204020203" pitchFamily="34" charset="0"/>
                </a:rPr>
              </a:br>
              <a:r>
                <a:rPr lang="nl-NL" sz="1100" i="1" kern="0" dirty="0">
                  <a:solidFill>
                    <a:srgbClr val="000000"/>
                  </a:solidFill>
                  <a:latin typeface="Trebuchet MS"/>
                  <a:cs typeface="Segoe UI Light" panose="020B0502040204020203" pitchFamily="34" charset="0"/>
                </a:rPr>
                <a:t>(zie onderstaand voorbeeld).</a:t>
              </a:r>
            </a:p>
          </p:txBody>
        </p:sp>
        <p:sp>
          <p:nvSpPr>
            <p:cNvPr id="108" name="Tekstvak 33"/>
            <p:cNvSpPr txBox="1"/>
            <p:nvPr/>
          </p:nvSpPr>
          <p:spPr>
            <a:xfrm>
              <a:off x="12441149" y="2793904"/>
              <a:ext cx="2710405" cy="395943"/>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Selecteer de afbeelding die u wilt invoegen en klik op </a:t>
              </a:r>
              <a:r>
                <a:rPr lang="nl-NL" sz="1200" b="1" kern="0" dirty="0">
                  <a:solidFill>
                    <a:srgbClr val="000000"/>
                  </a:solidFill>
                  <a:latin typeface="Trebuchet MS"/>
                  <a:cs typeface="Segoe UI Light" panose="020B0502040204020203" pitchFamily="34" charset="0"/>
                </a:rPr>
                <a:t>‘Invoegen’</a:t>
              </a:r>
            </a:p>
          </p:txBody>
        </p:sp>
        <p:sp>
          <p:nvSpPr>
            <p:cNvPr id="109" name="Ovaal 108"/>
            <p:cNvSpPr/>
            <p:nvPr/>
          </p:nvSpPr>
          <p:spPr>
            <a:xfrm>
              <a:off x="12441150" y="379292"/>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1</a:t>
              </a:r>
            </a:p>
          </p:txBody>
        </p:sp>
        <p:sp>
          <p:nvSpPr>
            <p:cNvPr id="110" name="Ovaal 109"/>
            <p:cNvSpPr/>
            <p:nvPr/>
          </p:nvSpPr>
          <p:spPr>
            <a:xfrm>
              <a:off x="12441150" y="2337208"/>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2</a:t>
              </a:r>
            </a:p>
          </p:txBody>
        </p:sp>
        <p:cxnSp>
          <p:nvCxnSpPr>
            <p:cNvPr id="111" name="Rechte verbindingslijn 110"/>
            <p:cNvCxnSpPr/>
            <p:nvPr/>
          </p:nvCxnSpPr>
          <p:spPr>
            <a:xfrm>
              <a:off x="12441150" y="248176"/>
              <a:ext cx="2710405" cy="0"/>
            </a:xfrm>
            <a:prstGeom prst="line">
              <a:avLst/>
            </a:prstGeom>
            <a:noFill/>
            <a:ln w="9525" cap="flat" cmpd="sng" algn="ctr">
              <a:solidFill>
                <a:schemeClr val="accent1"/>
              </a:solidFill>
              <a:prstDash val="solid"/>
            </a:ln>
            <a:effectLst/>
          </p:spPr>
        </p:cxnSp>
        <p:cxnSp>
          <p:nvCxnSpPr>
            <p:cNvPr id="112" name="Rechte verbindingslijn 111"/>
            <p:cNvCxnSpPr/>
            <p:nvPr/>
          </p:nvCxnSpPr>
          <p:spPr>
            <a:xfrm>
              <a:off x="12441149" y="2212830"/>
              <a:ext cx="2710405" cy="0"/>
            </a:xfrm>
            <a:prstGeom prst="line">
              <a:avLst/>
            </a:prstGeom>
            <a:noFill/>
            <a:ln w="9525" cap="flat" cmpd="sng" algn="ctr">
              <a:solidFill>
                <a:schemeClr val="accent1"/>
              </a:solidFill>
              <a:prstDash val="solid"/>
            </a:ln>
            <a:effectLst/>
          </p:spPr>
        </p:cxnSp>
        <p:cxnSp>
          <p:nvCxnSpPr>
            <p:cNvPr id="113" name="Rechte verbindingslijn 112"/>
            <p:cNvCxnSpPr/>
            <p:nvPr/>
          </p:nvCxnSpPr>
          <p:spPr>
            <a:xfrm>
              <a:off x="12444679" y="3691468"/>
              <a:ext cx="2706875" cy="0"/>
            </a:xfrm>
            <a:prstGeom prst="line">
              <a:avLst/>
            </a:prstGeom>
            <a:noFill/>
            <a:ln w="9525" cap="flat" cmpd="sng" algn="ctr">
              <a:solidFill>
                <a:schemeClr val="accent1"/>
              </a:solidFill>
              <a:prstDash val="solid"/>
            </a:ln>
            <a:effectLst/>
          </p:spPr>
        </p:cxnSp>
        <p:pic>
          <p:nvPicPr>
            <p:cNvPr id="114" name="Icoontje afbeeldi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434693" y="1677764"/>
              <a:ext cx="403210" cy="403210"/>
            </a:xfrm>
            <a:prstGeom prst="rect">
              <a:avLst/>
            </a:prstGeom>
          </p:spPr>
        </p:pic>
        <p:grpSp>
          <p:nvGrpSpPr>
            <p:cNvPr id="115" name="Groep 114"/>
            <p:cNvGrpSpPr/>
            <p:nvPr/>
          </p:nvGrpSpPr>
          <p:grpSpPr>
            <a:xfrm>
              <a:off x="12450571" y="3301369"/>
              <a:ext cx="1002992" cy="267962"/>
              <a:chOff x="13560784" y="3471416"/>
              <a:chExt cx="1114138" cy="297656"/>
            </a:xfrm>
          </p:grpSpPr>
          <p:sp>
            <p:nvSpPr>
              <p:cNvPr id="116" name="Afgeronde rechthoek 88"/>
              <p:cNvSpPr/>
              <p:nvPr/>
            </p:nvSpPr>
            <p:spPr>
              <a:xfrm>
                <a:off x="13560784" y="3471416"/>
                <a:ext cx="1114138" cy="297656"/>
              </a:xfrm>
              <a:prstGeom prst="roundRect">
                <a:avLst/>
              </a:prstGeom>
              <a:gradFill flip="none" rotWithShape="1">
                <a:gsLst>
                  <a:gs pos="4000">
                    <a:srgbClr val="00B0F0"/>
                  </a:gs>
                  <a:gs pos="0">
                    <a:srgbClr val="0070C0"/>
                  </a:gs>
                  <a:gs pos="100000">
                    <a:srgbClr val="0070C0"/>
                  </a:gs>
                  <a:gs pos="12000">
                    <a:srgbClr val="D1EAFF"/>
                  </a:gs>
                  <a:gs pos="96000">
                    <a:srgbClr val="00B0F0"/>
                  </a:gs>
                  <a:gs pos="89000">
                    <a:srgbClr val="DDF4FF"/>
                  </a:gs>
                  <a:gs pos="43000">
                    <a:srgbClr val="D1EAFF"/>
                  </a:gs>
                  <a:gs pos="51000">
                    <a:srgbClr val="DDF4FF"/>
                  </a:gs>
                </a:gsLst>
                <a:lin ang="16200000" scaled="1"/>
                <a:tileRect/>
              </a:gradFill>
              <a:ln w="63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dirty="0">
                  <a:solidFill>
                    <a:srgbClr val="FFFFFF"/>
                  </a:solidFill>
                </a:endParaRPr>
              </a:p>
            </p:txBody>
          </p:sp>
          <p:sp>
            <p:nvSpPr>
              <p:cNvPr id="117" name="Tekstvak 116"/>
              <p:cNvSpPr txBox="1"/>
              <p:nvPr/>
            </p:nvSpPr>
            <p:spPr>
              <a:xfrm>
                <a:off x="13573594" y="3488254"/>
                <a:ext cx="888311" cy="273506"/>
              </a:xfrm>
              <a:prstGeom prst="rect">
                <a:avLst/>
              </a:prstGeom>
              <a:noFill/>
            </p:spPr>
            <p:txBody>
              <a:bodyPr wrap="square" rtlCol="0" anchor="ctr">
                <a:spAutoFit/>
              </a:bodyPr>
              <a:lstStyle>
                <a:defPPr>
                  <a:defRPr lang="nl-NL"/>
                </a:defPPr>
                <a:lvl1pPr marR="0" lvl="0" indent="0" algn="ctr" fontAlgn="auto">
                  <a:lnSpc>
                    <a:spcPct val="100000"/>
                  </a:lnSpc>
                  <a:spcBef>
                    <a:spcPts val="0"/>
                  </a:spcBef>
                  <a:spcAft>
                    <a:spcPts val="0"/>
                  </a:spcAft>
                  <a:buClrTx/>
                  <a:buSzTx/>
                  <a:buFontTx/>
                  <a:buNone/>
                  <a:tabLst/>
                  <a:defRPr kumimoji="0" sz="900" i="0" u="none" strike="noStrike" kern="0" cap="none" spc="0" normalizeH="0" baseline="0">
                    <a:ln>
                      <a:noFill/>
                    </a:ln>
                    <a:effectLst>
                      <a:outerShdw blurRad="25400" algn="ctr" rotWithShape="0">
                        <a:prstClr val="white"/>
                      </a:outerShdw>
                    </a:effectLst>
                    <a:uLnTx/>
                    <a:uFillTx/>
                    <a:latin typeface="Segoe UI Light" panose="020B0502040204020203" pitchFamily="34" charset="0"/>
                    <a:cs typeface="Segoe UI Light" panose="020B0502040204020203" pitchFamily="34" charset="0"/>
                  </a:defRPr>
                </a:lvl1pPr>
                <a:lvl2pPr fontAlgn="base">
                  <a:spcBef>
                    <a:spcPct val="0"/>
                  </a:spcBef>
                  <a:spcAft>
                    <a:spcPct val="0"/>
                  </a:spcAft>
                  <a:defRPr>
                    <a:latin typeface="Arial" charset="0"/>
                    <a:cs typeface="Arial" charset="0"/>
                  </a:defRPr>
                </a:lvl2pPr>
                <a:lvl3pPr fontAlgn="base">
                  <a:spcBef>
                    <a:spcPct val="0"/>
                  </a:spcBef>
                  <a:spcAft>
                    <a:spcPct val="0"/>
                  </a:spcAft>
                  <a:defRPr>
                    <a:latin typeface="Arial" charset="0"/>
                    <a:cs typeface="Arial" charset="0"/>
                  </a:defRPr>
                </a:lvl3pPr>
                <a:lvl4pPr fontAlgn="base">
                  <a:spcBef>
                    <a:spcPct val="0"/>
                  </a:spcBef>
                  <a:spcAft>
                    <a:spcPct val="0"/>
                  </a:spcAft>
                  <a:defRPr>
                    <a:latin typeface="Arial" charset="0"/>
                    <a:cs typeface="Arial" charset="0"/>
                  </a:defRPr>
                </a:lvl4pPr>
                <a:lvl5pPr fontAlgn="base">
                  <a:spcBef>
                    <a:spcPct val="0"/>
                  </a:spcBef>
                  <a:spcAft>
                    <a:spcPct val="0"/>
                  </a:spcAft>
                  <a:defRPr>
                    <a:latin typeface="Arial" charset="0"/>
                    <a:cs typeface="Arial" charset="0"/>
                  </a:defRPr>
                </a:lvl5pPr>
                <a:lvl6pPr>
                  <a:defRPr>
                    <a:latin typeface="Arial" charset="0"/>
                    <a:cs typeface="Arial" charset="0"/>
                  </a:defRPr>
                </a:lvl6pPr>
                <a:lvl7pPr>
                  <a:defRPr>
                    <a:latin typeface="Arial" charset="0"/>
                    <a:cs typeface="Arial" charset="0"/>
                  </a:defRPr>
                </a:lvl7pPr>
                <a:lvl8pPr>
                  <a:defRPr>
                    <a:latin typeface="Arial" charset="0"/>
                    <a:cs typeface="Arial" charset="0"/>
                  </a:defRPr>
                </a:lvl8pPr>
                <a:lvl9pPr>
                  <a:defRPr>
                    <a:latin typeface="Arial" charset="0"/>
                    <a:cs typeface="Arial" charset="0"/>
                  </a:defRPr>
                </a:lvl9pPr>
              </a:lstStyle>
              <a:p>
                <a:pPr defTabSz="914112"/>
                <a:r>
                  <a:rPr lang="nl-NL" sz="1000" dirty="0">
                    <a:solidFill>
                      <a:srgbClr val="000000"/>
                    </a:solidFill>
                    <a:latin typeface="Trebuchet MS"/>
                  </a:rPr>
                  <a:t>Invoegen</a:t>
                </a:r>
              </a:p>
            </p:txBody>
          </p:sp>
          <p:cxnSp>
            <p:nvCxnSpPr>
              <p:cNvPr id="118" name="Rechte verbindingslijn 117"/>
              <p:cNvCxnSpPr/>
              <p:nvPr/>
            </p:nvCxnSpPr>
            <p:spPr>
              <a:xfrm>
                <a:off x="14461905" y="3507058"/>
                <a:ext cx="0" cy="224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9" name="Gelijkbenige driehoek 118"/>
              <p:cNvSpPr/>
              <p:nvPr/>
            </p:nvSpPr>
            <p:spPr>
              <a:xfrm rot="10800000">
                <a:off x="14518584" y="3600521"/>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112"/>
                <a:endParaRPr lang="nl-NL" dirty="0">
                  <a:solidFill>
                    <a:srgbClr val="FFFFFF"/>
                  </a:solidFill>
                </a:endParaRPr>
              </a:p>
            </p:txBody>
          </p:sp>
        </p:grpSp>
      </p:grpSp>
      <p:grpSp>
        <p:nvGrpSpPr>
          <p:cNvPr id="223" name="Instructie - Tekstniveau"/>
          <p:cNvGrpSpPr/>
          <p:nvPr userDrawn="1"/>
        </p:nvGrpSpPr>
        <p:grpSpPr>
          <a:xfrm>
            <a:off x="-3117849" y="365"/>
            <a:ext cx="2823358" cy="5254722"/>
            <a:chOff x="-2959433" y="-5444"/>
            <a:chExt cx="2822623" cy="5254722"/>
          </a:xfrm>
        </p:grpSpPr>
        <p:sp>
          <p:nvSpPr>
            <p:cNvPr id="224" name="Rechthoek 223"/>
            <p:cNvSpPr/>
            <p:nvPr userDrawn="1"/>
          </p:nvSpPr>
          <p:spPr>
            <a:xfrm>
              <a:off x="-2959433" y="-5444"/>
              <a:ext cx="2572469" cy="280344"/>
            </a:xfrm>
            <a:prstGeom prst="rect">
              <a:avLst/>
            </a:prstGeom>
            <a:noFill/>
            <a:ln w="25400" cap="flat" cmpd="sng" algn="ctr">
              <a:noFill/>
              <a:prstDash val="solid"/>
            </a:ln>
            <a:effectLst/>
          </p:spPr>
          <p:txBody>
            <a:bodyPr lIns="0" tIns="0" rIns="0" bIns="0" rtlCol="0" anchor="t"/>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nl-NL" sz="1600" b="1" kern="0" dirty="0">
                  <a:solidFill>
                    <a:srgbClr val="ED1A3B"/>
                  </a:solidFill>
                  <a:cs typeface="Segoe UI Light" panose="020B0502040204020203" pitchFamily="34" charset="0"/>
                </a:rPr>
                <a:t>TEKST NIVEAUS</a:t>
              </a:r>
            </a:p>
          </p:txBody>
        </p:sp>
        <p:sp>
          <p:nvSpPr>
            <p:cNvPr id="225" name="Textfield placeholder"/>
            <p:cNvSpPr txBox="1">
              <a:spLocks/>
            </p:cNvSpPr>
            <p:nvPr userDrawn="1"/>
          </p:nvSpPr>
          <p:spPr>
            <a:xfrm>
              <a:off x="-2587337" y="2675411"/>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0" lvl="2"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a:solidFill>
                    <a:srgbClr val="404040"/>
                  </a:solidFill>
                </a:rPr>
                <a:t>Sub-bullets (12 pt.)</a:t>
              </a:r>
            </a:p>
          </p:txBody>
        </p:sp>
        <p:sp>
          <p:nvSpPr>
            <p:cNvPr id="226" name="Ovaal 225"/>
            <p:cNvSpPr/>
            <p:nvPr userDrawn="1"/>
          </p:nvSpPr>
          <p:spPr>
            <a:xfrm>
              <a:off x="-2959433" y="196874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1</a:t>
              </a:r>
            </a:p>
          </p:txBody>
        </p:sp>
        <p:sp>
          <p:nvSpPr>
            <p:cNvPr id="227" name="Ovaal 226"/>
            <p:cNvSpPr/>
            <p:nvPr userDrawn="1"/>
          </p:nvSpPr>
          <p:spPr>
            <a:xfrm>
              <a:off x="-2959433" y="232207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2</a:t>
              </a:r>
            </a:p>
          </p:txBody>
        </p:sp>
        <p:sp>
          <p:nvSpPr>
            <p:cNvPr id="228" name="Ovaal 227"/>
            <p:cNvSpPr/>
            <p:nvPr userDrawn="1"/>
          </p:nvSpPr>
          <p:spPr>
            <a:xfrm>
              <a:off x="-2959433" y="267541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3</a:t>
              </a:r>
            </a:p>
          </p:txBody>
        </p:sp>
        <p:sp>
          <p:nvSpPr>
            <p:cNvPr id="229" name="Ovaal 228"/>
            <p:cNvSpPr/>
            <p:nvPr userDrawn="1"/>
          </p:nvSpPr>
          <p:spPr>
            <a:xfrm>
              <a:off x="-2959433" y="302874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4</a:t>
              </a:r>
            </a:p>
          </p:txBody>
        </p:sp>
        <p:sp>
          <p:nvSpPr>
            <p:cNvPr id="230" name="Textfield placeholder"/>
            <p:cNvSpPr txBox="1">
              <a:spLocks/>
            </p:cNvSpPr>
            <p:nvPr userDrawn="1"/>
          </p:nvSpPr>
          <p:spPr>
            <a:xfrm>
              <a:off x="-2571950" y="1966925"/>
              <a:ext cx="2163709" cy="261500"/>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79388">
                <a:lnSpc>
                  <a:spcPct val="120000"/>
                </a:lnSpc>
                <a:spcBef>
                  <a:spcPts val="0"/>
                </a:spcBef>
                <a:spcAft>
                  <a:spcPts val="900"/>
                </a:spcAft>
                <a:buClr>
                  <a:srgbClr val="000000"/>
                </a:buClr>
                <a:buSzPct val="100000"/>
                <a:buFont typeface="Arial" pitchFamily="34" charset="0"/>
                <a:buNone/>
                <a:defRPr/>
              </a:pPr>
              <a:r>
                <a:rPr lang="nl-NL" sz="1200" dirty="0">
                  <a:solidFill>
                    <a:srgbClr val="535353"/>
                  </a:solidFill>
                </a:rPr>
                <a:t>Leestekst (12 pt.)</a:t>
              </a:r>
            </a:p>
          </p:txBody>
        </p:sp>
        <p:sp>
          <p:nvSpPr>
            <p:cNvPr id="231" name="Textfield placeholder"/>
            <p:cNvSpPr txBox="1">
              <a:spLocks/>
            </p:cNvSpPr>
            <p:nvPr userDrawn="1"/>
          </p:nvSpPr>
          <p:spPr>
            <a:xfrm>
              <a:off x="-2571950" y="2322077"/>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70000" lvl="1"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err="1">
                  <a:solidFill>
                    <a:srgbClr val="535353"/>
                  </a:solidFill>
                </a:rPr>
                <a:t>Bullets</a:t>
              </a:r>
              <a:r>
                <a:rPr lang="nl-NL" sz="1200" dirty="0">
                  <a:solidFill>
                    <a:srgbClr val="535353"/>
                  </a:solidFill>
                </a:rPr>
                <a:t> (12 </a:t>
              </a:r>
              <a:r>
                <a:rPr lang="nl-NL" sz="1200" dirty="0" err="1">
                  <a:solidFill>
                    <a:srgbClr val="535353"/>
                  </a:solidFill>
                </a:rPr>
                <a:t>pt</a:t>
              </a:r>
              <a:r>
                <a:rPr lang="nl-NL" sz="1200" dirty="0">
                  <a:solidFill>
                    <a:srgbClr val="535353"/>
                  </a:solidFill>
                </a:rPr>
                <a:t>.)</a:t>
              </a:r>
            </a:p>
          </p:txBody>
        </p:sp>
        <p:sp>
          <p:nvSpPr>
            <p:cNvPr id="232" name="Textfield placeholder"/>
            <p:cNvSpPr txBox="1">
              <a:spLocks/>
            </p:cNvSpPr>
            <p:nvPr userDrawn="1"/>
          </p:nvSpPr>
          <p:spPr>
            <a:xfrm>
              <a:off x="-2571951" y="3028747"/>
              <a:ext cx="2435141"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10000" lvl="3" indent="-270000" algn="l" defTabSz="179388" rtl="0" eaLnBrk="1" latinLnBrk="0" hangingPunct="1">
                <a:lnSpc>
                  <a:spcPct val="120000"/>
                </a:lnSpc>
                <a:spcBef>
                  <a:spcPts val="0"/>
                </a:spcBef>
                <a:spcAft>
                  <a:spcPts val="900"/>
                </a:spcAft>
                <a:buClr>
                  <a:schemeClr val="accent2"/>
                </a:buClr>
                <a:buSzPct val="80000"/>
                <a:buFont typeface="Wingdings 3" panose="05040102010807070707" pitchFamily="18" charset="2"/>
                <a:buChar char=""/>
                <a:defRPr/>
              </a:pPr>
              <a:r>
                <a:rPr lang="nl-NL" sz="1200" b="0" kern="1200" dirty="0">
                  <a:solidFill>
                    <a:srgbClr val="404040"/>
                  </a:solidFill>
                  <a:latin typeface="+mn-lt"/>
                  <a:ea typeface="+mn-ea"/>
                  <a:cs typeface="+mn-cs"/>
                </a:rPr>
                <a:t>Sub-sub-bullets (12 pt.)</a:t>
              </a:r>
            </a:p>
          </p:txBody>
        </p:sp>
        <p:cxnSp>
          <p:nvCxnSpPr>
            <p:cNvPr id="233" name="Rechte verbindingslijn 232"/>
            <p:cNvCxnSpPr/>
            <p:nvPr userDrawn="1"/>
          </p:nvCxnSpPr>
          <p:spPr>
            <a:xfrm>
              <a:off x="-2959100" y="274900"/>
              <a:ext cx="2674470" cy="0"/>
            </a:xfrm>
            <a:prstGeom prst="line">
              <a:avLst/>
            </a:prstGeom>
            <a:noFill/>
            <a:ln w="9525" cap="flat" cmpd="sng" algn="ctr">
              <a:solidFill>
                <a:schemeClr val="accent1"/>
              </a:solidFill>
              <a:prstDash val="solid"/>
            </a:ln>
            <a:effectLst/>
          </p:spPr>
        </p:cxnSp>
        <p:cxnSp>
          <p:nvCxnSpPr>
            <p:cNvPr id="234" name="Rechte verbindingslijn 233"/>
            <p:cNvCxnSpPr/>
            <p:nvPr userDrawn="1"/>
          </p:nvCxnSpPr>
          <p:spPr>
            <a:xfrm>
              <a:off x="-2959100" y="1841989"/>
              <a:ext cx="2661379" cy="0"/>
            </a:xfrm>
            <a:prstGeom prst="line">
              <a:avLst/>
            </a:prstGeom>
            <a:noFill/>
            <a:ln w="9525" cap="flat" cmpd="sng" algn="ctr">
              <a:solidFill>
                <a:schemeClr val="accent1"/>
              </a:solidFill>
              <a:prstDash val="solid"/>
            </a:ln>
            <a:effectLst/>
          </p:spPr>
        </p:cxnSp>
        <p:cxnSp>
          <p:nvCxnSpPr>
            <p:cNvPr id="235" name="Rechte verbindingslijn 234"/>
            <p:cNvCxnSpPr/>
            <p:nvPr userDrawn="1"/>
          </p:nvCxnSpPr>
          <p:spPr>
            <a:xfrm>
              <a:off x="-2959100" y="5249278"/>
              <a:ext cx="2661379" cy="0"/>
            </a:xfrm>
            <a:prstGeom prst="line">
              <a:avLst/>
            </a:prstGeom>
            <a:noFill/>
            <a:ln w="9525" cap="flat" cmpd="sng" algn="ctr">
              <a:solidFill>
                <a:schemeClr val="accent1"/>
              </a:solidFill>
              <a:prstDash val="solid"/>
            </a:ln>
            <a:effectLst/>
          </p:spPr>
        </p:cxnSp>
        <p:grpSp>
          <p:nvGrpSpPr>
            <p:cNvPr id="236" name="Groep 235"/>
            <p:cNvGrpSpPr/>
            <p:nvPr userDrawn="1"/>
          </p:nvGrpSpPr>
          <p:grpSpPr>
            <a:xfrm>
              <a:off x="-1948476" y="816741"/>
              <a:ext cx="409108" cy="427699"/>
              <a:chOff x="-1085063" y="758027"/>
              <a:chExt cx="633799" cy="622540"/>
            </a:xfrm>
          </p:grpSpPr>
          <p:sp>
            <p:nvSpPr>
              <p:cNvPr id="292" name="Afgeronde rechthoek 291"/>
              <p:cNvSpPr/>
              <p:nvPr userDrawn="1"/>
            </p:nvSpPr>
            <p:spPr>
              <a:xfrm>
                <a:off x="-108506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293" name="Groep 292"/>
              <p:cNvGrpSpPr/>
              <p:nvPr userDrawn="1"/>
            </p:nvGrpSpPr>
            <p:grpSpPr>
              <a:xfrm>
                <a:off x="-977739" y="864082"/>
                <a:ext cx="419168" cy="410429"/>
                <a:chOff x="6366933" y="309013"/>
                <a:chExt cx="1901295" cy="1861668"/>
              </a:xfrm>
              <a:solidFill>
                <a:srgbClr val="000000"/>
              </a:solidFill>
            </p:grpSpPr>
            <p:sp>
              <p:nvSpPr>
                <p:cNvPr id="294" name="Rechthoek 293"/>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5" name="Rechthoek 294"/>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6" name="Rechthoek 295"/>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7" name="Rechthoek 296"/>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8" name="Rechthoek 297"/>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9" name="Rechthoek 298"/>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0" name="Rechthoek 299"/>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1" name="Rechthoek 300"/>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2" name="Rechthoek 301"/>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3" name="Rechthoek 302"/>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4" name="Vrije vorm 303"/>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nvGrpSpPr>
            <p:cNvPr id="237" name="Groep 236"/>
            <p:cNvGrpSpPr/>
            <p:nvPr userDrawn="1"/>
          </p:nvGrpSpPr>
          <p:grpSpPr>
            <a:xfrm>
              <a:off x="-2950232" y="1207835"/>
              <a:ext cx="532929" cy="509563"/>
              <a:chOff x="-2880382" y="802341"/>
              <a:chExt cx="532929" cy="509563"/>
            </a:xfrm>
          </p:grpSpPr>
          <p:sp>
            <p:nvSpPr>
              <p:cNvPr id="270" name="Rechthoek 269"/>
              <p:cNvSpPr/>
              <p:nvPr userDrawn="1"/>
            </p:nvSpPr>
            <p:spPr>
              <a:xfrm>
                <a:off x="-2880382" y="802341"/>
                <a:ext cx="532929" cy="509563"/>
              </a:xfrm>
              <a:prstGeom prst="rect">
                <a:avLst/>
              </a:prstGeom>
              <a:solidFill>
                <a:sysClr val="window" lastClr="FFFFFF"/>
              </a:soli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pic>
            <p:nvPicPr>
              <p:cNvPr id="271"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635852" y="822181"/>
                <a:ext cx="226442" cy="208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2"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848026" y="822181"/>
                <a:ext cx="207168" cy="213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73" name="Groep 272"/>
              <p:cNvGrpSpPr/>
              <p:nvPr userDrawn="1"/>
            </p:nvGrpSpPr>
            <p:grpSpPr>
              <a:xfrm>
                <a:off x="-2802433" y="1123442"/>
                <a:ext cx="132915" cy="104889"/>
                <a:chOff x="-2796392" y="1123442"/>
                <a:chExt cx="120832" cy="104889"/>
              </a:xfrm>
            </p:grpSpPr>
            <p:sp>
              <p:nvSpPr>
                <p:cNvPr id="287" name="Rechthoek 286"/>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8" name="Rechthoek 287"/>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9" name="Rechthoek 288"/>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0" name="Rechthoek 289"/>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1" name="Rechthoek 290"/>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274" name="Groep 273"/>
              <p:cNvGrpSpPr/>
              <p:nvPr userDrawn="1"/>
            </p:nvGrpSpPr>
            <p:grpSpPr>
              <a:xfrm>
                <a:off x="-2575417" y="1123442"/>
                <a:ext cx="133930" cy="104889"/>
                <a:chOff x="-2556734" y="1123442"/>
                <a:chExt cx="147324" cy="104889"/>
              </a:xfrm>
            </p:grpSpPr>
            <p:grpSp>
              <p:nvGrpSpPr>
                <p:cNvPr id="275" name="Groep 274"/>
                <p:cNvGrpSpPr/>
                <p:nvPr userDrawn="1"/>
              </p:nvGrpSpPr>
              <p:grpSpPr>
                <a:xfrm>
                  <a:off x="-2556734" y="1123442"/>
                  <a:ext cx="68206" cy="104889"/>
                  <a:chOff x="-2796392" y="1123442"/>
                  <a:chExt cx="120832" cy="104889"/>
                </a:xfrm>
              </p:grpSpPr>
              <p:sp>
                <p:nvSpPr>
                  <p:cNvPr id="282" name="Rechthoek 281"/>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3" name="Rechthoek 282"/>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4" name="Rechthoek 283"/>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5" name="Rechthoek 284"/>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6" name="Rechthoek 285"/>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276" name="Groep 275"/>
                <p:cNvGrpSpPr/>
                <p:nvPr userDrawn="1"/>
              </p:nvGrpSpPr>
              <p:grpSpPr>
                <a:xfrm>
                  <a:off x="-2477616" y="1123442"/>
                  <a:ext cx="68206" cy="104889"/>
                  <a:chOff x="-2796392" y="1123442"/>
                  <a:chExt cx="120832" cy="104889"/>
                </a:xfrm>
              </p:grpSpPr>
              <p:sp>
                <p:nvSpPr>
                  <p:cNvPr id="277" name="Rechthoek 276"/>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8" name="Rechthoek 277"/>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9" name="Rechthoek 278"/>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0" name="Rechthoek 279"/>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1" name="Rechthoek 280"/>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grpSp>
          <p:nvGrpSpPr>
            <p:cNvPr id="238" name="Groep 237"/>
            <p:cNvGrpSpPr/>
            <p:nvPr userDrawn="1"/>
          </p:nvGrpSpPr>
          <p:grpSpPr>
            <a:xfrm>
              <a:off x="-1948476" y="1281164"/>
              <a:ext cx="413704" cy="427699"/>
              <a:chOff x="-1845083" y="758027"/>
              <a:chExt cx="633799" cy="622540"/>
            </a:xfrm>
          </p:grpSpPr>
          <p:sp>
            <p:nvSpPr>
              <p:cNvPr id="257" name="Afgeronde rechthoek 256"/>
              <p:cNvSpPr/>
              <p:nvPr userDrawn="1"/>
            </p:nvSpPr>
            <p:spPr>
              <a:xfrm>
                <a:off x="-184508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258" name="Groep 257"/>
              <p:cNvGrpSpPr/>
              <p:nvPr userDrawn="1"/>
            </p:nvGrpSpPr>
            <p:grpSpPr>
              <a:xfrm>
                <a:off x="-1737762" y="864082"/>
                <a:ext cx="419168" cy="410429"/>
                <a:chOff x="3708400" y="309013"/>
                <a:chExt cx="1901295" cy="1861668"/>
              </a:xfrm>
              <a:solidFill>
                <a:srgbClr val="000000"/>
              </a:solidFill>
            </p:grpSpPr>
            <p:sp>
              <p:nvSpPr>
                <p:cNvPr id="259" name="Rechthoek 258"/>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0" name="Rechthoek 259"/>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1" name="Rechthoek 260"/>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2" name="Rechthoek 261"/>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3" name="Rechthoek 262"/>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4" name="Rechthoek 263"/>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5" name="Rechthoek 264"/>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6" name="Rechthoek 265"/>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7" name="Rechthoek 266"/>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8" name="Rechthoek 267"/>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9" name="Vrije vorm 268"/>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cxnSp>
          <p:nvCxnSpPr>
            <p:cNvPr id="239" name="Rechte verbindingslijn 238"/>
            <p:cNvCxnSpPr/>
            <p:nvPr userDrawn="1"/>
          </p:nvCxnSpPr>
          <p:spPr>
            <a:xfrm>
              <a:off x="-2814292" y="1441193"/>
              <a:ext cx="865816" cy="53821"/>
            </a:xfrm>
            <a:prstGeom prst="line">
              <a:avLst/>
            </a:prstGeom>
            <a:noFill/>
            <a:ln w="9525" cap="flat" cmpd="sng" algn="ctr">
              <a:solidFill>
                <a:schemeClr val="accent1"/>
              </a:solidFill>
              <a:prstDash val="solid"/>
              <a:headEnd type="oval"/>
            </a:ln>
            <a:effectLst/>
          </p:spPr>
        </p:cxnSp>
        <p:cxnSp>
          <p:nvCxnSpPr>
            <p:cNvPr id="240" name="Rechte verbindingslijn 239"/>
            <p:cNvCxnSpPr/>
            <p:nvPr userDrawn="1"/>
          </p:nvCxnSpPr>
          <p:spPr>
            <a:xfrm flipV="1">
              <a:off x="-2453902" y="1030591"/>
              <a:ext cx="505426" cy="283623"/>
            </a:xfrm>
            <a:prstGeom prst="line">
              <a:avLst/>
            </a:prstGeom>
            <a:noFill/>
            <a:ln w="9525" cap="flat" cmpd="sng" algn="ctr">
              <a:solidFill>
                <a:schemeClr val="accent1"/>
              </a:solidFill>
              <a:prstDash val="solid"/>
              <a:headEnd type="oval"/>
            </a:ln>
            <a:effectLst/>
          </p:spPr>
        </p:cxnSp>
        <p:sp>
          <p:nvSpPr>
            <p:cNvPr id="241" name="Textfield placeholder"/>
            <p:cNvSpPr txBox="1">
              <a:spLocks/>
            </p:cNvSpPr>
            <p:nvPr userDrawn="1"/>
          </p:nvSpPr>
          <p:spPr>
            <a:xfrm>
              <a:off x="-1341598" y="816743"/>
              <a:ext cx="1056968" cy="427698"/>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hoog</a:t>
              </a:r>
            </a:p>
          </p:txBody>
        </p:sp>
        <p:sp>
          <p:nvSpPr>
            <p:cNvPr id="242" name="Textfield placeholder"/>
            <p:cNvSpPr txBox="1">
              <a:spLocks/>
            </p:cNvSpPr>
            <p:nvPr userDrawn="1"/>
          </p:nvSpPr>
          <p:spPr>
            <a:xfrm>
              <a:off x="-1341599" y="1281164"/>
              <a:ext cx="1070223" cy="427699"/>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laag</a:t>
              </a:r>
            </a:p>
          </p:txBody>
        </p:sp>
        <p:sp>
          <p:nvSpPr>
            <p:cNvPr id="243" name="Ovaal 242"/>
            <p:cNvSpPr/>
            <p:nvPr userDrawn="1"/>
          </p:nvSpPr>
          <p:spPr>
            <a:xfrm>
              <a:off x="-2959433" y="338208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5</a:t>
              </a:r>
            </a:p>
          </p:txBody>
        </p:sp>
        <p:sp>
          <p:nvSpPr>
            <p:cNvPr id="244" name="Textfield placeholder"/>
            <p:cNvSpPr txBox="1">
              <a:spLocks/>
            </p:cNvSpPr>
            <p:nvPr userDrawn="1"/>
          </p:nvSpPr>
          <p:spPr>
            <a:xfrm>
              <a:off x="-2571950" y="3382082"/>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60000" lvl="4" indent="-360000" defTabSz="179388">
                <a:lnSpc>
                  <a:spcPct val="120000"/>
                </a:lnSpc>
                <a:spcBef>
                  <a:spcPts val="0"/>
                </a:spcBef>
                <a:spcAft>
                  <a:spcPts val="900"/>
                </a:spcAft>
                <a:buClr>
                  <a:srgbClr val="ED1A3B"/>
                </a:buClr>
                <a:buFont typeface="+mj-lt"/>
                <a:buAutoNum type="arabicPeriod"/>
                <a:defRPr/>
              </a:pPr>
              <a:r>
                <a:rPr lang="nl-NL" sz="1200" b="0" dirty="0">
                  <a:solidFill>
                    <a:srgbClr val="404040"/>
                  </a:solidFill>
                </a:rPr>
                <a:t>Numeriek (12 pt.)</a:t>
              </a:r>
            </a:p>
          </p:txBody>
        </p:sp>
        <p:grpSp>
          <p:nvGrpSpPr>
            <p:cNvPr id="245" name="Groep 244"/>
            <p:cNvGrpSpPr/>
            <p:nvPr userDrawn="1"/>
          </p:nvGrpSpPr>
          <p:grpSpPr>
            <a:xfrm>
              <a:off x="-2950232" y="816050"/>
              <a:ext cx="528695" cy="344202"/>
              <a:chOff x="-2880382" y="410556"/>
              <a:chExt cx="528695" cy="344202"/>
            </a:xfrm>
          </p:grpSpPr>
          <p:sp>
            <p:nvSpPr>
              <p:cNvPr id="255" name="Afgeronde rechthoek 254"/>
              <p:cNvSpPr/>
              <p:nvPr userDrawn="1"/>
            </p:nvSpPr>
            <p:spPr>
              <a:xfrm>
                <a:off x="-2874214" y="410556"/>
                <a:ext cx="522527" cy="339183"/>
              </a:xfrm>
              <a:prstGeom prst="roundRect">
                <a:avLst>
                  <a:gd name="adj" fmla="val 7565"/>
                </a:avLst>
              </a:prstGeom>
              <a:gradFill>
                <a:gsLst>
                  <a:gs pos="0">
                    <a:srgbClr val="FFEC8F"/>
                  </a:gs>
                  <a:gs pos="100000">
                    <a:srgbClr val="FFFFFF"/>
                  </a:gs>
                </a:gsLst>
                <a:lin ang="5400000" scaled="0"/>
              </a:gra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sp>
            <p:nvSpPr>
              <p:cNvPr id="256" name="Vrije vorm 255"/>
              <p:cNvSpPr/>
              <p:nvPr userDrawn="1"/>
            </p:nvSpPr>
            <p:spPr>
              <a:xfrm>
                <a:off x="-2880382" y="452699"/>
                <a:ext cx="528695" cy="302059"/>
              </a:xfrm>
              <a:custGeom>
                <a:avLst/>
                <a:gdLst>
                  <a:gd name="connsiteX0" fmla="*/ 55524 w 528695"/>
                  <a:gd name="connsiteY0" fmla="*/ 0 h 302059"/>
                  <a:gd name="connsiteX1" fmla="*/ 455496 w 528695"/>
                  <a:gd name="connsiteY1" fmla="*/ 0 h 302059"/>
                  <a:gd name="connsiteX2" fmla="*/ 475205 w 528695"/>
                  <a:gd name="connsiteY2" fmla="*/ 19709 h 302059"/>
                  <a:gd name="connsiteX3" fmla="*/ 475205 w 528695"/>
                  <a:gd name="connsiteY3" fmla="*/ 230056 h 302059"/>
                  <a:gd name="connsiteX4" fmla="*/ 516694 w 528695"/>
                  <a:gd name="connsiteY4" fmla="*/ 230056 h 302059"/>
                  <a:gd name="connsiteX5" fmla="*/ 528695 w 528695"/>
                  <a:gd name="connsiteY5" fmla="*/ 242057 h 302059"/>
                  <a:gd name="connsiteX6" fmla="*/ 528695 w 528695"/>
                  <a:gd name="connsiteY6" fmla="*/ 290058 h 302059"/>
                  <a:gd name="connsiteX7" fmla="*/ 516694 w 528695"/>
                  <a:gd name="connsiteY7" fmla="*/ 302059 h 302059"/>
                  <a:gd name="connsiteX8" fmla="*/ 12001 w 528695"/>
                  <a:gd name="connsiteY8" fmla="*/ 302059 h 302059"/>
                  <a:gd name="connsiteX9" fmla="*/ 0 w 528695"/>
                  <a:gd name="connsiteY9" fmla="*/ 290058 h 302059"/>
                  <a:gd name="connsiteX10" fmla="*/ 0 w 528695"/>
                  <a:gd name="connsiteY10" fmla="*/ 242057 h 302059"/>
                  <a:gd name="connsiteX11" fmla="*/ 12001 w 528695"/>
                  <a:gd name="connsiteY11" fmla="*/ 230056 h 302059"/>
                  <a:gd name="connsiteX12" fmla="*/ 35815 w 528695"/>
                  <a:gd name="connsiteY12" fmla="*/ 230056 h 302059"/>
                  <a:gd name="connsiteX13" fmla="*/ 35815 w 528695"/>
                  <a:gd name="connsiteY13" fmla="*/ 19709 h 302059"/>
                  <a:gd name="connsiteX14" fmla="*/ 55524 w 528695"/>
                  <a:gd name="connsiteY14" fmla="*/ 0 h 3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8695" h="302059">
                    <a:moveTo>
                      <a:pt x="55524" y="0"/>
                    </a:moveTo>
                    <a:lnTo>
                      <a:pt x="455496" y="0"/>
                    </a:lnTo>
                    <a:cubicBezTo>
                      <a:pt x="466381" y="0"/>
                      <a:pt x="475205" y="8824"/>
                      <a:pt x="475205" y="19709"/>
                    </a:cubicBezTo>
                    <a:lnTo>
                      <a:pt x="475205" y="230056"/>
                    </a:lnTo>
                    <a:lnTo>
                      <a:pt x="516694" y="230056"/>
                    </a:lnTo>
                    <a:cubicBezTo>
                      <a:pt x="523322" y="230056"/>
                      <a:pt x="528695" y="235429"/>
                      <a:pt x="528695" y="242057"/>
                    </a:cubicBezTo>
                    <a:lnTo>
                      <a:pt x="528695" y="290058"/>
                    </a:lnTo>
                    <a:cubicBezTo>
                      <a:pt x="528695" y="296686"/>
                      <a:pt x="523322" y="302059"/>
                      <a:pt x="516694" y="302059"/>
                    </a:cubicBezTo>
                    <a:lnTo>
                      <a:pt x="12001" y="302059"/>
                    </a:lnTo>
                    <a:cubicBezTo>
                      <a:pt x="5373" y="302059"/>
                      <a:pt x="0" y="296686"/>
                      <a:pt x="0" y="290058"/>
                    </a:cubicBezTo>
                    <a:lnTo>
                      <a:pt x="0" y="242057"/>
                    </a:lnTo>
                    <a:cubicBezTo>
                      <a:pt x="0" y="235429"/>
                      <a:pt x="5373" y="230056"/>
                      <a:pt x="12001" y="230056"/>
                    </a:cubicBezTo>
                    <a:lnTo>
                      <a:pt x="35815" y="230056"/>
                    </a:lnTo>
                    <a:lnTo>
                      <a:pt x="35815" y="19709"/>
                    </a:lnTo>
                    <a:cubicBezTo>
                      <a:pt x="35815" y="8824"/>
                      <a:pt x="44639" y="0"/>
                      <a:pt x="55524" y="0"/>
                    </a:cubicBezTo>
                    <a:close/>
                  </a:path>
                </a:pathLst>
              </a:custGeom>
              <a:solidFill>
                <a:sysClr val="window" lastClr="FFFFFF">
                  <a:lumMod val="95000"/>
                </a:sysClr>
              </a:solidFill>
              <a:ln w="9525" cap="flat" cmpd="sng" algn="ctr">
                <a:solidFill>
                  <a:srgbClr val="FFFFFF">
                    <a:lumMod val="90000"/>
                  </a:srgbClr>
                </a:solidFill>
                <a:prstDash val="solid"/>
                <a:miter lim="800000"/>
              </a:ln>
              <a:effectLst/>
            </p:spPr>
            <p:txBody>
              <a:bodyPr rot="0" spcFirstLastPara="0" vert="horz" wrap="square" lIns="108000" tIns="36000" rIns="108000" bIns="10800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900" dirty="0">
                    <a:solidFill>
                      <a:prstClr val="black"/>
                    </a:solidFill>
                    <a:latin typeface="Segoe UI Light"/>
                  </a:rPr>
                  <a:t>Start</a:t>
                </a:r>
              </a:p>
            </p:txBody>
          </p:sp>
        </p:grpSp>
        <p:sp>
          <p:nvSpPr>
            <p:cNvPr id="246" name="Tekstvak 65"/>
            <p:cNvSpPr txBox="1"/>
            <p:nvPr userDrawn="1"/>
          </p:nvSpPr>
          <p:spPr>
            <a:xfrm>
              <a:off x="-2959433" y="372104"/>
              <a:ext cx="2679887" cy="453396"/>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nl-NL" sz="1200" kern="0" dirty="0">
                  <a:solidFill>
                    <a:srgbClr val="000000"/>
                  </a:solidFill>
                  <a:latin typeface="Segoe UI Light" panose="020B0502040204020203" pitchFamily="34" charset="0"/>
                  <a:cs typeface="Segoe UI Light" panose="020B0502040204020203" pitchFamily="34" charset="0"/>
                </a:rPr>
                <a:t>Ga naar de tab </a:t>
              </a:r>
              <a:r>
                <a:rPr lang="nl-NL" sz="1200" b="1" kern="0" dirty="0">
                  <a:solidFill>
                    <a:srgbClr val="000000"/>
                  </a:solidFill>
                  <a:latin typeface="Segoe UI Light" panose="020B0502040204020203" pitchFamily="34" charset="0"/>
                  <a:cs typeface="Segoe UI Light" panose="020B0502040204020203" pitchFamily="34" charset="0"/>
                </a:rPr>
                <a:t>Start’ </a:t>
              </a:r>
              <a:r>
                <a:rPr lang="nl-NL" sz="1200" kern="0" dirty="0">
                  <a:solidFill>
                    <a:srgbClr val="000000"/>
                  </a:solidFill>
                  <a:latin typeface="Segoe UI Light" panose="020B0502040204020203" pitchFamily="34" charset="0"/>
                  <a:cs typeface="Segoe UI Light" panose="020B0502040204020203" pitchFamily="34" charset="0"/>
                </a:rPr>
                <a:t>en vind onderstaande knoppen onder </a:t>
              </a:r>
              <a:r>
                <a:rPr lang="nl-NL" sz="1200" b="1" kern="0" dirty="0">
                  <a:solidFill>
                    <a:srgbClr val="000000"/>
                  </a:solidFill>
                  <a:latin typeface="Segoe UI Light" panose="020B0502040204020203" pitchFamily="34" charset="0"/>
                  <a:cs typeface="Segoe UI Light" panose="020B0502040204020203" pitchFamily="34" charset="0"/>
                </a:rPr>
                <a:t>‘Alinea’</a:t>
              </a:r>
            </a:p>
          </p:txBody>
        </p:sp>
        <p:sp>
          <p:nvSpPr>
            <p:cNvPr id="247" name="Ovaal 246"/>
            <p:cNvSpPr/>
            <p:nvPr userDrawn="1"/>
          </p:nvSpPr>
          <p:spPr>
            <a:xfrm>
              <a:off x="-2959433" y="375153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6</a:t>
              </a:r>
            </a:p>
          </p:txBody>
        </p:sp>
        <p:sp>
          <p:nvSpPr>
            <p:cNvPr id="248" name="Textfield placeholder"/>
            <p:cNvSpPr txBox="1">
              <a:spLocks/>
            </p:cNvSpPr>
            <p:nvPr userDrawn="1"/>
          </p:nvSpPr>
          <p:spPr>
            <a:xfrm>
              <a:off x="-2571950" y="3751536"/>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0000" lvl="5" indent="-270000" defTabSz="179388">
                <a:lnSpc>
                  <a:spcPct val="120000"/>
                </a:lnSpc>
                <a:spcAft>
                  <a:spcPts val="900"/>
                </a:spcAft>
                <a:buClr>
                  <a:srgbClr val="ED1A3B"/>
                </a:buClr>
                <a:buSzPct val="80000"/>
                <a:buFont typeface="Wingdings 3" panose="05040102010807070707" pitchFamily="18" charset="2"/>
                <a:buChar char=""/>
                <a:defRPr/>
              </a:pPr>
              <a:r>
                <a:rPr lang="nl-NL" sz="1200" cap="none" dirty="0">
                  <a:solidFill>
                    <a:srgbClr val="535353"/>
                  </a:solidFill>
                </a:rPr>
                <a:t># Bullets (12 pt.)</a:t>
              </a:r>
            </a:p>
          </p:txBody>
        </p:sp>
        <p:sp>
          <p:nvSpPr>
            <p:cNvPr id="249" name="Ovaal 248"/>
            <p:cNvSpPr/>
            <p:nvPr userDrawn="1"/>
          </p:nvSpPr>
          <p:spPr>
            <a:xfrm>
              <a:off x="-2959433" y="414870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7</a:t>
              </a:r>
            </a:p>
          </p:txBody>
        </p:sp>
        <p:sp>
          <p:nvSpPr>
            <p:cNvPr id="250" name="Textfield placeholder"/>
            <p:cNvSpPr txBox="1">
              <a:spLocks/>
            </p:cNvSpPr>
            <p:nvPr userDrawn="1"/>
          </p:nvSpPr>
          <p:spPr>
            <a:xfrm>
              <a:off x="-2571950" y="414870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6" indent="0" defTabSz="179388">
                <a:lnSpc>
                  <a:spcPct val="120000"/>
                </a:lnSpc>
                <a:spcBef>
                  <a:spcPts val="0"/>
                </a:spcBef>
                <a:spcAft>
                  <a:spcPts val="900"/>
                </a:spcAft>
                <a:buClr>
                  <a:srgbClr val="ED1A3B"/>
                </a:buClr>
                <a:buSzPct val="90000"/>
                <a:buFont typeface="+mj-lt"/>
                <a:buNone/>
                <a:defRPr/>
              </a:pPr>
              <a:r>
                <a:rPr lang="nl-NL" sz="1200" i="1" dirty="0">
                  <a:solidFill>
                    <a:srgbClr val="404040"/>
                  </a:solidFill>
                </a:rPr>
                <a:t>Cursief donker (12 pt.)</a:t>
              </a:r>
            </a:p>
          </p:txBody>
        </p:sp>
        <p:sp>
          <p:nvSpPr>
            <p:cNvPr id="251" name="Ovaal 250"/>
            <p:cNvSpPr/>
            <p:nvPr userDrawn="1"/>
          </p:nvSpPr>
          <p:spPr>
            <a:xfrm>
              <a:off x="-2959433" y="454586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8</a:t>
              </a:r>
            </a:p>
          </p:txBody>
        </p:sp>
        <p:sp>
          <p:nvSpPr>
            <p:cNvPr id="252" name="Textfield placeholder"/>
            <p:cNvSpPr txBox="1">
              <a:spLocks/>
            </p:cNvSpPr>
            <p:nvPr userDrawn="1"/>
          </p:nvSpPr>
          <p:spPr>
            <a:xfrm>
              <a:off x="-2571950" y="4545864"/>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7" indent="0" defTabSz="179388">
                <a:lnSpc>
                  <a:spcPct val="80000"/>
                </a:lnSpc>
                <a:spcBef>
                  <a:spcPts val="0"/>
                </a:spcBef>
                <a:spcAft>
                  <a:spcPts val="900"/>
                </a:spcAft>
                <a:buClr>
                  <a:srgbClr val="ED1A3B"/>
                </a:buClr>
                <a:buFont typeface="Arial" pitchFamily="34" charset="0"/>
                <a:buNone/>
                <a:defRPr/>
              </a:pPr>
              <a:r>
                <a:rPr lang="nl-NL" sz="1200" i="1" dirty="0">
                  <a:solidFill>
                    <a:srgbClr val="A3B0C0"/>
                  </a:solidFill>
                </a:rPr>
                <a:t>Cursief Licht (12 pt.)</a:t>
              </a:r>
            </a:p>
          </p:txBody>
        </p:sp>
        <p:sp>
          <p:nvSpPr>
            <p:cNvPr id="253" name="Ovaal 252"/>
            <p:cNvSpPr/>
            <p:nvPr userDrawn="1"/>
          </p:nvSpPr>
          <p:spPr>
            <a:xfrm>
              <a:off x="-2959433" y="488761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9</a:t>
              </a:r>
            </a:p>
          </p:txBody>
        </p:sp>
        <p:sp>
          <p:nvSpPr>
            <p:cNvPr id="254" name="Textfield placeholder"/>
            <p:cNvSpPr txBox="1">
              <a:spLocks/>
            </p:cNvSpPr>
            <p:nvPr userDrawn="1"/>
          </p:nvSpPr>
          <p:spPr>
            <a:xfrm>
              <a:off x="-2571950" y="488761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8" indent="0" defTabSz="179388">
                <a:lnSpc>
                  <a:spcPct val="80000"/>
                </a:lnSpc>
                <a:spcBef>
                  <a:spcPts val="0"/>
                </a:spcBef>
                <a:spcAft>
                  <a:spcPts val="900"/>
                </a:spcAft>
                <a:buClr>
                  <a:srgbClr val="ED1A3B"/>
                </a:buClr>
                <a:buFont typeface="Arial" pitchFamily="34" charset="0"/>
                <a:buNone/>
                <a:defRPr/>
              </a:pPr>
              <a:r>
                <a:rPr lang="nl-NL" sz="1400" b="1" dirty="0">
                  <a:solidFill>
                    <a:srgbClr val="ED1A3B"/>
                  </a:solidFill>
                </a:rPr>
                <a:t>Subtitel (14 pt.)</a:t>
              </a:r>
            </a:p>
          </p:txBody>
        </p:sp>
      </p:grpSp>
      <p:sp>
        <p:nvSpPr>
          <p:cNvPr id="124" name="Hyperlink - Inhoudsopgave">
            <a:hlinkClick r:id="rId5" action="ppaction://hlinksldjump"/>
          </p:cNvPr>
          <p:cNvSpPr/>
          <p:nvPr userDrawn="1"/>
        </p:nvSpPr>
        <p:spPr>
          <a:xfrm>
            <a:off x="10197856" y="5889801"/>
            <a:ext cx="2000494" cy="968199"/>
          </a:xfrm>
          <a:prstGeom prst="rect">
            <a:avLst/>
          </a:prstGeom>
          <a:solidFill>
            <a:srgbClr val="ED1A3B">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cxnSp>
        <p:nvCxnSpPr>
          <p:cNvPr id="17" name="Grijze lijn - boven"/>
          <p:cNvCxnSpPr/>
          <p:nvPr/>
        </p:nvCxnSpPr>
        <p:spPr>
          <a:xfrm flipH="1">
            <a:off x="664804" y="1358670"/>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1" name="Scheidingslijn - Voetfoto_01 / Voetfoto_02"/>
          <p:cNvCxnSpPr/>
          <p:nvPr/>
        </p:nvCxnSpPr>
        <p:spPr>
          <a:xfrm>
            <a:off x="6099174" y="1670861"/>
            <a:ext cx="0" cy="3816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23" name="Tijdelijke aanduiding voor Dianummer"/>
          <p:cNvSpPr>
            <a:spLocks noGrp="1"/>
          </p:cNvSpPr>
          <p:nvPr>
            <p:ph type="sldNum" sz="quarter" idx="4"/>
          </p:nvPr>
        </p:nvSpPr>
        <p:spPr>
          <a:xfrm>
            <a:off x="5770549" y="6295992"/>
            <a:ext cx="657251" cy="365125"/>
          </a:xfrm>
          <a:prstGeom prst="rect">
            <a:avLst/>
          </a:prstGeom>
        </p:spPr>
        <p:txBody>
          <a:bodyPr vert="horz" lIns="91440" tIns="45720" rIns="91440" bIns="45720" rtlCol="0" anchor="ctr"/>
          <a:lstStyle>
            <a:lvl1pPr algn="ctr">
              <a:defRPr sz="800">
                <a:solidFill>
                  <a:schemeClr val="tx1">
                    <a:tint val="75000"/>
                  </a:schemeClr>
                </a:solidFill>
              </a:defRPr>
            </a:lvl1pPr>
          </a:lstStyle>
          <a:p>
            <a:fld id="{1B3FA67A-C720-417A-A072-0CD211FD8662}" type="slidenum">
              <a:rPr lang="nl-NL" smtClean="0">
                <a:solidFill>
                  <a:srgbClr val="000000">
                    <a:tint val="75000"/>
                  </a:srgbClr>
                </a:solidFill>
              </a:rPr>
              <a:pPr/>
              <a:t>‹nr.›</a:t>
            </a:fld>
            <a:endParaRPr lang="nl-NL" dirty="0">
              <a:solidFill>
                <a:srgbClr val="000000">
                  <a:tint val="75000"/>
                </a:srgbClr>
              </a:solidFill>
            </a:endParaRPr>
          </a:p>
        </p:txBody>
      </p:sp>
      <p:sp>
        <p:nvSpPr>
          <p:cNvPr id="20" name="Tijdelijke aanduiding voor Voetfoto_02"/>
          <p:cNvSpPr>
            <a:spLocks noGrp="1"/>
          </p:cNvSpPr>
          <p:nvPr>
            <p:ph type="pic" idx="21"/>
          </p:nvPr>
        </p:nvSpPr>
        <p:spPr>
          <a:xfrm>
            <a:off x="6434778" y="1474610"/>
            <a:ext cx="1711832" cy="3887178"/>
          </a:xfrm>
          <a:noFill/>
          <a:ln w="12700">
            <a:noFill/>
            <a:miter lim="800000"/>
          </a:ln>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11" name="Tijdelijke aanduiding voor Voetfoto_01"/>
          <p:cNvSpPr>
            <a:spLocks noGrp="1"/>
          </p:cNvSpPr>
          <p:nvPr>
            <p:ph type="pic" idx="13"/>
          </p:nvPr>
        </p:nvSpPr>
        <p:spPr>
          <a:xfrm>
            <a:off x="664109" y="1474610"/>
            <a:ext cx="1711832" cy="3887178"/>
          </a:xfrm>
          <a:noFill/>
          <a:ln w="12700">
            <a:noFill/>
            <a:miter lim="800000"/>
          </a:ln>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122" name="Tijdelijke aanduiding voor Tekst bij Voetfoto_02"/>
          <p:cNvSpPr>
            <a:spLocks noGrp="1"/>
          </p:cNvSpPr>
          <p:nvPr>
            <p:ph type="body" orient="vert" idx="25" hasCustomPrompt="1"/>
          </p:nvPr>
        </p:nvSpPr>
        <p:spPr>
          <a:xfrm>
            <a:off x="8365606" y="2260634"/>
            <a:ext cx="2682708" cy="3101155"/>
          </a:xfrm>
        </p:spPr>
        <p:txBody>
          <a:bodyPr vert="horz" lIns="0" tIns="0" rIns="0" bIns="0" numCol="1"/>
          <a:lstStyle>
            <a:lvl1pPr>
              <a:defRPr sz="1200"/>
            </a:lvl1pPr>
            <a:lvl2pPr marL="180975" indent="-180975">
              <a:defRPr sz="1200"/>
            </a:lvl2pPr>
            <a:lvl3pPr marL="360363" indent="-179388">
              <a:defRPr sz="1200"/>
            </a:lvl3pPr>
            <a:lvl4pPr marL="541338" indent="-180975">
              <a:defRPr sz="1200"/>
            </a:lvl4pPr>
            <a:lvl5pPr marL="265113" indent="-265113">
              <a:defRPr sz="1200"/>
            </a:lvl5pPr>
            <a:lvl6pPr marL="444500" indent="-179388">
              <a:defRPr sz="1200"/>
            </a:lvl6pPr>
            <a:lvl7pPr>
              <a:defRPr sz="1200"/>
            </a:lvl7pPr>
            <a:lvl8pPr>
              <a:defRPr sz="1200"/>
            </a:lvl8pPr>
            <a:lvl9pPr>
              <a:defRPr sz="1400"/>
            </a:lvl9pPr>
          </a:lstStyle>
          <a:p>
            <a:pPr lvl="0"/>
            <a:r>
              <a:rPr lang="nl-NL" dirty="0"/>
              <a:t>Leestekst</a:t>
            </a:r>
          </a:p>
          <a:p>
            <a:pPr lvl="1"/>
            <a:r>
              <a:rPr lang="nl-NL" dirty="0"/>
              <a:t>Bullets</a:t>
            </a:r>
          </a:p>
          <a:p>
            <a:pPr lvl="2"/>
            <a:r>
              <a:rPr lang="nl-NL" dirty="0"/>
              <a:t>Sub-bullets</a:t>
            </a:r>
          </a:p>
          <a:p>
            <a:pPr lvl="3"/>
            <a:r>
              <a:rPr lang="nl-NL" dirty="0"/>
              <a:t>Sub-sub-bullets</a:t>
            </a:r>
          </a:p>
          <a:p>
            <a:pPr lvl="4"/>
            <a:r>
              <a:rPr lang="nl-NL" dirty="0"/>
              <a:t>Numeriek</a:t>
            </a:r>
          </a:p>
          <a:p>
            <a:pPr lvl="5"/>
            <a:r>
              <a:rPr lang="nl-NL" dirty="0"/>
              <a:t># Bullets</a:t>
            </a:r>
          </a:p>
          <a:p>
            <a:pPr lvl="6"/>
            <a:r>
              <a:rPr lang="nl-NL" dirty="0"/>
              <a:t>Cursief donker</a:t>
            </a:r>
          </a:p>
          <a:p>
            <a:pPr lvl="7"/>
            <a:r>
              <a:rPr lang="nl-NL" dirty="0"/>
              <a:t>Cursief licht</a:t>
            </a:r>
          </a:p>
          <a:p>
            <a:pPr lvl="8"/>
            <a:r>
              <a:rPr lang="nl-NL" dirty="0"/>
              <a:t>Subtitel</a:t>
            </a:r>
          </a:p>
        </p:txBody>
      </p:sp>
      <p:sp>
        <p:nvSpPr>
          <p:cNvPr id="120" name="Tijdelijke aanduiding voor Tekst bij Voetfoto_01"/>
          <p:cNvSpPr>
            <a:spLocks noGrp="1"/>
          </p:cNvSpPr>
          <p:nvPr>
            <p:ph type="body" orient="vert" idx="15" hasCustomPrompt="1"/>
          </p:nvPr>
        </p:nvSpPr>
        <p:spPr>
          <a:xfrm>
            <a:off x="2594940" y="2260634"/>
            <a:ext cx="2682708" cy="3101155"/>
          </a:xfrm>
        </p:spPr>
        <p:txBody>
          <a:bodyPr vert="horz" lIns="0" tIns="0" rIns="0" bIns="0" numCol="1"/>
          <a:lstStyle>
            <a:lvl1pPr>
              <a:defRPr sz="1200"/>
            </a:lvl1pPr>
            <a:lvl2pPr marL="180975" indent="-180975">
              <a:defRPr sz="1200"/>
            </a:lvl2pPr>
            <a:lvl3pPr marL="360363" indent="-179388">
              <a:defRPr sz="1200"/>
            </a:lvl3pPr>
            <a:lvl4pPr marL="541338" indent="-180975">
              <a:defRPr sz="1200"/>
            </a:lvl4pPr>
            <a:lvl5pPr marL="265113" indent="-265113">
              <a:defRPr sz="1200"/>
            </a:lvl5pPr>
            <a:lvl6pPr marL="444500" indent="-179388">
              <a:defRPr sz="1200"/>
            </a:lvl6pPr>
            <a:lvl7pPr>
              <a:defRPr sz="1200"/>
            </a:lvl7pPr>
            <a:lvl8pPr>
              <a:defRPr sz="1200"/>
            </a:lvl8pPr>
            <a:lvl9pPr>
              <a:defRPr sz="1400"/>
            </a:lvl9pPr>
          </a:lstStyle>
          <a:p>
            <a:pPr lvl="0"/>
            <a:r>
              <a:rPr lang="nl-NL" dirty="0"/>
              <a:t>Leestekst</a:t>
            </a:r>
          </a:p>
          <a:p>
            <a:pPr lvl="1"/>
            <a:r>
              <a:rPr lang="nl-NL" dirty="0"/>
              <a:t>Bullets</a:t>
            </a:r>
          </a:p>
          <a:p>
            <a:pPr lvl="2"/>
            <a:r>
              <a:rPr lang="nl-NL" dirty="0"/>
              <a:t>Sub-bullets</a:t>
            </a:r>
          </a:p>
          <a:p>
            <a:pPr lvl="3"/>
            <a:r>
              <a:rPr lang="nl-NL" dirty="0"/>
              <a:t>Sub-sub-bullets</a:t>
            </a:r>
          </a:p>
          <a:p>
            <a:pPr lvl="4"/>
            <a:r>
              <a:rPr lang="nl-NL" dirty="0"/>
              <a:t>Numeriek</a:t>
            </a:r>
          </a:p>
          <a:p>
            <a:pPr lvl="5"/>
            <a:r>
              <a:rPr lang="nl-NL" dirty="0"/>
              <a:t># Bullets</a:t>
            </a:r>
          </a:p>
          <a:p>
            <a:pPr lvl="6"/>
            <a:r>
              <a:rPr lang="nl-NL" dirty="0"/>
              <a:t>Cursief donker</a:t>
            </a:r>
          </a:p>
          <a:p>
            <a:pPr lvl="7"/>
            <a:r>
              <a:rPr lang="nl-NL" dirty="0"/>
              <a:t>Cursief licht</a:t>
            </a:r>
          </a:p>
          <a:p>
            <a:pPr lvl="8"/>
            <a:r>
              <a:rPr lang="nl-NL" dirty="0"/>
              <a:t>Subtitel</a:t>
            </a:r>
          </a:p>
        </p:txBody>
      </p:sp>
      <p:sp>
        <p:nvSpPr>
          <p:cNvPr id="16" name="Tijdelijke aanduiding voor Subtitel"/>
          <p:cNvSpPr>
            <a:spLocks noGrp="1"/>
          </p:cNvSpPr>
          <p:nvPr>
            <p:ph type="body" idx="14"/>
          </p:nvPr>
        </p:nvSpPr>
        <p:spPr>
          <a:xfrm>
            <a:off x="664109" y="1001348"/>
            <a:ext cx="10870131" cy="317758"/>
          </a:xfrm>
        </p:spPr>
        <p:txBody>
          <a:bodyPr bIns="72000" anchor="t" anchorCtr="0"/>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2" name="Tijdelijke aanduiding voor Titel"/>
          <p:cNvSpPr>
            <a:spLocks noGrp="1"/>
          </p:cNvSpPr>
          <p:nvPr>
            <p:ph type="title"/>
          </p:nvPr>
        </p:nvSpPr>
        <p:spPr>
          <a:xfrm>
            <a:off x="664109" y="464521"/>
            <a:ext cx="10870131" cy="533219"/>
          </a:xfrm>
        </p:spPr>
        <p:txBody>
          <a:bodyPr/>
          <a:lstStyle/>
          <a:p>
            <a:r>
              <a:rPr lang="nl-NL"/>
              <a:t>Klik om stijl te bewerken</a:t>
            </a:r>
            <a:endParaRPr lang="nl-NL" dirty="0"/>
          </a:p>
        </p:txBody>
      </p:sp>
    </p:spTree>
    <p:extLst>
      <p:ext uri="{BB962C8B-B14F-4D97-AF65-F5344CB8AC3E}">
        <p14:creationId xmlns:p14="http://schemas.microsoft.com/office/powerpoint/2010/main" val="2226463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Voorstellen voetfoto 1x">
    <p:spTree>
      <p:nvGrpSpPr>
        <p:cNvPr id="1" name=""/>
        <p:cNvGrpSpPr/>
        <p:nvPr/>
      </p:nvGrpSpPr>
      <p:grpSpPr>
        <a:xfrm>
          <a:off x="0" y="0"/>
          <a:ext cx="0" cy="0"/>
          <a:chOff x="0" y="0"/>
          <a:chExt cx="0" cy="0"/>
        </a:xfrm>
      </p:grpSpPr>
      <p:sp>
        <p:nvSpPr>
          <p:cNvPr id="15" name="Naam indeling - Voorstellen voetfoto 2x"/>
          <p:cNvSpPr txBox="1"/>
          <p:nvPr/>
        </p:nvSpPr>
        <p:spPr>
          <a:xfrm>
            <a:off x="1" y="-453266"/>
            <a:ext cx="3582333" cy="276999"/>
          </a:xfrm>
          <a:prstGeom prst="rect">
            <a:avLst/>
          </a:prstGeom>
          <a:noFill/>
        </p:spPr>
        <p:txBody>
          <a:bodyPr wrap="square" lIns="0" tIns="0" rIns="0" bIns="0" rtlCol="0">
            <a:spAutoFit/>
          </a:bodyPr>
          <a:lstStyle/>
          <a:p>
            <a:pPr defTabSz="914112"/>
            <a:r>
              <a:rPr lang="nl-NL" dirty="0">
                <a:solidFill>
                  <a:srgbClr val="404040"/>
                </a:solidFill>
                <a:latin typeface="Calibri" panose="020F0502020204030204" pitchFamily="34" charset="0"/>
              </a:rPr>
              <a:t>Voorstellen voetfoto 1x</a:t>
            </a:r>
            <a:endParaRPr lang="en-GB" dirty="0">
              <a:solidFill>
                <a:srgbClr val="404040"/>
              </a:solidFill>
              <a:latin typeface="Calibri" panose="020F0502020204030204" pitchFamily="34" charset="0"/>
            </a:endParaRPr>
          </a:p>
        </p:txBody>
      </p:sp>
      <p:grpSp>
        <p:nvGrpSpPr>
          <p:cNvPr id="105" name="Instructie - Afbeelding invoegen"/>
          <p:cNvGrpSpPr/>
          <p:nvPr/>
        </p:nvGrpSpPr>
        <p:grpSpPr>
          <a:xfrm>
            <a:off x="12437931" y="14898"/>
            <a:ext cx="2717569" cy="3676571"/>
            <a:chOff x="12434693" y="14897"/>
            <a:chExt cx="2716862" cy="3676571"/>
          </a:xfrm>
        </p:grpSpPr>
        <p:sp>
          <p:nvSpPr>
            <p:cNvPr id="106" name="Rechthoek 105"/>
            <p:cNvSpPr/>
            <p:nvPr/>
          </p:nvSpPr>
          <p:spPr>
            <a:xfrm>
              <a:off x="12441150" y="14897"/>
              <a:ext cx="2696270" cy="161771"/>
            </a:xfrm>
            <a:prstGeom prst="rect">
              <a:avLst/>
            </a:prstGeom>
            <a:noFill/>
            <a:ln w="25400" cap="flat" cmpd="sng" algn="ctr">
              <a:noFill/>
              <a:prstDash val="solid"/>
            </a:ln>
            <a:effectLst/>
          </p:spPr>
          <p:txBody>
            <a:bodyPr lIns="0" tIns="0" rIns="0" bIns="0" rtlCol="0" anchor="t"/>
            <a:lstStyle/>
            <a:p>
              <a:pPr defTabSz="914112">
                <a:lnSpc>
                  <a:spcPct val="80000"/>
                </a:lnSpc>
              </a:pPr>
              <a:r>
                <a:rPr lang="nl-NL" sz="1600" b="1" kern="0" cap="all" dirty="0">
                  <a:solidFill>
                    <a:srgbClr val="ED1A3B"/>
                  </a:solidFill>
                  <a:cs typeface="Segoe UI Light" panose="020B0502040204020203" pitchFamily="34" charset="0"/>
                </a:rPr>
                <a:t>AFBEELDING INVOEGEN</a:t>
              </a:r>
            </a:p>
          </p:txBody>
        </p:sp>
        <p:sp>
          <p:nvSpPr>
            <p:cNvPr id="107" name="Tekstvak 33"/>
            <p:cNvSpPr txBox="1"/>
            <p:nvPr/>
          </p:nvSpPr>
          <p:spPr>
            <a:xfrm>
              <a:off x="12441149" y="814239"/>
              <a:ext cx="2710405" cy="719877"/>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Indien nodig, verwijder de bestaande afbeelding. Klik op het pictogram </a:t>
              </a:r>
              <a:br>
                <a:rPr lang="nl-NL" sz="1200" kern="0" dirty="0">
                  <a:solidFill>
                    <a:srgbClr val="000000"/>
                  </a:solidFill>
                  <a:latin typeface="Trebuchet MS"/>
                  <a:cs typeface="Segoe UI Light" panose="020B0502040204020203" pitchFamily="34" charset="0"/>
                </a:rPr>
              </a:br>
              <a:r>
                <a:rPr lang="nl-NL" sz="1200" kern="0" dirty="0">
                  <a:solidFill>
                    <a:srgbClr val="000000"/>
                  </a:solidFill>
                  <a:latin typeface="Trebuchet MS"/>
                  <a:cs typeface="Segoe UI Light" panose="020B0502040204020203" pitchFamily="34" charset="0"/>
                </a:rPr>
                <a:t>om een afbeelding in te voegen</a:t>
              </a:r>
              <a:br>
                <a:rPr lang="nl-NL" sz="1200" kern="0" dirty="0">
                  <a:solidFill>
                    <a:srgbClr val="000000"/>
                  </a:solidFill>
                  <a:latin typeface="Trebuchet MS"/>
                  <a:cs typeface="Segoe UI Light" panose="020B0502040204020203" pitchFamily="34" charset="0"/>
                </a:rPr>
              </a:br>
              <a:r>
                <a:rPr lang="nl-NL" sz="1100" i="1" kern="0" dirty="0">
                  <a:solidFill>
                    <a:srgbClr val="000000"/>
                  </a:solidFill>
                  <a:latin typeface="Trebuchet MS"/>
                  <a:cs typeface="Segoe UI Light" panose="020B0502040204020203" pitchFamily="34" charset="0"/>
                </a:rPr>
                <a:t>(zie onderstaand voorbeeld).</a:t>
              </a:r>
            </a:p>
          </p:txBody>
        </p:sp>
        <p:sp>
          <p:nvSpPr>
            <p:cNvPr id="108" name="Tekstvak 33"/>
            <p:cNvSpPr txBox="1"/>
            <p:nvPr/>
          </p:nvSpPr>
          <p:spPr>
            <a:xfrm>
              <a:off x="12441149" y="2793904"/>
              <a:ext cx="2710405" cy="395943"/>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Selecteer de afbeelding die u wilt invoegen en klik op </a:t>
              </a:r>
              <a:r>
                <a:rPr lang="nl-NL" sz="1200" b="1" kern="0" dirty="0">
                  <a:solidFill>
                    <a:srgbClr val="000000"/>
                  </a:solidFill>
                  <a:latin typeface="Trebuchet MS"/>
                  <a:cs typeface="Segoe UI Light" panose="020B0502040204020203" pitchFamily="34" charset="0"/>
                </a:rPr>
                <a:t>‘Invoegen’</a:t>
              </a:r>
            </a:p>
          </p:txBody>
        </p:sp>
        <p:sp>
          <p:nvSpPr>
            <p:cNvPr id="109" name="Ovaal 108"/>
            <p:cNvSpPr/>
            <p:nvPr/>
          </p:nvSpPr>
          <p:spPr>
            <a:xfrm>
              <a:off x="12441150" y="379292"/>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1</a:t>
              </a:r>
            </a:p>
          </p:txBody>
        </p:sp>
        <p:sp>
          <p:nvSpPr>
            <p:cNvPr id="110" name="Ovaal 109"/>
            <p:cNvSpPr/>
            <p:nvPr/>
          </p:nvSpPr>
          <p:spPr>
            <a:xfrm>
              <a:off x="12441150" y="2337208"/>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2</a:t>
              </a:r>
            </a:p>
          </p:txBody>
        </p:sp>
        <p:cxnSp>
          <p:nvCxnSpPr>
            <p:cNvPr id="111" name="Rechte verbindingslijn 110"/>
            <p:cNvCxnSpPr/>
            <p:nvPr/>
          </p:nvCxnSpPr>
          <p:spPr>
            <a:xfrm>
              <a:off x="12441150" y="248176"/>
              <a:ext cx="2710405" cy="0"/>
            </a:xfrm>
            <a:prstGeom prst="line">
              <a:avLst/>
            </a:prstGeom>
            <a:noFill/>
            <a:ln w="9525" cap="flat" cmpd="sng" algn="ctr">
              <a:solidFill>
                <a:schemeClr val="accent1"/>
              </a:solidFill>
              <a:prstDash val="solid"/>
            </a:ln>
            <a:effectLst/>
          </p:spPr>
        </p:cxnSp>
        <p:cxnSp>
          <p:nvCxnSpPr>
            <p:cNvPr id="112" name="Rechte verbindingslijn 111"/>
            <p:cNvCxnSpPr/>
            <p:nvPr/>
          </p:nvCxnSpPr>
          <p:spPr>
            <a:xfrm>
              <a:off x="12441149" y="2212830"/>
              <a:ext cx="2710405" cy="0"/>
            </a:xfrm>
            <a:prstGeom prst="line">
              <a:avLst/>
            </a:prstGeom>
            <a:noFill/>
            <a:ln w="9525" cap="flat" cmpd="sng" algn="ctr">
              <a:solidFill>
                <a:schemeClr val="accent1"/>
              </a:solidFill>
              <a:prstDash val="solid"/>
            </a:ln>
            <a:effectLst/>
          </p:spPr>
        </p:cxnSp>
        <p:cxnSp>
          <p:nvCxnSpPr>
            <p:cNvPr id="113" name="Rechte verbindingslijn 112"/>
            <p:cNvCxnSpPr/>
            <p:nvPr/>
          </p:nvCxnSpPr>
          <p:spPr>
            <a:xfrm>
              <a:off x="12444679" y="3691468"/>
              <a:ext cx="2706875" cy="0"/>
            </a:xfrm>
            <a:prstGeom prst="line">
              <a:avLst/>
            </a:prstGeom>
            <a:noFill/>
            <a:ln w="9525" cap="flat" cmpd="sng" algn="ctr">
              <a:solidFill>
                <a:schemeClr val="accent1"/>
              </a:solidFill>
              <a:prstDash val="solid"/>
            </a:ln>
            <a:effectLst/>
          </p:spPr>
        </p:cxnSp>
        <p:pic>
          <p:nvPicPr>
            <p:cNvPr id="114" name="Icoontje afbeeldi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434693" y="1677764"/>
              <a:ext cx="403210" cy="403210"/>
            </a:xfrm>
            <a:prstGeom prst="rect">
              <a:avLst/>
            </a:prstGeom>
          </p:spPr>
        </p:pic>
        <p:grpSp>
          <p:nvGrpSpPr>
            <p:cNvPr id="115" name="Groep 114"/>
            <p:cNvGrpSpPr/>
            <p:nvPr/>
          </p:nvGrpSpPr>
          <p:grpSpPr>
            <a:xfrm>
              <a:off x="12450571" y="3301369"/>
              <a:ext cx="1002992" cy="267962"/>
              <a:chOff x="13560784" y="3471416"/>
              <a:chExt cx="1114138" cy="297656"/>
            </a:xfrm>
          </p:grpSpPr>
          <p:sp>
            <p:nvSpPr>
              <p:cNvPr id="116" name="Afgeronde rechthoek 88"/>
              <p:cNvSpPr/>
              <p:nvPr/>
            </p:nvSpPr>
            <p:spPr>
              <a:xfrm>
                <a:off x="13560784" y="3471416"/>
                <a:ext cx="1114138" cy="297656"/>
              </a:xfrm>
              <a:prstGeom prst="roundRect">
                <a:avLst/>
              </a:prstGeom>
              <a:gradFill flip="none" rotWithShape="1">
                <a:gsLst>
                  <a:gs pos="4000">
                    <a:srgbClr val="00B0F0"/>
                  </a:gs>
                  <a:gs pos="0">
                    <a:srgbClr val="0070C0"/>
                  </a:gs>
                  <a:gs pos="100000">
                    <a:srgbClr val="0070C0"/>
                  </a:gs>
                  <a:gs pos="12000">
                    <a:srgbClr val="D1EAFF"/>
                  </a:gs>
                  <a:gs pos="96000">
                    <a:srgbClr val="00B0F0"/>
                  </a:gs>
                  <a:gs pos="89000">
                    <a:srgbClr val="DDF4FF"/>
                  </a:gs>
                  <a:gs pos="43000">
                    <a:srgbClr val="D1EAFF"/>
                  </a:gs>
                  <a:gs pos="51000">
                    <a:srgbClr val="DDF4FF"/>
                  </a:gs>
                </a:gsLst>
                <a:lin ang="16200000" scaled="1"/>
                <a:tileRect/>
              </a:gradFill>
              <a:ln w="63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dirty="0">
                  <a:solidFill>
                    <a:srgbClr val="FFFFFF"/>
                  </a:solidFill>
                </a:endParaRPr>
              </a:p>
            </p:txBody>
          </p:sp>
          <p:sp>
            <p:nvSpPr>
              <p:cNvPr id="117" name="Tekstvak 116"/>
              <p:cNvSpPr txBox="1"/>
              <p:nvPr/>
            </p:nvSpPr>
            <p:spPr>
              <a:xfrm>
                <a:off x="13573594" y="3488254"/>
                <a:ext cx="888311" cy="273506"/>
              </a:xfrm>
              <a:prstGeom prst="rect">
                <a:avLst/>
              </a:prstGeom>
              <a:noFill/>
            </p:spPr>
            <p:txBody>
              <a:bodyPr wrap="square" rtlCol="0" anchor="ctr">
                <a:spAutoFit/>
              </a:bodyPr>
              <a:lstStyle>
                <a:defPPr>
                  <a:defRPr lang="nl-NL"/>
                </a:defPPr>
                <a:lvl1pPr marR="0" lvl="0" indent="0" algn="ctr" fontAlgn="auto">
                  <a:lnSpc>
                    <a:spcPct val="100000"/>
                  </a:lnSpc>
                  <a:spcBef>
                    <a:spcPts val="0"/>
                  </a:spcBef>
                  <a:spcAft>
                    <a:spcPts val="0"/>
                  </a:spcAft>
                  <a:buClrTx/>
                  <a:buSzTx/>
                  <a:buFontTx/>
                  <a:buNone/>
                  <a:tabLst/>
                  <a:defRPr kumimoji="0" sz="900" i="0" u="none" strike="noStrike" kern="0" cap="none" spc="0" normalizeH="0" baseline="0">
                    <a:ln>
                      <a:noFill/>
                    </a:ln>
                    <a:effectLst>
                      <a:outerShdw blurRad="25400" algn="ctr" rotWithShape="0">
                        <a:prstClr val="white"/>
                      </a:outerShdw>
                    </a:effectLst>
                    <a:uLnTx/>
                    <a:uFillTx/>
                    <a:latin typeface="Segoe UI Light" panose="020B0502040204020203" pitchFamily="34" charset="0"/>
                    <a:cs typeface="Segoe UI Light" panose="020B0502040204020203" pitchFamily="34" charset="0"/>
                  </a:defRPr>
                </a:lvl1pPr>
                <a:lvl2pPr fontAlgn="base">
                  <a:spcBef>
                    <a:spcPct val="0"/>
                  </a:spcBef>
                  <a:spcAft>
                    <a:spcPct val="0"/>
                  </a:spcAft>
                  <a:defRPr>
                    <a:latin typeface="Arial" charset="0"/>
                    <a:cs typeface="Arial" charset="0"/>
                  </a:defRPr>
                </a:lvl2pPr>
                <a:lvl3pPr fontAlgn="base">
                  <a:spcBef>
                    <a:spcPct val="0"/>
                  </a:spcBef>
                  <a:spcAft>
                    <a:spcPct val="0"/>
                  </a:spcAft>
                  <a:defRPr>
                    <a:latin typeface="Arial" charset="0"/>
                    <a:cs typeface="Arial" charset="0"/>
                  </a:defRPr>
                </a:lvl3pPr>
                <a:lvl4pPr fontAlgn="base">
                  <a:spcBef>
                    <a:spcPct val="0"/>
                  </a:spcBef>
                  <a:spcAft>
                    <a:spcPct val="0"/>
                  </a:spcAft>
                  <a:defRPr>
                    <a:latin typeface="Arial" charset="0"/>
                    <a:cs typeface="Arial" charset="0"/>
                  </a:defRPr>
                </a:lvl4pPr>
                <a:lvl5pPr fontAlgn="base">
                  <a:spcBef>
                    <a:spcPct val="0"/>
                  </a:spcBef>
                  <a:spcAft>
                    <a:spcPct val="0"/>
                  </a:spcAft>
                  <a:defRPr>
                    <a:latin typeface="Arial" charset="0"/>
                    <a:cs typeface="Arial" charset="0"/>
                  </a:defRPr>
                </a:lvl5pPr>
                <a:lvl6pPr>
                  <a:defRPr>
                    <a:latin typeface="Arial" charset="0"/>
                    <a:cs typeface="Arial" charset="0"/>
                  </a:defRPr>
                </a:lvl6pPr>
                <a:lvl7pPr>
                  <a:defRPr>
                    <a:latin typeface="Arial" charset="0"/>
                    <a:cs typeface="Arial" charset="0"/>
                  </a:defRPr>
                </a:lvl7pPr>
                <a:lvl8pPr>
                  <a:defRPr>
                    <a:latin typeface="Arial" charset="0"/>
                    <a:cs typeface="Arial" charset="0"/>
                  </a:defRPr>
                </a:lvl8pPr>
                <a:lvl9pPr>
                  <a:defRPr>
                    <a:latin typeface="Arial" charset="0"/>
                    <a:cs typeface="Arial" charset="0"/>
                  </a:defRPr>
                </a:lvl9pPr>
              </a:lstStyle>
              <a:p>
                <a:pPr defTabSz="914112"/>
                <a:r>
                  <a:rPr lang="nl-NL" sz="1000" dirty="0">
                    <a:solidFill>
                      <a:srgbClr val="000000"/>
                    </a:solidFill>
                    <a:latin typeface="Trebuchet MS"/>
                  </a:rPr>
                  <a:t>Invoegen</a:t>
                </a:r>
              </a:p>
            </p:txBody>
          </p:sp>
          <p:cxnSp>
            <p:nvCxnSpPr>
              <p:cNvPr id="118" name="Rechte verbindingslijn 117"/>
              <p:cNvCxnSpPr/>
              <p:nvPr/>
            </p:nvCxnSpPr>
            <p:spPr>
              <a:xfrm>
                <a:off x="14461905" y="3507058"/>
                <a:ext cx="0" cy="224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9" name="Gelijkbenige driehoek 118"/>
              <p:cNvSpPr/>
              <p:nvPr/>
            </p:nvSpPr>
            <p:spPr>
              <a:xfrm rot="10800000">
                <a:off x="14518584" y="3600521"/>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112"/>
                <a:endParaRPr lang="nl-NL" dirty="0">
                  <a:solidFill>
                    <a:srgbClr val="FFFFFF"/>
                  </a:solidFill>
                </a:endParaRPr>
              </a:p>
            </p:txBody>
          </p:sp>
        </p:grpSp>
      </p:grpSp>
      <p:grpSp>
        <p:nvGrpSpPr>
          <p:cNvPr id="223" name="Instructie - Tekstniveau"/>
          <p:cNvGrpSpPr/>
          <p:nvPr userDrawn="1"/>
        </p:nvGrpSpPr>
        <p:grpSpPr>
          <a:xfrm>
            <a:off x="-3117849" y="365"/>
            <a:ext cx="2823358" cy="5254722"/>
            <a:chOff x="-2959433" y="-5444"/>
            <a:chExt cx="2822623" cy="5254722"/>
          </a:xfrm>
        </p:grpSpPr>
        <p:sp>
          <p:nvSpPr>
            <p:cNvPr id="224" name="Rechthoek 223"/>
            <p:cNvSpPr/>
            <p:nvPr userDrawn="1"/>
          </p:nvSpPr>
          <p:spPr>
            <a:xfrm>
              <a:off x="-2959433" y="-5444"/>
              <a:ext cx="2572469" cy="280344"/>
            </a:xfrm>
            <a:prstGeom prst="rect">
              <a:avLst/>
            </a:prstGeom>
            <a:noFill/>
            <a:ln w="25400" cap="flat" cmpd="sng" algn="ctr">
              <a:noFill/>
              <a:prstDash val="solid"/>
            </a:ln>
            <a:effectLst/>
          </p:spPr>
          <p:txBody>
            <a:bodyPr lIns="0" tIns="0" rIns="0" bIns="0" rtlCol="0" anchor="t"/>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nl-NL" sz="1600" b="1" kern="0" dirty="0">
                  <a:solidFill>
                    <a:srgbClr val="ED1A3B"/>
                  </a:solidFill>
                  <a:cs typeface="Segoe UI Light" panose="020B0502040204020203" pitchFamily="34" charset="0"/>
                </a:rPr>
                <a:t>TEKST NIVEAUS</a:t>
              </a:r>
            </a:p>
          </p:txBody>
        </p:sp>
        <p:sp>
          <p:nvSpPr>
            <p:cNvPr id="225" name="Textfield placeholder"/>
            <p:cNvSpPr txBox="1">
              <a:spLocks/>
            </p:cNvSpPr>
            <p:nvPr userDrawn="1"/>
          </p:nvSpPr>
          <p:spPr>
            <a:xfrm>
              <a:off x="-2587337" y="2675411"/>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0" lvl="2"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a:solidFill>
                    <a:srgbClr val="404040"/>
                  </a:solidFill>
                </a:rPr>
                <a:t>Sub-bullets (12 pt.)</a:t>
              </a:r>
            </a:p>
          </p:txBody>
        </p:sp>
        <p:sp>
          <p:nvSpPr>
            <p:cNvPr id="226" name="Ovaal 225"/>
            <p:cNvSpPr/>
            <p:nvPr userDrawn="1"/>
          </p:nvSpPr>
          <p:spPr>
            <a:xfrm>
              <a:off x="-2959433" y="196874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1</a:t>
              </a:r>
            </a:p>
          </p:txBody>
        </p:sp>
        <p:sp>
          <p:nvSpPr>
            <p:cNvPr id="227" name="Ovaal 226"/>
            <p:cNvSpPr/>
            <p:nvPr userDrawn="1"/>
          </p:nvSpPr>
          <p:spPr>
            <a:xfrm>
              <a:off x="-2959433" y="232207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2</a:t>
              </a:r>
            </a:p>
          </p:txBody>
        </p:sp>
        <p:sp>
          <p:nvSpPr>
            <p:cNvPr id="228" name="Ovaal 227"/>
            <p:cNvSpPr/>
            <p:nvPr userDrawn="1"/>
          </p:nvSpPr>
          <p:spPr>
            <a:xfrm>
              <a:off x="-2959433" y="267541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3</a:t>
              </a:r>
            </a:p>
          </p:txBody>
        </p:sp>
        <p:sp>
          <p:nvSpPr>
            <p:cNvPr id="229" name="Ovaal 228"/>
            <p:cNvSpPr/>
            <p:nvPr userDrawn="1"/>
          </p:nvSpPr>
          <p:spPr>
            <a:xfrm>
              <a:off x="-2959433" y="302874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4</a:t>
              </a:r>
            </a:p>
          </p:txBody>
        </p:sp>
        <p:sp>
          <p:nvSpPr>
            <p:cNvPr id="230" name="Textfield placeholder"/>
            <p:cNvSpPr txBox="1">
              <a:spLocks/>
            </p:cNvSpPr>
            <p:nvPr userDrawn="1"/>
          </p:nvSpPr>
          <p:spPr>
            <a:xfrm>
              <a:off x="-2571950" y="1966925"/>
              <a:ext cx="2163709" cy="261500"/>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79388">
                <a:lnSpc>
                  <a:spcPct val="120000"/>
                </a:lnSpc>
                <a:spcBef>
                  <a:spcPts val="0"/>
                </a:spcBef>
                <a:spcAft>
                  <a:spcPts val="900"/>
                </a:spcAft>
                <a:buClr>
                  <a:srgbClr val="000000"/>
                </a:buClr>
                <a:buSzPct val="100000"/>
                <a:buFont typeface="Arial" pitchFamily="34" charset="0"/>
                <a:buNone/>
                <a:defRPr/>
              </a:pPr>
              <a:r>
                <a:rPr lang="nl-NL" sz="1200" dirty="0">
                  <a:solidFill>
                    <a:srgbClr val="535353"/>
                  </a:solidFill>
                </a:rPr>
                <a:t>Leestekst (12 pt.)</a:t>
              </a:r>
            </a:p>
          </p:txBody>
        </p:sp>
        <p:sp>
          <p:nvSpPr>
            <p:cNvPr id="231" name="Textfield placeholder"/>
            <p:cNvSpPr txBox="1">
              <a:spLocks/>
            </p:cNvSpPr>
            <p:nvPr userDrawn="1"/>
          </p:nvSpPr>
          <p:spPr>
            <a:xfrm>
              <a:off x="-2571950" y="2322077"/>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70000" lvl="1"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err="1">
                  <a:solidFill>
                    <a:srgbClr val="535353"/>
                  </a:solidFill>
                </a:rPr>
                <a:t>Bullets</a:t>
              </a:r>
              <a:r>
                <a:rPr lang="nl-NL" sz="1200" dirty="0">
                  <a:solidFill>
                    <a:srgbClr val="535353"/>
                  </a:solidFill>
                </a:rPr>
                <a:t> (12 </a:t>
              </a:r>
              <a:r>
                <a:rPr lang="nl-NL" sz="1200" dirty="0" err="1">
                  <a:solidFill>
                    <a:srgbClr val="535353"/>
                  </a:solidFill>
                </a:rPr>
                <a:t>pt</a:t>
              </a:r>
              <a:r>
                <a:rPr lang="nl-NL" sz="1200" dirty="0">
                  <a:solidFill>
                    <a:srgbClr val="535353"/>
                  </a:solidFill>
                </a:rPr>
                <a:t>.)</a:t>
              </a:r>
            </a:p>
          </p:txBody>
        </p:sp>
        <p:sp>
          <p:nvSpPr>
            <p:cNvPr id="232" name="Textfield placeholder"/>
            <p:cNvSpPr txBox="1">
              <a:spLocks/>
            </p:cNvSpPr>
            <p:nvPr userDrawn="1"/>
          </p:nvSpPr>
          <p:spPr>
            <a:xfrm>
              <a:off x="-2571951" y="3028747"/>
              <a:ext cx="2435141"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10000" lvl="3" indent="-270000" algn="l" defTabSz="179388" rtl="0" eaLnBrk="1" latinLnBrk="0" hangingPunct="1">
                <a:lnSpc>
                  <a:spcPct val="120000"/>
                </a:lnSpc>
                <a:spcBef>
                  <a:spcPts val="0"/>
                </a:spcBef>
                <a:spcAft>
                  <a:spcPts val="900"/>
                </a:spcAft>
                <a:buClr>
                  <a:schemeClr val="accent2"/>
                </a:buClr>
                <a:buSzPct val="80000"/>
                <a:buFont typeface="Wingdings 3" panose="05040102010807070707" pitchFamily="18" charset="2"/>
                <a:buChar char=""/>
                <a:defRPr/>
              </a:pPr>
              <a:r>
                <a:rPr lang="nl-NL" sz="1200" b="0" kern="1200" dirty="0">
                  <a:solidFill>
                    <a:srgbClr val="404040"/>
                  </a:solidFill>
                  <a:latin typeface="+mn-lt"/>
                  <a:ea typeface="+mn-ea"/>
                  <a:cs typeface="+mn-cs"/>
                </a:rPr>
                <a:t>Sub-sub-bullets (12 pt.)</a:t>
              </a:r>
            </a:p>
          </p:txBody>
        </p:sp>
        <p:cxnSp>
          <p:nvCxnSpPr>
            <p:cNvPr id="233" name="Rechte verbindingslijn 232"/>
            <p:cNvCxnSpPr/>
            <p:nvPr userDrawn="1"/>
          </p:nvCxnSpPr>
          <p:spPr>
            <a:xfrm>
              <a:off x="-2959100" y="274900"/>
              <a:ext cx="2674470" cy="0"/>
            </a:xfrm>
            <a:prstGeom prst="line">
              <a:avLst/>
            </a:prstGeom>
            <a:noFill/>
            <a:ln w="9525" cap="flat" cmpd="sng" algn="ctr">
              <a:solidFill>
                <a:schemeClr val="accent1"/>
              </a:solidFill>
              <a:prstDash val="solid"/>
            </a:ln>
            <a:effectLst/>
          </p:spPr>
        </p:cxnSp>
        <p:cxnSp>
          <p:nvCxnSpPr>
            <p:cNvPr id="234" name="Rechte verbindingslijn 233"/>
            <p:cNvCxnSpPr/>
            <p:nvPr userDrawn="1"/>
          </p:nvCxnSpPr>
          <p:spPr>
            <a:xfrm>
              <a:off x="-2959100" y="1841989"/>
              <a:ext cx="2661379" cy="0"/>
            </a:xfrm>
            <a:prstGeom prst="line">
              <a:avLst/>
            </a:prstGeom>
            <a:noFill/>
            <a:ln w="9525" cap="flat" cmpd="sng" algn="ctr">
              <a:solidFill>
                <a:schemeClr val="accent1"/>
              </a:solidFill>
              <a:prstDash val="solid"/>
            </a:ln>
            <a:effectLst/>
          </p:spPr>
        </p:cxnSp>
        <p:cxnSp>
          <p:nvCxnSpPr>
            <p:cNvPr id="235" name="Rechte verbindingslijn 234"/>
            <p:cNvCxnSpPr/>
            <p:nvPr userDrawn="1"/>
          </p:nvCxnSpPr>
          <p:spPr>
            <a:xfrm>
              <a:off x="-2959100" y="5249278"/>
              <a:ext cx="2661379" cy="0"/>
            </a:xfrm>
            <a:prstGeom prst="line">
              <a:avLst/>
            </a:prstGeom>
            <a:noFill/>
            <a:ln w="9525" cap="flat" cmpd="sng" algn="ctr">
              <a:solidFill>
                <a:schemeClr val="accent1"/>
              </a:solidFill>
              <a:prstDash val="solid"/>
            </a:ln>
            <a:effectLst/>
          </p:spPr>
        </p:cxnSp>
        <p:grpSp>
          <p:nvGrpSpPr>
            <p:cNvPr id="236" name="Groep 235"/>
            <p:cNvGrpSpPr/>
            <p:nvPr userDrawn="1"/>
          </p:nvGrpSpPr>
          <p:grpSpPr>
            <a:xfrm>
              <a:off x="-1948476" y="816741"/>
              <a:ext cx="409108" cy="427699"/>
              <a:chOff x="-1085063" y="758027"/>
              <a:chExt cx="633799" cy="622540"/>
            </a:xfrm>
          </p:grpSpPr>
          <p:sp>
            <p:nvSpPr>
              <p:cNvPr id="292" name="Afgeronde rechthoek 291"/>
              <p:cNvSpPr/>
              <p:nvPr userDrawn="1"/>
            </p:nvSpPr>
            <p:spPr>
              <a:xfrm>
                <a:off x="-108506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293" name="Groep 292"/>
              <p:cNvGrpSpPr/>
              <p:nvPr userDrawn="1"/>
            </p:nvGrpSpPr>
            <p:grpSpPr>
              <a:xfrm>
                <a:off x="-977739" y="864082"/>
                <a:ext cx="419168" cy="410429"/>
                <a:chOff x="6366933" y="309013"/>
                <a:chExt cx="1901295" cy="1861668"/>
              </a:xfrm>
              <a:solidFill>
                <a:srgbClr val="000000"/>
              </a:solidFill>
            </p:grpSpPr>
            <p:sp>
              <p:nvSpPr>
                <p:cNvPr id="294" name="Rechthoek 293"/>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5" name="Rechthoek 294"/>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6" name="Rechthoek 295"/>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7" name="Rechthoek 296"/>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8" name="Rechthoek 297"/>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9" name="Rechthoek 298"/>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0" name="Rechthoek 299"/>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1" name="Rechthoek 300"/>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2" name="Rechthoek 301"/>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3" name="Rechthoek 302"/>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4" name="Vrije vorm 303"/>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nvGrpSpPr>
            <p:cNvPr id="237" name="Groep 236"/>
            <p:cNvGrpSpPr/>
            <p:nvPr userDrawn="1"/>
          </p:nvGrpSpPr>
          <p:grpSpPr>
            <a:xfrm>
              <a:off x="-2950232" y="1207835"/>
              <a:ext cx="532929" cy="509563"/>
              <a:chOff x="-2880382" y="802341"/>
              <a:chExt cx="532929" cy="509563"/>
            </a:xfrm>
          </p:grpSpPr>
          <p:sp>
            <p:nvSpPr>
              <p:cNvPr id="270" name="Rechthoek 269"/>
              <p:cNvSpPr/>
              <p:nvPr userDrawn="1"/>
            </p:nvSpPr>
            <p:spPr>
              <a:xfrm>
                <a:off x="-2880382" y="802341"/>
                <a:ext cx="532929" cy="509563"/>
              </a:xfrm>
              <a:prstGeom prst="rect">
                <a:avLst/>
              </a:prstGeom>
              <a:solidFill>
                <a:sysClr val="window" lastClr="FFFFFF"/>
              </a:soli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pic>
            <p:nvPicPr>
              <p:cNvPr id="271"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635852" y="822181"/>
                <a:ext cx="226442" cy="208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2"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848026" y="822181"/>
                <a:ext cx="207168" cy="213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73" name="Groep 272"/>
              <p:cNvGrpSpPr/>
              <p:nvPr userDrawn="1"/>
            </p:nvGrpSpPr>
            <p:grpSpPr>
              <a:xfrm>
                <a:off x="-2802433" y="1123442"/>
                <a:ext cx="132915" cy="104889"/>
                <a:chOff x="-2796392" y="1123442"/>
                <a:chExt cx="120832" cy="104889"/>
              </a:xfrm>
            </p:grpSpPr>
            <p:sp>
              <p:nvSpPr>
                <p:cNvPr id="287" name="Rechthoek 286"/>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8" name="Rechthoek 287"/>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9" name="Rechthoek 288"/>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0" name="Rechthoek 289"/>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1" name="Rechthoek 290"/>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274" name="Groep 273"/>
              <p:cNvGrpSpPr/>
              <p:nvPr userDrawn="1"/>
            </p:nvGrpSpPr>
            <p:grpSpPr>
              <a:xfrm>
                <a:off x="-2575417" y="1123442"/>
                <a:ext cx="133930" cy="104889"/>
                <a:chOff x="-2556734" y="1123442"/>
                <a:chExt cx="147324" cy="104889"/>
              </a:xfrm>
            </p:grpSpPr>
            <p:grpSp>
              <p:nvGrpSpPr>
                <p:cNvPr id="275" name="Groep 274"/>
                <p:cNvGrpSpPr/>
                <p:nvPr userDrawn="1"/>
              </p:nvGrpSpPr>
              <p:grpSpPr>
                <a:xfrm>
                  <a:off x="-2556734" y="1123442"/>
                  <a:ext cx="68206" cy="104889"/>
                  <a:chOff x="-2796392" y="1123442"/>
                  <a:chExt cx="120832" cy="104889"/>
                </a:xfrm>
              </p:grpSpPr>
              <p:sp>
                <p:nvSpPr>
                  <p:cNvPr id="282" name="Rechthoek 281"/>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3" name="Rechthoek 282"/>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4" name="Rechthoek 283"/>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5" name="Rechthoek 284"/>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6" name="Rechthoek 285"/>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276" name="Groep 275"/>
                <p:cNvGrpSpPr/>
                <p:nvPr userDrawn="1"/>
              </p:nvGrpSpPr>
              <p:grpSpPr>
                <a:xfrm>
                  <a:off x="-2477616" y="1123442"/>
                  <a:ext cx="68206" cy="104889"/>
                  <a:chOff x="-2796392" y="1123442"/>
                  <a:chExt cx="120832" cy="104889"/>
                </a:xfrm>
              </p:grpSpPr>
              <p:sp>
                <p:nvSpPr>
                  <p:cNvPr id="277" name="Rechthoek 276"/>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8" name="Rechthoek 277"/>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9" name="Rechthoek 278"/>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0" name="Rechthoek 279"/>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1" name="Rechthoek 280"/>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grpSp>
          <p:nvGrpSpPr>
            <p:cNvPr id="238" name="Groep 237"/>
            <p:cNvGrpSpPr/>
            <p:nvPr userDrawn="1"/>
          </p:nvGrpSpPr>
          <p:grpSpPr>
            <a:xfrm>
              <a:off x="-1948476" y="1281164"/>
              <a:ext cx="413704" cy="427699"/>
              <a:chOff x="-1845083" y="758027"/>
              <a:chExt cx="633799" cy="622540"/>
            </a:xfrm>
          </p:grpSpPr>
          <p:sp>
            <p:nvSpPr>
              <p:cNvPr id="257" name="Afgeronde rechthoek 256"/>
              <p:cNvSpPr/>
              <p:nvPr userDrawn="1"/>
            </p:nvSpPr>
            <p:spPr>
              <a:xfrm>
                <a:off x="-184508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258" name="Groep 257"/>
              <p:cNvGrpSpPr/>
              <p:nvPr userDrawn="1"/>
            </p:nvGrpSpPr>
            <p:grpSpPr>
              <a:xfrm>
                <a:off x="-1737762" y="864082"/>
                <a:ext cx="419168" cy="410429"/>
                <a:chOff x="3708400" y="309013"/>
                <a:chExt cx="1901295" cy="1861668"/>
              </a:xfrm>
              <a:solidFill>
                <a:srgbClr val="000000"/>
              </a:solidFill>
            </p:grpSpPr>
            <p:sp>
              <p:nvSpPr>
                <p:cNvPr id="259" name="Rechthoek 258"/>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0" name="Rechthoek 259"/>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1" name="Rechthoek 260"/>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2" name="Rechthoek 261"/>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3" name="Rechthoek 262"/>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4" name="Rechthoek 263"/>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5" name="Rechthoek 264"/>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6" name="Rechthoek 265"/>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7" name="Rechthoek 266"/>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8" name="Rechthoek 267"/>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9" name="Vrije vorm 268"/>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cxnSp>
          <p:nvCxnSpPr>
            <p:cNvPr id="239" name="Rechte verbindingslijn 238"/>
            <p:cNvCxnSpPr/>
            <p:nvPr userDrawn="1"/>
          </p:nvCxnSpPr>
          <p:spPr>
            <a:xfrm>
              <a:off x="-2814292" y="1441193"/>
              <a:ext cx="865816" cy="53821"/>
            </a:xfrm>
            <a:prstGeom prst="line">
              <a:avLst/>
            </a:prstGeom>
            <a:noFill/>
            <a:ln w="9525" cap="flat" cmpd="sng" algn="ctr">
              <a:solidFill>
                <a:schemeClr val="accent1"/>
              </a:solidFill>
              <a:prstDash val="solid"/>
              <a:headEnd type="oval"/>
            </a:ln>
            <a:effectLst/>
          </p:spPr>
        </p:cxnSp>
        <p:cxnSp>
          <p:nvCxnSpPr>
            <p:cNvPr id="240" name="Rechte verbindingslijn 239"/>
            <p:cNvCxnSpPr/>
            <p:nvPr userDrawn="1"/>
          </p:nvCxnSpPr>
          <p:spPr>
            <a:xfrm flipV="1">
              <a:off x="-2453902" y="1030591"/>
              <a:ext cx="505426" cy="283623"/>
            </a:xfrm>
            <a:prstGeom prst="line">
              <a:avLst/>
            </a:prstGeom>
            <a:noFill/>
            <a:ln w="9525" cap="flat" cmpd="sng" algn="ctr">
              <a:solidFill>
                <a:schemeClr val="accent1"/>
              </a:solidFill>
              <a:prstDash val="solid"/>
              <a:headEnd type="oval"/>
            </a:ln>
            <a:effectLst/>
          </p:spPr>
        </p:cxnSp>
        <p:sp>
          <p:nvSpPr>
            <p:cNvPr id="241" name="Textfield placeholder"/>
            <p:cNvSpPr txBox="1">
              <a:spLocks/>
            </p:cNvSpPr>
            <p:nvPr userDrawn="1"/>
          </p:nvSpPr>
          <p:spPr>
            <a:xfrm>
              <a:off x="-1341598" y="816743"/>
              <a:ext cx="1056968" cy="427698"/>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hoog</a:t>
              </a:r>
            </a:p>
          </p:txBody>
        </p:sp>
        <p:sp>
          <p:nvSpPr>
            <p:cNvPr id="242" name="Textfield placeholder"/>
            <p:cNvSpPr txBox="1">
              <a:spLocks/>
            </p:cNvSpPr>
            <p:nvPr userDrawn="1"/>
          </p:nvSpPr>
          <p:spPr>
            <a:xfrm>
              <a:off x="-1341599" y="1281164"/>
              <a:ext cx="1070223" cy="427699"/>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laag</a:t>
              </a:r>
            </a:p>
          </p:txBody>
        </p:sp>
        <p:sp>
          <p:nvSpPr>
            <p:cNvPr id="243" name="Ovaal 242"/>
            <p:cNvSpPr/>
            <p:nvPr userDrawn="1"/>
          </p:nvSpPr>
          <p:spPr>
            <a:xfrm>
              <a:off x="-2959433" y="338208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5</a:t>
              </a:r>
            </a:p>
          </p:txBody>
        </p:sp>
        <p:sp>
          <p:nvSpPr>
            <p:cNvPr id="244" name="Textfield placeholder"/>
            <p:cNvSpPr txBox="1">
              <a:spLocks/>
            </p:cNvSpPr>
            <p:nvPr userDrawn="1"/>
          </p:nvSpPr>
          <p:spPr>
            <a:xfrm>
              <a:off x="-2571950" y="3382082"/>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60000" lvl="4" indent="-360000" defTabSz="179388">
                <a:lnSpc>
                  <a:spcPct val="120000"/>
                </a:lnSpc>
                <a:spcBef>
                  <a:spcPts val="0"/>
                </a:spcBef>
                <a:spcAft>
                  <a:spcPts val="900"/>
                </a:spcAft>
                <a:buClr>
                  <a:srgbClr val="ED1A3B"/>
                </a:buClr>
                <a:buFont typeface="+mj-lt"/>
                <a:buAutoNum type="arabicPeriod"/>
                <a:defRPr/>
              </a:pPr>
              <a:r>
                <a:rPr lang="nl-NL" sz="1200" b="0" dirty="0">
                  <a:solidFill>
                    <a:srgbClr val="404040"/>
                  </a:solidFill>
                </a:rPr>
                <a:t>Numeriek (12 pt.)</a:t>
              </a:r>
            </a:p>
          </p:txBody>
        </p:sp>
        <p:grpSp>
          <p:nvGrpSpPr>
            <p:cNvPr id="245" name="Groep 244"/>
            <p:cNvGrpSpPr/>
            <p:nvPr userDrawn="1"/>
          </p:nvGrpSpPr>
          <p:grpSpPr>
            <a:xfrm>
              <a:off x="-2950232" y="816050"/>
              <a:ext cx="528695" cy="344202"/>
              <a:chOff x="-2880382" y="410556"/>
              <a:chExt cx="528695" cy="344202"/>
            </a:xfrm>
          </p:grpSpPr>
          <p:sp>
            <p:nvSpPr>
              <p:cNvPr id="255" name="Afgeronde rechthoek 254"/>
              <p:cNvSpPr/>
              <p:nvPr userDrawn="1"/>
            </p:nvSpPr>
            <p:spPr>
              <a:xfrm>
                <a:off x="-2874214" y="410556"/>
                <a:ext cx="522527" cy="339183"/>
              </a:xfrm>
              <a:prstGeom prst="roundRect">
                <a:avLst>
                  <a:gd name="adj" fmla="val 7565"/>
                </a:avLst>
              </a:prstGeom>
              <a:gradFill>
                <a:gsLst>
                  <a:gs pos="0">
                    <a:srgbClr val="FFEC8F"/>
                  </a:gs>
                  <a:gs pos="100000">
                    <a:srgbClr val="FFFFFF"/>
                  </a:gs>
                </a:gsLst>
                <a:lin ang="5400000" scaled="0"/>
              </a:gra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sp>
            <p:nvSpPr>
              <p:cNvPr id="256" name="Vrije vorm 255"/>
              <p:cNvSpPr/>
              <p:nvPr userDrawn="1"/>
            </p:nvSpPr>
            <p:spPr>
              <a:xfrm>
                <a:off x="-2880382" y="452699"/>
                <a:ext cx="528695" cy="302059"/>
              </a:xfrm>
              <a:custGeom>
                <a:avLst/>
                <a:gdLst>
                  <a:gd name="connsiteX0" fmla="*/ 55524 w 528695"/>
                  <a:gd name="connsiteY0" fmla="*/ 0 h 302059"/>
                  <a:gd name="connsiteX1" fmla="*/ 455496 w 528695"/>
                  <a:gd name="connsiteY1" fmla="*/ 0 h 302059"/>
                  <a:gd name="connsiteX2" fmla="*/ 475205 w 528695"/>
                  <a:gd name="connsiteY2" fmla="*/ 19709 h 302059"/>
                  <a:gd name="connsiteX3" fmla="*/ 475205 w 528695"/>
                  <a:gd name="connsiteY3" fmla="*/ 230056 h 302059"/>
                  <a:gd name="connsiteX4" fmla="*/ 516694 w 528695"/>
                  <a:gd name="connsiteY4" fmla="*/ 230056 h 302059"/>
                  <a:gd name="connsiteX5" fmla="*/ 528695 w 528695"/>
                  <a:gd name="connsiteY5" fmla="*/ 242057 h 302059"/>
                  <a:gd name="connsiteX6" fmla="*/ 528695 w 528695"/>
                  <a:gd name="connsiteY6" fmla="*/ 290058 h 302059"/>
                  <a:gd name="connsiteX7" fmla="*/ 516694 w 528695"/>
                  <a:gd name="connsiteY7" fmla="*/ 302059 h 302059"/>
                  <a:gd name="connsiteX8" fmla="*/ 12001 w 528695"/>
                  <a:gd name="connsiteY8" fmla="*/ 302059 h 302059"/>
                  <a:gd name="connsiteX9" fmla="*/ 0 w 528695"/>
                  <a:gd name="connsiteY9" fmla="*/ 290058 h 302059"/>
                  <a:gd name="connsiteX10" fmla="*/ 0 w 528695"/>
                  <a:gd name="connsiteY10" fmla="*/ 242057 h 302059"/>
                  <a:gd name="connsiteX11" fmla="*/ 12001 w 528695"/>
                  <a:gd name="connsiteY11" fmla="*/ 230056 h 302059"/>
                  <a:gd name="connsiteX12" fmla="*/ 35815 w 528695"/>
                  <a:gd name="connsiteY12" fmla="*/ 230056 h 302059"/>
                  <a:gd name="connsiteX13" fmla="*/ 35815 w 528695"/>
                  <a:gd name="connsiteY13" fmla="*/ 19709 h 302059"/>
                  <a:gd name="connsiteX14" fmla="*/ 55524 w 528695"/>
                  <a:gd name="connsiteY14" fmla="*/ 0 h 3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8695" h="302059">
                    <a:moveTo>
                      <a:pt x="55524" y="0"/>
                    </a:moveTo>
                    <a:lnTo>
                      <a:pt x="455496" y="0"/>
                    </a:lnTo>
                    <a:cubicBezTo>
                      <a:pt x="466381" y="0"/>
                      <a:pt x="475205" y="8824"/>
                      <a:pt x="475205" y="19709"/>
                    </a:cubicBezTo>
                    <a:lnTo>
                      <a:pt x="475205" y="230056"/>
                    </a:lnTo>
                    <a:lnTo>
                      <a:pt x="516694" y="230056"/>
                    </a:lnTo>
                    <a:cubicBezTo>
                      <a:pt x="523322" y="230056"/>
                      <a:pt x="528695" y="235429"/>
                      <a:pt x="528695" y="242057"/>
                    </a:cubicBezTo>
                    <a:lnTo>
                      <a:pt x="528695" y="290058"/>
                    </a:lnTo>
                    <a:cubicBezTo>
                      <a:pt x="528695" y="296686"/>
                      <a:pt x="523322" y="302059"/>
                      <a:pt x="516694" y="302059"/>
                    </a:cubicBezTo>
                    <a:lnTo>
                      <a:pt x="12001" y="302059"/>
                    </a:lnTo>
                    <a:cubicBezTo>
                      <a:pt x="5373" y="302059"/>
                      <a:pt x="0" y="296686"/>
                      <a:pt x="0" y="290058"/>
                    </a:cubicBezTo>
                    <a:lnTo>
                      <a:pt x="0" y="242057"/>
                    </a:lnTo>
                    <a:cubicBezTo>
                      <a:pt x="0" y="235429"/>
                      <a:pt x="5373" y="230056"/>
                      <a:pt x="12001" y="230056"/>
                    </a:cubicBezTo>
                    <a:lnTo>
                      <a:pt x="35815" y="230056"/>
                    </a:lnTo>
                    <a:lnTo>
                      <a:pt x="35815" y="19709"/>
                    </a:lnTo>
                    <a:cubicBezTo>
                      <a:pt x="35815" y="8824"/>
                      <a:pt x="44639" y="0"/>
                      <a:pt x="55524" y="0"/>
                    </a:cubicBezTo>
                    <a:close/>
                  </a:path>
                </a:pathLst>
              </a:custGeom>
              <a:solidFill>
                <a:sysClr val="window" lastClr="FFFFFF">
                  <a:lumMod val="95000"/>
                </a:sysClr>
              </a:solidFill>
              <a:ln w="9525" cap="flat" cmpd="sng" algn="ctr">
                <a:solidFill>
                  <a:srgbClr val="FFFFFF">
                    <a:lumMod val="90000"/>
                  </a:srgbClr>
                </a:solidFill>
                <a:prstDash val="solid"/>
                <a:miter lim="800000"/>
              </a:ln>
              <a:effectLst/>
            </p:spPr>
            <p:txBody>
              <a:bodyPr rot="0" spcFirstLastPara="0" vert="horz" wrap="square" lIns="108000" tIns="36000" rIns="108000" bIns="10800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900" dirty="0">
                    <a:solidFill>
                      <a:prstClr val="black"/>
                    </a:solidFill>
                    <a:latin typeface="Segoe UI Light"/>
                  </a:rPr>
                  <a:t>Start</a:t>
                </a:r>
              </a:p>
            </p:txBody>
          </p:sp>
        </p:grpSp>
        <p:sp>
          <p:nvSpPr>
            <p:cNvPr id="246" name="Tekstvak 65"/>
            <p:cNvSpPr txBox="1"/>
            <p:nvPr userDrawn="1"/>
          </p:nvSpPr>
          <p:spPr>
            <a:xfrm>
              <a:off x="-2959433" y="372104"/>
              <a:ext cx="2679887" cy="453396"/>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nl-NL" sz="1200" kern="0" dirty="0">
                  <a:solidFill>
                    <a:srgbClr val="000000"/>
                  </a:solidFill>
                  <a:latin typeface="Segoe UI Light" panose="020B0502040204020203" pitchFamily="34" charset="0"/>
                  <a:cs typeface="Segoe UI Light" panose="020B0502040204020203" pitchFamily="34" charset="0"/>
                </a:rPr>
                <a:t>Ga naar de tab </a:t>
              </a:r>
              <a:r>
                <a:rPr lang="nl-NL" sz="1200" b="1" kern="0" dirty="0">
                  <a:solidFill>
                    <a:srgbClr val="000000"/>
                  </a:solidFill>
                  <a:latin typeface="Segoe UI Light" panose="020B0502040204020203" pitchFamily="34" charset="0"/>
                  <a:cs typeface="Segoe UI Light" panose="020B0502040204020203" pitchFamily="34" charset="0"/>
                </a:rPr>
                <a:t>Start’ </a:t>
              </a:r>
              <a:r>
                <a:rPr lang="nl-NL" sz="1200" kern="0" dirty="0">
                  <a:solidFill>
                    <a:srgbClr val="000000"/>
                  </a:solidFill>
                  <a:latin typeface="Segoe UI Light" panose="020B0502040204020203" pitchFamily="34" charset="0"/>
                  <a:cs typeface="Segoe UI Light" panose="020B0502040204020203" pitchFamily="34" charset="0"/>
                </a:rPr>
                <a:t>en vind onderstaande knoppen onder </a:t>
              </a:r>
              <a:r>
                <a:rPr lang="nl-NL" sz="1200" b="1" kern="0" dirty="0">
                  <a:solidFill>
                    <a:srgbClr val="000000"/>
                  </a:solidFill>
                  <a:latin typeface="Segoe UI Light" panose="020B0502040204020203" pitchFamily="34" charset="0"/>
                  <a:cs typeface="Segoe UI Light" panose="020B0502040204020203" pitchFamily="34" charset="0"/>
                </a:rPr>
                <a:t>‘Alinea’</a:t>
              </a:r>
            </a:p>
          </p:txBody>
        </p:sp>
        <p:sp>
          <p:nvSpPr>
            <p:cNvPr id="247" name="Ovaal 246"/>
            <p:cNvSpPr/>
            <p:nvPr userDrawn="1"/>
          </p:nvSpPr>
          <p:spPr>
            <a:xfrm>
              <a:off x="-2959433" y="375153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6</a:t>
              </a:r>
            </a:p>
          </p:txBody>
        </p:sp>
        <p:sp>
          <p:nvSpPr>
            <p:cNvPr id="248" name="Textfield placeholder"/>
            <p:cNvSpPr txBox="1">
              <a:spLocks/>
            </p:cNvSpPr>
            <p:nvPr userDrawn="1"/>
          </p:nvSpPr>
          <p:spPr>
            <a:xfrm>
              <a:off x="-2571950" y="3751536"/>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0000" lvl="5" indent="-270000" defTabSz="179388">
                <a:lnSpc>
                  <a:spcPct val="120000"/>
                </a:lnSpc>
                <a:spcAft>
                  <a:spcPts val="900"/>
                </a:spcAft>
                <a:buClr>
                  <a:srgbClr val="ED1A3B"/>
                </a:buClr>
                <a:buSzPct val="80000"/>
                <a:buFont typeface="Wingdings 3" panose="05040102010807070707" pitchFamily="18" charset="2"/>
                <a:buChar char=""/>
                <a:defRPr/>
              </a:pPr>
              <a:r>
                <a:rPr lang="nl-NL" sz="1200" cap="none" dirty="0">
                  <a:solidFill>
                    <a:srgbClr val="535353"/>
                  </a:solidFill>
                </a:rPr>
                <a:t># Bullets (12 pt.)</a:t>
              </a:r>
            </a:p>
          </p:txBody>
        </p:sp>
        <p:sp>
          <p:nvSpPr>
            <p:cNvPr id="249" name="Ovaal 248"/>
            <p:cNvSpPr/>
            <p:nvPr userDrawn="1"/>
          </p:nvSpPr>
          <p:spPr>
            <a:xfrm>
              <a:off x="-2959433" y="414870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7</a:t>
              </a:r>
            </a:p>
          </p:txBody>
        </p:sp>
        <p:sp>
          <p:nvSpPr>
            <p:cNvPr id="250" name="Textfield placeholder"/>
            <p:cNvSpPr txBox="1">
              <a:spLocks/>
            </p:cNvSpPr>
            <p:nvPr userDrawn="1"/>
          </p:nvSpPr>
          <p:spPr>
            <a:xfrm>
              <a:off x="-2571950" y="414870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6" indent="0" defTabSz="179388">
                <a:lnSpc>
                  <a:spcPct val="120000"/>
                </a:lnSpc>
                <a:spcBef>
                  <a:spcPts val="0"/>
                </a:spcBef>
                <a:spcAft>
                  <a:spcPts val="900"/>
                </a:spcAft>
                <a:buClr>
                  <a:srgbClr val="ED1A3B"/>
                </a:buClr>
                <a:buSzPct val="90000"/>
                <a:buFont typeface="+mj-lt"/>
                <a:buNone/>
                <a:defRPr/>
              </a:pPr>
              <a:r>
                <a:rPr lang="nl-NL" sz="1200" i="1" dirty="0">
                  <a:solidFill>
                    <a:srgbClr val="404040"/>
                  </a:solidFill>
                </a:rPr>
                <a:t>Cursief donker (12 pt.)</a:t>
              </a:r>
            </a:p>
          </p:txBody>
        </p:sp>
        <p:sp>
          <p:nvSpPr>
            <p:cNvPr id="251" name="Ovaal 250"/>
            <p:cNvSpPr/>
            <p:nvPr userDrawn="1"/>
          </p:nvSpPr>
          <p:spPr>
            <a:xfrm>
              <a:off x="-2959433" y="454586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8</a:t>
              </a:r>
            </a:p>
          </p:txBody>
        </p:sp>
        <p:sp>
          <p:nvSpPr>
            <p:cNvPr id="252" name="Textfield placeholder"/>
            <p:cNvSpPr txBox="1">
              <a:spLocks/>
            </p:cNvSpPr>
            <p:nvPr userDrawn="1"/>
          </p:nvSpPr>
          <p:spPr>
            <a:xfrm>
              <a:off x="-2571950" y="4545864"/>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7" indent="0" defTabSz="179388">
                <a:lnSpc>
                  <a:spcPct val="80000"/>
                </a:lnSpc>
                <a:spcBef>
                  <a:spcPts val="0"/>
                </a:spcBef>
                <a:spcAft>
                  <a:spcPts val="900"/>
                </a:spcAft>
                <a:buClr>
                  <a:srgbClr val="ED1A3B"/>
                </a:buClr>
                <a:buFont typeface="Arial" pitchFamily="34" charset="0"/>
                <a:buNone/>
                <a:defRPr/>
              </a:pPr>
              <a:r>
                <a:rPr lang="nl-NL" sz="1200" i="1" dirty="0">
                  <a:solidFill>
                    <a:srgbClr val="A3B0C0"/>
                  </a:solidFill>
                </a:rPr>
                <a:t>Cursief Licht (12 pt.)</a:t>
              </a:r>
            </a:p>
          </p:txBody>
        </p:sp>
        <p:sp>
          <p:nvSpPr>
            <p:cNvPr id="253" name="Ovaal 252"/>
            <p:cNvSpPr/>
            <p:nvPr userDrawn="1"/>
          </p:nvSpPr>
          <p:spPr>
            <a:xfrm>
              <a:off x="-2959433" y="488761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9</a:t>
              </a:r>
            </a:p>
          </p:txBody>
        </p:sp>
        <p:sp>
          <p:nvSpPr>
            <p:cNvPr id="254" name="Textfield placeholder"/>
            <p:cNvSpPr txBox="1">
              <a:spLocks/>
            </p:cNvSpPr>
            <p:nvPr userDrawn="1"/>
          </p:nvSpPr>
          <p:spPr>
            <a:xfrm>
              <a:off x="-2571950" y="488761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8" indent="0" defTabSz="179388">
                <a:lnSpc>
                  <a:spcPct val="80000"/>
                </a:lnSpc>
                <a:spcBef>
                  <a:spcPts val="0"/>
                </a:spcBef>
                <a:spcAft>
                  <a:spcPts val="900"/>
                </a:spcAft>
                <a:buClr>
                  <a:srgbClr val="ED1A3B"/>
                </a:buClr>
                <a:buFont typeface="Arial" pitchFamily="34" charset="0"/>
                <a:buNone/>
                <a:defRPr/>
              </a:pPr>
              <a:r>
                <a:rPr lang="nl-NL" sz="1400" b="1" dirty="0">
                  <a:solidFill>
                    <a:srgbClr val="ED1A3B"/>
                  </a:solidFill>
                </a:rPr>
                <a:t>Subtitel (14 pt.)</a:t>
              </a:r>
            </a:p>
          </p:txBody>
        </p:sp>
      </p:grpSp>
      <p:sp>
        <p:nvSpPr>
          <p:cNvPr id="124" name="Hyperlink - Inhoudsopgave">
            <a:hlinkClick r:id="rId5" action="ppaction://hlinksldjump"/>
          </p:cNvPr>
          <p:cNvSpPr/>
          <p:nvPr userDrawn="1"/>
        </p:nvSpPr>
        <p:spPr>
          <a:xfrm>
            <a:off x="10197856" y="5889801"/>
            <a:ext cx="2000494" cy="968199"/>
          </a:xfrm>
          <a:prstGeom prst="rect">
            <a:avLst/>
          </a:prstGeom>
          <a:solidFill>
            <a:srgbClr val="ED1A3B">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cxnSp>
        <p:nvCxnSpPr>
          <p:cNvPr id="17" name="Grijze lijn - boven"/>
          <p:cNvCxnSpPr/>
          <p:nvPr/>
        </p:nvCxnSpPr>
        <p:spPr>
          <a:xfrm flipH="1">
            <a:off x="664804" y="1358670"/>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23" name="Tijdelijke aanduiding voor Dianummer"/>
          <p:cNvSpPr>
            <a:spLocks noGrp="1"/>
          </p:cNvSpPr>
          <p:nvPr>
            <p:ph type="sldNum" sz="quarter" idx="4"/>
          </p:nvPr>
        </p:nvSpPr>
        <p:spPr>
          <a:xfrm>
            <a:off x="5770549" y="6295992"/>
            <a:ext cx="657251" cy="365125"/>
          </a:xfrm>
          <a:prstGeom prst="rect">
            <a:avLst/>
          </a:prstGeom>
        </p:spPr>
        <p:txBody>
          <a:bodyPr vert="horz" lIns="91440" tIns="45720" rIns="91440" bIns="45720" rtlCol="0" anchor="ctr"/>
          <a:lstStyle>
            <a:lvl1pPr algn="ctr">
              <a:defRPr sz="800">
                <a:solidFill>
                  <a:schemeClr val="tx1">
                    <a:tint val="75000"/>
                  </a:schemeClr>
                </a:solidFill>
              </a:defRPr>
            </a:lvl1pPr>
          </a:lstStyle>
          <a:p>
            <a:fld id="{1B3FA67A-C720-417A-A072-0CD211FD8662}" type="slidenum">
              <a:rPr lang="nl-NL" smtClean="0">
                <a:solidFill>
                  <a:srgbClr val="000000">
                    <a:tint val="75000"/>
                  </a:srgbClr>
                </a:solidFill>
              </a:rPr>
              <a:pPr/>
              <a:t>‹nr.›</a:t>
            </a:fld>
            <a:endParaRPr lang="nl-NL" dirty="0">
              <a:solidFill>
                <a:srgbClr val="000000">
                  <a:tint val="75000"/>
                </a:srgbClr>
              </a:solidFill>
            </a:endParaRPr>
          </a:p>
        </p:txBody>
      </p:sp>
      <p:sp>
        <p:nvSpPr>
          <p:cNvPr id="11" name="Tijdelijke aanduiding voor Voetfoto_01"/>
          <p:cNvSpPr>
            <a:spLocks noGrp="1"/>
          </p:cNvSpPr>
          <p:nvPr>
            <p:ph type="pic" idx="13"/>
          </p:nvPr>
        </p:nvSpPr>
        <p:spPr>
          <a:xfrm>
            <a:off x="664109" y="1474610"/>
            <a:ext cx="1711832" cy="3887178"/>
          </a:xfrm>
          <a:noFill/>
          <a:ln w="12700">
            <a:noFill/>
            <a:miter lim="800000"/>
          </a:ln>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120" name="Tijdelijke aanduiding voor Tekst bij Voetfoto_01"/>
          <p:cNvSpPr>
            <a:spLocks noGrp="1"/>
          </p:cNvSpPr>
          <p:nvPr>
            <p:ph type="body" orient="vert" idx="15" hasCustomPrompt="1"/>
          </p:nvPr>
        </p:nvSpPr>
        <p:spPr>
          <a:xfrm>
            <a:off x="2594940" y="2260634"/>
            <a:ext cx="8939300" cy="3101155"/>
          </a:xfrm>
        </p:spPr>
        <p:txBody>
          <a:bodyPr vert="horz" lIns="0" tIns="0" rIns="0" bIns="0" numCol="1"/>
          <a:lstStyle>
            <a:lvl1pPr>
              <a:defRPr sz="1200"/>
            </a:lvl1pPr>
            <a:lvl2pPr marL="180975" indent="-180975">
              <a:defRPr sz="1200"/>
            </a:lvl2pPr>
            <a:lvl3pPr marL="360363" indent="-179388">
              <a:defRPr sz="1200"/>
            </a:lvl3pPr>
            <a:lvl4pPr marL="541338" indent="-180975">
              <a:defRPr sz="1200"/>
            </a:lvl4pPr>
            <a:lvl5pPr marL="265113" indent="-265113">
              <a:defRPr sz="1200"/>
            </a:lvl5pPr>
            <a:lvl6pPr marL="444500" indent="-179388">
              <a:defRPr sz="1200"/>
            </a:lvl6pPr>
            <a:lvl7pPr>
              <a:defRPr sz="1200"/>
            </a:lvl7pPr>
            <a:lvl8pPr>
              <a:defRPr sz="1200"/>
            </a:lvl8pPr>
            <a:lvl9pPr>
              <a:defRPr sz="1400"/>
            </a:lvl9pPr>
          </a:lstStyle>
          <a:p>
            <a:pPr lvl="0"/>
            <a:r>
              <a:rPr lang="nl-NL" dirty="0"/>
              <a:t>Leestekst</a:t>
            </a:r>
          </a:p>
          <a:p>
            <a:pPr lvl="1"/>
            <a:r>
              <a:rPr lang="nl-NL" dirty="0"/>
              <a:t>Bullets</a:t>
            </a:r>
          </a:p>
          <a:p>
            <a:pPr lvl="2"/>
            <a:r>
              <a:rPr lang="nl-NL" dirty="0"/>
              <a:t>Sub-bullets</a:t>
            </a:r>
          </a:p>
          <a:p>
            <a:pPr lvl="3"/>
            <a:r>
              <a:rPr lang="nl-NL" dirty="0"/>
              <a:t>Sub-sub-bullets</a:t>
            </a:r>
          </a:p>
          <a:p>
            <a:pPr lvl="4"/>
            <a:r>
              <a:rPr lang="nl-NL" dirty="0"/>
              <a:t>Numeriek</a:t>
            </a:r>
          </a:p>
          <a:p>
            <a:pPr lvl="5"/>
            <a:r>
              <a:rPr lang="nl-NL" dirty="0"/>
              <a:t># Bullets</a:t>
            </a:r>
          </a:p>
          <a:p>
            <a:pPr lvl="6"/>
            <a:r>
              <a:rPr lang="nl-NL" dirty="0"/>
              <a:t>Cursief donker</a:t>
            </a:r>
          </a:p>
          <a:p>
            <a:pPr lvl="7"/>
            <a:r>
              <a:rPr lang="nl-NL" dirty="0"/>
              <a:t>Cursief licht</a:t>
            </a:r>
          </a:p>
          <a:p>
            <a:pPr lvl="8"/>
            <a:r>
              <a:rPr lang="nl-NL" dirty="0"/>
              <a:t>Subtitel</a:t>
            </a:r>
          </a:p>
        </p:txBody>
      </p:sp>
      <p:sp>
        <p:nvSpPr>
          <p:cNvPr id="16" name="Tijdelijke aanduiding voor Subtitel"/>
          <p:cNvSpPr>
            <a:spLocks noGrp="1"/>
          </p:cNvSpPr>
          <p:nvPr>
            <p:ph type="body" idx="14"/>
          </p:nvPr>
        </p:nvSpPr>
        <p:spPr>
          <a:xfrm>
            <a:off x="664109" y="1001348"/>
            <a:ext cx="10870131" cy="317758"/>
          </a:xfrm>
        </p:spPr>
        <p:txBody>
          <a:bodyPr bIns="72000" anchor="t" anchorCtr="0"/>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2" name="Tijdelijke aanduiding voor Titel"/>
          <p:cNvSpPr>
            <a:spLocks noGrp="1"/>
          </p:cNvSpPr>
          <p:nvPr>
            <p:ph type="title"/>
          </p:nvPr>
        </p:nvSpPr>
        <p:spPr>
          <a:xfrm>
            <a:off x="664109" y="464521"/>
            <a:ext cx="10870131" cy="533219"/>
          </a:xfrm>
        </p:spPr>
        <p:txBody>
          <a:bodyPr/>
          <a:lstStyle/>
          <a:p>
            <a:r>
              <a:rPr lang="nl-NL"/>
              <a:t>Klik om stijl te bewerken</a:t>
            </a:r>
            <a:endParaRPr lang="nl-NL" dirty="0"/>
          </a:p>
        </p:txBody>
      </p:sp>
    </p:spTree>
    <p:extLst>
      <p:ext uri="{BB962C8B-B14F-4D97-AF65-F5344CB8AC3E}">
        <p14:creationId xmlns:p14="http://schemas.microsoft.com/office/powerpoint/2010/main" val="785798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MENU_ANIM">
    <p:spTree>
      <p:nvGrpSpPr>
        <p:cNvPr id="1" name=""/>
        <p:cNvGrpSpPr/>
        <p:nvPr/>
      </p:nvGrpSpPr>
      <p:grpSpPr>
        <a:xfrm>
          <a:off x="0" y="0"/>
          <a:ext cx="0" cy="0"/>
          <a:chOff x="0" y="0"/>
          <a:chExt cx="0" cy="0"/>
        </a:xfrm>
      </p:grpSpPr>
      <p:sp>
        <p:nvSpPr>
          <p:cNvPr id="67" name="Naam indeling - MENU_ANIM"/>
          <p:cNvSpPr txBox="1"/>
          <p:nvPr userDrawn="1"/>
        </p:nvSpPr>
        <p:spPr>
          <a:xfrm>
            <a:off x="1" y="-453266"/>
            <a:ext cx="3582333" cy="276999"/>
          </a:xfrm>
          <a:prstGeom prst="rect">
            <a:avLst/>
          </a:prstGeom>
          <a:noFill/>
        </p:spPr>
        <p:txBody>
          <a:bodyPr wrap="square" lIns="0" tIns="0" rIns="0" bIns="0" rtlCol="0">
            <a:spAutoFit/>
          </a:bodyPr>
          <a:lstStyle/>
          <a:p>
            <a:pPr defTabSz="914112"/>
            <a:r>
              <a:rPr lang="nl-NL" dirty="0">
                <a:solidFill>
                  <a:srgbClr val="404040"/>
                </a:solidFill>
                <a:latin typeface="Calibri" panose="020F0502020204030204" pitchFamily="34" charset="0"/>
              </a:rPr>
              <a:t>MENU_ANIM</a:t>
            </a:r>
            <a:endParaRPr lang="en-GB" dirty="0">
              <a:solidFill>
                <a:srgbClr val="404040"/>
              </a:solidFill>
              <a:latin typeface="Calibri" panose="020F0502020204030204" pitchFamily="34" charset="0"/>
            </a:endParaRPr>
          </a:p>
        </p:txBody>
      </p:sp>
      <p:grpSp>
        <p:nvGrpSpPr>
          <p:cNvPr id="20" name="Instructie - Hyperlink aanmaken"/>
          <p:cNvGrpSpPr/>
          <p:nvPr/>
        </p:nvGrpSpPr>
        <p:grpSpPr>
          <a:xfrm>
            <a:off x="12479070" y="4184537"/>
            <a:ext cx="2711112" cy="5221861"/>
            <a:chOff x="12441149" y="14897"/>
            <a:chExt cx="2710406" cy="5221861"/>
          </a:xfrm>
        </p:grpSpPr>
        <p:grpSp>
          <p:nvGrpSpPr>
            <p:cNvPr id="27" name="Groep 26"/>
            <p:cNvGrpSpPr/>
            <p:nvPr/>
          </p:nvGrpSpPr>
          <p:grpSpPr>
            <a:xfrm>
              <a:off x="12486425" y="1700551"/>
              <a:ext cx="276600" cy="277539"/>
              <a:chOff x="12486425" y="1700551"/>
              <a:chExt cx="276600" cy="277539"/>
            </a:xfrm>
          </p:grpSpPr>
          <p:sp>
            <p:nvSpPr>
              <p:cNvPr id="44" name="Ovaal 43"/>
              <p:cNvSpPr/>
              <p:nvPr/>
            </p:nvSpPr>
            <p:spPr>
              <a:xfrm>
                <a:off x="12491756" y="1700551"/>
                <a:ext cx="211685" cy="213802"/>
              </a:xfrm>
              <a:prstGeom prst="ellipse">
                <a:avLst/>
              </a:prstGeom>
              <a:noFill/>
              <a:ln w="158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45" name="Ovaal 44"/>
              <p:cNvSpPr/>
              <p:nvPr/>
            </p:nvSpPr>
            <p:spPr>
              <a:xfrm>
                <a:off x="12552711" y="1700551"/>
                <a:ext cx="89775" cy="213802"/>
              </a:xfrm>
              <a:prstGeom prst="ellipse">
                <a:avLst/>
              </a:prstGeom>
              <a:noFill/>
              <a:ln w="158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cxnSp>
            <p:nvCxnSpPr>
              <p:cNvPr id="46" name="Rechte verbindingslijn 45"/>
              <p:cNvCxnSpPr/>
              <p:nvPr/>
            </p:nvCxnSpPr>
            <p:spPr>
              <a:xfrm>
                <a:off x="12491756" y="1814916"/>
                <a:ext cx="211685" cy="0"/>
              </a:xfrm>
              <a:prstGeom prst="line">
                <a:avLst/>
              </a:prstGeom>
              <a:noFill/>
              <a:ln w="158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47" name="Rechte verbindingslijn 46"/>
              <p:cNvCxnSpPr/>
              <p:nvPr/>
            </p:nvCxnSpPr>
            <p:spPr>
              <a:xfrm>
                <a:off x="12502330" y="1762664"/>
                <a:ext cx="190536" cy="0"/>
              </a:xfrm>
              <a:prstGeom prst="line">
                <a:avLst/>
              </a:prstGeom>
              <a:noFill/>
              <a:ln w="158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48" name="Rechthoek: afgeronde hoeken 78"/>
              <p:cNvSpPr/>
              <p:nvPr/>
            </p:nvSpPr>
            <p:spPr>
              <a:xfrm>
                <a:off x="12486425" y="1844390"/>
                <a:ext cx="276600" cy="133700"/>
              </a:xfrm>
              <a:prstGeom prst="roundRect">
                <a:avLst>
                  <a:gd name="adj" fmla="val 4258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49" name="Vrije vorm: vorm 79"/>
              <p:cNvSpPr/>
              <p:nvPr/>
            </p:nvSpPr>
            <p:spPr>
              <a:xfrm>
                <a:off x="12517912" y="1869290"/>
                <a:ext cx="127323" cy="78974"/>
              </a:xfrm>
              <a:custGeom>
                <a:avLst/>
                <a:gdLst>
                  <a:gd name="connsiteX0" fmla="*/ 141826 w 141826"/>
                  <a:gd name="connsiteY0" fmla="*/ 37323 h 93306"/>
                  <a:gd name="connsiteX1" fmla="*/ 108235 w 141826"/>
                  <a:gd name="connsiteY1" fmla="*/ 3732 h 93306"/>
                  <a:gd name="connsiteX2" fmla="*/ 37323 w 141826"/>
                  <a:gd name="connsiteY2" fmla="*/ 0 h 93306"/>
                  <a:gd name="connsiteX3" fmla="*/ 0 w 141826"/>
                  <a:gd name="connsiteY3" fmla="*/ 41055 h 93306"/>
                  <a:gd name="connsiteX4" fmla="*/ 29858 w 141826"/>
                  <a:gd name="connsiteY4" fmla="*/ 93306 h 93306"/>
                  <a:gd name="connsiteX5" fmla="*/ 78378 w 141826"/>
                  <a:gd name="connsiteY5" fmla="*/ 89574 h 93306"/>
                  <a:gd name="connsiteX0" fmla="*/ 141826 w 141826"/>
                  <a:gd name="connsiteY0" fmla="*/ 37666 h 93649"/>
                  <a:gd name="connsiteX1" fmla="*/ 107420 w 141826"/>
                  <a:gd name="connsiteY1" fmla="*/ 0 h 93649"/>
                  <a:gd name="connsiteX2" fmla="*/ 37323 w 141826"/>
                  <a:gd name="connsiteY2" fmla="*/ 343 h 93649"/>
                  <a:gd name="connsiteX3" fmla="*/ 0 w 141826"/>
                  <a:gd name="connsiteY3" fmla="*/ 41398 h 93649"/>
                  <a:gd name="connsiteX4" fmla="*/ 29858 w 141826"/>
                  <a:gd name="connsiteY4" fmla="*/ 93649 h 93649"/>
                  <a:gd name="connsiteX5" fmla="*/ 78378 w 141826"/>
                  <a:gd name="connsiteY5" fmla="*/ 89917 h 93649"/>
                  <a:gd name="connsiteX0" fmla="*/ 141826 w 141826"/>
                  <a:gd name="connsiteY0" fmla="*/ 37666 h 93649"/>
                  <a:gd name="connsiteX1" fmla="*/ 107420 w 141826"/>
                  <a:gd name="connsiteY1" fmla="*/ 0 h 93649"/>
                  <a:gd name="connsiteX2" fmla="*/ 37323 w 141826"/>
                  <a:gd name="connsiteY2" fmla="*/ 343 h 93649"/>
                  <a:gd name="connsiteX3" fmla="*/ 0 w 141826"/>
                  <a:gd name="connsiteY3" fmla="*/ 41398 h 93649"/>
                  <a:gd name="connsiteX4" fmla="*/ 29858 w 141826"/>
                  <a:gd name="connsiteY4" fmla="*/ 93649 h 93649"/>
                  <a:gd name="connsiteX5" fmla="*/ 78378 w 141826"/>
                  <a:gd name="connsiteY5" fmla="*/ 89917 h 93649"/>
                  <a:gd name="connsiteX0" fmla="*/ 141826 w 141826"/>
                  <a:gd name="connsiteY0" fmla="*/ 37666 h 93649"/>
                  <a:gd name="connsiteX1" fmla="*/ 107420 w 141826"/>
                  <a:gd name="connsiteY1" fmla="*/ 0 h 93649"/>
                  <a:gd name="connsiteX2" fmla="*/ 37323 w 141826"/>
                  <a:gd name="connsiteY2" fmla="*/ 343 h 93649"/>
                  <a:gd name="connsiteX3" fmla="*/ 0 w 141826"/>
                  <a:gd name="connsiteY3" fmla="*/ 41398 h 93649"/>
                  <a:gd name="connsiteX4" fmla="*/ 29858 w 141826"/>
                  <a:gd name="connsiteY4" fmla="*/ 93649 h 93649"/>
                  <a:gd name="connsiteX5" fmla="*/ 79193 w 141826"/>
                  <a:gd name="connsiteY5" fmla="*/ 93177 h 93649"/>
                  <a:gd name="connsiteX0" fmla="*/ 141826 w 141826"/>
                  <a:gd name="connsiteY0" fmla="*/ 37666 h 93650"/>
                  <a:gd name="connsiteX1" fmla="*/ 107420 w 141826"/>
                  <a:gd name="connsiteY1" fmla="*/ 0 h 93650"/>
                  <a:gd name="connsiteX2" fmla="*/ 37323 w 141826"/>
                  <a:gd name="connsiteY2" fmla="*/ 343 h 93650"/>
                  <a:gd name="connsiteX3" fmla="*/ 0 w 141826"/>
                  <a:gd name="connsiteY3" fmla="*/ 41398 h 93650"/>
                  <a:gd name="connsiteX4" fmla="*/ 29858 w 141826"/>
                  <a:gd name="connsiteY4" fmla="*/ 93649 h 93650"/>
                  <a:gd name="connsiteX5" fmla="*/ 79193 w 141826"/>
                  <a:gd name="connsiteY5" fmla="*/ 93177 h 93650"/>
                  <a:gd name="connsiteX0" fmla="*/ 141826 w 141826"/>
                  <a:gd name="connsiteY0" fmla="*/ 37666 h 93650"/>
                  <a:gd name="connsiteX1" fmla="*/ 107420 w 141826"/>
                  <a:gd name="connsiteY1" fmla="*/ 0 h 93650"/>
                  <a:gd name="connsiteX2" fmla="*/ 37323 w 141826"/>
                  <a:gd name="connsiteY2" fmla="*/ 343 h 93650"/>
                  <a:gd name="connsiteX3" fmla="*/ 0 w 141826"/>
                  <a:gd name="connsiteY3" fmla="*/ 41398 h 93650"/>
                  <a:gd name="connsiteX4" fmla="*/ 29858 w 141826"/>
                  <a:gd name="connsiteY4" fmla="*/ 93649 h 93650"/>
                  <a:gd name="connsiteX5" fmla="*/ 79193 w 141826"/>
                  <a:gd name="connsiteY5" fmla="*/ 93177 h 93650"/>
                  <a:gd name="connsiteX0" fmla="*/ 141826 w 141826"/>
                  <a:gd name="connsiteY0" fmla="*/ 37666 h 93650"/>
                  <a:gd name="connsiteX1" fmla="*/ 107420 w 141826"/>
                  <a:gd name="connsiteY1" fmla="*/ 0 h 93650"/>
                  <a:gd name="connsiteX2" fmla="*/ 37323 w 141826"/>
                  <a:gd name="connsiteY2" fmla="*/ 343 h 93650"/>
                  <a:gd name="connsiteX3" fmla="*/ 0 w 141826"/>
                  <a:gd name="connsiteY3" fmla="*/ 41398 h 93650"/>
                  <a:gd name="connsiteX4" fmla="*/ 29858 w 141826"/>
                  <a:gd name="connsiteY4" fmla="*/ 93649 h 93650"/>
                  <a:gd name="connsiteX5" fmla="*/ 79193 w 141826"/>
                  <a:gd name="connsiteY5" fmla="*/ 93177 h 93650"/>
                  <a:gd name="connsiteX0" fmla="*/ 141555 w 141555"/>
                  <a:gd name="connsiteY0" fmla="*/ 37666 h 93650"/>
                  <a:gd name="connsiteX1" fmla="*/ 107149 w 141555"/>
                  <a:gd name="connsiteY1" fmla="*/ 0 h 93650"/>
                  <a:gd name="connsiteX2" fmla="*/ 37052 w 141555"/>
                  <a:gd name="connsiteY2" fmla="*/ 343 h 93650"/>
                  <a:gd name="connsiteX3" fmla="*/ 1 w 141555"/>
                  <a:gd name="connsiteY3" fmla="*/ 46832 h 93650"/>
                  <a:gd name="connsiteX4" fmla="*/ 29587 w 141555"/>
                  <a:gd name="connsiteY4" fmla="*/ 93649 h 93650"/>
                  <a:gd name="connsiteX5" fmla="*/ 78922 w 141555"/>
                  <a:gd name="connsiteY5" fmla="*/ 93177 h 93650"/>
                  <a:gd name="connsiteX0" fmla="*/ 142097 w 142097"/>
                  <a:gd name="connsiteY0" fmla="*/ 37666 h 93650"/>
                  <a:gd name="connsiteX1" fmla="*/ 107691 w 142097"/>
                  <a:gd name="connsiteY1" fmla="*/ 0 h 93650"/>
                  <a:gd name="connsiteX2" fmla="*/ 37594 w 142097"/>
                  <a:gd name="connsiteY2" fmla="*/ 343 h 93650"/>
                  <a:gd name="connsiteX3" fmla="*/ 0 w 142097"/>
                  <a:gd name="connsiteY3" fmla="*/ 45745 h 93650"/>
                  <a:gd name="connsiteX4" fmla="*/ 30129 w 142097"/>
                  <a:gd name="connsiteY4" fmla="*/ 93649 h 93650"/>
                  <a:gd name="connsiteX5" fmla="*/ 79464 w 142097"/>
                  <a:gd name="connsiteY5" fmla="*/ 93177 h 93650"/>
                  <a:gd name="connsiteX0" fmla="*/ 142151 w 142151"/>
                  <a:gd name="connsiteY0" fmla="*/ 37666 h 93177"/>
                  <a:gd name="connsiteX1" fmla="*/ 107745 w 142151"/>
                  <a:gd name="connsiteY1" fmla="*/ 0 h 93177"/>
                  <a:gd name="connsiteX2" fmla="*/ 37648 w 142151"/>
                  <a:gd name="connsiteY2" fmla="*/ 343 h 93177"/>
                  <a:gd name="connsiteX3" fmla="*/ 54 w 142151"/>
                  <a:gd name="connsiteY3" fmla="*/ 45745 h 93177"/>
                  <a:gd name="connsiteX4" fmla="*/ 30455 w 142151"/>
                  <a:gd name="connsiteY4" fmla="*/ 92834 h 93177"/>
                  <a:gd name="connsiteX5" fmla="*/ 79518 w 142151"/>
                  <a:gd name="connsiteY5" fmla="*/ 93177 h 93177"/>
                  <a:gd name="connsiteX0" fmla="*/ 142111 w 142111"/>
                  <a:gd name="connsiteY0" fmla="*/ 37666 h 93177"/>
                  <a:gd name="connsiteX1" fmla="*/ 107705 w 142111"/>
                  <a:gd name="connsiteY1" fmla="*/ 0 h 93177"/>
                  <a:gd name="connsiteX2" fmla="*/ 37608 w 142111"/>
                  <a:gd name="connsiteY2" fmla="*/ 343 h 93177"/>
                  <a:gd name="connsiteX3" fmla="*/ 14 w 142111"/>
                  <a:gd name="connsiteY3" fmla="*/ 45745 h 93177"/>
                  <a:gd name="connsiteX4" fmla="*/ 30415 w 142111"/>
                  <a:gd name="connsiteY4" fmla="*/ 92834 h 93177"/>
                  <a:gd name="connsiteX5" fmla="*/ 79478 w 142111"/>
                  <a:gd name="connsiteY5" fmla="*/ 93177 h 93177"/>
                  <a:gd name="connsiteX0" fmla="*/ 142111 w 142111"/>
                  <a:gd name="connsiteY0" fmla="*/ 37666 h 93177"/>
                  <a:gd name="connsiteX1" fmla="*/ 107705 w 142111"/>
                  <a:gd name="connsiteY1" fmla="*/ 0 h 93177"/>
                  <a:gd name="connsiteX2" fmla="*/ 37608 w 142111"/>
                  <a:gd name="connsiteY2" fmla="*/ 343 h 93177"/>
                  <a:gd name="connsiteX3" fmla="*/ 14 w 142111"/>
                  <a:gd name="connsiteY3" fmla="*/ 45745 h 93177"/>
                  <a:gd name="connsiteX4" fmla="*/ 30415 w 142111"/>
                  <a:gd name="connsiteY4" fmla="*/ 92834 h 93177"/>
                  <a:gd name="connsiteX5" fmla="*/ 79478 w 142111"/>
                  <a:gd name="connsiteY5" fmla="*/ 93177 h 9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111" h="93177">
                    <a:moveTo>
                      <a:pt x="142111" y="37666"/>
                    </a:moveTo>
                    <a:cubicBezTo>
                      <a:pt x="132000" y="23209"/>
                      <a:pt x="116185" y="600"/>
                      <a:pt x="107705" y="0"/>
                    </a:cubicBezTo>
                    <a:lnTo>
                      <a:pt x="37608" y="343"/>
                    </a:lnTo>
                    <a:cubicBezTo>
                      <a:pt x="25439" y="715"/>
                      <a:pt x="-689" y="17289"/>
                      <a:pt x="14" y="45745"/>
                    </a:cubicBezTo>
                    <a:cubicBezTo>
                      <a:pt x="717" y="74201"/>
                      <a:pt x="17745" y="93077"/>
                      <a:pt x="30415" y="92834"/>
                    </a:cubicBezTo>
                    <a:lnTo>
                      <a:pt x="79478" y="93177"/>
                    </a:lnTo>
                  </a:path>
                </a:pathLst>
              </a:custGeom>
              <a:noFill/>
              <a:ln w="28575"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50" name="Vrije vorm: vorm 80"/>
              <p:cNvSpPr/>
              <p:nvPr/>
            </p:nvSpPr>
            <p:spPr>
              <a:xfrm flipH="1" flipV="1">
                <a:off x="12605887" y="1869290"/>
                <a:ext cx="127323" cy="78974"/>
              </a:xfrm>
              <a:custGeom>
                <a:avLst/>
                <a:gdLst>
                  <a:gd name="connsiteX0" fmla="*/ 141826 w 141826"/>
                  <a:gd name="connsiteY0" fmla="*/ 37323 h 93306"/>
                  <a:gd name="connsiteX1" fmla="*/ 108235 w 141826"/>
                  <a:gd name="connsiteY1" fmla="*/ 3732 h 93306"/>
                  <a:gd name="connsiteX2" fmla="*/ 37323 w 141826"/>
                  <a:gd name="connsiteY2" fmla="*/ 0 h 93306"/>
                  <a:gd name="connsiteX3" fmla="*/ 0 w 141826"/>
                  <a:gd name="connsiteY3" fmla="*/ 41055 h 93306"/>
                  <a:gd name="connsiteX4" fmla="*/ 29858 w 141826"/>
                  <a:gd name="connsiteY4" fmla="*/ 93306 h 93306"/>
                  <a:gd name="connsiteX5" fmla="*/ 78378 w 141826"/>
                  <a:gd name="connsiteY5" fmla="*/ 89574 h 93306"/>
                  <a:gd name="connsiteX0" fmla="*/ 141826 w 141826"/>
                  <a:gd name="connsiteY0" fmla="*/ 37666 h 93649"/>
                  <a:gd name="connsiteX1" fmla="*/ 107420 w 141826"/>
                  <a:gd name="connsiteY1" fmla="*/ 0 h 93649"/>
                  <a:gd name="connsiteX2" fmla="*/ 37323 w 141826"/>
                  <a:gd name="connsiteY2" fmla="*/ 343 h 93649"/>
                  <a:gd name="connsiteX3" fmla="*/ 0 w 141826"/>
                  <a:gd name="connsiteY3" fmla="*/ 41398 h 93649"/>
                  <a:gd name="connsiteX4" fmla="*/ 29858 w 141826"/>
                  <a:gd name="connsiteY4" fmla="*/ 93649 h 93649"/>
                  <a:gd name="connsiteX5" fmla="*/ 78378 w 141826"/>
                  <a:gd name="connsiteY5" fmla="*/ 89917 h 93649"/>
                  <a:gd name="connsiteX0" fmla="*/ 141826 w 141826"/>
                  <a:gd name="connsiteY0" fmla="*/ 37666 h 93649"/>
                  <a:gd name="connsiteX1" fmla="*/ 107420 w 141826"/>
                  <a:gd name="connsiteY1" fmla="*/ 0 h 93649"/>
                  <a:gd name="connsiteX2" fmla="*/ 37323 w 141826"/>
                  <a:gd name="connsiteY2" fmla="*/ 343 h 93649"/>
                  <a:gd name="connsiteX3" fmla="*/ 0 w 141826"/>
                  <a:gd name="connsiteY3" fmla="*/ 41398 h 93649"/>
                  <a:gd name="connsiteX4" fmla="*/ 29858 w 141826"/>
                  <a:gd name="connsiteY4" fmla="*/ 93649 h 93649"/>
                  <a:gd name="connsiteX5" fmla="*/ 78378 w 141826"/>
                  <a:gd name="connsiteY5" fmla="*/ 89917 h 93649"/>
                  <a:gd name="connsiteX0" fmla="*/ 141826 w 141826"/>
                  <a:gd name="connsiteY0" fmla="*/ 37666 h 93649"/>
                  <a:gd name="connsiteX1" fmla="*/ 107420 w 141826"/>
                  <a:gd name="connsiteY1" fmla="*/ 0 h 93649"/>
                  <a:gd name="connsiteX2" fmla="*/ 37323 w 141826"/>
                  <a:gd name="connsiteY2" fmla="*/ 343 h 93649"/>
                  <a:gd name="connsiteX3" fmla="*/ 0 w 141826"/>
                  <a:gd name="connsiteY3" fmla="*/ 41398 h 93649"/>
                  <a:gd name="connsiteX4" fmla="*/ 29858 w 141826"/>
                  <a:gd name="connsiteY4" fmla="*/ 93649 h 93649"/>
                  <a:gd name="connsiteX5" fmla="*/ 79193 w 141826"/>
                  <a:gd name="connsiteY5" fmla="*/ 93177 h 93649"/>
                  <a:gd name="connsiteX0" fmla="*/ 141826 w 141826"/>
                  <a:gd name="connsiteY0" fmla="*/ 37666 h 93650"/>
                  <a:gd name="connsiteX1" fmla="*/ 107420 w 141826"/>
                  <a:gd name="connsiteY1" fmla="*/ 0 h 93650"/>
                  <a:gd name="connsiteX2" fmla="*/ 37323 w 141826"/>
                  <a:gd name="connsiteY2" fmla="*/ 343 h 93650"/>
                  <a:gd name="connsiteX3" fmla="*/ 0 w 141826"/>
                  <a:gd name="connsiteY3" fmla="*/ 41398 h 93650"/>
                  <a:gd name="connsiteX4" fmla="*/ 29858 w 141826"/>
                  <a:gd name="connsiteY4" fmla="*/ 93649 h 93650"/>
                  <a:gd name="connsiteX5" fmla="*/ 79193 w 141826"/>
                  <a:gd name="connsiteY5" fmla="*/ 93177 h 93650"/>
                  <a:gd name="connsiteX0" fmla="*/ 141826 w 141826"/>
                  <a:gd name="connsiteY0" fmla="*/ 37666 h 93650"/>
                  <a:gd name="connsiteX1" fmla="*/ 107420 w 141826"/>
                  <a:gd name="connsiteY1" fmla="*/ 0 h 93650"/>
                  <a:gd name="connsiteX2" fmla="*/ 37323 w 141826"/>
                  <a:gd name="connsiteY2" fmla="*/ 343 h 93650"/>
                  <a:gd name="connsiteX3" fmla="*/ 0 w 141826"/>
                  <a:gd name="connsiteY3" fmla="*/ 41398 h 93650"/>
                  <a:gd name="connsiteX4" fmla="*/ 29858 w 141826"/>
                  <a:gd name="connsiteY4" fmla="*/ 93649 h 93650"/>
                  <a:gd name="connsiteX5" fmla="*/ 79193 w 141826"/>
                  <a:gd name="connsiteY5" fmla="*/ 93177 h 93650"/>
                  <a:gd name="connsiteX0" fmla="*/ 141826 w 141826"/>
                  <a:gd name="connsiteY0" fmla="*/ 37666 h 93650"/>
                  <a:gd name="connsiteX1" fmla="*/ 107420 w 141826"/>
                  <a:gd name="connsiteY1" fmla="*/ 0 h 93650"/>
                  <a:gd name="connsiteX2" fmla="*/ 37323 w 141826"/>
                  <a:gd name="connsiteY2" fmla="*/ 343 h 93650"/>
                  <a:gd name="connsiteX3" fmla="*/ 0 w 141826"/>
                  <a:gd name="connsiteY3" fmla="*/ 41398 h 93650"/>
                  <a:gd name="connsiteX4" fmla="*/ 29858 w 141826"/>
                  <a:gd name="connsiteY4" fmla="*/ 93649 h 93650"/>
                  <a:gd name="connsiteX5" fmla="*/ 79193 w 141826"/>
                  <a:gd name="connsiteY5" fmla="*/ 93177 h 93650"/>
                  <a:gd name="connsiteX0" fmla="*/ 141555 w 141555"/>
                  <a:gd name="connsiteY0" fmla="*/ 37666 h 93650"/>
                  <a:gd name="connsiteX1" fmla="*/ 107149 w 141555"/>
                  <a:gd name="connsiteY1" fmla="*/ 0 h 93650"/>
                  <a:gd name="connsiteX2" fmla="*/ 37052 w 141555"/>
                  <a:gd name="connsiteY2" fmla="*/ 343 h 93650"/>
                  <a:gd name="connsiteX3" fmla="*/ 1 w 141555"/>
                  <a:gd name="connsiteY3" fmla="*/ 46832 h 93650"/>
                  <a:gd name="connsiteX4" fmla="*/ 29587 w 141555"/>
                  <a:gd name="connsiteY4" fmla="*/ 93649 h 93650"/>
                  <a:gd name="connsiteX5" fmla="*/ 78922 w 141555"/>
                  <a:gd name="connsiteY5" fmla="*/ 93177 h 93650"/>
                  <a:gd name="connsiteX0" fmla="*/ 142097 w 142097"/>
                  <a:gd name="connsiteY0" fmla="*/ 37666 h 93650"/>
                  <a:gd name="connsiteX1" fmla="*/ 107691 w 142097"/>
                  <a:gd name="connsiteY1" fmla="*/ 0 h 93650"/>
                  <a:gd name="connsiteX2" fmla="*/ 37594 w 142097"/>
                  <a:gd name="connsiteY2" fmla="*/ 343 h 93650"/>
                  <a:gd name="connsiteX3" fmla="*/ 0 w 142097"/>
                  <a:gd name="connsiteY3" fmla="*/ 45745 h 93650"/>
                  <a:gd name="connsiteX4" fmla="*/ 30129 w 142097"/>
                  <a:gd name="connsiteY4" fmla="*/ 93649 h 93650"/>
                  <a:gd name="connsiteX5" fmla="*/ 79464 w 142097"/>
                  <a:gd name="connsiteY5" fmla="*/ 93177 h 93650"/>
                  <a:gd name="connsiteX0" fmla="*/ 142151 w 142151"/>
                  <a:gd name="connsiteY0" fmla="*/ 37666 h 93177"/>
                  <a:gd name="connsiteX1" fmla="*/ 107745 w 142151"/>
                  <a:gd name="connsiteY1" fmla="*/ 0 h 93177"/>
                  <a:gd name="connsiteX2" fmla="*/ 37648 w 142151"/>
                  <a:gd name="connsiteY2" fmla="*/ 343 h 93177"/>
                  <a:gd name="connsiteX3" fmla="*/ 54 w 142151"/>
                  <a:gd name="connsiteY3" fmla="*/ 45745 h 93177"/>
                  <a:gd name="connsiteX4" fmla="*/ 30455 w 142151"/>
                  <a:gd name="connsiteY4" fmla="*/ 92834 h 93177"/>
                  <a:gd name="connsiteX5" fmla="*/ 79518 w 142151"/>
                  <a:gd name="connsiteY5" fmla="*/ 93177 h 93177"/>
                  <a:gd name="connsiteX0" fmla="*/ 142111 w 142111"/>
                  <a:gd name="connsiteY0" fmla="*/ 37666 h 93177"/>
                  <a:gd name="connsiteX1" fmla="*/ 107705 w 142111"/>
                  <a:gd name="connsiteY1" fmla="*/ 0 h 93177"/>
                  <a:gd name="connsiteX2" fmla="*/ 37608 w 142111"/>
                  <a:gd name="connsiteY2" fmla="*/ 343 h 93177"/>
                  <a:gd name="connsiteX3" fmla="*/ 14 w 142111"/>
                  <a:gd name="connsiteY3" fmla="*/ 45745 h 93177"/>
                  <a:gd name="connsiteX4" fmla="*/ 30415 w 142111"/>
                  <a:gd name="connsiteY4" fmla="*/ 92834 h 93177"/>
                  <a:gd name="connsiteX5" fmla="*/ 79478 w 142111"/>
                  <a:gd name="connsiteY5" fmla="*/ 93177 h 93177"/>
                  <a:gd name="connsiteX0" fmla="*/ 142111 w 142111"/>
                  <a:gd name="connsiteY0" fmla="*/ 37666 h 93177"/>
                  <a:gd name="connsiteX1" fmla="*/ 107705 w 142111"/>
                  <a:gd name="connsiteY1" fmla="*/ 0 h 93177"/>
                  <a:gd name="connsiteX2" fmla="*/ 37608 w 142111"/>
                  <a:gd name="connsiteY2" fmla="*/ 343 h 93177"/>
                  <a:gd name="connsiteX3" fmla="*/ 14 w 142111"/>
                  <a:gd name="connsiteY3" fmla="*/ 45745 h 93177"/>
                  <a:gd name="connsiteX4" fmla="*/ 30415 w 142111"/>
                  <a:gd name="connsiteY4" fmla="*/ 92834 h 93177"/>
                  <a:gd name="connsiteX5" fmla="*/ 79478 w 142111"/>
                  <a:gd name="connsiteY5" fmla="*/ 93177 h 9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111" h="93177">
                    <a:moveTo>
                      <a:pt x="142111" y="37666"/>
                    </a:moveTo>
                    <a:cubicBezTo>
                      <a:pt x="132000" y="23209"/>
                      <a:pt x="116185" y="600"/>
                      <a:pt x="107705" y="0"/>
                    </a:cubicBezTo>
                    <a:lnTo>
                      <a:pt x="37608" y="343"/>
                    </a:lnTo>
                    <a:cubicBezTo>
                      <a:pt x="25439" y="715"/>
                      <a:pt x="-689" y="17289"/>
                      <a:pt x="14" y="45745"/>
                    </a:cubicBezTo>
                    <a:cubicBezTo>
                      <a:pt x="717" y="74201"/>
                      <a:pt x="17745" y="93077"/>
                      <a:pt x="30415" y="92834"/>
                    </a:cubicBezTo>
                    <a:lnTo>
                      <a:pt x="79478" y="93177"/>
                    </a:lnTo>
                  </a:path>
                </a:pathLst>
              </a:custGeom>
              <a:noFill/>
              <a:ln w="28575"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grpSp>
        <p:grpSp>
          <p:nvGrpSpPr>
            <p:cNvPr id="29" name="Groep 28"/>
            <p:cNvGrpSpPr/>
            <p:nvPr/>
          </p:nvGrpSpPr>
          <p:grpSpPr>
            <a:xfrm>
              <a:off x="12441149" y="14897"/>
              <a:ext cx="2710406" cy="5221861"/>
              <a:chOff x="12441149" y="14897"/>
              <a:chExt cx="2710406" cy="5221861"/>
            </a:xfrm>
          </p:grpSpPr>
          <p:grpSp>
            <p:nvGrpSpPr>
              <p:cNvPr id="30" name="Groep 29"/>
              <p:cNvGrpSpPr/>
              <p:nvPr/>
            </p:nvGrpSpPr>
            <p:grpSpPr>
              <a:xfrm>
                <a:off x="12441149" y="14897"/>
                <a:ext cx="2710406" cy="5221861"/>
                <a:chOff x="12441149" y="14897"/>
                <a:chExt cx="2710406" cy="5221861"/>
              </a:xfrm>
            </p:grpSpPr>
            <p:sp>
              <p:nvSpPr>
                <p:cNvPr id="32" name="Rechthoek 31"/>
                <p:cNvSpPr/>
                <p:nvPr/>
              </p:nvSpPr>
              <p:spPr>
                <a:xfrm>
                  <a:off x="12441150" y="14897"/>
                  <a:ext cx="2696270" cy="161771"/>
                </a:xfrm>
                <a:prstGeom prst="rect">
                  <a:avLst/>
                </a:prstGeom>
                <a:noFill/>
                <a:ln w="25400" cap="flat" cmpd="sng" algn="ctr">
                  <a:noFill/>
                  <a:prstDash val="solid"/>
                </a:ln>
                <a:effectLst/>
              </p:spPr>
              <p:txBody>
                <a:bodyPr lIns="0" tIns="0" rIns="0" bIns="0" rtlCol="0" anchor="t"/>
                <a:lstStyle/>
                <a:p>
                  <a:pPr defTabSz="914112">
                    <a:lnSpc>
                      <a:spcPct val="80000"/>
                    </a:lnSpc>
                  </a:pPr>
                  <a:r>
                    <a:rPr lang="nl-NL" sz="1600" b="1" kern="0" cap="all" dirty="0">
                      <a:solidFill>
                        <a:srgbClr val="ED1A3B"/>
                      </a:solidFill>
                      <a:cs typeface="Segoe UI Light" panose="020B0502040204020203" pitchFamily="34" charset="0"/>
                    </a:rPr>
                    <a:t>Hyperlink aanmaken</a:t>
                  </a:r>
                </a:p>
              </p:txBody>
            </p:sp>
            <p:sp>
              <p:nvSpPr>
                <p:cNvPr id="33" name="Tekstvak 33"/>
                <p:cNvSpPr txBox="1"/>
                <p:nvPr/>
              </p:nvSpPr>
              <p:spPr>
                <a:xfrm>
                  <a:off x="12441149" y="814239"/>
                  <a:ext cx="2710405" cy="719877"/>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Selecteer het ingevoegde icoon of transparante kader en ga met rechtermuisknop naar </a:t>
                  </a:r>
                  <a:r>
                    <a:rPr lang="nl-NL" sz="1200" u="sng" kern="0" dirty="0">
                      <a:solidFill>
                        <a:srgbClr val="000000"/>
                      </a:solidFill>
                      <a:latin typeface="Trebuchet MS"/>
                      <a:cs typeface="Segoe UI Light" panose="020B0502040204020203" pitchFamily="34" charset="0"/>
                    </a:rPr>
                    <a:t>H</a:t>
                  </a:r>
                  <a:r>
                    <a:rPr lang="nl-NL" sz="1200" kern="0" dirty="0">
                      <a:solidFill>
                        <a:srgbClr val="000000"/>
                      </a:solidFill>
                      <a:latin typeface="Trebuchet MS"/>
                      <a:cs typeface="Segoe UI Light" panose="020B0502040204020203" pitchFamily="34" charset="0"/>
                    </a:rPr>
                    <a:t>yperlink…</a:t>
                  </a:r>
                  <a:br>
                    <a:rPr lang="nl-NL" sz="1200" kern="0" dirty="0">
                      <a:solidFill>
                        <a:srgbClr val="000000"/>
                      </a:solidFill>
                      <a:latin typeface="Trebuchet MS"/>
                      <a:cs typeface="Segoe UI Light" panose="020B0502040204020203" pitchFamily="34" charset="0"/>
                    </a:rPr>
                  </a:br>
                  <a:r>
                    <a:rPr lang="nl-NL" sz="1100" i="1" kern="0" dirty="0">
                      <a:solidFill>
                        <a:srgbClr val="000000"/>
                      </a:solidFill>
                      <a:latin typeface="Trebuchet MS"/>
                      <a:cs typeface="Segoe UI Light" panose="020B0502040204020203" pitchFamily="34" charset="0"/>
                    </a:rPr>
                    <a:t>(zie onderstaand voorbeeld).</a:t>
                  </a:r>
                </a:p>
              </p:txBody>
            </p:sp>
            <p:sp>
              <p:nvSpPr>
                <p:cNvPr id="37" name="Tekstvak 33"/>
                <p:cNvSpPr txBox="1"/>
                <p:nvPr/>
              </p:nvSpPr>
              <p:spPr>
                <a:xfrm>
                  <a:off x="12441149" y="2793904"/>
                  <a:ext cx="2710405" cy="395943"/>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Selecteer tab: </a:t>
                  </a:r>
                  <a:r>
                    <a:rPr lang="nl-NL" sz="1200" i="1" kern="0" dirty="0">
                      <a:solidFill>
                        <a:srgbClr val="000000"/>
                      </a:solidFill>
                      <a:latin typeface="Trebuchet MS"/>
                      <a:cs typeface="Segoe UI Light" panose="020B0502040204020203" pitchFamily="34" charset="0"/>
                    </a:rPr>
                    <a:t>‘Plaats in dit document’ </a:t>
                  </a:r>
                  <a:r>
                    <a:rPr lang="nl-NL" sz="1200" kern="0" dirty="0">
                      <a:solidFill>
                        <a:srgbClr val="000000"/>
                      </a:solidFill>
                      <a:latin typeface="Trebuchet MS"/>
                      <a:cs typeface="Segoe UI Light" panose="020B0502040204020203" pitchFamily="34" charset="0"/>
                    </a:rPr>
                    <a:t>en selecteer hierna bij </a:t>
                  </a:r>
                  <a:r>
                    <a:rPr lang="nl-NL" sz="1200" b="1" kern="0" dirty="0">
                      <a:solidFill>
                        <a:srgbClr val="000000"/>
                      </a:solidFill>
                      <a:latin typeface="Trebuchet MS"/>
                      <a:cs typeface="Segoe UI Light" panose="020B0502040204020203" pitchFamily="34" charset="0"/>
                    </a:rPr>
                    <a:t>‘Diatitels’ </a:t>
                  </a:r>
                  <a:r>
                    <a:rPr lang="nl-NL" sz="1200" kern="0" dirty="0">
                      <a:solidFill>
                        <a:srgbClr val="000000"/>
                      </a:solidFill>
                      <a:latin typeface="Trebuchet MS"/>
                      <a:cs typeface="Segoe UI Light" panose="020B0502040204020203" pitchFamily="34" charset="0"/>
                    </a:rPr>
                    <a:t>de slide waar u naar wilt linken. Klik vervolgens  op </a:t>
                  </a:r>
                  <a:r>
                    <a:rPr lang="nl-NL" sz="1200" b="1" kern="0" dirty="0">
                      <a:solidFill>
                        <a:srgbClr val="000000"/>
                      </a:solidFill>
                      <a:latin typeface="Trebuchet MS"/>
                      <a:cs typeface="Segoe UI Light" panose="020B0502040204020203" pitchFamily="34" charset="0"/>
                    </a:rPr>
                    <a:t>‘OK’</a:t>
                  </a:r>
                </a:p>
              </p:txBody>
            </p:sp>
            <p:sp>
              <p:nvSpPr>
                <p:cNvPr id="38" name="Ovaal 37"/>
                <p:cNvSpPr/>
                <p:nvPr/>
              </p:nvSpPr>
              <p:spPr>
                <a:xfrm>
                  <a:off x="12441150" y="379292"/>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1</a:t>
                  </a:r>
                </a:p>
              </p:txBody>
            </p:sp>
            <p:sp>
              <p:nvSpPr>
                <p:cNvPr id="39" name="Ovaal 38"/>
                <p:cNvSpPr/>
                <p:nvPr/>
              </p:nvSpPr>
              <p:spPr>
                <a:xfrm>
                  <a:off x="12441150" y="2337208"/>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2</a:t>
                  </a:r>
                </a:p>
              </p:txBody>
            </p:sp>
            <p:cxnSp>
              <p:nvCxnSpPr>
                <p:cNvPr id="40" name="Rechte verbindingslijn 39"/>
                <p:cNvCxnSpPr/>
                <p:nvPr/>
              </p:nvCxnSpPr>
              <p:spPr>
                <a:xfrm>
                  <a:off x="12441150" y="248176"/>
                  <a:ext cx="2710405" cy="0"/>
                </a:xfrm>
                <a:prstGeom prst="line">
                  <a:avLst/>
                </a:prstGeom>
                <a:noFill/>
                <a:ln w="9525" cap="flat" cmpd="sng" algn="ctr">
                  <a:solidFill>
                    <a:schemeClr val="accent1"/>
                  </a:solidFill>
                  <a:prstDash val="solid"/>
                </a:ln>
                <a:effectLst/>
              </p:spPr>
            </p:cxnSp>
            <p:cxnSp>
              <p:nvCxnSpPr>
                <p:cNvPr id="41" name="Rechte verbindingslijn 40"/>
                <p:cNvCxnSpPr/>
                <p:nvPr/>
              </p:nvCxnSpPr>
              <p:spPr>
                <a:xfrm>
                  <a:off x="12441149" y="2212830"/>
                  <a:ext cx="2710405" cy="0"/>
                </a:xfrm>
                <a:prstGeom prst="line">
                  <a:avLst/>
                </a:prstGeom>
                <a:noFill/>
                <a:ln w="9525" cap="flat" cmpd="sng" algn="ctr">
                  <a:solidFill>
                    <a:schemeClr val="accent1"/>
                  </a:solidFill>
                  <a:prstDash val="solid"/>
                </a:ln>
                <a:effectLst/>
              </p:spPr>
            </p:cxnSp>
            <p:cxnSp>
              <p:nvCxnSpPr>
                <p:cNvPr id="42" name="Rechte verbindingslijn 41"/>
                <p:cNvCxnSpPr/>
                <p:nvPr/>
              </p:nvCxnSpPr>
              <p:spPr>
                <a:xfrm>
                  <a:off x="12444679" y="5236758"/>
                  <a:ext cx="2706875" cy="0"/>
                </a:xfrm>
                <a:prstGeom prst="line">
                  <a:avLst/>
                </a:prstGeom>
                <a:noFill/>
                <a:ln w="9525" cap="flat" cmpd="sng" algn="ctr">
                  <a:solidFill>
                    <a:schemeClr val="accent1"/>
                  </a:solidFill>
                  <a:prstDash val="solid"/>
                </a:ln>
                <a:effectLst/>
              </p:spPr>
            </p:cxnSp>
            <p:sp>
              <p:nvSpPr>
                <p:cNvPr id="43" name="Tekstvak 33"/>
                <p:cNvSpPr txBox="1"/>
                <p:nvPr/>
              </p:nvSpPr>
              <p:spPr>
                <a:xfrm>
                  <a:off x="12961946" y="1702639"/>
                  <a:ext cx="1287094" cy="298430"/>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600" u="sng" kern="0" dirty="0">
                      <a:solidFill>
                        <a:srgbClr val="000000"/>
                      </a:solidFill>
                      <a:latin typeface="Trebuchet MS"/>
                      <a:cs typeface="Segoe UI Light" panose="020B0502040204020203" pitchFamily="34" charset="0"/>
                    </a:rPr>
                    <a:t>H</a:t>
                  </a:r>
                  <a:r>
                    <a:rPr lang="nl-NL" sz="1600" kern="0" dirty="0">
                      <a:solidFill>
                        <a:srgbClr val="000000"/>
                      </a:solidFill>
                      <a:latin typeface="Trebuchet MS"/>
                      <a:cs typeface="Segoe UI Light" panose="020B0502040204020203" pitchFamily="34" charset="0"/>
                    </a:rPr>
                    <a:t>yperlink…</a:t>
                  </a:r>
                  <a:endParaRPr lang="nl-NL" sz="1400" i="1" kern="0" dirty="0">
                    <a:solidFill>
                      <a:srgbClr val="000000"/>
                    </a:solidFill>
                    <a:latin typeface="Trebuchet MS"/>
                    <a:cs typeface="Segoe UI Light" panose="020B0502040204020203" pitchFamily="34" charset="0"/>
                  </a:endParaRPr>
                </a:p>
              </p:txBody>
            </p:sp>
          </p:grpSp>
          <p:pic>
            <p:nvPicPr>
              <p:cNvPr id="31" name="Afbeelding 30"/>
              <p:cNvPicPr>
                <a:picLocks noChangeAspect="1"/>
              </p:cNvPicPr>
              <p:nvPr/>
            </p:nvPicPr>
            <p:blipFill rotWithShape="1">
              <a:blip r:embed="rId2"/>
              <a:srcRect l="541" t="1090" b="517"/>
              <a:stretch/>
            </p:blipFill>
            <p:spPr>
              <a:xfrm>
                <a:off x="12459242" y="3770920"/>
                <a:ext cx="2678178" cy="1300095"/>
              </a:xfrm>
              <a:prstGeom prst="round2SameRect">
                <a:avLst>
                  <a:gd name="adj1" fmla="val 2077"/>
                  <a:gd name="adj2" fmla="val 0"/>
                </a:avLst>
              </a:prstGeom>
              <a:ln w="3175">
                <a:solidFill>
                  <a:schemeClr val="tx1"/>
                </a:solidFill>
              </a:ln>
            </p:spPr>
          </p:pic>
        </p:grpSp>
      </p:grpSp>
      <p:grpSp>
        <p:nvGrpSpPr>
          <p:cNvPr id="91" name="Instructie - Afbeelding invoegen"/>
          <p:cNvGrpSpPr/>
          <p:nvPr userDrawn="1"/>
        </p:nvGrpSpPr>
        <p:grpSpPr>
          <a:xfrm>
            <a:off x="12437931" y="14898"/>
            <a:ext cx="2717569" cy="3676571"/>
            <a:chOff x="12434693" y="14897"/>
            <a:chExt cx="2716862" cy="3676571"/>
          </a:xfrm>
        </p:grpSpPr>
        <p:sp>
          <p:nvSpPr>
            <p:cNvPr id="92" name="Rechthoek 91"/>
            <p:cNvSpPr/>
            <p:nvPr/>
          </p:nvSpPr>
          <p:spPr>
            <a:xfrm>
              <a:off x="12441150" y="14897"/>
              <a:ext cx="2696270" cy="161771"/>
            </a:xfrm>
            <a:prstGeom prst="rect">
              <a:avLst/>
            </a:prstGeom>
            <a:noFill/>
            <a:ln w="25400" cap="flat" cmpd="sng" algn="ctr">
              <a:noFill/>
              <a:prstDash val="solid"/>
            </a:ln>
            <a:effectLst/>
          </p:spPr>
          <p:txBody>
            <a:bodyPr lIns="0" tIns="0" rIns="0" bIns="0" rtlCol="0" anchor="t"/>
            <a:lstStyle/>
            <a:p>
              <a:pPr defTabSz="914112">
                <a:lnSpc>
                  <a:spcPct val="80000"/>
                </a:lnSpc>
              </a:pPr>
              <a:r>
                <a:rPr lang="nl-NL" sz="1600" b="1" kern="0" cap="all" dirty="0">
                  <a:solidFill>
                    <a:srgbClr val="ED1A3B"/>
                  </a:solidFill>
                  <a:cs typeface="Segoe UI Light" panose="020B0502040204020203" pitchFamily="34" charset="0"/>
                </a:rPr>
                <a:t>AFBEELDING INVOEGEN</a:t>
              </a:r>
            </a:p>
          </p:txBody>
        </p:sp>
        <p:sp>
          <p:nvSpPr>
            <p:cNvPr id="93" name="Tekstvak 33"/>
            <p:cNvSpPr txBox="1"/>
            <p:nvPr/>
          </p:nvSpPr>
          <p:spPr>
            <a:xfrm>
              <a:off x="12441149" y="814239"/>
              <a:ext cx="2710405" cy="719877"/>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Indien nodig, verwijder de bestaande afbeelding. Klik op het pictogram </a:t>
              </a:r>
              <a:br>
                <a:rPr lang="nl-NL" sz="1200" kern="0" dirty="0">
                  <a:solidFill>
                    <a:srgbClr val="000000"/>
                  </a:solidFill>
                  <a:latin typeface="Trebuchet MS"/>
                  <a:cs typeface="Segoe UI Light" panose="020B0502040204020203" pitchFamily="34" charset="0"/>
                </a:rPr>
              </a:br>
              <a:r>
                <a:rPr lang="nl-NL" sz="1200" kern="0" dirty="0">
                  <a:solidFill>
                    <a:srgbClr val="000000"/>
                  </a:solidFill>
                  <a:latin typeface="Trebuchet MS"/>
                  <a:cs typeface="Segoe UI Light" panose="020B0502040204020203" pitchFamily="34" charset="0"/>
                </a:rPr>
                <a:t>om een afbeelding in te voegen</a:t>
              </a:r>
              <a:br>
                <a:rPr lang="nl-NL" sz="1200" kern="0" dirty="0">
                  <a:solidFill>
                    <a:srgbClr val="000000"/>
                  </a:solidFill>
                  <a:latin typeface="Trebuchet MS"/>
                  <a:cs typeface="Segoe UI Light" panose="020B0502040204020203" pitchFamily="34" charset="0"/>
                </a:rPr>
              </a:br>
              <a:r>
                <a:rPr lang="nl-NL" sz="1100" i="1" kern="0" dirty="0">
                  <a:solidFill>
                    <a:srgbClr val="000000"/>
                  </a:solidFill>
                  <a:latin typeface="Trebuchet MS"/>
                  <a:cs typeface="Segoe UI Light" panose="020B0502040204020203" pitchFamily="34" charset="0"/>
                </a:rPr>
                <a:t>(zie onderstaand voorbeeld).</a:t>
              </a:r>
            </a:p>
          </p:txBody>
        </p:sp>
        <p:sp>
          <p:nvSpPr>
            <p:cNvPr id="94" name="Tekstvak 33"/>
            <p:cNvSpPr txBox="1"/>
            <p:nvPr/>
          </p:nvSpPr>
          <p:spPr>
            <a:xfrm>
              <a:off x="12441149" y="2793904"/>
              <a:ext cx="2710405" cy="395943"/>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Selecteer de afbeelding die u wilt invoegen en klik op </a:t>
              </a:r>
              <a:r>
                <a:rPr lang="nl-NL" sz="1200" b="1" kern="0" dirty="0">
                  <a:solidFill>
                    <a:srgbClr val="000000"/>
                  </a:solidFill>
                  <a:latin typeface="Trebuchet MS"/>
                  <a:cs typeface="Segoe UI Light" panose="020B0502040204020203" pitchFamily="34" charset="0"/>
                </a:rPr>
                <a:t>‘Invoegen’</a:t>
              </a:r>
            </a:p>
          </p:txBody>
        </p:sp>
        <p:sp>
          <p:nvSpPr>
            <p:cNvPr id="95" name="Ovaal 94"/>
            <p:cNvSpPr/>
            <p:nvPr/>
          </p:nvSpPr>
          <p:spPr>
            <a:xfrm>
              <a:off x="12441150" y="379292"/>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1</a:t>
              </a:r>
            </a:p>
          </p:txBody>
        </p:sp>
        <p:sp>
          <p:nvSpPr>
            <p:cNvPr id="96" name="Ovaal 95"/>
            <p:cNvSpPr/>
            <p:nvPr/>
          </p:nvSpPr>
          <p:spPr>
            <a:xfrm>
              <a:off x="12441150" y="2337208"/>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2</a:t>
              </a:r>
            </a:p>
          </p:txBody>
        </p:sp>
        <p:cxnSp>
          <p:nvCxnSpPr>
            <p:cNvPr id="97" name="Rechte verbindingslijn 96"/>
            <p:cNvCxnSpPr/>
            <p:nvPr/>
          </p:nvCxnSpPr>
          <p:spPr>
            <a:xfrm>
              <a:off x="12441150" y="248176"/>
              <a:ext cx="2710405" cy="0"/>
            </a:xfrm>
            <a:prstGeom prst="line">
              <a:avLst/>
            </a:prstGeom>
            <a:noFill/>
            <a:ln w="9525" cap="flat" cmpd="sng" algn="ctr">
              <a:solidFill>
                <a:schemeClr val="accent1"/>
              </a:solidFill>
              <a:prstDash val="solid"/>
            </a:ln>
            <a:effectLst/>
          </p:spPr>
        </p:cxnSp>
        <p:cxnSp>
          <p:nvCxnSpPr>
            <p:cNvPr id="98" name="Rechte verbindingslijn 97"/>
            <p:cNvCxnSpPr/>
            <p:nvPr/>
          </p:nvCxnSpPr>
          <p:spPr>
            <a:xfrm>
              <a:off x="12441149" y="2212830"/>
              <a:ext cx="2710405" cy="0"/>
            </a:xfrm>
            <a:prstGeom prst="line">
              <a:avLst/>
            </a:prstGeom>
            <a:noFill/>
            <a:ln w="9525" cap="flat" cmpd="sng" algn="ctr">
              <a:solidFill>
                <a:schemeClr val="accent1"/>
              </a:solidFill>
              <a:prstDash val="solid"/>
            </a:ln>
            <a:effectLst/>
          </p:spPr>
        </p:cxnSp>
        <p:cxnSp>
          <p:nvCxnSpPr>
            <p:cNvPr id="99" name="Rechte verbindingslijn 98"/>
            <p:cNvCxnSpPr/>
            <p:nvPr/>
          </p:nvCxnSpPr>
          <p:spPr>
            <a:xfrm>
              <a:off x="12444679" y="3691468"/>
              <a:ext cx="2706875" cy="0"/>
            </a:xfrm>
            <a:prstGeom prst="line">
              <a:avLst/>
            </a:prstGeom>
            <a:noFill/>
            <a:ln w="9525" cap="flat" cmpd="sng" algn="ctr">
              <a:solidFill>
                <a:schemeClr val="accent1"/>
              </a:solidFill>
              <a:prstDash val="solid"/>
            </a:ln>
            <a:effectLst/>
          </p:spPr>
        </p:cxnSp>
        <p:pic>
          <p:nvPicPr>
            <p:cNvPr id="100" name="Icoontje afbeeldi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434693" y="1677764"/>
              <a:ext cx="403210" cy="403210"/>
            </a:xfrm>
            <a:prstGeom prst="rect">
              <a:avLst/>
            </a:prstGeom>
          </p:spPr>
        </p:pic>
        <p:grpSp>
          <p:nvGrpSpPr>
            <p:cNvPr id="101" name="Groep 100"/>
            <p:cNvGrpSpPr/>
            <p:nvPr/>
          </p:nvGrpSpPr>
          <p:grpSpPr>
            <a:xfrm>
              <a:off x="12450571" y="3301369"/>
              <a:ext cx="1002992" cy="267962"/>
              <a:chOff x="13560784" y="3471416"/>
              <a:chExt cx="1114138" cy="297656"/>
            </a:xfrm>
          </p:grpSpPr>
          <p:sp>
            <p:nvSpPr>
              <p:cNvPr id="102" name="Afgeronde rechthoek 88"/>
              <p:cNvSpPr/>
              <p:nvPr/>
            </p:nvSpPr>
            <p:spPr>
              <a:xfrm>
                <a:off x="13560784" y="3471416"/>
                <a:ext cx="1114138" cy="297656"/>
              </a:xfrm>
              <a:prstGeom prst="roundRect">
                <a:avLst/>
              </a:prstGeom>
              <a:gradFill flip="none" rotWithShape="1">
                <a:gsLst>
                  <a:gs pos="4000">
                    <a:srgbClr val="00B0F0"/>
                  </a:gs>
                  <a:gs pos="0">
                    <a:srgbClr val="0070C0"/>
                  </a:gs>
                  <a:gs pos="100000">
                    <a:srgbClr val="0070C0"/>
                  </a:gs>
                  <a:gs pos="12000">
                    <a:srgbClr val="D1EAFF"/>
                  </a:gs>
                  <a:gs pos="96000">
                    <a:srgbClr val="00B0F0"/>
                  </a:gs>
                  <a:gs pos="89000">
                    <a:srgbClr val="DDF4FF"/>
                  </a:gs>
                  <a:gs pos="43000">
                    <a:srgbClr val="D1EAFF"/>
                  </a:gs>
                  <a:gs pos="51000">
                    <a:srgbClr val="DDF4FF"/>
                  </a:gs>
                </a:gsLst>
                <a:lin ang="16200000" scaled="1"/>
                <a:tileRect/>
              </a:gradFill>
              <a:ln w="63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dirty="0">
                  <a:solidFill>
                    <a:srgbClr val="FFFFFF"/>
                  </a:solidFill>
                </a:endParaRPr>
              </a:p>
            </p:txBody>
          </p:sp>
          <p:sp>
            <p:nvSpPr>
              <p:cNvPr id="103" name="Tekstvak 102"/>
              <p:cNvSpPr txBox="1"/>
              <p:nvPr/>
            </p:nvSpPr>
            <p:spPr>
              <a:xfrm>
                <a:off x="13573594" y="3488254"/>
                <a:ext cx="888311" cy="273506"/>
              </a:xfrm>
              <a:prstGeom prst="rect">
                <a:avLst/>
              </a:prstGeom>
              <a:noFill/>
            </p:spPr>
            <p:txBody>
              <a:bodyPr wrap="square" rtlCol="0" anchor="ctr">
                <a:spAutoFit/>
              </a:bodyPr>
              <a:lstStyle>
                <a:defPPr>
                  <a:defRPr lang="nl-NL"/>
                </a:defPPr>
                <a:lvl1pPr marR="0" lvl="0" indent="0" algn="ctr" fontAlgn="auto">
                  <a:lnSpc>
                    <a:spcPct val="100000"/>
                  </a:lnSpc>
                  <a:spcBef>
                    <a:spcPts val="0"/>
                  </a:spcBef>
                  <a:spcAft>
                    <a:spcPts val="0"/>
                  </a:spcAft>
                  <a:buClrTx/>
                  <a:buSzTx/>
                  <a:buFontTx/>
                  <a:buNone/>
                  <a:tabLst/>
                  <a:defRPr kumimoji="0" sz="900" i="0" u="none" strike="noStrike" kern="0" cap="none" spc="0" normalizeH="0" baseline="0">
                    <a:ln>
                      <a:noFill/>
                    </a:ln>
                    <a:effectLst>
                      <a:outerShdw blurRad="25400" algn="ctr" rotWithShape="0">
                        <a:prstClr val="white"/>
                      </a:outerShdw>
                    </a:effectLst>
                    <a:uLnTx/>
                    <a:uFillTx/>
                    <a:latin typeface="Segoe UI Light" panose="020B0502040204020203" pitchFamily="34" charset="0"/>
                    <a:cs typeface="Segoe UI Light" panose="020B0502040204020203" pitchFamily="34" charset="0"/>
                  </a:defRPr>
                </a:lvl1pPr>
                <a:lvl2pPr fontAlgn="base">
                  <a:spcBef>
                    <a:spcPct val="0"/>
                  </a:spcBef>
                  <a:spcAft>
                    <a:spcPct val="0"/>
                  </a:spcAft>
                  <a:defRPr>
                    <a:latin typeface="Arial" charset="0"/>
                    <a:cs typeface="Arial" charset="0"/>
                  </a:defRPr>
                </a:lvl2pPr>
                <a:lvl3pPr fontAlgn="base">
                  <a:spcBef>
                    <a:spcPct val="0"/>
                  </a:spcBef>
                  <a:spcAft>
                    <a:spcPct val="0"/>
                  </a:spcAft>
                  <a:defRPr>
                    <a:latin typeface="Arial" charset="0"/>
                    <a:cs typeface="Arial" charset="0"/>
                  </a:defRPr>
                </a:lvl3pPr>
                <a:lvl4pPr fontAlgn="base">
                  <a:spcBef>
                    <a:spcPct val="0"/>
                  </a:spcBef>
                  <a:spcAft>
                    <a:spcPct val="0"/>
                  </a:spcAft>
                  <a:defRPr>
                    <a:latin typeface="Arial" charset="0"/>
                    <a:cs typeface="Arial" charset="0"/>
                  </a:defRPr>
                </a:lvl4pPr>
                <a:lvl5pPr fontAlgn="base">
                  <a:spcBef>
                    <a:spcPct val="0"/>
                  </a:spcBef>
                  <a:spcAft>
                    <a:spcPct val="0"/>
                  </a:spcAft>
                  <a:defRPr>
                    <a:latin typeface="Arial" charset="0"/>
                    <a:cs typeface="Arial" charset="0"/>
                  </a:defRPr>
                </a:lvl5pPr>
                <a:lvl6pPr>
                  <a:defRPr>
                    <a:latin typeface="Arial" charset="0"/>
                    <a:cs typeface="Arial" charset="0"/>
                  </a:defRPr>
                </a:lvl6pPr>
                <a:lvl7pPr>
                  <a:defRPr>
                    <a:latin typeface="Arial" charset="0"/>
                    <a:cs typeface="Arial" charset="0"/>
                  </a:defRPr>
                </a:lvl7pPr>
                <a:lvl8pPr>
                  <a:defRPr>
                    <a:latin typeface="Arial" charset="0"/>
                    <a:cs typeface="Arial" charset="0"/>
                  </a:defRPr>
                </a:lvl8pPr>
                <a:lvl9pPr>
                  <a:defRPr>
                    <a:latin typeface="Arial" charset="0"/>
                    <a:cs typeface="Arial" charset="0"/>
                  </a:defRPr>
                </a:lvl9pPr>
              </a:lstStyle>
              <a:p>
                <a:pPr defTabSz="914112"/>
                <a:r>
                  <a:rPr lang="nl-NL" sz="1000" dirty="0">
                    <a:solidFill>
                      <a:srgbClr val="000000"/>
                    </a:solidFill>
                    <a:latin typeface="Trebuchet MS"/>
                  </a:rPr>
                  <a:t>Invoegen</a:t>
                </a:r>
              </a:p>
            </p:txBody>
          </p:sp>
          <p:cxnSp>
            <p:nvCxnSpPr>
              <p:cNvPr id="104" name="Rechte verbindingslijn 103"/>
              <p:cNvCxnSpPr/>
              <p:nvPr/>
            </p:nvCxnSpPr>
            <p:spPr>
              <a:xfrm>
                <a:off x="14461905" y="3507058"/>
                <a:ext cx="0" cy="224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5" name="Gelijkbenige driehoek 104"/>
              <p:cNvSpPr/>
              <p:nvPr/>
            </p:nvSpPr>
            <p:spPr>
              <a:xfrm rot="10800000">
                <a:off x="14518584" y="3600521"/>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112"/>
                <a:endParaRPr lang="nl-NL" dirty="0">
                  <a:solidFill>
                    <a:srgbClr val="FFFFFF"/>
                  </a:solidFill>
                </a:endParaRPr>
              </a:p>
            </p:txBody>
          </p:sp>
        </p:grpSp>
      </p:grpSp>
      <p:grpSp>
        <p:nvGrpSpPr>
          <p:cNvPr id="167" name="Instructie - Tekst niveaus"/>
          <p:cNvGrpSpPr/>
          <p:nvPr userDrawn="1"/>
        </p:nvGrpSpPr>
        <p:grpSpPr>
          <a:xfrm>
            <a:off x="-3117849" y="365"/>
            <a:ext cx="2823358" cy="5254722"/>
            <a:chOff x="-2959433" y="-5444"/>
            <a:chExt cx="2822623" cy="5254722"/>
          </a:xfrm>
        </p:grpSpPr>
        <p:sp>
          <p:nvSpPr>
            <p:cNvPr id="168" name="Rechthoek 167"/>
            <p:cNvSpPr/>
            <p:nvPr userDrawn="1"/>
          </p:nvSpPr>
          <p:spPr>
            <a:xfrm>
              <a:off x="-2959433" y="-5444"/>
              <a:ext cx="2572469" cy="280344"/>
            </a:xfrm>
            <a:prstGeom prst="rect">
              <a:avLst/>
            </a:prstGeom>
            <a:noFill/>
            <a:ln w="25400" cap="flat" cmpd="sng" algn="ctr">
              <a:noFill/>
              <a:prstDash val="solid"/>
            </a:ln>
            <a:effectLst/>
          </p:spPr>
          <p:txBody>
            <a:bodyPr lIns="0" tIns="0" rIns="0" bIns="0" rtlCol="0" anchor="t"/>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nl-NL" sz="1600" b="1" kern="0" dirty="0">
                  <a:solidFill>
                    <a:srgbClr val="ED1A3B"/>
                  </a:solidFill>
                  <a:cs typeface="Segoe UI Light" panose="020B0502040204020203" pitchFamily="34" charset="0"/>
                </a:rPr>
                <a:t>TEKST NIVEAUS</a:t>
              </a:r>
            </a:p>
          </p:txBody>
        </p:sp>
        <p:sp>
          <p:nvSpPr>
            <p:cNvPr id="169" name="Textfield placeholder"/>
            <p:cNvSpPr txBox="1">
              <a:spLocks/>
            </p:cNvSpPr>
            <p:nvPr userDrawn="1"/>
          </p:nvSpPr>
          <p:spPr>
            <a:xfrm>
              <a:off x="-2587337" y="2675411"/>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0" lvl="2"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a:solidFill>
                    <a:srgbClr val="404040"/>
                  </a:solidFill>
                </a:rPr>
                <a:t>Sub-bullets (16 pt.)</a:t>
              </a:r>
            </a:p>
          </p:txBody>
        </p:sp>
        <p:sp>
          <p:nvSpPr>
            <p:cNvPr id="170" name="Ovaal 169"/>
            <p:cNvSpPr/>
            <p:nvPr userDrawn="1"/>
          </p:nvSpPr>
          <p:spPr>
            <a:xfrm>
              <a:off x="-2959433" y="196874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1</a:t>
              </a:r>
            </a:p>
          </p:txBody>
        </p:sp>
        <p:sp>
          <p:nvSpPr>
            <p:cNvPr id="171" name="Ovaal 170"/>
            <p:cNvSpPr/>
            <p:nvPr userDrawn="1"/>
          </p:nvSpPr>
          <p:spPr>
            <a:xfrm>
              <a:off x="-2959433" y="232207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2</a:t>
              </a:r>
            </a:p>
          </p:txBody>
        </p:sp>
        <p:sp>
          <p:nvSpPr>
            <p:cNvPr id="172" name="Ovaal 171"/>
            <p:cNvSpPr/>
            <p:nvPr userDrawn="1"/>
          </p:nvSpPr>
          <p:spPr>
            <a:xfrm>
              <a:off x="-2959433" y="267541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3</a:t>
              </a:r>
            </a:p>
          </p:txBody>
        </p:sp>
        <p:sp>
          <p:nvSpPr>
            <p:cNvPr id="173" name="Ovaal 172"/>
            <p:cNvSpPr/>
            <p:nvPr userDrawn="1"/>
          </p:nvSpPr>
          <p:spPr>
            <a:xfrm>
              <a:off x="-2959433" y="302874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4</a:t>
              </a:r>
            </a:p>
          </p:txBody>
        </p:sp>
        <p:sp>
          <p:nvSpPr>
            <p:cNvPr id="174" name="Textfield placeholder"/>
            <p:cNvSpPr txBox="1">
              <a:spLocks/>
            </p:cNvSpPr>
            <p:nvPr userDrawn="1"/>
          </p:nvSpPr>
          <p:spPr>
            <a:xfrm>
              <a:off x="-2571950" y="1966925"/>
              <a:ext cx="2163709" cy="261500"/>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79388">
                <a:lnSpc>
                  <a:spcPct val="120000"/>
                </a:lnSpc>
                <a:spcBef>
                  <a:spcPts val="0"/>
                </a:spcBef>
                <a:spcAft>
                  <a:spcPts val="900"/>
                </a:spcAft>
                <a:buClr>
                  <a:srgbClr val="000000"/>
                </a:buClr>
                <a:buSzPct val="100000"/>
                <a:buFont typeface="Arial" pitchFamily="34" charset="0"/>
                <a:buNone/>
                <a:defRPr/>
              </a:pPr>
              <a:r>
                <a:rPr lang="nl-NL" sz="1200" dirty="0">
                  <a:solidFill>
                    <a:srgbClr val="535353"/>
                  </a:solidFill>
                </a:rPr>
                <a:t>Leestekst (16 pt.)</a:t>
              </a:r>
            </a:p>
          </p:txBody>
        </p:sp>
        <p:sp>
          <p:nvSpPr>
            <p:cNvPr id="175" name="Textfield placeholder"/>
            <p:cNvSpPr txBox="1">
              <a:spLocks/>
            </p:cNvSpPr>
            <p:nvPr userDrawn="1"/>
          </p:nvSpPr>
          <p:spPr>
            <a:xfrm>
              <a:off x="-2571950" y="2322077"/>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70000" lvl="1"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err="1">
                  <a:solidFill>
                    <a:srgbClr val="535353"/>
                  </a:solidFill>
                </a:rPr>
                <a:t>Bullets</a:t>
              </a:r>
              <a:r>
                <a:rPr lang="nl-NL" sz="1200" dirty="0">
                  <a:solidFill>
                    <a:srgbClr val="535353"/>
                  </a:solidFill>
                </a:rPr>
                <a:t> (16 </a:t>
              </a:r>
              <a:r>
                <a:rPr lang="nl-NL" sz="1200" dirty="0" err="1">
                  <a:solidFill>
                    <a:srgbClr val="535353"/>
                  </a:solidFill>
                </a:rPr>
                <a:t>pt</a:t>
              </a:r>
              <a:r>
                <a:rPr lang="nl-NL" sz="1200" dirty="0">
                  <a:solidFill>
                    <a:srgbClr val="535353"/>
                  </a:solidFill>
                </a:rPr>
                <a:t>.)</a:t>
              </a:r>
            </a:p>
          </p:txBody>
        </p:sp>
        <p:sp>
          <p:nvSpPr>
            <p:cNvPr id="176" name="Textfield placeholder"/>
            <p:cNvSpPr txBox="1">
              <a:spLocks/>
            </p:cNvSpPr>
            <p:nvPr userDrawn="1"/>
          </p:nvSpPr>
          <p:spPr>
            <a:xfrm>
              <a:off x="-2571951" y="3028747"/>
              <a:ext cx="2435141"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10000" lvl="3" indent="-270000" defTabSz="179388">
                <a:lnSpc>
                  <a:spcPct val="120000"/>
                </a:lnSpc>
                <a:spcBef>
                  <a:spcPts val="0"/>
                </a:spcBef>
                <a:spcAft>
                  <a:spcPts val="900"/>
                </a:spcAft>
                <a:buClr>
                  <a:schemeClr val="accent2"/>
                </a:buClr>
                <a:buSzPct val="80000"/>
                <a:buFont typeface="Wingdings 3" panose="05040102010807070707" pitchFamily="18" charset="2"/>
                <a:buChar char=""/>
                <a:defRPr/>
              </a:pPr>
              <a:r>
                <a:rPr lang="nl-NL" sz="1200" b="0" dirty="0">
                  <a:solidFill>
                    <a:srgbClr val="404040"/>
                  </a:solidFill>
                </a:rPr>
                <a:t>Sub-sub-bullets (16 pt.)</a:t>
              </a:r>
            </a:p>
          </p:txBody>
        </p:sp>
        <p:cxnSp>
          <p:nvCxnSpPr>
            <p:cNvPr id="177" name="Rechte verbindingslijn 176"/>
            <p:cNvCxnSpPr/>
            <p:nvPr userDrawn="1"/>
          </p:nvCxnSpPr>
          <p:spPr>
            <a:xfrm>
              <a:off x="-2959100" y="274900"/>
              <a:ext cx="2674470" cy="0"/>
            </a:xfrm>
            <a:prstGeom prst="line">
              <a:avLst/>
            </a:prstGeom>
            <a:noFill/>
            <a:ln w="9525" cap="flat" cmpd="sng" algn="ctr">
              <a:solidFill>
                <a:schemeClr val="accent1"/>
              </a:solidFill>
              <a:prstDash val="solid"/>
            </a:ln>
            <a:effectLst/>
          </p:spPr>
        </p:cxnSp>
        <p:cxnSp>
          <p:nvCxnSpPr>
            <p:cNvPr id="178" name="Rechte verbindingslijn 177"/>
            <p:cNvCxnSpPr/>
            <p:nvPr userDrawn="1"/>
          </p:nvCxnSpPr>
          <p:spPr>
            <a:xfrm>
              <a:off x="-2959100" y="1841989"/>
              <a:ext cx="2661379" cy="0"/>
            </a:xfrm>
            <a:prstGeom prst="line">
              <a:avLst/>
            </a:prstGeom>
            <a:noFill/>
            <a:ln w="9525" cap="flat" cmpd="sng" algn="ctr">
              <a:solidFill>
                <a:schemeClr val="accent1"/>
              </a:solidFill>
              <a:prstDash val="solid"/>
            </a:ln>
            <a:effectLst/>
          </p:spPr>
        </p:cxnSp>
        <p:cxnSp>
          <p:nvCxnSpPr>
            <p:cNvPr id="179" name="Rechte verbindingslijn 178"/>
            <p:cNvCxnSpPr/>
            <p:nvPr userDrawn="1"/>
          </p:nvCxnSpPr>
          <p:spPr>
            <a:xfrm>
              <a:off x="-2959100" y="5249278"/>
              <a:ext cx="2661379" cy="0"/>
            </a:xfrm>
            <a:prstGeom prst="line">
              <a:avLst/>
            </a:prstGeom>
            <a:noFill/>
            <a:ln w="9525" cap="flat" cmpd="sng" algn="ctr">
              <a:solidFill>
                <a:schemeClr val="accent1"/>
              </a:solidFill>
              <a:prstDash val="solid"/>
            </a:ln>
            <a:effectLst/>
          </p:spPr>
        </p:cxnSp>
        <p:grpSp>
          <p:nvGrpSpPr>
            <p:cNvPr id="180" name="Groep 179"/>
            <p:cNvGrpSpPr/>
            <p:nvPr userDrawn="1"/>
          </p:nvGrpSpPr>
          <p:grpSpPr>
            <a:xfrm>
              <a:off x="-1948476" y="816741"/>
              <a:ext cx="409108" cy="427699"/>
              <a:chOff x="-1085063" y="758027"/>
              <a:chExt cx="633799" cy="622540"/>
            </a:xfrm>
          </p:grpSpPr>
          <p:sp>
            <p:nvSpPr>
              <p:cNvPr id="236" name="Afgeronde rechthoek 235"/>
              <p:cNvSpPr/>
              <p:nvPr userDrawn="1"/>
            </p:nvSpPr>
            <p:spPr>
              <a:xfrm>
                <a:off x="-108506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237" name="Groep 236"/>
              <p:cNvGrpSpPr/>
              <p:nvPr userDrawn="1"/>
            </p:nvGrpSpPr>
            <p:grpSpPr>
              <a:xfrm>
                <a:off x="-977739" y="864082"/>
                <a:ext cx="419168" cy="410429"/>
                <a:chOff x="6366933" y="309013"/>
                <a:chExt cx="1901295" cy="1861668"/>
              </a:xfrm>
              <a:solidFill>
                <a:srgbClr val="000000"/>
              </a:solidFill>
            </p:grpSpPr>
            <p:sp>
              <p:nvSpPr>
                <p:cNvPr id="238" name="Rechthoek 237"/>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39" name="Rechthoek 238"/>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40" name="Rechthoek 239"/>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41" name="Rechthoek 240"/>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42" name="Rechthoek 241"/>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43" name="Rechthoek 242"/>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44" name="Rechthoek 243"/>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45" name="Rechthoek 244"/>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46" name="Rechthoek 245"/>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47" name="Rechthoek 246"/>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48" name="Vrije vorm 247"/>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nvGrpSpPr>
            <p:cNvPr id="181" name="Groep 180"/>
            <p:cNvGrpSpPr/>
            <p:nvPr userDrawn="1"/>
          </p:nvGrpSpPr>
          <p:grpSpPr>
            <a:xfrm>
              <a:off x="-2950232" y="1207835"/>
              <a:ext cx="532929" cy="509563"/>
              <a:chOff x="-2880382" y="802341"/>
              <a:chExt cx="532929" cy="509563"/>
            </a:xfrm>
          </p:grpSpPr>
          <p:sp>
            <p:nvSpPr>
              <p:cNvPr id="214" name="Rechthoek 213"/>
              <p:cNvSpPr/>
              <p:nvPr userDrawn="1"/>
            </p:nvSpPr>
            <p:spPr>
              <a:xfrm>
                <a:off x="-2880382" y="802341"/>
                <a:ext cx="532929" cy="509563"/>
              </a:xfrm>
              <a:prstGeom prst="rect">
                <a:avLst/>
              </a:prstGeom>
              <a:solidFill>
                <a:sysClr val="window" lastClr="FFFFFF"/>
              </a:soli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pic>
            <p:nvPicPr>
              <p:cNvPr id="215"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635852" y="822181"/>
                <a:ext cx="226442" cy="208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6" name="Picture 3"/>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2848026" y="822181"/>
                <a:ext cx="207168" cy="213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17" name="Groep 216"/>
              <p:cNvGrpSpPr/>
              <p:nvPr userDrawn="1"/>
            </p:nvGrpSpPr>
            <p:grpSpPr>
              <a:xfrm>
                <a:off x="-2802433" y="1123442"/>
                <a:ext cx="132915" cy="104889"/>
                <a:chOff x="-2796392" y="1123442"/>
                <a:chExt cx="120832" cy="104889"/>
              </a:xfrm>
            </p:grpSpPr>
            <p:sp>
              <p:nvSpPr>
                <p:cNvPr id="231" name="Rechthoek 230"/>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32" name="Rechthoek 231"/>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33" name="Rechthoek 232"/>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34" name="Rechthoek 233"/>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35" name="Rechthoek 234"/>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218" name="Groep 217"/>
              <p:cNvGrpSpPr/>
              <p:nvPr userDrawn="1"/>
            </p:nvGrpSpPr>
            <p:grpSpPr>
              <a:xfrm>
                <a:off x="-2575417" y="1123442"/>
                <a:ext cx="133930" cy="104889"/>
                <a:chOff x="-2556734" y="1123442"/>
                <a:chExt cx="147324" cy="104889"/>
              </a:xfrm>
            </p:grpSpPr>
            <p:grpSp>
              <p:nvGrpSpPr>
                <p:cNvPr id="219" name="Groep 218"/>
                <p:cNvGrpSpPr/>
                <p:nvPr userDrawn="1"/>
              </p:nvGrpSpPr>
              <p:grpSpPr>
                <a:xfrm>
                  <a:off x="-2556734" y="1123442"/>
                  <a:ext cx="68206" cy="104889"/>
                  <a:chOff x="-2796392" y="1123442"/>
                  <a:chExt cx="120832" cy="104889"/>
                </a:xfrm>
              </p:grpSpPr>
              <p:sp>
                <p:nvSpPr>
                  <p:cNvPr id="226" name="Rechthoek 225"/>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27" name="Rechthoek 226"/>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28" name="Rechthoek 227"/>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29" name="Rechthoek 228"/>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30" name="Rechthoek 229"/>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220" name="Groep 219"/>
                <p:cNvGrpSpPr/>
                <p:nvPr userDrawn="1"/>
              </p:nvGrpSpPr>
              <p:grpSpPr>
                <a:xfrm>
                  <a:off x="-2477616" y="1123442"/>
                  <a:ext cx="68206" cy="104889"/>
                  <a:chOff x="-2796392" y="1123442"/>
                  <a:chExt cx="120832" cy="104889"/>
                </a:xfrm>
              </p:grpSpPr>
              <p:sp>
                <p:nvSpPr>
                  <p:cNvPr id="221" name="Rechthoek 220"/>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22" name="Rechthoek 221"/>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23" name="Rechthoek 222"/>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24" name="Rechthoek 223"/>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25" name="Rechthoek 224"/>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grpSp>
          <p:nvGrpSpPr>
            <p:cNvPr id="182" name="Groep 181"/>
            <p:cNvGrpSpPr/>
            <p:nvPr userDrawn="1"/>
          </p:nvGrpSpPr>
          <p:grpSpPr>
            <a:xfrm>
              <a:off x="-1948476" y="1281164"/>
              <a:ext cx="413704" cy="427699"/>
              <a:chOff x="-1845083" y="758027"/>
              <a:chExt cx="633799" cy="622540"/>
            </a:xfrm>
          </p:grpSpPr>
          <p:sp>
            <p:nvSpPr>
              <p:cNvPr id="201" name="Afgeronde rechthoek 200"/>
              <p:cNvSpPr/>
              <p:nvPr userDrawn="1"/>
            </p:nvSpPr>
            <p:spPr>
              <a:xfrm>
                <a:off x="-184508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202" name="Groep 201"/>
              <p:cNvGrpSpPr/>
              <p:nvPr userDrawn="1"/>
            </p:nvGrpSpPr>
            <p:grpSpPr>
              <a:xfrm>
                <a:off x="-1737762" y="864082"/>
                <a:ext cx="419168" cy="410429"/>
                <a:chOff x="3708400" y="309013"/>
                <a:chExt cx="1901295" cy="1861668"/>
              </a:xfrm>
              <a:solidFill>
                <a:srgbClr val="000000"/>
              </a:solidFill>
            </p:grpSpPr>
            <p:sp>
              <p:nvSpPr>
                <p:cNvPr id="203" name="Rechthoek 202"/>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04" name="Rechthoek 203"/>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05" name="Rechthoek 204"/>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06" name="Rechthoek 205"/>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07" name="Rechthoek 206"/>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08" name="Rechthoek 207"/>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09" name="Rechthoek 208"/>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10" name="Rechthoek 209"/>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11" name="Rechthoek 210"/>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12" name="Rechthoek 211"/>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13" name="Vrije vorm 212"/>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cxnSp>
          <p:nvCxnSpPr>
            <p:cNvPr id="183" name="Rechte verbindingslijn 182"/>
            <p:cNvCxnSpPr/>
            <p:nvPr userDrawn="1"/>
          </p:nvCxnSpPr>
          <p:spPr>
            <a:xfrm>
              <a:off x="-2814292" y="1441193"/>
              <a:ext cx="865816" cy="53821"/>
            </a:xfrm>
            <a:prstGeom prst="line">
              <a:avLst/>
            </a:prstGeom>
            <a:noFill/>
            <a:ln w="9525" cap="flat" cmpd="sng" algn="ctr">
              <a:solidFill>
                <a:schemeClr val="accent1"/>
              </a:solidFill>
              <a:prstDash val="solid"/>
              <a:headEnd type="oval"/>
            </a:ln>
            <a:effectLst/>
          </p:spPr>
        </p:cxnSp>
        <p:cxnSp>
          <p:nvCxnSpPr>
            <p:cNvPr id="184" name="Rechte verbindingslijn 183"/>
            <p:cNvCxnSpPr/>
            <p:nvPr userDrawn="1"/>
          </p:nvCxnSpPr>
          <p:spPr>
            <a:xfrm flipV="1">
              <a:off x="-2453902" y="1030591"/>
              <a:ext cx="505426" cy="283623"/>
            </a:xfrm>
            <a:prstGeom prst="line">
              <a:avLst/>
            </a:prstGeom>
            <a:noFill/>
            <a:ln w="9525" cap="flat" cmpd="sng" algn="ctr">
              <a:solidFill>
                <a:schemeClr val="accent1"/>
              </a:solidFill>
              <a:prstDash val="solid"/>
              <a:headEnd type="oval"/>
            </a:ln>
            <a:effectLst/>
          </p:spPr>
        </p:cxnSp>
        <p:sp>
          <p:nvSpPr>
            <p:cNvPr id="185" name="Textfield placeholder"/>
            <p:cNvSpPr txBox="1">
              <a:spLocks/>
            </p:cNvSpPr>
            <p:nvPr userDrawn="1"/>
          </p:nvSpPr>
          <p:spPr>
            <a:xfrm>
              <a:off x="-1341598" y="816743"/>
              <a:ext cx="1056968" cy="427698"/>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hoog</a:t>
              </a:r>
            </a:p>
          </p:txBody>
        </p:sp>
        <p:sp>
          <p:nvSpPr>
            <p:cNvPr id="186" name="Textfield placeholder"/>
            <p:cNvSpPr txBox="1">
              <a:spLocks/>
            </p:cNvSpPr>
            <p:nvPr userDrawn="1"/>
          </p:nvSpPr>
          <p:spPr>
            <a:xfrm>
              <a:off x="-1341599" y="1281164"/>
              <a:ext cx="1070223" cy="427699"/>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laag</a:t>
              </a:r>
            </a:p>
          </p:txBody>
        </p:sp>
        <p:sp>
          <p:nvSpPr>
            <p:cNvPr id="187" name="Ovaal 186"/>
            <p:cNvSpPr/>
            <p:nvPr userDrawn="1"/>
          </p:nvSpPr>
          <p:spPr>
            <a:xfrm>
              <a:off x="-2959433" y="338208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5</a:t>
              </a:r>
            </a:p>
          </p:txBody>
        </p:sp>
        <p:sp>
          <p:nvSpPr>
            <p:cNvPr id="188" name="Textfield placeholder"/>
            <p:cNvSpPr txBox="1">
              <a:spLocks/>
            </p:cNvSpPr>
            <p:nvPr userDrawn="1"/>
          </p:nvSpPr>
          <p:spPr>
            <a:xfrm>
              <a:off x="-2571950" y="3382082"/>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60000" lvl="4" indent="-360000" defTabSz="179388">
                <a:lnSpc>
                  <a:spcPct val="120000"/>
                </a:lnSpc>
                <a:spcBef>
                  <a:spcPts val="0"/>
                </a:spcBef>
                <a:spcAft>
                  <a:spcPts val="900"/>
                </a:spcAft>
                <a:buClr>
                  <a:srgbClr val="ED1A3B"/>
                </a:buClr>
                <a:buFont typeface="+mj-lt"/>
                <a:buAutoNum type="arabicPeriod"/>
                <a:defRPr/>
              </a:pPr>
              <a:r>
                <a:rPr lang="nl-NL" sz="1200" b="0" dirty="0">
                  <a:solidFill>
                    <a:srgbClr val="404040"/>
                  </a:solidFill>
                </a:rPr>
                <a:t>Numeriek (16 pt.)</a:t>
              </a:r>
            </a:p>
          </p:txBody>
        </p:sp>
        <p:grpSp>
          <p:nvGrpSpPr>
            <p:cNvPr id="189" name="Groep 188"/>
            <p:cNvGrpSpPr/>
            <p:nvPr userDrawn="1"/>
          </p:nvGrpSpPr>
          <p:grpSpPr>
            <a:xfrm>
              <a:off x="-2950232" y="816050"/>
              <a:ext cx="528695" cy="344202"/>
              <a:chOff x="-2880382" y="410556"/>
              <a:chExt cx="528695" cy="344202"/>
            </a:xfrm>
          </p:grpSpPr>
          <p:sp>
            <p:nvSpPr>
              <p:cNvPr id="199" name="Afgeronde rechthoek 198"/>
              <p:cNvSpPr/>
              <p:nvPr userDrawn="1"/>
            </p:nvSpPr>
            <p:spPr>
              <a:xfrm>
                <a:off x="-2874214" y="410556"/>
                <a:ext cx="522527" cy="339183"/>
              </a:xfrm>
              <a:prstGeom prst="roundRect">
                <a:avLst>
                  <a:gd name="adj" fmla="val 7565"/>
                </a:avLst>
              </a:prstGeom>
              <a:gradFill>
                <a:gsLst>
                  <a:gs pos="0">
                    <a:srgbClr val="FFEC8F"/>
                  </a:gs>
                  <a:gs pos="100000">
                    <a:srgbClr val="FFFFFF"/>
                  </a:gs>
                </a:gsLst>
                <a:lin ang="5400000" scaled="0"/>
              </a:gra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sp>
            <p:nvSpPr>
              <p:cNvPr id="200" name="Vrije vorm 199"/>
              <p:cNvSpPr/>
              <p:nvPr userDrawn="1"/>
            </p:nvSpPr>
            <p:spPr>
              <a:xfrm>
                <a:off x="-2880382" y="452699"/>
                <a:ext cx="528695" cy="302059"/>
              </a:xfrm>
              <a:custGeom>
                <a:avLst/>
                <a:gdLst>
                  <a:gd name="connsiteX0" fmla="*/ 55524 w 528695"/>
                  <a:gd name="connsiteY0" fmla="*/ 0 h 302059"/>
                  <a:gd name="connsiteX1" fmla="*/ 455496 w 528695"/>
                  <a:gd name="connsiteY1" fmla="*/ 0 h 302059"/>
                  <a:gd name="connsiteX2" fmla="*/ 475205 w 528695"/>
                  <a:gd name="connsiteY2" fmla="*/ 19709 h 302059"/>
                  <a:gd name="connsiteX3" fmla="*/ 475205 w 528695"/>
                  <a:gd name="connsiteY3" fmla="*/ 230056 h 302059"/>
                  <a:gd name="connsiteX4" fmla="*/ 516694 w 528695"/>
                  <a:gd name="connsiteY4" fmla="*/ 230056 h 302059"/>
                  <a:gd name="connsiteX5" fmla="*/ 528695 w 528695"/>
                  <a:gd name="connsiteY5" fmla="*/ 242057 h 302059"/>
                  <a:gd name="connsiteX6" fmla="*/ 528695 w 528695"/>
                  <a:gd name="connsiteY6" fmla="*/ 290058 h 302059"/>
                  <a:gd name="connsiteX7" fmla="*/ 516694 w 528695"/>
                  <a:gd name="connsiteY7" fmla="*/ 302059 h 302059"/>
                  <a:gd name="connsiteX8" fmla="*/ 12001 w 528695"/>
                  <a:gd name="connsiteY8" fmla="*/ 302059 h 302059"/>
                  <a:gd name="connsiteX9" fmla="*/ 0 w 528695"/>
                  <a:gd name="connsiteY9" fmla="*/ 290058 h 302059"/>
                  <a:gd name="connsiteX10" fmla="*/ 0 w 528695"/>
                  <a:gd name="connsiteY10" fmla="*/ 242057 h 302059"/>
                  <a:gd name="connsiteX11" fmla="*/ 12001 w 528695"/>
                  <a:gd name="connsiteY11" fmla="*/ 230056 h 302059"/>
                  <a:gd name="connsiteX12" fmla="*/ 35815 w 528695"/>
                  <a:gd name="connsiteY12" fmla="*/ 230056 h 302059"/>
                  <a:gd name="connsiteX13" fmla="*/ 35815 w 528695"/>
                  <a:gd name="connsiteY13" fmla="*/ 19709 h 302059"/>
                  <a:gd name="connsiteX14" fmla="*/ 55524 w 528695"/>
                  <a:gd name="connsiteY14" fmla="*/ 0 h 3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8695" h="302059">
                    <a:moveTo>
                      <a:pt x="55524" y="0"/>
                    </a:moveTo>
                    <a:lnTo>
                      <a:pt x="455496" y="0"/>
                    </a:lnTo>
                    <a:cubicBezTo>
                      <a:pt x="466381" y="0"/>
                      <a:pt x="475205" y="8824"/>
                      <a:pt x="475205" y="19709"/>
                    </a:cubicBezTo>
                    <a:lnTo>
                      <a:pt x="475205" y="230056"/>
                    </a:lnTo>
                    <a:lnTo>
                      <a:pt x="516694" y="230056"/>
                    </a:lnTo>
                    <a:cubicBezTo>
                      <a:pt x="523322" y="230056"/>
                      <a:pt x="528695" y="235429"/>
                      <a:pt x="528695" y="242057"/>
                    </a:cubicBezTo>
                    <a:lnTo>
                      <a:pt x="528695" y="290058"/>
                    </a:lnTo>
                    <a:cubicBezTo>
                      <a:pt x="528695" y="296686"/>
                      <a:pt x="523322" y="302059"/>
                      <a:pt x="516694" y="302059"/>
                    </a:cubicBezTo>
                    <a:lnTo>
                      <a:pt x="12001" y="302059"/>
                    </a:lnTo>
                    <a:cubicBezTo>
                      <a:pt x="5373" y="302059"/>
                      <a:pt x="0" y="296686"/>
                      <a:pt x="0" y="290058"/>
                    </a:cubicBezTo>
                    <a:lnTo>
                      <a:pt x="0" y="242057"/>
                    </a:lnTo>
                    <a:cubicBezTo>
                      <a:pt x="0" y="235429"/>
                      <a:pt x="5373" y="230056"/>
                      <a:pt x="12001" y="230056"/>
                    </a:cubicBezTo>
                    <a:lnTo>
                      <a:pt x="35815" y="230056"/>
                    </a:lnTo>
                    <a:lnTo>
                      <a:pt x="35815" y="19709"/>
                    </a:lnTo>
                    <a:cubicBezTo>
                      <a:pt x="35815" y="8824"/>
                      <a:pt x="44639" y="0"/>
                      <a:pt x="55524" y="0"/>
                    </a:cubicBezTo>
                    <a:close/>
                  </a:path>
                </a:pathLst>
              </a:custGeom>
              <a:solidFill>
                <a:sysClr val="window" lastClr="FFFFFF">
                  <a:lumMod val="95000"/>
                </a:sysClr>
              </a:solidFill>
              <a:ln w="9525" cap="flat" cmpd="sng" algn="ctr">
                <a:solidFill>
                  <a:srgbClr val="FFFFFF">
                    <a:lumMod val="90000"/>
                  </a:srgbClr>
                </a:solidFill>
                <a:prstDash val="solid"/>
                <a:miter lim="800000"/>
              </a:ln>
              <a:effectLst/>
            </p:spPr>
            <p:txBody>
              <a:bodyPr rot="0" spcFirstLastPara="0" vert="horz" wrap="square" lIns="108000" tIns="36000" rIns="108000" bIns="10800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900" dirty="0">
                    <a:solidFill>
                      <a:prstClr val="black"/>
                    </a:solidFill>
                    <a:latin typeface="Segoe UI Light"/>
                  </a:rPr>
                  <a:t>Start</a:t>
                </a:r>
              </a:p>
            </p:txBody>
          </p:sp>
        </p:grpSp>
        <p:sp>
          <p:nvSpPr>
            <p:cNvPr id="190" name="Tekstvak 65"/>
            <p:cNvSpPr txBox="1"/>
            <p:nvPr userDrawn="1"/>
          </p:nvSpPr>
          <p:spPr>
            <a:xfrm>
              <a:off x="-2959433" y="372104"/>
              <a:ext cx="2679887" cy="453396"/>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nl-NL" sz="1200" kern="0" dirty="0">
                  <a:solidFill>
                    <a:srgbClr val="000000"/>
                  </a:solidFill>
                  <a:latin typeface="Segoe UI Light" panose="020B0502040204020203" pitchFamily="34" charset="0"/>
                  <a:cs typeface="Segoe UI Light" panose="020B0502040204020203" pitchFamily="34" charset="0"/>
                </a:rPr>
                <a:t>Ga naar de tab </a:t>
              </a:r>
              <a:r>
                <a:rPr lang="nl-NL" sz="1200" b="1" kern="0" dirty="0">
                  <a:solidFill>
                    <a:srgbClr val="000000"/>
                  </a:solidFill>
                  <a:latin typeface="Segoe UI Light" panose="020B0502040204020203" pitchFamily="34" charset="0"/>
                  <a:cs typeface="Segoe UI Light" panose="020B0502040204020203" pitchFamily="34" charset="0"/>
                </a:rPr>
                <a:t>Start’ </a:t>
              </a:r>
              <a:r>
                <a:rPr lang="nl-NL" sz="1200" kern="0" dirty="0">
                  <a:solidFill>
                    <a:srgbClr val="000000"/>
                  </a:solidFill>
                  <a:latin typeface="Segoe UI Light" panose="020B0502040204020203" pitchFamily="34" charset="0"/>
                  <a:cs typeface="Segoe UI Light" panose="020B0502040204020203" pitchFamily="34" charset="0"/>
                </a:rPr>
                <a:t>en vind onderstaande knoppen onder </a:t>
              </a:r>
              <a:r>
                <a:rPr lang="nl-NL" sz="1200" b="1" kern="0" dirty="0">
                  <a:solidFill>
                    <a:srgbClr val="000000"/>
                  </a:solidFill>
                  <a:latin typeface="Segoe UI Light" panose="020B0502040204020203" pitchFamily="34" charset="0"/>
                  <a:cs typeface="Segoe UI Light" panose="020B0502040204020203" pitchFamily="34" charset="0"/>
                </a:rPr>
                <a:t>‘Alinea’</a:t>
              </a:r>
            </a:p>
          </p:txBody>
        </p:sp>
        <p:sp>
          <p:nvSpPr>
            <p:cNvPr id="191" name="Ovaal 190"/>
            <p:cNvSpPr/>
            <p:nvPr userDrawn="1"/>
          </p:nvSpPr>
          <p:spPr>
            <a:xfrm>
              <a:off x="-2959433" y="375153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6</a:t>
              </a:r>
            </a:p>
          </p:txBody>
        </p:sp>
        <p:sp>
          <p:nvSpPr>
            <p:cNvPr id="192" name="Textfield placeholder"/>
            <p:cNvSpPr txBox="1">
              <a:spLocks/>
            </p:cNvSpPr>
            <p:nvPr userDrawn="1"/>
          </p:nvSpPr>
          <p:spPr>
            <a:xfrm>
              <a:off x="-2571950" y="3751536"/>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0000" lvl="5" indent="-270000" defTabSz="179388">
                <a:lnSpc>
                  <a:spcPct val="120000"/>
                </a:lnSpc>
                <a:spcAft>
                  <a:spcPts val="900"/>
                </a:spcAft>
                <a:buClr>
                  <a:srgbClr val="ED1A3B"/>
                </a:buClr>
                <a:buSzPct val="80000"/>
                <a:buFont typeface="Wingdings 3" panose="05040102010807070707" pitchFamily="18" charset="2"/>
                <a:buChar char=""/>
                <a:defRPr/>
              </a:pPr>
              <a:r>
                <a:rPr lang="nl-NL" sz="1200" cap="none" dirty="0">
                  <a:solidFill>
                    <a:srgbClr val="535353"/>
                  </a:solidFill>
                </a:rPr>
                <a:t># Bullets (16 pt.)</a:t>
              </a:r>
            </a:p>
          </p:txBody>
        </p:sp>
        <p:sp>
          <p:nvSpPr>
            <p:cNvPr id="193" name="Ovaal 192"/>
            <p:cNvSpPr/>
            <p:nvPr userDrawn="1"/>
          </p:nvSpPr>
          <p:spPr>
            <a:xfrm>
              <a:off x="-2959433" y="414870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7</a:t>
              </a:r>
            </a:p>
          </p:txBody>
        </p:sp>
        <p:sp>
          <p:nvSpPr>
            <p:cNvPr id="194" name="Textfield placeholder"/>
            <p:cNvSpPr txBox="1">
              <a:spLocks/>
            </p:cNvSpPr>
            <p:nvPr userDrawn="1"/>
          </p:nvSpPr>
          <p:spPr>
            <a:xfrm>
              <a:off x="-2571950" y="414870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6" indent="0" defTabSz="179388">
                <a:lnSpc>
                  <a:spcPct val="120000"/>
                </a:lnSpc>
                <a:spcBef>
                  <a:spcPts val="0"/>
                </a:spcBef>
                <a:spcAft>
                  <a:spcPts val="900"/>
                </a:spcAft>
                <a:buClr>
                  <a:srgbClr val="ED1A3B"/>
                </a:buClr>
                <a:buSzPct val="90000"/>
                <a:buFont typeface="+mj-lt"/>
                <a:buNone/>
                <a:defRPr/>
              </a:pPr>
              <a:r>
                <a:rPr lang="nl-NL" sz="1200" i="1" dirty="0">
                  <a:solidFill>
                    <a:srgbClr val="404040"/>
                  </a:solidFill>
                </a:rPr>
                <a:t>Cursief donker (16 pt.)</a:t>
              </a:r>
            </a:p>
          </p:txBody>
        </p:sp>
        <p:sp>
          <p:nvSpPr>
            <p:cNvPr id="195" name="Ovaal 194"/>
            <p:cNvSpPr/>
            <p:nvPr userDrawn="1"/>
          </p:nvSpPr>
          <p:spPr>
            <a:xfrm>
              <a:off x="-2959433" y="454586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8</a:t>
              </a:r>
            </a:p>
          </p:txBody>
        </p:sp>
        <p:sp>
          <p:nvSpPr>
            <p:cNvPr id="196" name="Textfield placeholder"/>
            <p:cNvSpPr txBox="1">
              <a:spLocks/>
            </p:cNvSpPr>
            <p:nvPr userDrawn="1"/>
          </p:nvSpPr>
          <p:spPr>
            <a:xfrm>
              <a:off x="-2571950" y="4545864"/>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7" indent="0" defTabSz="179388">
                <a:lnSpc>
                  <a:spcPct val="80000"/>
                </a:lnSpc>
                <a:spcBef>
                  <a:spcPts val="0"/>
                </a:spcBef>
                <a:spcAft>
                  <a:spcPts val="900"/>
                </a:spcAft>
                <a:buClr>
                  <a:srgbClr val="ED1A3B"/>
                </a:buClr>
                <a:buFont typeface="Arial" pitchFamily="34" charset="0"/>
                <a:buNone/>
                <a:defRPr/>
              </a:pPr>
              <a:r>
                <a:rPr lang="nl-NL" sz="1200" i="1" dirty="0">
                  <a:solidFill>
                    <a:srgbClr val="A3B0C0"/>
                  </a:solidFill>
                </a:rPr>
                <a:t>Cursief Licht (16 pt.)</a:t>
              </a:r>
            </a:p>
          </p:txBody>
        </p:sp>
        <p:sp>
          <p:nvSpPr>
            <p:cNvPr id="197" name="Ovaal 196"/>
            <p:cNvSpPr/>
            <p:nvPr userDrawn="1"/>
          </p:nvSpPr>
          <p:spPr>
            <a:xfrm>
              <a:off x="-2959433" y="488761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9</a:t>
              </a:r>
            </a:p>
          </p:txBody>
        </p:sp>
        <p:sp>
          <p:nvSpPr>
            <p:cNvPr id="198" name="Textfield placeholder"/>
            <p:cNvSpPr txBox="1">
              <a:spLocks/>
            </p:cNvSpPr>
            <p:nvPr userDrawn="1"/>
          </p:nvSpPr>
          <p:spPr>
            <a:xfrm>
              <a:off x="-2571950" y="488761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8" indent="0" defTabSz="179388">
                <a:lnSpc>
                  <a:spcPct val="80000"/>
                </a:lnSpc>
                <a:spcBef>
                  <a:spcPts val="0"/>
                </a:spcBef>
                <a:spcAft>
                  <a:spcPts val="900"/>
                </a:spcAft>
                <a:buClr>
                  <a:srgbClr val="ED1A3B"/>
                </a:buClr>
                <a:buFont typeface="Arial" pitchFamily="34" charset="0"/>
                <a:buNone/>
                <a:defRPr/>
              </a:pPr>
              <a:r>
                <a:rPr lang="nl-NL" sz="1400" b="1" dirty="0">
                  <a:solidFill>
                    <a:srgbClr val="ED1A3B"/>
                  </a:solidFill>
                </a:rPr>
                <a:t>Subtitel (18 pt.)</a:t>
              </a:r>
            </a:p>
          </p:txBody>
        </p:sp>
      </p:grpSp>
      <p:sp>
        <p:nvSpPr>
          <p:cNvPr id="2" name="Grijze achtergrond"/>
          <p:cNvSpPr/>
          <p:nvPr/>
        </p:nvSpPr>
        <p:spPr>
          <a:xfrm>
            <a:off x="-1" y="1511073"/>
            <a:ext cx="12198350" cy="5346928"/>
          </a:xfrm>
          <a:prstGeom prst="rect">
            <a:avLst/>
          </a:prstGeom>
          <a:solidFill>
            <a:srgbClr val="EDE8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68" name="Witte balk"/>
          <p:cNvSpPr/>
          <p:nvPr userDrawn="1"/>
        </p:nvSpPr>
        <p:spPr>
          <a:xfrm>
            <a:off x="1" y="6426169"/>
            <a:ext cx="12198350" cy="4318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69" name="Locator - onder"/>
          <p:cNvSpPr/>
          <p:nvPr userDrawn="1"/>
        </p:nvSpPr>
        <p:spPr>
          <a:xfrm rot="16200000" flipH="1">
            <a:off x="654860" y="6784603"/>
            <a:ext cx="670664" cy="207652"/>
          </a:xfrm>
          <a:custGeom>
            <a:avLst/>
            <a:gdLst>
              <a:gd name="connsiteX0" fmla="*/ 0 w 670664"/>
              <a:gd name="connsiteY0" fmla="*/ 207598 h 207598"/>
              <a:gd name="connsiteX1" fmla="*/ 670664 w 670664"/>
              <a:gd name="connsiteY1" fmla="*/ 207598 h 207598"/>
              <a:gd name="connsiteX2" fmla="*/ 670664 w 670664"/>
              <a:gd name="connsiteY2" fmla="*/ 0 h 207598"/>
              <a:gd name="connsiteX3" fmla="*/ 142329 w 670664"/>
              <a:gd name="connsiteY3" fmla="*/ 0 h 207598"/>
            </a:gdLst>
            <a:ahLst/>
            <a:cxnLst>
              <a:cxn ang="0">
                <a:pos x="connsiteX0" y="connsiteY0"/>
              </a:cxn>
              <a:cxn ang="0">
                <a:pos x="connsiteX1" y="connsiteY1"/>
              </a:cxn>
              <a:cxn ang="0">
                <a:pos x="connsiteX2" y="connsiteY2"/>
              </a:cxn>
              <a:cxn ang="0">
                <a:pos x="connsiteX3" y="connsiteY3"/>
              </a:cxn>
            </a:cxnLst>
            <a:rect l="l" t="t" r="r" b="b"/>
            <a:pathLst>
              <a:path w="670664" h="207598">
                <a:moveTo>
                  <a:pt x="0" y="207598"/>
                </a:moveTo>
                <a:lnTo>
                  <a:pt x="670664" y="207598"/>
                </a:lnTo>
                <a:lnTo>
                  <a:pt x="670664" y="0"/>
                </a:lnTo>
                <a:lnTo>
                  <a:pt x="142329" y="0"/>
                </a:lnTo>
                <a:close/>
              </a:path>
            </a:pathLst>
          </a:custGeom>
          <a:solidFill>
            <a:srgbClr val="EE1A3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112"/>
            <a:endParaRPr lang="nl-NL">
              <a:solidFill>
                <a:srgbClr val="FFFFFF"/>
              </a:solidFill>
            </a:endParaRPr>
          </a:p>
        </p:txBody>
      </p:sp>
      <p:sp>
        <p:nvSpPr>
          <p:cNvPr id="139" name="Tijdelijke aanduiding voor Afbeelding_06 (rechtsonder)"/>
          <p:cNvSpPr>
            <a:spLocks noGrp="1"/>
          </p:cNvSpPr>
          <p:nvPr>
            <p:ph type="pic" idx="40"/>
          </p:nvPr>
        </p:nvSpPr>
        <p:spPr>
          <a:xfrm>
            <a:off x="8136000" y="3960000"/>
            <a:ext cx="4068000" cy="2448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36" name="Tijdelijke aanduiding voor Blok_06 (linksonder)"/>
          <p:cNvSpPr>
            <a:spLocks noGrp="1"/>
          </p:cNvSpPr>
          <p:nvPr>
            <p:ph type="body" orient="vert" idx="35" hasCustomPrompt="1"/>
          </p:nvPr>
        </p:nvSpPr>
        <p:spPr>
          <a:xfrm>
            <a:off x="8129291" y="3960000"/>
            <a:ext cx="4069059" cy="2448000"/>
          </a:xfrm>
          <a:solidFill>
            <a:schemeClr val="accent5"/>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200">
                <a:solidFill>
                  <a:schemeClr val="bg1"/>
                </a:solidFill>
              </a:defRPr>
            </a:lvl2pPr>
            <a:lvl3pPr algn="ctr">
              <a:lnSpc>
                <a:spcPct val="80000"/>
              </a:lnSpc>
              <a:spcBef>
                <a:spcPts val="600"/>
              </a:spcBef>
              <a:spcAft>
                <a:spcPts val="600"/>
              </a:spcAft>
              <a:defRPr sz="1100">
                <a:solidFill>
                  <a:schemeClr val="bg1"/>
                </a:solidFill>
              </a:defRPr>
            </a:lvl3pPr>
            <a:lvl4pPr algn="ctr">
              <a:lnSpc>
                <a:spcPct val="80000"/>
              </a:lnSpc>
              <a:spcBef>
                <a:spcPts val="600"/>
              </a:spcBef>
              <a:spcAft>
                <a:spcPts val="600"/>
              </a:spcAft>
              <a:defRPr sz="1600">
                <a:solidFill>
                  <a:schemeClr val="bg1"/>
                </a:solidFill>
              </a:defRPr>
            </a:lvl4pPr>
            <a:lvl5pPr algn="ctr">
              <a:lnSpc>
                <a:spcPct val="80000"/>
              </a:lnSpc>
              <a:spcBef>
                <a:spcPts val="600"/>
              </a:spcBef>
              <a:spcAft>
                <a:spcPts val="600"/>
              </a:spcAft>
              <a:defRPr sz="1400">
                <a:solidFill>
                  <a:schemeClr val="bg1"/>
                </a:solidFill>
              </a:defRPr>
            </a:lvl5pPr>
            <a:lvl6pPr algn="ctr">
              <a:lnSpc>
                <a:spcPct val="80000"/>
              </a:lnSpc>
              <a:spcBef>
                <a:spcPts val="600"/>
              </a:spcBef>
              <a:spcAft>
                <a:spcPts val="600"/>
              </a:spcAft>
              <a:defRPr sz="1400">
                <a:solidFill>
                  <a:schemeClr val="bg1"/>
                </a:solidFill>
              </a:defRPr>
            </a:lvl6pPr>
            <a:lvl7pPr algn="ctr">
              <a:lnSpc>
                <a:spcPct val="80000"/>
              </a:lnSpc>
              <a:spcBef>
                <a:spcPts val="600"/>
              </a:spcBef>
              <a:spcAft>
                <a:spcPts val="600"/>
              </a:spcAft>
              <a:defRPr sz="1400">
                <a:solidFill>
                  <a:schemeClr val="bg1"/>
                </a:solidFill>
              </a:defRPr>
            </a:lvl7pPr>
            <a:lvl8pPr algn="ctr">
              <a:lnSpc>
                <a:spcPct val="80000"/>
              </a:lnSpc>
              <a:spcBef>
                <a:spcPts val="600"/>
              </a:spcBef>
              <a:spcAft>
                <a:spcPts val="600"/>
              </a:spcAft>
              <a:defRPr sz="1400">
                <a:solidFill>
                  <a:schemeClr val="bg1"/>
                </a:solidFill>
              </a:defRPr>
            </a:lvl8pPr>
            <a:lvl9pPr algn="ctr">
              <a:lnSpc>
                <a:spcPct val="80000"/>
              </a:lnSpc>
              <a:spcBef>
                <a:spcPts val="600"/>
              </a:spcBef>
              <a:spcAft>
                <a:spcPts val="600"/>
              </a:spcAft>
              <a:defRPr sz="1200" cap="all" baseline="0">
                <a:solidFill>
                  <a:schemeClr val="bg1"/>
                </a:solidFill>
              </a:defRPr>
            </a:lvl9pPr>
          </a:lstStyle>
          <a:p>
            <a:pPr lvl="0"/>
            <a:r>
              <a:rPr lang="nl-NL" dirty="0"/>
              <a:t>Klik om de modelstijlen te bewerken</a:t>
            </a:r>
          </a:p>
        </p:txBody>
      </p:sp>
      <p:sp>
        <p:nvSpPr>
          <p:cNvPr id="138" name="Tijdelijke aanduiding voor Afbeelding_05 (middenonder)"/>
          <p:cNvSpPr>
            <a:spLocks noGrp="1"/>
          </p:cNvSpPr>
          <p:nvPr>
            <p:ph type="pic" idx="39"/>
          </p:nvPr>
        </p:nvSpPr>
        <p:spPr>
          <a:xfrm>
            <a:off x="4068000" y="3960000"/>
            <a:ext cx="4068000" cy="2448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35" name="Tijdelijke aanduiding voor Blok_05 (middenonder)"/>
          <p:cNvSpPr>
            <a:spLocks noGrp="1"/>
          </p:cNvSpPr>
          <p:nvPr>
            <p:ph type="body" orient="vert" idx="34" hasCustomPrompt="1"/>
          </p:nvPr>
        </p:nvSpPr>
        <p:spPr>
          <a:xfrm>
            <a:off x="4064646" y="3960000"/>
            <a:ext cx="4069059" cy="2448000"/>
          </a:xfrm>
          <a:solidFill>
            <a:schemeClr val="accent3"/>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200">
                <a:solidFill>
                  <a:schemeClr val="bg1"/>
                </a:solidFill>
              </a:defRPr>
            </a:lvl2pPr>
            <a:lvl3pPr algn="ctr">
              <a:lnSpc>
                <a:spcPct val="80000"/>
              </a:lnSpc>
              <a:spcBef>
                <a:spcPts val="600"/>
              </a:spcBef>
              <a:spcAft>
                <a:spcPts val="600"/>
              </a:spcAft>
              <a:defRPr sz="1100">
                <a:solidFill>
                  <a:schemeClr val="bg1"/>
                </a:solidFill>
              </a:defRPr>
            </a:lvl3pPr>
            <a:lvl4pPr algn="ctr">
              <a:lnSpc>
                <a:spcPct val="80000"/>
              </a:lnSpc>
              <a:spcBef>
                <a:spcPts val="600"/>
              </a:spcBef>
              <a:spcAft>
                <a:spcPts val="600"/>
              </a:spcAft>
              <a:defRPr sz="1600">
                <a:solidFill>
                  <a:schemeClr val="bg1"/>
                </a:solidFill>
              </a:defRPr>
            </a:lvl4pPr>
            <a:lvl5pPr algn="ctr">
              <a:lnSpc>
                <a:spcPct val="80000"/>
              </a:lnSpc>
              <a:spcBef>
                <a:spcPts val="600"/>
              </a:spcBef>
              <a:spcAft>
                <a:spcPts val="600"/>
              </a:spcAft>
              <a:defRPr sz="1400">
                <a:solidFill>
                  <a:schemeClr val="bg1"/>
                </a:solidFill>
              </a:defRPr>
            </a:lvl5pPr>
            <a:lvl6pPr algn="ctr">
              <a:lnSpc>
                <a:spcPct val="80000"/>
              </a:lnSpc>
              <a:spcBef>
                <a:spcPts val="600"/>
              </a:spcBef>
              <a:spcAft>
                <a:spcPts val="600"/>
              </a:spcAft>
              <a:defRPr sz="1400">
                <a:solidFill>
                  <a:schemeClr val="bg1"/>
                </a:solidFill>
              </a:defRPr>
            </a:lvl6pPr>
            <a:lvl7pPr algn="ctr">
              <a:lnSpc>
                <a:spcPct val="80000"/>
              </a:lnSpc>
              <a:spcBef>
                <a:spcPts val="600"/>
              </a:spcBef>
              <a:spcAft>
                <a:spcPts val="600"/>
              </a:spcAft>
              <a:defRPr sz="1400">
                <a:solidFill>
                  <a:schemeClr val="bg1"/>
                </a:solidFill>
              </a:defRPr>
            </a:lvl7pPr>
            <a:lvl8pPr algn="ctr">
              <a:lnSpc>
                <a:spcPct val="80000"/>
              </a:lnSpc>
              <a:spcBef>
                <a:spcPts val="600"/>
              </a:spcBef>
              <a:spcAft>
                <a:spcPts val="600"/>
              </a:spcAft>
              <a:defRPr sz="1400">
                <a:solidFill>
                  <a:schemeClr val="bg1"/>
                </a:solidFill>
              </a:defRPr>
            </a:lvl8pPr>
            <a:lvl9pPr algn="ctr">
              <a:lnSpc>
                <a:spcPct val="80000"/>
              </a:lnSpc>
              <a:spcBef>
                <a:spcPts val="600"/>
              </a:spcBef>
              <a:spcAft>
                <a:spcPts val="600"/>
              </a:spcAft>
              <a:defRPr sz="1200" cap="all" baseline="0">
                <a:solidFill>
                  <a:schemeClr val="bg1"/>
                </a:solidFill>
              </a:defRPr>
            </a:lvl9pPr>
          </a:lstStyle>
          <a:p>
            <a:pPr lvl="0"/>
            <a:r>
              <a:rPr lang="nl-NL" dirty="0"/>
              <a:t>Klik om de modelstijlen te bewerken</a:t>
            </a:r>
          </a:p>
        </p:txBody>
      </p:sp>
      <p:sp>
        <p:nvSpPr>
          <p:cNvPr id="137" name="Tijdelijke aanduiding voor Afbeelding_04 (linksonder)"/>
          <p:cNvSpPr>
            <a:spLocks noGrp="1"/>
          </p:cNvSpPr>
          <p:nvPr>
            <p:ph type="pic" idx="38"/>
          </p:nvPr>
        </p:nvSpPr>
        <p:spPr>
          <a:xfrm>
            <a:off x="0" y="3960000"/>
            <a:ext cx="4068000" cy="2448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34" name="Tijdelijke aanduiding voor Blok_04 (linksonder)"/>
          <p:cNvSpPr>
            <a:spLocks noGrp="1"/>
          </p:cNvSpPr>
          <p:nvPr>
            <p:ph type="body" orient="vert" idx="33" hasCustomPrompt="1"/>
          </p:nvPr>
        </p:nvSpPr>
        <p:spPr>
          <a:xfrm>
            <a:off x="0" y="3960000"/>
            <a:ext cx="4069059" cy="2448000"/>
          </a:xfrm>
          <a:solidFill>
            <a:schemeClr val="accent2"/>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200">
                <a:solidFill>
                  <a:schemeClr val="bg1"/>
                </a:solidFill>
              </a:defRPr>
            </a:lvl2pPr>
            <a:lvl3pPr algn="ctr">
              <a:lnSpc>
                <a:spcPct val="80000"/>
              </a:lnSpc>
              <a:spcBef>
                <a:spcPts val="600"/>
              </a:spcBef>
              <a:spcAft>
                <a:spcPts val="600"/>
              </a:spcAft>
              <a:defRPr sz="1100">
                <a:solidFill>
                  <a:schemeClr val="bg1"/>
                </a:solidFill>
              </a:defRPr>
            </a:lvl3pPr>
            <a:lvl4pPr algn="ctr">
              <a:lnSpc>
                <a:spcPct val="80000"/>
              </a:lnSpc>
              <a:spcBef>
                <a:spcPts val="600"/>
              </a:spcBef>
              <a:spcAft>
                <a:spcPts val="600"/>
              </a:spcAft>
              <a:defRPr sz="1600">
                <a:solidFill>
                  <a:schemeClr val="bg1"/>
                </a:solidFill>
              </a:defRPr>
            </a:lvl4pPr>
            <a:lvl5pPr algn="ctr">
              <a:lnSpc>
                <a:spcPct val="80000"/>
              </a:lnSpc>
              <a:spcBef>
                <a:spcPts val="600"/>
              </a:spcBef>
              <a:spcAft>
                <a:spcPts val="600"/>
              </a:spcAft>
              <a:defRPr sz="1400">
                <a:solidFill>
                  <a:schemeClr val="bg1"/>
                </a:solidFill>
              </a:defRPr>
            </a:lvl5pPr>
            <a:lvl6pPr algn="ctr">
              <a:lnSpc>
                <a:spcPct val="80000"/>
              </a:lnSpc>
              <a:spcBef>
                <a:spcPts val="600"/>
              </a:spcBef>
              <a:spcAft>
                <a:spcPts val="600"/>
              </a:spcAft>
              <a:defRPr sz="1400">
                <a:solidFill>
                  <a:schemeClr val="bg1"/>
                </a:solidFill>
              </a:defRPr>
            </a:lvl6pPr>
            <a:lvl7pPr algn="ctr">
              <a:lnSpc>
                <a:spcPct val="80000"/>
              </a:lnSpc>
              <a:spcBef>
                <a:spcPts val="600"/>
              </a:spcBef>
              <a:spcAft>
                <a:spcPts val="600"/>
              </a:spcAft>
              <a:defRPr sz="1400">
                <a:solidFill>
                  <a:schemeClr val="bg1"/>
                </a:solidFill>
              </a:defRPr>
            </a:lvl7pPr>
            <a:lvl8pPr algn="ctr">
              <a:lnSpc>
                <a:spcPct val="80000"/>
              </a:lnSpc>
              <a:spcBef>
                <a:spcPts val="600"/>
              </a:spcBef>
              <a:spcAft>
                <a:spcPts val="600"/>
              </a:spcAft>
              <a:defRPr sz="1400">
                <a:solidFill>
                  <a:schemeClr val="bg1"/>
                </a:solidFill>
              </a:defRPr>
            </a:lvl8pPr>
            <a:lvl9pPr algn="ctr">
              <a:lnSpc>
                <a:spcPct val="80000"/>
              </a:lnSpc>
              <a:spcBef>
                <a:spcPts val="600"/>
              </a:spcBef>
              <a:spcAft>
                <a:spcPts val="600"/>
              </a:spcAft>
              <a:defRPr sz="1200" cap="all" baseline="0">
                <a:solidFill>
                  <a:schemeClr val="bg1"/>
                </a:solidFill>
              </a:defRPr>
            </a:lvl9pPr>
          </a:lstStyle>
          <a:p>
            <a:pPr lvl="0"/>
            <a:r>
              <a:rPr lang="nl-NL" dirty="0"/>
              <a:t>Klik om de modelstijlen te bewerken</a:t>
            </a:r>
          </a:p>
        </p:txBody>
      </p:sp>
      <p:sp>
        <p:nvSpPr>
          <p:cNvPr id="136" name="Tijdelijke aanduiding voor Afbeelding_03 (rechtsboven)"/>
          <p:cNvSpPr>
            <a:spLocks noGrp="1"/>
          </p:cNvSpPr>
          <p:nvPr>
            <p:ph type="pic" idx="37"/>
          </p:nvPr>
        </p:nvSpPr>
        <p:spPr>
          <a:xfrm>
            <a:off x="8136000" y="1512000"/>
            <a:ext cx="4068000" cy="2448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p>
        </p:txBody>
      </p:sp>
      <p:sp>
        <p:nvSpPr>
          <p:cNvPr id="16" name="Tijdelijke aanduiding voor Blok_03 (rechtsboven)"/>
          <p:cNvSpPr>
            <a:spLocks noGrp="1"/>
          </p:cNvSpPr>
          <p:nvPr>
            <p:ph type="body" orient="vert" idx="20" hasCustomPrompt="1"/>
          </p:nvPr>
        </p:nvSpPr>
        <p:spPr>
          <a:xfrm>
            <a:off x="8129291" y="1511073"/>
            <a:ext cx="4069059" cy="2448000"/>
          </a:xfrm>
          <a:solidFill>
            <a:schemeClr val="accent6">
              <a:lumMod val="75000"/>
            </a:schemeClr>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200">
                <a:solidFill>
                  <a:schemeClr val="bg1"/>
                </a:solidFill>
              </a:defRPr>
            </a:lvl2pPr>
            <a:lvl3pPr algn="ctr">
              <a:lnSpc>
                <a:spcPct val="80000"/>
              </a:lnSpc>
              <a:spcBef>
                <a:spcPts val="600"/>
              </a:spcBef>
              <a:spcAft>
                <a:spcPts val="600"/>
              </a:spcAft>
              <a:defRPr sz="1100">
                <a:solidFill>
                  <a:schemeClr val="bg1"/>
                </a:solidFill>
              </a:defRPr>
            </a:lvl3pPr>
            <a:lvl4pPr algn="ctr">
              <a:lnSpc>
                <a:spcPct val="80000"/>
              </a:lnSpc>
              <a:spcBef>
                <a:spcPts val="600"/>
              </a:spcBef>
              <a:spcAft>
                <a:spcPts val="600"/>
              </a:spcAft>
              <a:defRPr sz="1600">
                <a:solidFill>
                  <a:schemeClr val="bg1"/>
                </a:solidFill>
              </a:defRPr>
            </a:lvl4pPr>
            <a:lvl5pPr algn="ctr">
              <a:lnSpc>
                <a:spcPct val="80000"/>
              </a:lnSpc>
              <a:spcBef>
                <a:spcPts val="600"/>
              </a:spcBef>
              <a:spcAft>
                <a:spcPts val="600"/>
              </a:spcAft>
              <a:defRPr sz="1400">
                <a:solidFill>
                  <a:schemeClr val="bg1"/>
                </a:solidFill>
              </a:defRPr>
            </a:lvl5pPr>
            <a:lvl6pPr algn="ctr">
              <a:lnSpc>
                <a:spcPct val="80000"/>
              </a:lnSpc>
              <a:spcBef>
                <a:spcPts val="600"/>
              </a:spcBef>
              <a:spcAft>
                <a:spcPts val="600"/>
              </a:spcAft>
              <a:defRPr sz="1400">
                <a:solidFill>
                  <a:schemeClr val="bg1"/>
                </a:solidFill>
              </a:defRPr>
            </a:lvl6pPr>
            <a:lvl7pPr algn="ctr">
              <a:lnSpc>
                <a:spcPct val="80000"/>
              </a:lnSpc>
              <a:spcBef>
                <a:spcPts val="600"/>
              </a:spcBef>
              <a:spcAft>
                <a:spcPts val="600"/>
              </a:spcAft>
              <a:defRPr sz="1400">
                <a:solidFill>
                  <a:schemeClr val="bg1"/>
                </a:solidFill>
              </a:defRPr>
            </a:lvl7pPr>
            <a:lvl8pPr algn="ctr">
              <a:lnSpc>
                <a:spcPct val="80000"/>
              </a:lnSpc>
              <a:spcBef>
                <a:spcPts val="600"/>
              </a:spcBef>
              <a:spcAft>
                <a:spcPts val="600"/>
              </a:spcAft>
              <a:defRPr sz="1400">
                <a:solidFill>
                  <a:schemeClr val="bg1"/>
                </a:solidFill>
              </a:defRPr>
            </a:lvl8pPr>
            <a:lvl9pPr algn="ctr">
              <a:lnSpc>
                <a:spcPct val="80000"/>
              </a:lnSpc>
              <a:spcBef>
                <a:spcPts val="600"/>
              </a:spcBef>
              <a:spcAft>
                <a:spcPts val="600"/>
              </a:spcAft>
              <a:defRPr sz="1200" cap="all" baseline="0">
                <a:solidFill>
                  <a:schemeClr val="bg1"/>
                </a:solidFill>
              </a:defRPr>
            </a:lvl9pPr>
          </a:lstStyle>
          <a:p>
            <a:pPr lvl="0"/>
            <a:r>
              <a:rPr lang="nl-NL" dirty="0"/>
              <a:t>Klik om de modelstijlen te bewerken</a:t>
            </a:r>
          </a:p>
        </p:txBody>
      </p:sp>
      <p:sp>
        <p:nvSpPr>
          <p:cNvPr id="135" name="Tijdelijke aanduiding voor Afbeelding_02 (middenboven)"/>
          <p:cNvSpPr>
            <a:spLocks noGrp="1"/>
          </p:cNvSpPr>
          <p:nvPr>
            <p:ph type="pic" idx="36"/>
          </p:nvPr>
        </p:nvSpPr>
        <p:spPr>
          <a:xfrm>
            <a:off x="4068000" y="1512000"/>
            <a:ext cx="4068000" cy="2448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p>
        </p:txBody>
      </p:sp>
      <p:sp>
        <p:nvSpPr>
          <p:cNvPr id="15" name="Tijdelijke aanduiding voor Blok_02 (middenboven)"/>
          <p:cNvSpPr>
            <a:spLocks noGrp="1"/>
          </p:cNvSpPr>
          <p:nvPr>
            <p:ph type="body" orient="vert" idx="19" hasCustomPrompt="1"/>
          </p:nvPr>
        </p:nvSpPr>
        <p:spPr>
          <a:xfrm>
            <a:off x="4064646" y="1511073"/>
            <a:ext cx="4069059" cy="2448000"/>
          </a:xfrm>
          <a:solidFill>
            <a:schemeClr val="accent4"/>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200">
                <a:solidFill>
                  <a:schemeClr val="bg1"/>
                </a:solidFill>
              </a:defRPr>
            </a:lvl2pPr>
            <a:lvl3pPr algn="ctr">
              <a:lnSpc>
                <a:spcPct val="80000"/>
              </a:lnSpc>
              <a:spcBef>
                <a:spcPts val="600"/>
              </a:spcBef>
              <a:spcAft>
                <a:spcPts val="600"/>
              </a:spcAft>
              <a:defRPr sz="1100">
                <a:solidFill>
                  <a:schemeClr val="bg1"/>
                </a:solidFill>
              </a:defRPr>
            </a:lvl3pPr>
            <a:lvl4pPr algn="ctr">
              <a:lnSpc>
                <a:spcPct val="80000"/>
              </a:lnSpc>
              <a:spcBef>
                <a:spcPts val="600"/>
              </a:spcBef>
              <a:spcAft>
                <a:spcPts val="600"/>
              </a:spcAft>
              <a:defRPr sz="1600">
                <a:solidFill>
                  <a:schemeClr val="bg1"/>
                </a:solidFill>
              </a:defRPr>
            </a:lvl4pPr>
            <a:lvl5pPr algn="ctr">
              <a:lnSpc>
                <a:spcPct val="80000"/>
              </a:lnSpc>
              <a:spcBef>
                <a:spcPts val="600"/>
              </a:spcBef>
              <a:spcAft>
                <a:spcPts val="600"/>
              </a:spcAft>
              <a:defRPr sz="1400">
                <a:solidFill>
                  <a:schemeClr val="bg1"/>
                </a:solidFill>
              </a:defRPr>
            </a:lvl5pPr>
            <a:lvl6pPr algn="ctr">
              <a:lnSpc>
                <a:spcPct val="80000"/>
              </a:lnSpc>
              <a:spcBef>
                <a:spcPts val="600"/>
              </a:spcBef>
              <a:spcAft>
                <a:spcPts val="600"/>
              </a:spcAft>
              <a:defRPr sz="1400">
                <a:solidFill>
                  <a:schemeClr val="bg1"/>
                </a:solidFill>
              </a:defRPr>
            </a:lvl6pPr>
            <a:lvl7pPr algn="ctr">
              <a:lnSpc>
                <a:spcPct val="80000"/>
              </a:lnSpc>
              <a:spcBef>
                <a:spcPts val="600"/>
              </a:spcBef>
              <a:spcAft>
                <a:spcPts val="600"/>
              </a:spcAft>
              <a:defRPr sz="1400">
                <a:solidFill>
                  <a:schemeClr val="bg1"/>
                </a:solidFill>
              </a:defRPr>
            </a:lvl7pPr>
            <a:lvl8pPr algn="ctr">
              <a:lnSpc>
                <a:spcPct val="80000"/>
              </a:lnSpc>
              <a:spcBef>
                <a:spcPts val="600"/>
              </a:spcBef>
              <a:spcAft>
                <a:spcPts val="600"/>
              </a:spcAft>
              <a:defRPr sz="1400">
                <a:solidFill>
                  <a:schemeClr val="bg1"/>
                </a:solidFill>
              </a:defRPr>
            </a:lvl8pPr>
            <a:lvl9pPr algn="ctr">
              <a:lnSpc>
                <a:spcPct val="80000"/>
              </a:lnSpc>
              <a:spcBef>
                <a:spcPts val="600"/>
              </a:spcBef>
              <a:spcAft>
                <a:spcPts val="600"/>
              </a:spcAft>
              <a:defRPr sz="1200" cap="all" baseline="0">
                <a:solidFill>
                  <a:schemeClr val="bg1"/>
                </a:solidFill>
              </a:defRPr>
            </a:lvl9pPr>
          </a:lstStyle>
          <a:p>
            <a:pPr lvl="0"/>
            <a:r>
              <a:rPr lang="nl-NL" dirty="0"/>
              <a:t>Klik om de modelstijlen te bewerken</a:t>
            </a:r>
          </a:p>
        </p:txBody>
      </p:sp>
      <p:sp>
        <p:nvSpPr>
          <p:cNvPr id="133" name="Tijdelijke aanduiding voor Afbeelding_01 (linksboven)"/>
          <p:cNvSpPr>
            <a:spLocks noGrp="1"/>
          </p:cNvSpPr>
          <p:nvPr>
            <p:ph type="pic" idx="13"/>
          </p:nvPr>
        </p:nvSpPr>
        <p:spPr>
          <a:xfrm>
            <a:off x="0" y="1512000"/>
            <a:ext cx="4068000" cy="2448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p>
        </p:txBody>
      </p:sp>
      <p:sp>
        <p:nvSpPr>
          <p:cNvPr id="14" name="Tijdelijke aanduiding voor Blok_01 (linksboven)"/>
          <p:cNvSpPr>
            <a:spLocks noGrp="1"/>
          </p:cNvSpPr>
          <p:nvPr>
            <p:ph type="body" orient="vert" idx="1" hasCustomPrompt="1"/>
          </p:nvPr>
        </p:nvSpPr>
        <p:spPr>
          <a:xfrm>
            <a:off x="0" y="1511073"/>
            <a:ext cx="4069059" cy="2448000"/>
          </a:xfrm>
          <a:solidFill>
            <a:schemeClr val="accent1"/>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200">
                <a:solidFill>
                  <a:schemeClr val="bg1"/>
                </a:solidFill>
              </a:defRPr>
            </a:lvl2pPr>
            <a:lvl3pPr algn="ctr">
              <a:lnSpc>
                <a:spcPct val="80000"/>
              </a:lnSpc>
              <a:spcBef>
                <a:spcPts val="600"/>
              </a:spcBef>
              <a:spcAft>
                <a:spcPts val="600"/>
              </a:spcAft>
              <a:defRPr sz="1100">
                <a:solidFill>
                  <a:schemeClr val="bg1"/>
                </a:solidFill>
              </a:defRPr>
            </a:lvl3pPr>
            <a:lvl4pPr algn="ctr">
              <a:lnSpc>
                <a:spcPct val="80000"/>
              </a:lnSpc>
              <a:spcBef>
                <a:spcPts val="600"/>
              </a:spcBef>
              <a:spcAft>
                <a:spcPts val="600"/>
              </a:spcAft>
              <a:defRPr sz="1600">
                <a:solidFill>
                  <a:schemeClr val="bg1"/>
                </a:solidFill>
              </a:defRPr>
            </a:lvl4pPr>
            <a:lvl5pPr algn="ctr">
              <a:lnSpc>
                <a:spcPct val="80000"/>
              </a:lnSpc>
              <a:spcBef>
                <a:spcPts val="600"/>
              </a:spcBef>
              <a:spcAft>
                <a:spcPts val="600"/>
              </a:spcAft>
              <a:defRPr sz="1400">
                <a:solidFill>
                  <a:schemeClr val="bg1"/>
                </a:solidFill>
              </a:defRPr>
            </a:lvl5pPr>
            <a:lvl6pPr algn="ctr">
              <a:lnSpc>
                <a:spcPct val="80000"/>
              </a:lnSpc>
              <a:spcBef>
                <a:spcPts val="600"/>
              </a:spcBef>
              <a:spcAft>
                <a:spcPts val="600"/>
              </a:spcAft>
              <a:defRPr sz="1400">
                <a:solidFill>
                  <a:schemeClr val="bg1"/>
                </a:solidFill>
              </a:defRPr>
            </a:lvl6pPr>
            <a:lvl7pPr algn="ctr">
              <a:lnSpc>
                <a:spcPct val="80000"/>
              </a:lnSpc>
              <a:spcBef>
                <a:spcPts val="600"/>
              </a:spcBef>
              <a:spcAft>
                <a:spcPts val="600"/>
              </a:spcAft>
              <a:defRPr sz="1400">
                <a:solidFill>
                  <a:schemeClr val="bg1"/>
                </a:solidFill>
              </a:defRPr>
            </a:lvl7pPr>
            <a:lvl8pPr algn="ctr">
              <a:lnSpc>
                <a:spcPct val="80000"/>
              </a:lnSpc>
              <a:spcBef>
                <a:spcPts val="600"/>
              </a:spcBef>
              <a:spcAft>
                <a:spcPts val="600"/>
              </a:spcAft>
              <a:defRPr sz="1400">
                <a:solidFill>
                  <a:schemeClr val="bg1"/>
                </a:solidFill>
              </a:defRPr>
            </a:lvl8pPr>
            <a:lvl9pPr algn="ctr">
              <a:lnSpc>
                <a:spcPct val="80000"/>
              </a:lnSpc>
              <a:spcBef>
                <a:spcPts val="600"/>
              </a:spcBef>
              <a:spcAft>
                <a:spcPts val="600"/>
              </a:spcAft>
              <a:defRPr sz="1200" cap="all" baseline="0">
                <a:solidFill>
                  <a:schemeClr val="bg1"/>
                </a:solidFill>
              </a:defRPr>
            </a:lvl9pPr>
          </a:lstStyle>
          <a:p>
            <a:pPr lvl="0"/>
            <a:r>
              <a:rPr lang="nl-NL" dirty="0"/>
              <a:t>Klik om de modelstijlen te bewerken</a:t>
            </a:r>
          </a:p>
        </p:txBody>
      </p:sp>
      <p:sp>
        <p:nvSpPr>
          <p:cNvPr id="13" name="Tijdelijke aanduiding voor Subtitel"/>
          <p:cNvSpPr>
            <a:spLocks noGrp="1"/>
          </p:cNvSpPr>
          <p:nvPr>
            <p:ph type="body" idx="14"/>
          </p:nvPr>
        </p:nvSpPr>
        <p:spPr>
          <a:xfrm>
            <a:off x="664109" y="1001348"/>
            <a:ext cx="10870131" cy="317758"/>
          </a:xfrm>
        </p:spPr>
        <p:txBody>
          <a:bodyPr bIns="72000" anchor="t" anchorCtr="0"/>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28" name="Tijdelijke aanduiding voor Titel"/>
          <p:cNvSpPr>
            <a:spLocks noGrp="1"/>
          </p:cNvSpPr>
          <p:nvPr>
            <p:ph type="title"/>
          </p:nvPr>
        </p:nvSpPr>
        <p:spPr>
          <a:xfrm>
            <a:off x="664109" y="464521"/>
            <a:ext cx="10870131" cy="533219"/>
          </a:xfrm>
        </p:spPr>
        <p:txBody>
          <a:bodyPr/>
          <a:lstStyle>
            <a:lvl1pPr>
              <a:defRPr>
                <a:solidFill>
                  <a:schemeClr val="accent1"/>
                </a:solidFill>
              </a:defRPr>
            </a:lvl1pPr>
          </a:lstStyle>
          <a:p>
            <a:r>
              <a:rPr lang="nl-NL"/>
              <a:t>Klik om stijl te bewerken</a:t>
            </a:r>
            <a:endParaRPr lang="nl-NL" dirty="0"/>
          </a:p>
        </p:txBody>
      </p:sp>
    </p:spTree>
    <p:extLst>
      <p:ext uri="{BB962C8B-B14F-4D97-AF65-F5344CB8AC3E}">
        <p14:creationId xmlns:p14="http://schemas.microsoft.com/office/powerpoint/2010/main" val="3776358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50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1000" fill="hold"/>
                                        <p:tgtEl>
                                          <p:spTgt spid="14"/>
                                        </p:tgtEl>
                                        <p:attrNameLst>
                                          <p:attrName>ppt_x</p:attrName>
                                        </p:attrNameLst>
                                      </p:cBhvr>
                                      <p:tavLst>
                                        <p:tav tm="0">
                                          <p:val>
                                            <p:strVal val="#ppt_x"/>
                                          </p:val>
                                        </p:tav>
                                        <p:tav tm="100000">
                                          <p:val>
                                            <p:strVal val="#ppt_x"/>
                                          </p:val>
                                        </p:tav>
                                      </p:tavLst>
                                    </p:anim>
                                    <p:anim calcmode="lin" valueType="num">
                                      <p:cBhvr additive="base">
                                        <p:cTn id="8" dur="1000" fill="hold"/>
                                        <p:tgtEl>
                                          <p:spTgt spid="14"/>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500"/>
                                  </p:stCondLst>
                                  <p:childTnLst>
                                    <p:set>
                                      <p:cBhvr>
                                        <p:cTn id="10" dur="1" fill="hold">
                                          <p:stCondLst>
                                            <p:cond delay="0"/>
                                          </p:stCondLst>
                                        </p:cTn>
                                        <p:tgtEl>
                                          <p:spTgt spid="133"/>
                                        </p:tgtEl>
                                        <p:attrNameLst>
                                          <p:attrName>style.visibility</p:attrName>
                                        </p:attrNameLst>
                                      </p:cBhvr>
                                      <p:to>
                                        <p:strVal val="visible"/>
                                      </p:to>
                                    </p:set>
                                    <p:anim calcmode="lin" valueType="num">
                                      <p:cBhvr additive="base">
                                        <p:cTn id="11" dur="1000" fill="hold"/>
                                        <p:tgtEl>
                                          <p:spTgt spid="133"/>
                                        </p:tgtEl>
                                        <p:attrNameLst>
                                          <p:attrName>ppt_x</p:attrName>
                                        </p:attrNameLst>
                                      </p:cBhvr>
                                      <p:tavLst>
                                        <p:tav tm="0">
                                          <p:val>
                                            <p:strVal val="#ppt_x"/>
                                          </p:val>
                                        </p:tav>
                                        <p:tav tm="100000">
                                          <p:val>
                                            <p:strVal val="#ppt_x"/>
                                          </p:val>
                                        </p:tav>
                                      </p:tavLst>
                                    </p:anim>
                                    <p:anim calcmode="lin" valueType="num">
                                      <p:cBhvr additive="base">
                                        <p:cTn id="12" dur="1000" fill="hold"/>
                                        <p:tgtEl>
                                          <p:spTgt spid="133"/>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75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1000" fill="hold"/>
                                        <p:tgtEl>
                                          <p:spTgt spid="15"/>
                                        </p:tgtEl>
                                        <p:attrNameLst>
                                          <p:attrName>ppt_x</p:attrName>
                                        </p:attrNameLst>
                                      </p:cBhvr>
                                      <p:tavLst>
                                        <p:tav tm="0">
                                          <p:val>
                                            <p:strVal val="#ppt_x"/>
                                          </p:val>
                                        </p:tav>
                                        <p:tav tm="100000">
                                          <p:val>
                                            <p:strVal val="#ppt_x"/>
                                          </p:val>
                                        </p:tav>
                                      </p:tavLst>
                                    </p:anim>
                                    <p:anim calcmode="lin" valueType="num">
                                      <p:cBhvr additive="base">
                                        <p:cTn id="16" dur="1000" fill="hold"/>
                                        <p:tgtEl>
                                          <p:spTgt spid="15"/>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750"/>
                                  </p:stCondLst>
                                  <p:childTnLst>
                                    <p:set>
                                      <p:cBhvr>
                                        <p:cTn id="18" dur="1" fill="hold">
                                          <p:stCondLst>
                                            <p:cond delay="0"/>
                                          </p:stCondLst>
                                        </p:cTn>
                                        <p:tgtEl>
                                          <p:spTgt spid="135"/>
                                        </p:tgtEl>
                                        <p:attrNameLst>
                                          <p:attrName>style.visibility</p:attrName>
                                        </p:attrNameLst>
                                      </p:cBhvr>
                                      <p:to>
                                        <p:strVal val="visible"/>
                                      </p:to>
                                    </p:set>
                                    <p:anim calcmode="lin" valueType="num">
                                      <p:cBhvr additive="base">
                                        <p:cTn id="19" dur="1000" fill="hold"/>
                                        <p:tgtEl>
                                          <p:spTgt spid="135"/>
                                        </p:tgtEl>
                                        <p:attrNameLst>
                                          <p:attrName>ppt_x</p:attrName>
                                        </p:attrNameLst>
                                      </p:cBhvr>
                                      <p:tavLst>
                                        <p:tav tm="0">
                                          <p:val>
                                            <p:strVal val="#ppt_x"/>
                                          </p:val>
                                        </p:tav>
                                        <p:tav tm="100000">
                                          <p:val>
                                            <p:strVal val="#ppt_x"/>
                                          </p:val>
                                        </p:tav>
                                      </p:tavLst>
                                    </p:anim>
                                    <p:anim calcmode="lin" valueType="num">
                                      <p:cBhvr additive="base">
                                        <p:cTn id="20" dur="1000" fill="hold"/>
                                        <p:tgtEl>
                                          <p:spTgt spid="135"/>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1000"/>
                                  </p:stCondLst>
                                  <p:childTnLst>
                                    <p:set>
                                      <p:cBhvr>
                                        <p:cTn id="22" dur="1" fill="hold">
                                          <p:stCondLst>
                                            <p:cond delay="0"/>
                                          </p:stCondLst>
                                        </p:cTn>
                                        <p:tgtEl>
                                          <p:spTgt spid="16"/>
                                        </p:tgtEl>
                                        <p:attrNameLst>
                                          <p:attrName>style.visibility</p:attrName>
                                        </p:attrNameLst>
                                      </p:cBhvr>
                                      <p:to>
                                        <p:strVal val="visible"/>
                                      </p:to>
                                    </p:set>
                                    <p:anim calcmode="lin" valueType="num">
                                      <p:cBhvr additive="base">
                                        <p:cTn id="23" dur="1000" fill="hold"/>
                                        <p:tgtEl>
                                          <p:spTgt spid="16"/>
                                        </p:tgtEl>
                                        <p:attrNameLst>
                                          <p:attrName>ppt_x</p:attrName>
                                        </p:attrNameLst>
                                      </p:cBhvr>
                                      <p:tavLst>
                                        <p:tav tm="0">
                                          <p:val>
                                            <p:strVal val="#ppt_x"/>
                                          </p:val>
                                        </p:tav>
                                        <p:tav tm="100000">
                                          <p:val>
                                            <p:strVal val="#ppt_x"/>
                                          </p:val>
                                        </p:tav>
                                      </p:tavLst>
                                    </p:anim>
                                    <p:anim calcmode="lin" valueType="num">
                                      <p:cBhvr additive="base">
                                        <p:cTn id="24" dur="1000" fill="hold"/>
                                        <p:tgtEl>
                                          <p:spTgt spid="16"/>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1000"/>
                                  </p:stCondLst>
                                  <p:childTnLst>
                                    <p:set>
                                      <p:cBhvr>
                                        <p:cTn id="26" dur="1" fill="hold">
                                          <p:stCondLst>
                                            <p:cond delay="0"/>
                                          </p:stCondLst>
                                        </p:cTn>
                                        <p:tgtEl>
                                          <p:spTgt spid="136"/>
                                        </p:tgtEl>
                                        <p:attrNameLst>
                                          <p:attrName>style.visibility</p:attrName>
                                        </p:attrNameLst>
                                      </p:cBhvr>
                                      <p:to>
                                        <p:strVal val="visible"/>
                                      </p:to>
                                    </p:set>
                                    <p:anim calcmode="lin" valueType="num">
                                      <p:cBhvr additive="base">
                                        <p:cTn id="27" dur="1000" fill="hold"/>
                                        <p:tgtEl>
                                          <p:spTgt spid="136"/>
                                        </p:tgtEl>
                                        <p:attrNameLst>
                                          <p:attrName>ppt_x</p:attrName>
                                        </p:attrNameLst>
                                      </p:cBhvr>
                                      <p:tavLst>
                                        <p:tav tm="0">
                                          <p:val>
                                            <p:strVal val="#ppt_x"/>
                                          </p:val>
                                        </p:tav>
                                        <p:tav tm="100000">
                                          <p:val>
                                            <p:strVal val="#ppt_x"/>
                                          </p:val>
                                        </p:tav>
                                      </p:tavLst>
                                    </p:anim>
                                    <p:anim calcmode="lin" valueType="num">
                                      <p:cBhvr additive="base">
                                        <p:cTn id="28" dur="1000" fill="hold"/>
                                        <p:tgtEl>
                                          <p:spTgt spid="136"/>
                                        </p:tgtEl>
                                        <p:attrNameLst>
                                          <p:attrName>ppt_y</p:attrName>
                                        </p:attrNameLst>
                                      </p:cBhvr>
                                      <p:tavLst>
                                        <p:tav tm="0">
                                          <p:val>
                                            <p:strVal val="1+#ppt_h/2"/>
                                          </p:val>
                                        </p:tav>
                                        <p:tav tm="100000">
                                          <p:val>
                                            <p:strVal val="#ppt_y"/>
                                          </p:val>
                                        </p:tav>
                                      </p:tavLst>
                                    </p:anim>
                                  </p:childTnLst>
                                </p:cTn>
                              </p:par>
                              <p:par>
                                <p:cTn id="29" presetID="2" presetClass="entr" presetSubtype="4" decel="100000" fill="hold" grpId="0" nodeType="withEffect">
                                  <p:stCondLst>
                                    <p:cond delay="500"/>
                                  </p:stCondLst>
                                  <p:childTnLst>
                                    <p:set>
                                      <p:cBhvr>
                                        <p:cTn id="30" dur="1" fill="hold">
                                          <p:stCondLst>
                                            <p:cond delay="0"/>
                                          </p:stCondLst>
                                        </p:cTn>
                                        <p:tgtEl>
                                          <p:spTgt spid="34"/>
                                        </p:tgtEl>
                                        <p:attrNameLst>
                                          <p:attrName>style.visibility</p:attrName>
                                        </p:attrNameLst>
                                      </p:cBhvr>
                                      <p:to>
                                        <p:strVal val="visible"/>
                                      </p:to>
                                    </p:set>
                                    <p:anim calcmode="lin" valueType="num">
                                      <p:cBhvr additive="base">
                                        <p:cTn id="31" dur="1000" fill="hold"/>
                                        <p:tgtEl>
                                          <p:spTgt spid="34"/>
                                        </p:tgtEl>
                                        <p:attrNameLst>
                                          <p:attrName>ppt_x</p:attrName>
                                        </p:attrNameLst>
                                      </p:cBhvr>
                                      <p:tavLst>
                                        <p:tav tm="0">
                                          <p:val>
                                            <p:strVal val="#ppt_x"/>
                                          </p:val>
                                        </p:tav>
                                        <p:tav tm="100000">
                                          <p:val>
                                            <p:strVal val="#ppt_x"/>
                                          </p:val>
                                        </p:tav>
                                      </p:tavLst>
                                    </p:anim>
                                    <p:anim calcmode="lin" valueType="num">
                                      <p:cBhvr additive="base">
                                        <p:cTn id="32" dur="1000" fill="hold"/>
                                        <p:tgtEl>
                                          <p:spTgt spid="34"/>
                                        </p:tgtEl>
                                        <p:attrNameLst>
                                          <p:attrName>ppt_y</p:attrName>
                                        </p:attrNameLst>
                                      </p:cBhvr>
                                      <p:tavLst>
                                        <p:tav tm="0">
                                          <p:val>
                                            <p:strVal val="1+#ppt_h/2"/>
                                          </p:val>
                                        </p:tav>
                                        <p:tav tm="100000">
                                          <p:val>
                                            <p:strVal val="#ppt_y"/>
                                          </p:val>
                                        </p:tav>
                                      </p:tavLst>
                                    </p:anim>
                                  </p:childTnLst>
                                </p:cTn>
                              </p:par>
                              <p:par>
                                <p:cTn id="33" presetID="2" presetClass="entr" presetSubtype="4" decel="100000" fill="hold" grpId="0" nodeType="withEffect">
                                  <p:stCondLst>
                                    <p:cond delay="500"/>
                                  </p:stCondLst>
                                  <p:childTnLst>
                                    <p:set>
                                      <p:cBhvr>
                                        <p:cTn id="34" dur="1" fill="hold">
                                          <p:stCondLst>
                                            <p:cond delay="0"/>
                                          </p:stCondLst>
                                        </p:cTn>
                                        <p:tgtEl>
                                          <p:spTgt spid="137"/>
                                        </p:tgtEl>
                                        <p:attrNameLst>
                                          <p:attrName>style.visibility</p:attrName>
                                        </p:attrNameLst>
                                      </p:cBhvr>
                                      <p:to>
                                        <p:strVal val="visible"/>
                                      </p:to>
                                    </p:set>
                                    <p:anim calcmode="lin" valueType="num">
                                      <p:cBhvr additive="base">
                                        <p:cTn id="35" dur="1000" fill="hold"/>
                                        <p:tgtEl>
                                          <p:spTgt spid="137"/>
                                        </p:tgtEl>
                                        <p:attrNameLst>
                                          <p:attrName>ppt_x</p:attrName>
                                        </p:attrNameLst>
                                      </p:cBhvr>
                                      <p:tavLst>
                                        <p:tav tm="0">
                                          <p:val>
                                            <p:strVal val="#ppt_x"/>
                                          </p:val>
                                        </p:tav>
                                        <p:tav tm="100000">
                                          <p:val>
                                            <p:strVal val="#ppt_x"/>
                                          </p:val>
                                        </p:tav>
                                      </p:tavLst>
                                    </p:anim>
                                    <p:anim calcmode="lin" valueType="num">
                                      <p:cBhvr additive="base">
                                        <p:cTn id="36" dur="1000" fill="hold"/>
                                        <p:tgtEl>
                                          <p:spTgt spid="137"/>
                                        </p:tgtEl>
                                        <p:attrNameLst>
                                          <p:attrName>ppt_y</p:attrName>
                                        </p:attrNameLst>
                                      </p:cBhvr>
                                      <p:tavLst>
                                        <p:tav tm="0">
                                          <p:val>
                                            <p:strVal val="1+#ppt_h/2"/>
                                          </p:val>
                                        </p:tav>
                                        <p:tav tm="100000">
                                          <p:val>
                                            <p:strVal val="#ppt_y"/>
                                          </p:val>
                                        </p:tav>
                                      </p:tavLst>
                                    </p:anim>
                                  </p:childTnLst>
                                </p:cTn>
                              </p:par>
                              <p:par>
                                <p:cTn id="37" presetID="2" presetClass="entr" presetSubtype="4" decel="100000" fill="hold" grpId="0" nodeType="withEffect">
                                  <p:stCondLst>
                                    <p:cond delay="750"/>
                                  </p:stCondLst>
                                  <p:childTnLst>
                                    <p:set>
                                      <p:cBhvr>
                                        <p:cTn id="38" dur="1" fill="hold">
                                          <p:stCondLst>
                                            <p:cond delay="0"/>
                                          </p:stCondLst>
                                        </p:cTn>
                                        <p:tgtEl>
                                          <p:spTgt spid="35"/>
                                        </p:tgtEl>
                                        <p:attrNameLst>
                                          <p:attrName>style.visibility</p:attrName>
                                        </p:attrNameLst>
                                      </p:cBhvr>
                                      <p:to>
                                        <p:strVal val="visible"/>
                                      </p:to>
                                    </p:set>
                                    <p:anim calcmode="lin" valueType="num">
                                      <p:cBhvr additive="base">
                                        <p:cTn id="39" dur="1000" fill="hold"/>
                                        <p:tgtEl>
                                          <p:spTgt spid="35"/>
                                        </p:tgtEl>
                                        <p:attrNameLst>
                                          <p:attrName>ppt_x</p:attrName>
                                        </p:attrNameLst>
                                      </p:cBhvr>
                                      <p:tavLst>
                                        <p:tav tm="0">
                                          <p:val>
                                            <p:strVal val="#ppt_x"/>
                                          </p:val>
                                        </p:tav>
                                        <p:tav tm="100000">
                                          <p:val>
                                            <p:strVal val="#ppt_x"/>
                                          </p:val>
                                        </p:tav>
                                      </p:tavLst>
                                    </p:anim>
                                    <p:anim calcmode="lin" valueType="num">
                                      <p:cBhvr additive="base">
                                        <p:cTn id="40" dur="1000" fill="hold"/>
                                        <p:tgtEl>
                                          <p:spTgt spid="35"/>
                                        </p:tgtEl>
                                        <p:attrNameLst>
                                          <p:attrName>ppt_y</p:attrName>
                                        </p:attrNameLst>
                                      </p:cBhvr>
                                      <p:tavLst>
                                        <p:tav tm="0">
                                          <p:val>
                                            <p:strVal val="1+#ppt_h/2"/>
                                          </p:val>
                                        </p:tav>
                                        <p:tav tm="100000">
                                          <p:val>
                                            <p:strVal val="#ppt_y"/>
                                          </p:val>
                                        </p:tav>
                                      </p:tavLst>
                                    </p:anim>
                                  </p:childTnLst>
                                </p:cTn>
                              </p:par>
                              <p:par>
                                <p:cTn id="41" presetID="2" presetClass="entr" presetSubtype="4" decel="100000" fill="hold" grpId="0" nodeType="withEffect">
                                  <p:stCondLst>
                                    <p:cond delay="750"/>
                                  </p:stCondLst>
                                  <p:childTnLst>
                                    <p:set>
                                      <p:cBhvr>
                                        <p:cTn id="42" dur="1" fill="hold">
                                          <p:stCondLst>
                                            <p:cond delay="0"/>
                                          </p:stCondLst>
                                        </p:cTn>
                                        <p:tgtEl>
                                          <p:spTgt spid="138"/>
                                        </p:tgtEl>
                                        <p:attrNameLst>
                                          <p:attrName>style.visibility</p:attrName>
                                        </p:attrNameLst>
                                      </p:cBhvr>
                                      <p:to>
                                        <p:strVal val="visible"/>
                                      </p:to>
                                    </p:set>
                                    <p:anim calcmode="lin" valueType="num">
                                      <p:cBhvr additive="base">
                                        <p:cTn id="43" dur="1000" fill="hold"/>
                                        <p:tgtEl>
                                          <p:spTgt spid="138"/>
                                        </p:tgtEl>
                                        <p:attrNameLst>
                                          <p:attrName>ppt_x</p:attrName>
                                        </p:attrNameLst>
                                      </p:cBhvr>
                                      <p:tavLst>
                                        <p:tav tm="0">
                                          <p:val>
                                            <p:strVal val="#ppt_x"/>
                                          </p:val>
                                        </p:tav>
                                        <p:tav tm="100000">
                                          <p:val>
                                            <p:strVal val="#ppt_x"/>
                                          </p:val>
                                        </p:tav>
                                      </p:tavLst>
                                    </p:anim>
                                    <p:anim calcmode="lin" valueType="num">
                                      <p:cBhvr additive="base">
                                        <p:cTn id="44" dur="1000" fill="hold"/>
                                        <p:tgtEl>
                                          <p:spTgt spid="138"/>
                                        </p:tgtEl>
                                        <p:attrNameLst>
                                          <p:attrName>ppt_y</p:attrName>
                                        </p:attrNameLst>
                                      </p:cBhvr>
                                      <p:tavLst>
                                        <p:tav tm="0">
                                          <p:val>
                                            <p:strVal val="1+#ppt_h/2"/>
                                          </p:val>
                                        </p:tav>
                                        <p:tav tm="100000">
                                          <p:val>
                                            <p:strVal val="#ppt_y"/>
                                          </p:val>
                                        </p:tav>
                                      </p:tavLst>
                                    </p:anim>
                                  </p:childTnLst>
                                </p:cTn>
                              </p:par>
                              <p:par>
                                <p:cTn id="45" presetID="2" presetClass="entr" presetSubtype="4" decel="100000" fill="hold" grpId="0" nodeType="withEffect">
                                  <p:stCondLst>
                                    <p:cond delay="1000"/>
                                  </p:stCondLst>
                                  <p:childTnLst>
                                    <p:set>
                                      <p:cBhvr>
                                        <p:cTn id="46" dur="1" fill="hold">
                                          <p:stCondLst>
                                            <p:cond delay="0"/>
                                          </p:stCondLst>
                                        </p:cTn>
                                        <p:tgtEl>
                                          <p:spTgt spid="36"/>
                                        </p:tgtEl>
                                        <p:attrNameLst>
                                          <p:attrName>style.visibility</p:attrName>
                                        </p:attrNameLst>
                                      </p:cBhvr>
                                      <p:to>
                                        <p:strVal val="visible"/>
                                      </p:to>
                                    </p:set>
                                    <p:anim calcmode="lin" valueType="num">
                                      <p:cBhvr additive="base">
                                        <p:cTn id="47" dur="1000" fill="hold"/>
                                        <p:tgtEl>
                                          <p:spTgt spid="36"/>
                                        </p:tgtEl>
                                        <p:attrNameLst>
                                          <p:attrName>ppt_x</p:attrName>
                                        </p:attrNameLst>
                                      </p:cBhvr>
                                      <p:tavLst>
                                        <p:tav tm="0">
                                          <p:val>
                                            <p:strVal val="#ppt_x"/>
                                          </p:val>
                                        </p:tav>
                                        <p:tav tm="100000">
                                          <p:val>
                                            <p:strVal val="#ppt_x"/>
                                          </p:val>
                                        </p:tav>
                                      </p:tavLst>
                                    </p:anim>
                                    <p:anim calcmode="lin" valueType="num">
                                      <p:cBhvr additive="base">
                                        <p:cTn id="48" dur="1000" fill="hold"/>
                                        <p:tgtEl>
                                          <p:spTgt spid="36"/>
                                        </p:tgtEl>
                                        <p:attrNameLst>
                                          <p:attrName>ppt_y</p:attrName>
                                        </p:attrNameLst>
                                      </p:cBhvr>
                                      <p:tavLst>
                                        <p:tav tm="0">
                                          <p:val>
                                            <p:strVal val="1+#ppt_h/2"/>
                                          </p:val>
                                        </p:tav>
                                        <p:tav tm="100000">
                                          <p:val>
                                            <p:strVal val="#ppt_y"/>
                                          </p:val>
                                        </p:tav>
                                      </p:tavLst>
                                    </p:anim>
                                  </p:childTnLst>
                                </p:cTn>
                              </p:par>
                              <p:par>
                                <p:cTn id="49" presetID="2" presetClass="entr" presetSubtype="4" decel="100000" fill="hold" grpId="0" nodeType="withEffect">
                                  <p:stCondLst>
                                    <p:cond delay="1000"/>
                                  </p:stCondLst>
                                  <p:childTnLst>
                                    <p:set>
                                      <p:cBhvr>
                                        <p:cTn id="50" dur="1" fill="hold">
                                          <p:stCondLst>
                                            <p:cond delay="0"/>
                                          </p:stCondLst>
                                        </p:cTn>
                                        <p:tgtEl>
                                          <p:spTgt spid="139"/>
                                        </p:tgtEl>
                                        <p:attrNameLst>
                                          <p:attrName>style.visibility</p:attrName>
                                        </p:attrNameLst>
                                      </p:cBhvr>
                                      <p:to>
                                        <p:strVal val="visible"/>
                                      </p:to>
                                    </p:set>
                                    <p:anim calcmode="lin" valueType="num">
                                      <p:cBhvr additive="base">
                                        <p:cTn id="51" dur="1000" fill="hold"/>
                                        <p:tgtEl>
                                          <p:spTgt spid="139"/>
                                        </p:tgtEl>
                                        <p:attrNameLst>
                                          <p:attrName>ppt_x</p:attrName>
                                        </p:attrNameLst>
                                      </p:cBhvr>
                                      <p:tavLst>
                                        <p:tav tm="0">
                                          <p:val>
                                            <p:strVal val="#ppt_x"/>
                                          </p:val>
                                        </p:tav>
                                        <p:tav tm="100000">
                                          <p:val>
                                            <p:strVal val="#ppt_x"/>
                                          </p:val>
                                        </p:tav>
                                      </p:tavLst>
                                    </p:anim>
                                    <p:anim calcmode="lin" valueType="num">
                                      <p:cBhvr additive="base">
                                        <p:cTn id="52" dur="1000" fill="hold"/>
                                        <p:tgtEl>
                                          <p:spTgt spid="139"/>
                                        </p:tgtEl>
                                        <p:attrNameLst>
                                          <p:attrName>ppt_y</p:attrName>
                                        </p:attrNameLst>
                                      </p:cBhvr>
                                      <p:tavLst>
                                        <p:tav tm="0">
                                          <p:val>
                                            <p:strVal val="1+#ppt_h/2"/>
                                          </p:val>
                                        </p:tav>
                                        <p:tav tm="100000">
                                          <p:val>
                                            <p:strVal val="#ppt_y"/>
                                          </p:val>
                                        </p:tav>
                                      </p:tavLst>
                                    </p:anim>
                                  </p:childTnLst>
                                </p:cTn>
                              </p:par>
                              <p:par>
                                <p:cTn id="53" presetID="2" presetClass="entr" presetSubtype="4" decel="100000" fill="hold" grpId="0" nodeType="withEffect">
                                  <p:stCondLst>
                                    <p:cond delay="0"/>
                                  </p:stCondLst>
                                  <p:childTnLst>
                                    <p:set>
                                      <p:cBhvr>
                                        <p:cTn id="54" dur="1" fill="hold">
                                          <p:stCondLst>
                                            <p:cond delay="0"/>
                                          </p:stCondLst>
                                        </p:cTn>
                                        <p:tgtEl>
                                          <p:spTgt spid="2"/>
                                        </p:tgtEl>
                                        <p:attrNameLst>
                                          <p:attrName>style.visibility</p:attrName>
                                        </p:attrNameLst>
                                      </p:cBhvr>
                                      <p:to>
                                        <p:strVal val="visible"/>
                                      </p:to>
                                    </p:set>
                                    <p:anim calcmode="lin" valueType="num">
                                      <p:cBhvr additive="base">
                                        <p:cTn id="55" dur="1500" fill="hold"/>
                                        <p:tgtEl>
                                          <p:spTgt spid="2"/>
                                        </p:tgtEl>
                                        <p:attrNameLst>
                                          <p:attrName>ppt_x</p:attrName>
                                        </p:attrNameLst>
                                      </p:cBhvr>
                                      <p:tavLst>
                                        <p:tav tm="0">
                                          <p:val>
                                            <p:strVal val="#ppt_x"/>
                                          </p:val>
                                        </p:tav>
                                        <p:tav tm="100000">
                                          <p:val>
                                            <p:strVal val="#ppt_x"/>
                                          </p:val>
                                        </p:tav>
                                      </p:tavLst>
                                    </p:anim>
                                    <p:anim calcmode="lin" valueType="num">
                                      <p:cBhvr additive="base">
                                        <p:cTn id="56" dur="1500" fill="hold"/>
                                        <p:tgtEl>
                                          <p:spTgt spid="2"/>
                                        </p:tgtEl>
                                        <p:attrNameLst>
                                          <p:attrName>ppt_y</p:attrName>
                                        </p:attrNameLst>
                                      </p:cBhvr>
                                      <p:tavLst>
                                        <p:tav tm="0">
                                          <p:val>
                                            <p:strVal val="1+#ppt_h/2"/>
                                          </p:val>
                                        </p:tav>
                                        <p:tav tm="100000">
                                          <p:val>
                                            <p:strVal val="#ppt_y"/>
                                          </p:val>
                                        </p:tav>
                                      </p:tavLst>
                                    </p:anim>
                                  </p:childTnLst>
                                </p:cTn>
                              </p:par>
                              <p:par>
                                <p:cTn id="57" presetID="2" presetClass="entr" presetSubtype="4" decel="100000" fill="hold" grpId="0" nodeType="withEffect">
                                  <p:stCondLst>
                                    <p:cond delay="500"/>
                                  </p:stCondLst>
                                  <p:childTnLst>
                                    <p:set>
                                      <p:cBhvr>
                                        <p:cTn id="58" dur="1" fill="hold">
                                          <p:stCondLst>
                                            <p:cond delay="0"/>
                                          </p:stCondLst>
                                        </p:cTn>
                                        <p:tgtEl>
                                          <p:spTgt spid="68"/>
                                        </p:tgtEl>
                                        <p:attrNameLst>
                                          <p:attrName>style.visibility</p:attrName>
                                        </p:attrNameLst>
                                      </p:cBhvr>
                                      <p:to>
                                        <p:strVal val="visible"/>
                                      </p:to>
                                    </p:set>
                                    <p:anim calcmode="lin" valueType="num">
                                      <p:cBhvr additive="base">
                                        <p:cTn id="59" dur="1000" fill="hold"/>
                                        <p:tgtEl>
                                          <p:spTgt spid="68"/>
                                        </p:tgtEl>
                                        <p:attrNameLst>
                                          <p:attrName>ppt_x</p:attrName>
                                        </p:attrNameLst>
                                      </p:cBhvr>
                                      <p:tavLst>
                                        <p:tav tm="0">
                                          <p:val>
                                            <p:strVal val="#ppt_x"/>
                                          </p:val>
                                        </p:tav>
                                        <p:tav tm="100000">
                                          <p:val>
                                            <p:strVal val="#ppt_x"/>
                                          </p:val>
                                        </p:tav>
                                      </p:tavLst>
                                    </p:anim>
                                    <p:anim calcmode="lin" valueType="num">
                                      <p:cBhvr additive="base">
                                        <p:cTn id="60" dur="1000" fill="hold"/>
                                        <p:tgtEl>
                                          <p:spTgt spid="68"/>
                                        </p:tgtEl>
                                        <p:attrNameLst>
                                          <p:attrName>ppt_y</p:attrName>
                                        </p:attrNameLst>
                                      </p:cBhvr>
                                      <p:tavLst>
                                        <p:tav tm="0">
                                          <p:val>
                                            <p:strVal val="1+#ppt_h/2"/>
                                          </p:val>
                                        </p:tav>
                                        <p:tav tm="100000">
                                          <p:val>
                                            <p:strVal val="#ppt_y"/>
                                          </p:val>
                                        </p:tav>
                                      </p:tavLst>
                                    </p:anim>
                                  </p:childTnLst>
                                </p:cTn>
                              </p:par>
                              <p:par>
                                <p:cTn id="61" presetID="2" presetClass="entr" presetSubtype="4" decel="100000" fill="hold" grpId="0" nodeType="withEffect">
                                  <p:stCondLst>
                                    <p:cond delay="500"/>
                                  </p:stCondLst>
                                  <p:childTnLst>
                                    <p:set>
                                      <p:cBhvr>
                                        <p:cTn id="62" dur="1" fill="hold">
                                          <p:stCondLst>
                                            <p:cond delay="0"/>
                                          </p:stCondLst>
                                        </p:cTn>
                                        <p:tgtEl>
                                          <p:spTgt spid="69"/>
                                        </p:tgtEl>
                                        <p:attrNameLst>
                                          <p:attrName>style.visibility</p:attrName>
                                        </p:attrNameLst>
                                      </p:cBhvr>
                                      <p:to>
                                        <p:strVal val="visible"/>
                                      </p:to>
                                    </p:set>
                                    <p:anim calcmode="lin" valueType="num">
                                      <p:cBhvr additive="base">
                                        <p:cTn id="63" dur="1000" fill="hold"/>
                                        <p:tgtEl>
                                          <p:spTgt spid="69"/>
                                        </p:tgtEl>
                                        <p:attrNameLst>
                                          <p:attrName>ppt_x</p:attrName>
                                        </p:attrNameLst>
                                      </p:cBhvr>
                                      <p:tavLst>
                                        <p:tav tm="0">
                                          <p:val>
                                            <p:strVal val="#ppt_x"/>
                                          </p:val>
                                        </p:tav>
                                        <p:tav tm="100000">
                                          <p:val>
                                            <p:strVal val="#ppt_x"/>
                                          </p:val>
                                        </p:tav>
                                      </p:tavLst>
                                    </p:anim>
                                    <p:anim calcmode="lin" valueType="num">
                                      <p:cBhvr additive="base">
                                        <p:cTn id="64" dur="1000" fill="hold"/>
                                        <p:tgtEl>
                                          <p:spTgt spid="6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68" grpId="0" animBg="1"/>
      <p:bldP spid="69" grpId="0" animBg="1"/>
      <p:bldP spid="139" grpId="0" animBg="1"/>
      <p:bldP spid="36" grpId="0" animBg="1">
        <p:tmplLst>
          <p:tmpl>
            <p:tnLst>
              <p:par>
                <p:cTn presetID="2" presetClass="entr" presetSubtype="4" decel="100000" fill="hold" nodeType="withEffect">
                  <p:stCondLst>
                    <p:cond delay="1000"/>
                  </p:stCondLst>
                  <p:childTnLst>
                    <p:set>
                      <p:cBhvr>
                        <p:cTn dur="1" fill="hold">
                          <p:stCondLst>
                            <p:cond delay="0"/>
                          </p:stCondLst>
                        </p:cTn>
                        <p:tgtEl>
                          <p:spTgt spid="36"/>
                        </p:tgtEl>
                        <p:attrNameLst>
                          <p:attrName>style.visibility</p:attrName>
                        </p:attrNameLst>
                      </p:cBhvr>
                      <p:to>
                        <p:strVal val="visible"/>
                      </p:to>
                    </p:set>
                    <p:anim calcmode="lin" valueType="num">
                      <p:cBhvr additive="base">
                        <p:cTn dur="1000" fill="hold"/>
                        <p:tgtEl>
                          <p:spTgt spid="36"/>
                        </p:tgtEl>
                        <p:attrNameLst>
                          <p:attrName>ppt_x</p:attrName>
                        </p:attrNameLst>
                      </p:cBhvr>
                      <p:tavLst>
                        <p:tav tm="0">
                          <p:val>
                            <p:strVal val="#ppt_x"/>
                          </p:val>
                        </p:tav>
                        <p:tav tm="100000">
                          <p:val>
                            <p:strVal val="#ppt_x"/>
                          </p:val>
                        </p:tav>
                      </p:tavLst>
                    </p:anim>
                    <p:anim calcmode="lin" valueType="num">
                      <p:cBhvr additive="base">
                        <p:cTn dur="1000" fill="hold"/>
                        <p:tgtEl>
                          <p:spTgt spid="36"/>
                        </p:tgtEl>
                        <p:attrNameLst>
                          <p:attrName>ppt_y</p:attrName>
                        </p:attrNameLst>
                      </p:cBhvr>
                      <p:tavLst>
                        <p:tav tm="0">
                          <p:val>
                            <p:strVal val="1+#ppt_h/2"/>
                          </p:val>
                        </p:tav>
                        <p:tav tm="100000">
                          <p:val>
                            <p:strVal val="#ppt_y"/>
                          </p:val>
                        </p:tav>
                      </p:tavLst>
                    </p:anim>
                  </p:childTnLst>
                </p:cTn>
              </p:par>
            </p:tnLst>
          </p:tmpl>
        </p:tmplLst>
      </p:bldP>
      <p:bldP spid="138" grpId="0" animBg="1"/>
      <p:bldP spid="35" grpId="0" animBg="1">
        <p:tmplLst>
          <p:tmpl>
            <p:tnLst>
              <p:par>
                <p:cTn presetID="2" presetClass="entr" presetSubtype="4" decel="100000" fill="hold" nodeType="withEffect">
                  <p:stCondLst>
                    <p:cond delay="750"/>
                  </p:stCondLst>
                  <p:childTnLst>
                    <p:set>
                      <p:cBhvr>
                        <p:cTn dur="1" fill="hold">
                          <p:stCondLst>
                            <p:cond delay="0"/>
                          </p:stCondLst>
                        </p:cTn>
                        <p:tgtEl>
                          <p:spTgt spid="35"/>
                        </p:tgtEl>
                        <p:attrNameLst>
                          <p:attrName>style.visibility</p:attrName>
                        </p:attrNameLst>
                      </p:cBhvr>
                      <p:to>
                        <p:strVal val="visible"/>
                      </p:to>
                    </p:set>
                    <p:anim calcmode="lin" valueType="num">
                      <p:cBhvr additive="base">
                        <p:cTn dur="1000" fill="hold"/>
                        <p:tgtEl>
                          <p:spTgt spid="35"/>
                        </p:tgtEl>
                        <p:attrNameLst>
                          <p:attrName>ppt_x</p:attrName>
                        </p:attrNameLst>
                      </p:cBhvr>
                      <p:tavLst>
                        <p:tav tm="0">
                          <p:val>
                            <p:strVal val="#ppt_x"/>
                          </p:val>
                        </p:tav>
                        <p:tav tm="100000">
                          <p:val>
                            <p:strVal val="#ppt_x"/>
                          </p:val>
                        </p:tav>
                      </p:tavLst>
                    </p:anim>
                    <p:anim calcmode="lin" valueType="num">
                      <p:cBhvr additive="base">
                        <p:cTn dur="1000" fill="hold"/>
                        <p:tgtEl>
                          <p:spTgt spid="35"/>
                        </p:tgtEl>
                        <p:attrNameLst>
                          <p:attrName>ppt_y</p:attrName>
                        </p:attrNameLst>
                      </p:cBhvr>
                      <p:tavLst>
                        <p:tav tm="0">
                          <p:val>
                            <p:strVal val="1+#ppt_h/2"/>
                          </p:val>
                        </p:tav>
                        <p:tav tm="100000">
                          <p:val>
                            <p:strVal val="#ppt_y"/>
                          </p:val>
                        </p:tav>
                      </p:tavLst>
                    </p:anim>
                  </p:childTnLst>
                </p:cTn>
              </p:par>
            </p:tnLst>
          </p:tmpl>
        </p:tmplLst>
      </p:bldP>
      <p:bldP spid="137" grpId="0" animBg="1"/>
      <p:bldP spid="34" grpId="0" animBg="1">
        <p:tmplLst>
          <p:tmpl>
            <p:tnLst>
              <p:par>
                <p:cTn presetID="2" presetClass="entr" presetSubtype="4" decel="100000" fill="hold" nodeType="withEffect">
                  <p:stCondLst>
                    <p:cond delay="500"/>
                  </p:stCondLst>
                  <p:childTnLst>
                    <p:set>
                      <p:cBhvr>
                        <p:cTn dur="1" fill="hold">
                          <p:stCondLst>
                            <p:cond delay="0"/>
                          </p:stCondLst>
                        </p:cTn>
                        <p:tgtEl>
                          <p:spTgt spid="34"/>
                        </p:tgtEl>
                        <p:attrNameLst>
                          <p:attrName>style.visibility</p:attrName>
                        </p:attrNameLst>
                      </p:cBhvr>
                      <p:to>
                        <p:strVal val="visible"/>
                      </p:to>
                    </p:set>
                    <p:anim calcmode="lin" valueType="num">
                      <p:cBhvr additive="base">
                        <p:cTn dur="1000" fill="hold"/>
                        <p:tgtEl>
                          <p:spTgt spid="34"/>
                        </p:tgtEl>
                        <p:attrNameLst>
                          <p:attrName>ppt_x</p:attrName>
                        </p:attrNameLst>
                      </p:cBhvr>
                      <p:tavLst>
                        <p:tav tm="0">
                          <p:val>
                            <p:strVal val="#ppt_x"/>
                          </p:val>
                        </p:tav>
                        <p:tav tm="100000">
                          <p:val>
                            <p:strVal val="#ppt_x"/>
                          </p:val>
                        </p:tav>
                      </p:tavLst>
                    </p:anim>
                    <p:anim calcmode="lin" valueType="num">
                      <p:cBhvr additive="base">
                        <p:cTn dur="1000" fill="hold"/>
                        <p:tgtEl>
                          <p:spTgt spid="34"/>
                        </p:tgtEl>
                        <p:attrNameLst>
                          <p:attrName>ppt_y</p:attrName>
                        </p:attrNameLst>
                      </p:cBhvr>
                      <p:tavLst>
                        <p:tav tm="0">
                          <p:val>
                            <p:strVal val="1+#ppt_h/2"/>
                          </p:val>
                        </p:tav>
                        <p:tav tm="100000">
                          <p:val>
                            <p:strVal val="#ppt_y"/>
                          </p:val>
                        </p:tav>
                      </p:tavLst>
                    </p:anim>
                  </p:childTnLst>
                </p:cTn>
              </p:par>
            </p:tnLst>
          </p:tmpl>
        </p:tmplLst>
      </p:bldP>
      <p:bldP spid="136" grpId="0" animBg="1"/>
      <p:bldP spid="16" grpId="0" animBg="1">
        <p:tmplLst>
          <p:tmpl>
            <p:tnLst>
              <p:par>
                <p:cTn presetID="2" presetClass="entr" presetSubtype="4" decel="100000" fill="hold" nodeType="withEffect">
                  <p:stCondLst>
                    <p:cond delay="1000"/>
                  </p:stCondLst>
                  <p:childTnLst>
                    <p:set>
                      <p:cBhvr>
                        <p:cTn dur="1" fill="hold">
                          <p:stCondLst>
                            <p:cond delay="0"/>
                          </p:stCondLst>
                        </p:cTn>
                        <p:tgtEl>
                          <p:spTgt spid="16"/>
                        </p:tgtEl>
                        <p:attrNameLst>
                          <p:attrName>style.visibility</p:attrName>
                        </p:attrNameLst>
                      </p:cBhvr>
                      <p:to>
                        <p:strVal val="visible"/>
                      </p:to>
                    </p:set>
                    <p:anim calcmode="lin" valueType="num">
                      <p:cBhvr additive="base">
                        <p:cTn dur="1000" fill="hold"/>
                        <p:tgtEl>
                          <p:spTgt spid="16"/>
                        </p:tgtEl>
                        <p:attrNameLst>
                          <p:attrName>ppt_x</p:attrName>
                        </p:attrNameLst>
                      </p:cBhvr>
                      <p:tavLst>
                        <p:tav tm="0">
                          <p:val>
                            <p:strVal val="#ppt_x"/>
                          </p:val>
                        </p:tav>
                        <p:tav tm="100000">
                          <p:val>
                            <p:strVal val="#ppt_x"/>
                          </p:val>
                        </p:tav>
                      </p:tavLst>
                    </p:anim>
                    <p:anim calcmode="lin" valueType="num">
                      <p:cBhvr additive="base">
                        <p:cTn dur="1000" fill="hold"/>
                        <p:tgtEl>
                          <p:spTgt spid="16"/>
                        </p:tgtEl>
                        <p:attrNameLst>
                          <p:attrName>ppt_y</p:attrName>
                        </p:attrNameLst>
                      </p:cBhvr>
                      <p:tavLst>
                        <p:tav tm="0">
                          <p:val>
                            <p:strVal val="1+#ppt_h/2"/>
                          </p:val>
                        </p:tav>
                        <p:tav tm="100000">
                          <p:val>
                            <p:strVal val="#ppt_y"/>
                          </p:val>
                        </p:tav>
                      </p:tavLst>
                    </p:anim>
                  </p:childTnLst>
                </p:cTn>
              </p:par>
            </p:tnLst>
          </p:tmpl>
        </p:tmplLst>
      </p:bldP>
      <p:bldP spid="135" grpId="0" animBg="1"/>
      <p:bldP spid="15" grpId="0" animBg="1">
        <p:tmplLst>
          <p:tmpl>
            <p:tnLst>
              <p:par>
                <p:cTn presetID="2" presetClass="entr" presetSubtype="4" decel="100000" fill="hold" nodeType="withEffect">
                  <p:stCondLst>
                    <p:cond delay="750"/>
                  </p:stCondLst>
                  <p:childTnLst>
                    <p:set>
                      <p:cBhvr>
                        <p:cTn dur="1" fill="hold">
                          <p:stCondLst>
                            <p:cond delay="0"/>
                          </p:stCondLst>
                        </p:cTn>
                        <p:tgtEl>
                          <p:spTgt spid="15"/>
                        </p:tgtEl>
                        <p:attrNameLst>
                          <p:attrName>style.visibility</p:attrName>
                        </p:attrNameLst>
                      </p:cBhvr>
                      <p:to>
                        <p:strVal val="visible"/>
                      </p:to>
                    </p:set>
                    <p:anim calcmode="lin" valueType="num">
                      <p:cBhvr additive="base">
                        <p:cTn dur="1000" fill="hold"/>
                        <p:tgtEl>
                          <p:spTgt spid="15"/>
                        </p:tgtEl>
                        <p:attrNameLst>
                          <p:attrName>ppt_x</p:attrName>
                        </p:attrNameLst>
                      </p:cBhvr>
                      <p:tavLst>
                        <p:tav tm="0">
                          <p:val>
                            <p:strVal val="#ppt_x"/>
                          </p:val>
                        </p:tav>
                        <p:tav tm="100000">
                          <p:val>
                            <p:strVal val="#ppt_x"/>
                          </p:val>
                        </p:tav>
                      </p:tavLst>
                    </p:anim>
                    <p:anim calcmode="lin" valueType="num">
                      <p:cBhvr additive="base">
                        <p:cTn dur="1000" fill="hold"/>
                        <p:tgtEl>
                          <p:spTgt spid="15"/>
                        </p:tgtEl>
                        <p:attrNameLst>
                          <p:attrName>ppt_y</p:attrName>
                        </p:attrNameLst>
                      </p:cBhvr>
                      <p:tavLst>
                        <p:tav tm="0">
                          <p:val>
                            <p:strVal val="1+#ppt_h/2"/>
                          </p:val>
                        </p:tav>
                        <p:tav tm="100000">
                          <p:val>
                            <p:strVal val="#ppt_y"/>
                          </p:val>
                        </p:tav>
                      </p:tavLst>
                    </p:anim>
                  </p:childTnLst>
                </p:cTn>
              </p:par>
            </p:tnLst>
          </p:tmpl>
        </p:tmplLst>
      </p:bldP>
      <p:bldP spid="133" grpId="0" animBg="1"/>
      <p:bldP spid="14" grpId="0" animBg="1">
        <p:tmplLst>
          <p:tmpl>
            <p:tnLst>
              <p:par>
                <p:cTn presetID="2" presetClass="entr" presetSubtype="4" decel="100000" fill="hold" nodeType="withEffect">
                  <p:stCondLst>
                    <p:cond delay="500"/>
                  </p:stCondLst>
                  <p:childTnLst>
                    <p:set>
                      <p:cBhvr>
                        <p:cTn dur="1" fill="hold">
                          <p:stCondLst>
                            <p:cond delay="0"/>
                          </p:stCondLst>
                        </p:cTn>
                        <p:tgtEl>
                          <p:spTgt spid="14"/>
                        </p:tgtEl>
                        <p:attrNameLst>
                          <p:attrName>style.visibility</p:attrName>
                        </p:attrNameLst>
                      </p:cBhvr>
                      <p:to>
                        <p:strVal val="visible"/>
                      </p:to>
                    </p:set>
                    <p:anim calcmode="lin" valueType="num">
                      <p:cBhvr additive="base">
                        <p:cTn dur="1000" fill="hold"/>
                        <p:tgtEl>
                          <p:spTgt spid="14"/>
                        </p:tgtEl>
                        <p:attrNameLst>
                          <p:attrName>ppt_x</p:attrName>
                        </p:attrNameLst>
                      </p:cBhvr>
                      <p:tavLst>
                        <p:tav tm="0">
                          <p:val>
                            <p:strVal val="#ppt_x"/>
                          </p:val>
                        </p:tav>
                        <p:tav tm="100000">
                          <p:val>
                            <p:strVal val="#ppt_x"/>
                          </p:val>
                        </p:tav>
                      </p:tavLst>
                    </p:anim>
                    <p:anim calcmode="lin" valueType="num">
                      <p:cBhvr additive="base">
                        <p:cTn dur="1000" fill="hold"/>
                        <p:tgtEl>
                          <p:spTgt spid="14"/>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ENU_ANIM 9 blokken">
    <p:spTree>
      <p:nvGrpSpPr>
        <p:cNvPr id="1" name=""/>
        <p:cNvGrpSpPr/>
        <p:nvPr/>
      </p:nvGrpSpPr>
      <p:grpSpPr>
        <a:xfrm>
          <a:off x="0" y="0"/>
          <a:ext cx="0" cy="0"/>
          <a:chOff x="0" y="0"/>
          <a:chExt cx="0" cy="0"/>
        </a:xfrm>
      </p:grpSpPr>
      <p:sp>
        <p:nvSpPr>
          <p:cNvPr id="21" name="Naam indeling - MENU_ANIM 9 blokken"/>
          <p:cNvSpPr txBox="1"/>
          <p:nvPr/>
        </p:nvSpPr>
        <p:spPr>
          <a:xfrm>
            <a:off x="1" y="-453266"/>
            <a:ext cx="3582333" cy="276999"/>
          </a:xfrm>
          <a:prstGeom prst="rect">
            <a:avLst/>
          </a:prstGeom>
          <a:noFill/>
        </p:spPr>
        <p:txBody>
          <a:bodyPr wrap="square" lIns="0" tIns="0" rIns="0" bIns="0" rtlCol="0">
            <a:spAutoFit/>
          </a:bodyPr>
          <a:lstStyle/>
          <a:p>
            <a:pPr defTabSz="914112"/>
            <a:r>
              <a:rPr lang="nl-NL" dirty="0">
                <a:solidFill>
                  <a:srgbClr val="404040"/>
                </a:solidFill>
                <a:latin typeface="Calibri" panose="020F0502020204030204" pitchFamily="34" charset="0"/>
              </a:rPr>
              <a:t>MENU_ANIM 9 blokken</a:t>
            </a:r>
            <a:endParaRPr lang="en-GB" dirty="0">
              <a:solidFill>
                <a:srgbClr val="404040"/>
              </a:solidFill>
              <a:latin typeface="Calibri" panose="020F0502020204030204" pitchFamily="34" charset="0"/>
            </a:endParaRPr>
          </a:p>
        </p:txBody>
      </p:sp>
      <p:grpSp>
        <p:nvGrpSpPr>
          <p:cNvPr id="106" name="Instructie - Hyperlink aanmaken"/>
          <p:cNvGrpSpPr/>
          <p:nvPr userDrawn="1"/>
        </p:nvGrpSpPr>
        <p:grpSpPr>
          <a:xfrm>
            <a:off x="12544468" y="4029638"/>
            <a:ext cx="2711112" cy="5221861"/>
            <a:chOff x="12441149" y="14897"/>
            <a:chExt cx="2710406" cy="5221861"/>
          </a:xfrm>
        </p:grpSpPr>
        <p:grpSp>
          <p:nvGrpSpPr>
            <p:cNvPr id="137" name="Groep 136"/>
            <p:cNvGrpSpPr/>
            <p:nvPr userDrawn="1"/>
          </p:nvGrpSpPr>
          <p:grpSpPr>
            <a:xfrm>
              <a:off x="12486425" y="1700551"/>
              <a:ext cx="276600" cy="277539"/>
              <a:chOff x="12486425" y="1700551"/>
              <a:chExt cx="276600" cy="277539"/>
            </a:xfrm>
          </p:grpSpPr>
          <p:sp>
            <p:nvSpPr>
              <p:cNvPr id="150" name="Ovaal 149"/>
              <p:cNvSpPr/>
              <p:nvPr userDrawn="1"/>
            </p:nvSpPr>
            <p:spPr>
              <a:xfrm>
                <a:off x="12491756" y="1700551"/>
                <a:ext cx="211685" cy="213802"/>
              </a:xfrm>
              <a:prstGeom prst="ellipse">
                <a:avLst/>
              </a:prstGeom>
              <a:noFill/>
              <a:ln w="158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12"/>
                <a:endParaRPr lang="nl-NL">
                  <a:solidFill>
                    <a:srgbClr val="FFFFFF"/>
                  </a:solidFill>
                </a:endParaRPr>
              </a:p>
            </p:txBody>
          </p:sp>
          <p:sp>
            <p:nvSpPr>
              <p:cNvPr id="151" name="Ovaal 150"/>
              <p:cNvSpPr/>
              <p:nvPr userDrawn="1"/>
            </p:nvSpPr>
            <p:spPr>
              <a:xfrm>
                <a:off x="12552711" y="1700551"/>
                <a:ext cx="89775" cy="213802"/>
              </a:xfrm>
              <a:prstGeom prst="ellipse">
                <a:avLst/>
              </a:prstGeom>
              <a:noFill/>
              <a:ln w="158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12"/>
                <a:endParaRPr lang="nl-NL">
                  <a:solidFill>
                    <a:srgbClr val="FFFFFF"/>
                  </a:solidFill>
                </a:endParaRPr>
              </a:p>
            </p:txBody>
          </p:sp>
          <p:cxnSp>
            <p:nvCxnSpPr>
              <p:cNvPr id="152" name="Rechte verbindingslijn 151"/>
              <p:cNvCxnSpPr/>
              <p:nvPr userDrawn="1"/>
            </p:nvCxnSpPr>
            <p:spPr>
              <a:xfrm>
                <a:off x="12491756" y="1814916"/>
                <a:ext cx="211685" cy="0"/>
              </a:xfrm>
              <a:prstGeom prst="line">
                <a:avLst/>
              </a:prstGeom>
              <a:noFill/>
              <a:ln w="158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153" name="Rechte verbindingslijn 152"/>
              <p:cNvCxnSpPr/>
              <p:nvPr userDrawn="1"/>
            </p:nvCxnSpPr>
            <p:spPr>
              <a:xfrm>
                <a:off x="12502330" y="1762664"/>
                <a:ext cx="190536" cy="0"/>
              </a:xfrm>
              <a:prstGeom prst="line">
                <a:avLst/>
              </a:prstGeom>
              <a:noFill/>
              <a:ln w="158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154" name="Rechthoek: afgeronde hoeken 78"/>
              <p:cNvSpPr/>
              <p:nvPr userDrawn="1"/>
            </p:nvSpPr>
            <p:spPr>
              <a:xfrm>
                <a:off x="12486425" y="1844390"/>
                <a:ext cx="276600" cy="133700"/>
              </a:xfrm>
              <a:prstGeom prst="roundRect">
                <a:avLst>
                  <a:gd name="adj" fmla="val 4258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12"/>
                <a:endParaRPr lang="nl-NL">
                  <a:solidFill>
                    <a:srgbClr val="FFFFFF"/>
                  </a:solidFill>
                </a:endParaRPr>
              </a:p>
            </p:txBody>
          </p:sp>
          <p:sp>
            <p:nvSpPr>
              <p:cNvPr id="155" name="Vrije vorm: vorm 79"/>
              <p:cNvSpPr/>
              <p:nvPr userDrawn="1"/>
            </p:nvSpPr>
            <p:spPr>
              <a:xfrm>
                <a:off x="12517912" y="1869290"/>
                <a:ext cx="127323" cy="78974"/>
              </a:xfrm>
              <a:custGeom>
                <a:avLst/>
                <a:gdLst>
                  <a:gd name="connsiteX0" fmla="*/ 141826 w 141826"/>
                  <a:gd name="connsiteY0" fmla="*/ 37323 h 93306"/>
                  <a:gd name="connsiteX1" fmla="*/ 108235 w 141826"/>
                  <a:gd name="connsiteY1" fmla="*/ 3732 h 93306"/>
                  <a:gd name="connsiteX2" fmla="*/ 37323 w 141826"/>
                  <a:gd name="connsiteY2" fmla="*/ 0 h 93306"/>
                  <a:gd name="connsiteX3" fmla="*/ 0 w 141826"/>
                  <a:gd name="connsiteY3" fmla="*/ 41055 h 93306"/>
                  <a:gd name="connsiteX4" fmla="*/ 29858 w 141826"/>
                  <a:gd name="connsiteY4" fmla="*/ 93306 h 93306"/>
                  <a:gd name="connsiteX5" fmla="*/ 78378 w 141826"/>
                  <a:gd name="connsiteY5" fmla="*/ 89574 h 93306"/>
                  <a:gd name="connsiteX0" fmla="*/ 141826 w 141826"/>
                  <a:gd name="connsiteY0" fmla="*/ 37666 h 93649"/>
                  <a:gd name="connsiteX1" fmla="*/ 107420 w 141826"/>
                  <a:gd name="connsiteY1" fmla="*/ 0 h 93649"/>
                  <a:gd name="connsiteX2" fmla="*/ 37323 w 141826"/>
                  <a:gd name="connsiteY2" fmla="*/ 343 h 93649"/>
                  <a:gd name="connsiteX3" fmla="*/ 0 w 141826"/>
                  <a:gd name="connsiteY3" fmla="*/ 41398 h 93649"/>
                  <a:gd name="connsiteX4" fmla="*/ 29858 w 141826"/>
                  <a:gd name="connsiteY4" fmla="*/ 93649 h 93649"/>
                  <a:gd name="connsiteX5" fmla="*/ 78378 w 141826"/>
                  <a:gd name="connsiteY5" fmla="*/ 89917 h 93649"/>
                  <a:gd name="connsiteX0" fmla="*/ 141826 w 141826"/>
                  <a:gd name="connsiteY0" fmla="*/ 37666 h 93649"/>
                  <a:gd name="connsiteX1" fmla="*/ 107420 w 141826"/>
                  <a:gd name="connsiteY1" fmla="*/ 0 h 93649"/>
                  <a:gd name="connsiteX2" fmla="*/ 37323 w 141826"/>
                  <a:gd name="connsiteY2" fmla="*/ 343 h 93649"/>
                  <a:gd name="connsiteX3" fmla="*/ 0 w 141826"/>
                  <a:gd name="connsiteY3" fmla="*/ 41398 h 93649"/>
                  <a:gd name="connsiteX4" fmla="*/ 29858 w 141826"/>
                  <a:gd name="connsiteY4" fmla="*/ 93649 h 93649"/>
                  <a:gd name="connsiteX5" fmla="*/ 78378 w 141826"/>
                  <a:gd name="connsiteY5" fmla="*/ 89917 h 93649"/>
                  <a:gd name="connsiteX0" fmla="*/ 141826 w 141826"/>
                  <a:gd name="connsiteY0" fmla="*/ 37666 h 93649"/>
                  <a:gd name="connsiteX1" fmla="*/ 107420 w 141826"/>
                  <a:gd name="connsiteY1" fmla="*/ 0 h 93649"/>
                  <a:gd name="connsiteX2" fmla="*/ 37323 w 141826"/>
                  <a:gd name="connsiteY2" fmla="*/ 343 h 93649"/>
                  <a:gd name="connsiteX3" fmla="*/ 0 w 141826"/>
                  <a:gd name="connsiteY3" fmla="*/ 41398 h 93649"/>
                  <a:gd name="connsiteX4" fmla="*/ 29858 w 141826"/>
                  <a:gd name="connsiteY4" fmla="*/ 93649 h 93649"/>
                  <a:gd name="connsiteX5" fmla="*/ 79193 w 141826"/>
                  <a:gd name="connsiteY5" fmla="*/ 93177 h 93649"/>
                  <a:gd name="connsiteX0" fmla="*/ 141826 w 141826"/>
                  <a:gd name="connsiteY0" fmla="*/ 37666 h 93650"/>
                  <a:gd name="connsiteX1" fmla="*/ 107420 w 141826"/>
                  <a:gd name="connsiteY1" fmla="*/ 0 h 93650"/>
                  <a:gd name="connsiteX2" fmla="*/ 37323 w 141826"/>
                  <a:gd name="connsiteY2" fmla="*/ 343 h 93650"/>
                  <a:gd name="connsiteX3" fmla="*/ 0 w 141826"/>
                  <a:gd name="connsiteY3" fmla="*/ 41398 h 93650"/>
                  <a:gd name="connsiteX4" fmla="*/ 29858 w 141826"/>
                  <a:gd name="connsiteY4" fmla="*/ 93649 h 93650"/>
                  <a:gd name="connsiteX5" fmla="*/ 79193 w 141826"/>
                  <a:gd name="connsiteY5" fmla="*/ 93177 h 93650"/>
                  <a:gd name="connsiteX0" fmla="*/ 141826 w 141826"/>
                  <a:gd name="connsiteY0" fmla="*/ 37666 h 93650"/>
                  <a:gd name="connsiteX1" fmla="*/ 107420 w 141826"/>
                  <a:gd name="connsiteY1" fmla="*/ 0 h 93650"/>
                  <a:gd name="connsiteX2" fmla="*/ 37323 w 141826"/>
                  <a:gd name="connsiteY2" fmla="*/ 343 h 93650"/>
                  <a:gd name="connsiteX3" fmla="*/ 0 w 141826"/>
                  <a:gd name="connsiteY3" fmla="*/ 41398 h 93650"/>
                  <a:gd name="connsiteX4" fmla="*/ 29858 w 141826"/>
                  <a:gd name="connsiteY4" fmla="*/ 93649 h 93650"/>
                  <a:gd name="connsiteX5" fmla="*/ 79193 w 141826"/>
                  <a:gd name="connsiteY5" fmla="*/ 93177 h 93650"/>
                  <a:gd name="connsiteX0" fmla="*/ 141826 w 141826"/>
                  <a:gd name="connsiteY0" fmla="*/ 37666 h 93650"/>
                  <a:gd name="connsiteX1" fmla="*/ 107420 w 141826"/>
                  <a:gd name="connsiteY1" fmla="*/ 0 h 93650"/>
                  <a:gd name="connsiteX2" fmla="*/ 37323 w 141826"/>
                  <a:gd name="connsiteY2" fmla="*/ 343 h 93650"/>
                  <a:gd name="connsiteX3" fmla="*/ 0 w 141826"/>
                  <a:gd name="connsiteY3" fmla="*/ 41398 h 93650"/>
                  <a:gd name="connsiteX4" fmla="*/ 29858 w 141826"/>
                  <a:gd name="connsiteY4" fmla="*/ 93649 h 93650"/>
                  <a:gd name="connsiteX5" fmla="*/ 79193 w 141826"/>
                  <a:gd name="connsiteY5" fmla="*/ 93177 h 93650"/>
                  <a:gd name="connsiteX0" fmla="*/ 141555 w 141555"/>
                  <a:gd name="connsiteY0" fmla="*/ 37666 h 93650"/>
                  <a:gd name="connsiteX1" fmla="*/ 107149 w 141555"/>
                  <a:gd name="connsiteY1" fmla="*/ 0 h 93650"/>
                  <a:gd name="connsiteX2" fmla="*/ 37052 w 141555"/>
                  <a:gd name="connsiteY2" fmla="*/ 343 h 93650"/>
                  <a:gd name="connsiteX3" fmla="*/ 1 w 141555"/>
                  <a:gd name="connsiteY3" fmla="*/ 46832 h 93650"/>
                  <a:gd name="connsiteX4" fmla="*/ 29587 w 141555"/>
                  <a:gd name="connsiteY4" fmla="*/ 93649 h 93650"/>
                  <a:gd name="connsiteX5" fmla="*/ 78922 w 141555"/>
                  <a:gd name="connsiteY5" fmla="*/ 93177 h 93650"/>
                  <a:gd name="connsiteX0" fmla="*/ 142097 w 142097"/>
                  <a:gd name="connsiteY0" fmla="*/ 37666 h 93650"/>
                  <a:gd name="connsiteX1" fmla="*/ 107691 w 142097"/>
                  <a:gd name="connsiteY1" fmla="*/ 0 h 93650"/>
                  <a:gd name="connsiteX2" fmla="*/ 37594 w 142097"/>
                  <a:gd name="connsiteY2" fmla="*/ 343 h 93650"/>
                  <a:gd name="connsiteX3" fmla="*/ 0 w 142097"/>
                  <a:gd name="connsiteY3" fmla="*/ 45745 h 93650"/>
                  <a:gd name="connsiteX4" fmla="*/ 30129 w 142097"/>
                  <a:gd name="connsiteY4" fmla="*/ 93649 h 93650"/>
                  <a:gd name="connsiteX5" fmla="*/ 79464 w 142097"/>
                  <a:gd name="connsiteY5" fmla="*/ 93177 h 93650"/>
                  <a:gd name="connsiteX0" fmla="*/ 142151 w 142151"/>
                  <a:gd name="connsiteY0" fmla="*/ 37666 h 93177"/>
                  <a:gd name="connsiteX1" fmla="*/ 107745 w 142151"/>
                  <a:gd name="connsiteY1" fmla="*/ 0 h 93177"/>
                  <a:gd name="connsiteX2" fmla="*/ 37648 w 142151"/>
                  <a:gd name="connsiteY2" fmla="*/ 343 h 93177"/>
                  <a:gd name="connsiteX3" fmla="*/ 54 w 142151"/>
                  <a:gd name="connsiteY3" fmla="*/ 45745 h 93177"/>
                  <a:gd name="connsiteX4" fmla="*/ 30455 w 142151"/>
                  <a:gd name="connsiteY4" fmla="*/ 92834 h 93177"/>
                  <a:gd name="connsiteX5" fmla="*/ 79518 w 142151"/>
                  <a:gd name="connsiteY5" fmla="*/ 93177 h 93177"/>
                  <a:gd name="connsiteX0" fmla="*/ 142111 w 142111"/>
                  <a:gd name="connsiteY0" fmla="*/ 37666 h 93177"/>
                  <a:gd name="connsiteX1" fmla="*/ 107705 w 142111"/>
                  <a:gd name="connsiteY1" fmla="*/ 0 h 93177"/>
                  <a:gd name="connsiteX2" fmla="*/ 37608 w 142111"/>
                  <a:gd name="connsiteY2" fmla="*/ 343 h 93177"/>
                  <a:gd name="connsiteX3" fmla="*/ 14 w 142111"/>
                  <a:gd name="connsiteY3" fmla="*/ 45745 h 93177"/>
                  <a:gd name="connsiteX4" fmla="*/ 30415 w 142111"/>
                  <a:gd name="connsiteY4" fmla="*/ 92834 h 93177"/>
                  <a:gd name="connsiteX5" fmla="*/ 79478 w 142111"/>
                  <a:gd name="connsiteY5" fmla="*/ 93177 h 93177"/>
                  <a:gd name="connsiteX0" fmla="*/ 142111 w 142111"/>
                  <a:gd name="connsiteY0" fmla="*/ 37666 h 93177"/>
                  <a:gd name="connsiteX1" fmla="*/ 107705 w 142111"/>
                  <a:gd name="connsiteY1" fmla="*/ 0 h 93177"/>
                  <a:gd name="connsiteX2" fmla="*/ 37608 w 142111"/>
                  <a:gd name="connsiteY2" fmla="*/ 343 h 93177"/>
                  <a:gd name="connsiteX3" fmla="*/ 14 w 142111"/>
                  <a:gd name="connsiteY3" fmla="*/ 45745 h 93177"/>
                  <a:gd name="connsiteX4" fmla="*/ 30415 w 142111"/>
                  <a:gd name="connsiteY4" fmla="*/ 92834 h 93177"/>
                  <a:gd name="connsiteX5" fmla="*/ 79478 w 142111"/>
                  <a:gd name="connsiteY5" fmla="*/ 93177 h 9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111" h="93177">
                    <a:moveTo>
                      <a:pt x="142111" y="37666"/>
                    </a:moveTo>
                    <a:cubicBezTo>
                      <a:pt x="132000" y="23209"/>
                      <a:pt x="116185" y="600"/>
                      <a:pt x="107705" y="0"/>
                    </a:cubicBezTo>
                    <a:lnTo>
                      <a:pt x="37608" y="343"/>
                    </a:lnTo>
                    <a:cubicBezTo>
                      <a:pt x="25439" y="715"/>
                      <a:pt x="-689" y="17289"/>
                      <a:pt x="14" y="45745"/>
                    </a:cubicBezTo>
                    <a:cubicBezTo>
                      <a:pt x="717" y="74201"/>
                      <a:pt x="17745" y="93077"/>
                      <a:pt x="30415" y="92834"/>
                    </a:cubicBezTo>
                    <a:lnTo>
                      <a:pt x="79478" y="93177"/>
                    </a:lnTo>
                  </a:path>
                </a:pathLst>
              </a:custGeom>
              <a:noFill/>
              <a:ln w="28575"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12"/>
                <a:endParaRPr lang="nl-NL">
                  <a:solidFill>
                    <a:srgbClr val="FFFFFF"/>
                  </a:solidFill>
                </a:endParaRPr>
              </a:p>
            </p:txBody>
          </p:sp>
          <p:sp>
            <p:nvSpPr>
              <p:cNvPr id="156" name="Vrije vorm: vorm 80"/>
              <p:cNvSpPr/>
              <p:nvPr userDrawn="1"/>
            </p:nvSpPr>
            <p:spPr>
              <a:xfrm flipH="1" flipV="1">
                <a:off x="12605887" y="1869290"/>
                <a:ext cx="127323" cy="78974"/>
              </a:xfrm>
              <a:custGeom>
                <a:avLst/>
                <a:gdLst>
                  <a:gd name="connsiteX0" fmla="*/ 141826 w 141826"/>
                  <a:gd name="connsiteY0" fmla="*/ 37323 h 93306"/>
                  <a:gd name="connsiteX1" fmla="*/ 108235 w 141826"/>
                  <a:gd name="connsiteY1" fmla="*/ 3732 h 93306"/>
                  <a:gd name="connsiteX2" fmla="*/ 37323 w 141826"/>
                  <a:gd name="connsiteY2" fmla="*/ 0 h 93306"/>
                  <a:gd name="connsiteX3" fmla="*/ 0 w 141826"/>
                  <a:gd name="connsiteY3" fmla="*/ 41055 h 93306"/>
                  <a:gd name="connsiteX4" fmla="*/ 29858 w 141826"/>
                  <a:gd name="connsiteY4" fmla="*/ 93306 h 93306"/>
                  <a:gd name="connsiteX5" fmla="*/ 78378 w 141826"/>
                  <a:gd name="connsiteY5" fmla="*/ 89574 h 93306"/>
                  <a:gd name="connsiteX0" fmla="*/ 141826 w 141826"/>
                  <a:gd name="connsiteY0" fmla="*/ 37666 h 93649"/>
                  <a:gd name="connsiteX1" fmla="*/ 107420 w 141826"/>
                  <a:gd name="connsiteY1" fmla="*/ 0 h 93649"/>
                  <a:gd name="connsiteX2" fmla="*/ 37323 w 141826"/>
                  <a:gd name="connsiteY2" fmla="*/ 343 h 93649"/>
                  <a:gd name="connsiteX3" fmla="*/ 0 w 141826"/>
                  <a:gd name="connsiteY3" fmla="*/ 41398 h 93649"/>
                  <a:gd name="connsiteX4" fmla="*/ 29858 w 141826"/>
                  <a:gd name="connsiteY4" fmla="*/ 93649 h 93649"/>
                  <a:gd name="connsiteX5" fmla="*/ 78378 w 141826"/>
                  <a:gd name="connsiteY5" fmla="*/ 89917 h 93649"/>
                  <a:gd name="connsiteX0" fmla="*/ 141826 w 141826"/>
                  <a:gd name="connsiteY0" fmla="*/ 37666 h 93649"/>
                  <a:gd name="connsiteX1" fmla="*/ 107420 w 141826"/>
                  <a:gd name="connsiteY1" fmla="*/ 0 h 93649"/>
                  <a:gd name="connsiteX2" fmla="*/ 37323 w 141826"/>
                  <a:gd name="connsiteY2" fmla="*/ 343 h 93649"/>
                  <a:gd name="connsiteX3" fmla="*/ 0 w 141826"/>
                  <a:gd name="connsiteY3" fmla="*/ 41398 h 93649"/>
                  <a:gd name="connsiteX4" fmla="*/ 29858 w 141826"/>
                  <a:gd name="connsiteY4" fmla="*/ 93649 h 93649"/>
                  <a:gd name="connsiteX5" fmla="*/ 78378 w 141826"/>
                  <a:gd name="connsiteY5" fmla="*/ 89917 h 93649"/>
                  <a:gd name="connsiteX0" fmla="*/ 141826 w 141826"/>
                  <a:gd name="connsiteY0" fmla="*/ 37666 h 93649"/>
                  <a:gd name="connsiteX1" fmla="*/ 107420 w 141826"/>
                  <a:gd name="connsiteY1" fmla="*/ 0 h 93649"/>
                  <a:gd name="connsiteX2" fmla="*/ 37323 w 141826"/>
                  <a:gd name="connsiteY2" fmla="*/ 343 h 93649"/>
                  <a:gd name="connsiteX3" fmla="*/ 0 w 141826"/>
                  <a:gd name="connsiteY3" fmla="*/ 41398 h 93649"/>
                  <a:gd name="connsiteX4" fmla="*/ 29858 w 141826"/>
                  <a:gd name="connsiteY4" fmla="*/ 93649 h 93649"/>
                  <a:gd name="connsiteX5" fmla="*/ 79193 w 141826"/>
                  <a:gd name="connsiteY5" fmla="*/ 93177 h 93649"/>
                  <a:gd name="connsiteX0" fmla="*/ 141826 w 141826"/>
                  <a:gd name="connsiteY0" fmla="*/ 37666 h 93650"/>
                  <a:gd name="connsiteX1" fmla="*/ 107420 w 141826"/>
                  <a:gd name="connsiteY1" fmla="*/ 0 h 93650"/>
                  <a:gd name="connsiteX2" fmla="*/ 37323 w 141826"/>
                  <a:gd name="connsiteY2" fmla="*/ 343 h 93650"/>
                  <a:gd name="connsiteX3" fmla="*/ 0 w 141826"/>
                  <a:gd name="connsiteY3" fmla="*/ 41398 h 93650"/>
                  <a:gd name="connsiteX4" fmla="*/ 29858 w 141826"/>
                  <a:gd name="connsiteY4" fmla="*/ 93649 h 93650"/>
                  <a:gd name="connsiteX5" fmla="*/ 79193 w 141826"/>
                  <a:gd name="connsiteY5" fmla="*/ 93177 h 93650"/>
                  <a:gd name="connsiteX0" fmla="*/ 141826 w 141826"/>
                  <a:gd name="connsiteY0" fmla="*/ 37666 h 93650"/>
                  <a:gd name="connsiteX1" fmla="*/ 107420 w 141826"/>
                  <a:gd name="connsiteY1" fmla="*/ 0 h 93650"/>
                  <a:gd name="connsiteX2" fmla="*/ 37323 w 141826"/>
                  <a:gd name="connsiteY2" fmla="*/ 343 h 93650"/>
                  <a:gd name="connsiteX3" fmla="*/ 0 w 141826"/>
                  <a:gd name="connsiteY3" fmla="*/ 41398 h 93650"/>
                  <a:gd name="connsiteX4" fmla="*/ 29858 w 141826"/>
                  <a:gd name="connsiteY4" fmla="*/ 93649 h 93650"/>
                  <a:gd name="connsiteX5" fmla="*/ 79193 w 141826"/>
                  <a:gd name="connsiteY5" fmla="*/ 93177 h 93650"/>
                  <a:gd name="connsiteX0" fmla="*/ 141826 w 141826"/>
                  <a:gd name="connsiteY0" fmla="*/ 37666 h 93650"/>
                  <a:gd name="connsiteX1" fmla="*/ 107420 w 141826"/>
                  <a:gd name="connsiteY1" fmla="*/ 0 h 93650"/>
                  <a:gd name="connsiteX2" fmla="*/ 37323 w 141826"/>
                  <a:gd name="connsiteY2" fmla="*/ 343 h 93650"/>
                  <a:gd name="connsiteX3" fmla="*/ 0 w 141826"/>
                  <a:gd name="connsiteY3" fmla="*/ 41398 h 93650"/>
                  <a:gd name="connsiteX4" fmla="*/ 29858 w 141826"/>
                  <a:gd name="connsiteY4" fmla="*/ 93649 h 93650"/>
                  <a:gd name="connsiteX5" fmla="*/ 79193 w 141826"/>
                  <a:gd name="connsiteY5" fmla="*/ 93177 h 93650"/>
                  <a:gd name="connsiteX0" fmla="*/ 141555 w 141555"/>
                  <a:gd name="connsiteY0" fmla="*/ 37666 h 93650"/>
                  <a:gd name="connsiteX1" fmla="*/ 107149 w 141555"/>
                  <a:gd name="connsiteY1" fmla="*/ 0 h 93650"/>
                  <a:gd name="connsiteX2" fmla="*/ 37052 w 141555"/>
                  <a:gd name="connsiteY2" fmla="*/ 343 h 93650"/>
                  <a:gd name="connsiteX3" fmla="*/ 1 w 141555"/>
                  <a:gd name="connsiteY3" fmla="*/ 46832 h 93650"/>
                  <a:gd name="connsiteX4" fmla="*/ 29587 w 141555"/>
                  <a:gd name="connsiteY4" fmla="*/ 93649 h 93650"/>
                  <a:gd name="connsiteX5" fmla="*/ 78922 w 141555"/>
                  <a:gd name="connsiteY5" fmla="*/ 93177 h 93650"/>
                  <a:gd name="connsiteX0" fmla="*/ 142097 w 142097"/>
                  <a:gd name="connsiteY0" fmla="*/ 37666 h 93650"/>
                  <a:gd name="connsiteX1" fmla="*/ 107691 w 142097"/>
                  <a:gd name="connsiteY1" fmla="*/ 0 h 93650"/>
                  <a:gd name="connsiteX2" fmla="*/ 37594 w 142097"/>
                  <a:gd name="connsiteY2" fmla="*/ 343 h 93650"/>
                  <a:gd name="connsiteX3" fmla="*/ 0 w 142097"/>
                  <a:gd name="connsiteY3" fmla="*/ 45745 h 93650"/>
                  <a:gd name="connsiteX4" fmla="*/ 30129 w 142097"/>
                  <a:gd name="connsiteY4" fmla="*/ 93649 h 93650"/>
                  <a:gd name="connsiteX5" fmla="*/ 79464 w 142097"/>
                  <a:gd name="connsiteY5" fmla="*/ 93177 h 93650"/>
                  <a:gd name="connsiteX0" fmla="*/ 142151 w 142151"/>
                  <a:gd name="connsiteY0" fmla="*/ 37666 h 93177"/>
                  <a:gd name="connsiteX1" fmla="*/ 107745 w 142151"/>
                  <a:gd name="connsiteY1" fmla="*/ 0 h 93177"/>
                  <a:gd name="connsiteX2" fmla="*/ 37648 w 142151"/>
                  <a:gd name="connsiteY2" fmla="*/ 343 h 93177"/>
                  <a:gd name="connsiteX3" fmla="*/ 54 w 142151"/>
                  <a:gd name="connsiteY3" fmla="*/ 45745 h 93177"/>
                  <a:gd name="connsiteX4" fmla="*/ 30455 w 142151"/>
                  <a:gd name="connsiteY4" fmla="*/ 92834 h 93177"/>
                  <a:gd name="connsiteX5" fmla="*/ 79518 w 142151"/>
                  <a:gd name="connsiteY5" fmla="*/ 93177 h 93177"/>
                  <a:gd name="connsiteX0" fmla="*/ 142111 w 142111"/>
                  <a:gd name="connsiteY0" fmla="*/ 37666 h 93177"/>
                  <a:gd name="connsiteX1" fmla="*/ 107705 w 142111"/>
                  <a:gd name="connsiteY1" fmla="*/ 0 h 93177"/>
                  <a:gd name="connsiteX2" fmla="*/ 37608 w 142111"/>
                  <a:gd name="connsiteY2" fmla="*/ 343 h 93177"/>
                  <a:gd name="connsiteX3" fmla="*/ 14 w 142111"/>
                  <a:gd name="connsiteY3" fmla="*/ 45745 h 93177"/>
                  <a:gd name="connsiteX4" fmla="*/ 30415 w 142111"/>
                  <a:gd name="connsiteY4" fmla="*/ 92834 h 93177"/>
                  <a:gd name="connsiteX5" fmla="*/ 79478 w 142111"/>
                  <a:gd name="connsiteY5" fmla="*/ 93177 h 93177"/>
                  <a:gd name="connsiteX0" fmla="*/ 142111 w 142111"/>
                  <a:gd name="connsiteY0" fmla="*/ 37666 h 93177"/>
                  <a:gd name="connsiteX1" fmla="*/ 107705 w 142111"/>
                  <a:gd name="connsiteY1" fmla="*/ 0 h 93177"/>
                  <a:gd name="connsiteX2" fmla="*/ 37608 w 142111"/>
                  <a:gd name="connsiteY2" fmla="*/ 343 h 93177"/>
                  <a:gd name="connsiteX3" fmla="*/ 14 w 142111"/>
                  <a:gd name="connsiteY3" fmla="*/ 45745 h 93177"/>
                  <a:gd name="connsiteX4" fmla="*/ 30415 w 142111"/>
                  <a:gd name="connsiteY4" fmla="*/ 92834 h 93177"/>
                  <a:gd name="connsiteX5" fmla="*/ 79478 w 142111"/>
                  <a:gd name="connsiteY5" fmla="*/ 93177 h 9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111" h="93177">
                    <a:moveTo>
                      <a:pt x="142111" y="37666"/>
                    </a:moveTo>
                    <a:cubicBezTo>
                      <a:pt x="132000" y="23209"/>
                      <a:pt x="116185" y="600"/>
                      <a:pt x="107705" y="0"/>
                    </a:cubicBezTo>
                    <a:lnTo>
                      <a:pt x="37608" y="343"/>
                    </a:lnTo>
                    <a:cubicBezTo>
                      <a:pt x="25439" y="715"/>
                      <a:pt x="-689" y="17289"/>
                      <a:pt x="14" y="45745"/>
                    </a:cubicBezTo>
                    <a:cubicBezTo>
                      <a:pt x="717" y="74201"/>
                      <a:pt x="17745" y="93077"/>
                      <a:pt x="30415" y="92834"/>
                    </a:cubicBezTo>
                    <a:lnTo>
                      <a:pt x="79478" y="93177"/>
                    </a:lnTo>
                  </a:path>
                </a:pathLst>
              </a:custGeom>
              <a:noFill/>
              <a:ln w="28575"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12"/>
                <a:endParaRPr lang="nl-NL">
                  <a:solidFill>
                    <a:srgbClr val="FFFFFF"/>
                  </a:solidFill>
                </a:endParaRPr>
              </a:p>
            </p:txBody>
          </p:sp>
        </p:grpSp>
        <p:grpSp>
          <p:nvGrpSpPr>
            <p:cNvPr id="138" name="Groep 137"/>
            <p:cNvGrpSpPr/>
            <p:nvPr userDrawn="1"/>
          </p:nvGrpSpPr>
          <p:grpSpPr>
            <a:xfrm>
              <a:off x="12441149" y="14897"/>
              <a:ext cx="2710406" cy="5221861"/>
              <a:chOff x="12441149" y="14897"/>
              <a:chExt cx="2710406" cy="5221861"/>
            </a:xfrm>
          </p:grpSpPr>
          <p:grpSp>
            <p:nvGrpSpPr>
              <p:cNvPr id="139" name="Groep 138"/>
              <p:cNvGrpSpPr/>
              <p:nvPr userDrawn="1"/>
            </p:nvGrpSpPr>
            <p:grpSpPr>
              <a:xfrm>
                <a:off x="12441149" y="14897"/>
                <a:ext cx="2710406" cy="5221861"/>
                <a:chOff x="12441149" y="14897"/>
                <a:chExt cx="2710406" cy="5221861"/>
              </a:xfrm>
            </p:grpSpPr>
            <p:sp>
              <p:nvSpPr>
                <p:cNvPr id="141" name="Rechthoek 140"/>
                <p:cNvSpPr/>
                <p:nvPr userDrawn="1"/>
              </p:nvSpPr>
              <p:spPr>
                <a:xfrm>
                  <a:off x="12441150" y="14897"/>
                  <a:ext cx="2696270" cy="161771"/>
                </a:xfrm>
                <a:prstGeom prst="rect">
                  <a:avLst/>
                </a:prstGeom>
                <a:noFill/>
                <a:ln w="25400" cap="flat" cmpd="sng" algn="ctr">
                  <a:noFill/>
                  <a:prstDash val="solid"/>
                </a:ln>
                <a:effectLst/>
              </p:spPr>
              <p:txBody>
                <a:bodyPr lIns="0" tIns="0" rIns="0" bIns="0" rtlCol="0" anchor="t"/>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12">
                    <a:lnSpc>
                      <a:spcPct val="80000"/>
                    </a:lnSpc>
                  </a:pPr>
                  <a:r>
                    <a:rPr lang="nl-NL" sz="1600" b="1" kern="0" cap="all" dirty="0">
                      <a:solidFill>
                        <a:srgbClr val="ED1A3B"/>
                      </a:solidFill>
                      <a:cs typeface="Segoe UI Light" panose="020B0502040204020203" pitchFamily="34" charset="0"/>
                    </a:rPr>
                    <a:t>Hyperlink aanmaken</a:t>
                  </a:r>
                </a:p>
              </p:txBody>
            </p:sp>
            <p:sp>
              <p:nvSpPr>
                <p:cNvPr id="142" name="Tekstvak 33"/>
                <p:cNvSpPr txBox="1"/>
                <p:nvPr userDrawn="1"/>
              </p:nvSpPr>
              <p:spPr>
                <a:xfrm>
                  <a:off x="12441149" y="814239"/>
                  <a:ext cx="2710405" cy="719877"/>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Selecteer het ingevoegde icoon of transparante kader en ga met rechtermuisknop naar </a:t>
                  </a:r>
                  <a:r>
                    <a:rPr lang="nl-NL" sz="1200" u="sng" kern="0" dirty="0">
                      <a:solidFill>
                        <a:srgbClr val="000000"/>
                      </a:solidFill>
                      <a:latin typeface="Trebuchet MS"/>
                      <a:cs typeface="Segoe UI Light" panose="020B0502040204020203" pitchFamily="34" charset="0"/>
                    </a:rPr>
                    <a:t>H</a:t>
                  </a:r>
                  <a:r>
                    <a:rPr lang="nl-NL" sz="1200" kern="0" dirty="0">
                      <a:solidFill>
                        <a:srgbClr val="000000"/>
                      </a:solidFill>
                      <a:latin typeface="Trebuchet MS"/>
                      <a:cs typeface="Segoe UI Light" panose="020B0502040204020203" pitchFamily="34" charset="0"/>
                    </a:rPr>
                    <a:t>yperlink…</a:t>
                  </a:r>
                  <a:br>
                    <a:rPr lang="nl-NL" sz="1200" kern="0" dirty="0">
                      <a:solidFill>
                        <a:srgbClr val="000000"/>
                      </a:solidFill>
                      <a:latin typeface="Trebuchet MS"/>
                      <a:cs typeface="Segoe UI Light" panose="020B0502040204020203" pitchFamily="34" charset="0"/>
                    </a:rPr>
                  </a:br>
                  <a:r>
                    <a:rPr lang="nl-NL" sz="1100" i="1" kern="0" dirty="0">
                      <a:solidFill>
                        <a:srgbClr val="000000"/>
                      </a:solidFill>
                      <a:latin typeface="Trebuchet MS"/>
                      <a:cs typeface="Segoe UI Light" panose="020B0502040204020203" pitchFamily="34" charset="0"/>
                    </a:rPr>
                    <a:t>(zie onderstaand voorbeeld).</a:t>
                  </a:r>
                </a:p>
              </p:txBody>
            </p:sp>
            <p:sp>
              <p:nvSpPr>
                <p:cNvPr id="143" name="Tekstvak 33"/>
                <p:cNvSpPr txBox="1"/>
                <p:nvPr userDrawn="1"/>
              </p:nvSpPr>
              <p:spPr>
                <a:xfrm>
                  <a:off x="12441149" y="2793904"/>
                  <a:ext cx="2710405" cy="395943"/>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Selecteer tab: </a:t>
                  </a:r>
                  <a:r>
                    <a:rPr lang="nl-NL" sz="1200" i="1" kern="0" dirty="0">
                      <a:solidFill>
                        <a:srgbClr val="000000"/>
                      </a:solidFill>
                      <a:latin typeface="Trebuchet MS"/>
                      <a:cs typeface="Segoe UI Light" panose="020B0502040204020203" pitchFamily="34" charset="0"/>
                    </a:rPr>
                    <a:t>‘Plaats in dit document’ </a:t>
                  </a:r>
                  <a:r>
                    <a:rPr lang="nl-NL" sz="1200" kern="0" dirty="0">
                      <a:solidFill>
                        <a:srgbClr val="000000"/>
                      </a:solidFill>
                      <a:latin typeface="Trebuchet MS"/>
                      <a:cs typeface="Segoe UI Light" panose="020B0502040204020203" pitchFamily="34" charset="0"/>
                    </a:rPr>
                    <a:t>en selecteer hierna bij </a:t>
                  </a:r>
                  <a:r>
                    <a:rPr lang="nl-NL" sz="1200" b="1" kern="0" dirty="0">
                      <a:solidFill>
                        <a:srgbClr val="000000"/>
                      </a:solidFill>
                      <a:latin typeface="Trebuchet MS"/>
                      <a:cs typeface="Segoe UI Light" panose="020B0502040204020203" pitchFamily="34" charset="0"/>
                    </a:rPr>
                    <a:t>‘Diatitels’ </a:t>
                  </a:r>
                  <a:r>
                    <a:rPr lang="nl-NL" sz="1200" kern="0" dirty="0">
                      <a:solidFill>
                        <a:srgbClr val="000000"/>
                      </a:solidFill>
                      <a:latin typeface="Trebuchet MS"/>
                      <a:cs typeface="Segoe UI Light" panose="020B0502040204020203" pitchFamily="34" charset="0"/>
                    </a:rPr>
                    <a:t>de slide waar u naar wilt linken. Klik vervolgens  op </a:t>
                  </a:r>
                  <a:r>
                    <a:rPr lang="nl-NL" sz="1200" b="1" kern="0" dirty="0">
                      <a:solidFill>
                        <a:srgbClr val="000000"/>
                      </a:solidFill>
                      <a:latin typeface="Trebuchet MS"/>
                      <a:cs typeface="Segoe UI Light" panose="020B0502040204020203" pitchFamily="34" charset="0"/>
                    </a:rPr>
                    <a:t>‘OK’</a:t>
                  </a:r>
                </a:p>
              </p:txBody>
            </p:sp>
            <p:sp>
              <p:nvSpPr>
                <p:cNvPr id="144" name="Ovaal 143"/>
                <p:cNvSpPr/>
                <p:nvPr userDrawn="1"/>
              </p:nvSpPr>
              <p:spPr>
                <a:xfrm>
                  <a:off x="12441150" y="379292"/>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1</a:t>
                  </a:r>
                </a:p>
              </p:txBody>
            </p:sp>
            <p:sp>
              <p:nvSpPr>
                <p:cNvPr id="145" name="Ovaal 144"/>
                <p:cNvSpPr/>
                <p:nvPr userDrawn="1"/>
              </p:nvSpPr>
              <p:spPr>
                <a:xfrm>
                  <a:off x="12441150" y="2337208"/>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2</a:t>
                  </a:r>
                </a:p>
              </p:txBody>
            </p:sp>
            <p:cxnSp>
              <p:nvCxnSpPr>
                <p:cNvPr id="146" name="Rechte verbindingslijn 145"/>
                <p:cNvCxnSpPr/>
                <p:nvPr userDrawn="1"/>
              </p:nvCxnSpPr>
              <p:spPr>
                <a:xfrm>
                  <a:off x="12441150" y="248176"/>
                  <a:ext cx="2710405" cy="0"/>
                </a:xfrm>
                <a:prstGeom prst="line">
                  <a:avLst/>
                </a:prstGeom>
                <a:noFill/>
                <a:ln w="9525" cap="flat" cmpd="sng" algn="ctr">
                  <a:solidFill>
                    <a:schemeClr val="accent1"/>
                  </a:solidFill>
                  <a:prstDash val="solid"/>
                </a:ln>
                <a:effectLst/>
              </p:spPr>
            </p:cxnSp>
            <p:cxnSp>
              <p:nvCxnSpPr>
                <p:cNvPr id="147" name="Rechte verbindingslijn 146"/>
                <p:cNvCxnSpPr/>
                <p:nvPr userDrawn="1"/>
              </p:nvCxnSpPr>
              <p:spPr>
                <a:xfrm>
                  <a:off x="12441149" y="2212830"/>
                  <a:ext cx="2710405" cy="0"/>
                </a:xfrm>
                <a:prstGeom prst="line">
                  <a:avLst/>
                </a:prstGeom>
                <a:noFill/>
                <a:ln w="9525" cap="flat" cmpd="sng" algn="ctr">
                  <a:solidFill>
                    <a:schemeClr val="accent1"/>
                  </a:solidFill>
                  <a:prstDash val="solid"/>
                </a:ln>
                <a:effectLst/>
              </p:spPr>
            </p:cxnSp>
            <p:cxnSp>
              <p:nvCxnSpPr>
                <p:cNvPr id="148" name="Rechte verbindingslijn 147"/>
                <p:cNvCxnSpPr/>
                <p:nvPr userDrawn="1"/>
              </p:nvCxnSpPr>
              <p:spPr>
                <a:xfrm>
                  <a:off x="12444679" y="5236758"/>
                  <a:ext cx="2706875" cy="0"/>
                </a:xfrm>
                <a:prstGeom prst="line">
                  <a:avLst/>
                </a:prstGeom>
                <a:noFill/>
                <a:ln w="9525" cap="flat" cmpd="sng" algn="ctr">
                  <a:solidFill>
                    <a:schemeClr val="accent1"/>
                  </a:solidFill>
                  <a:prstDash val="solid"/>
                </a:ln>
                <a:effectLst/>
              </p:spPr>
            </p:cxnSp>
            <p:sp>
              <p:nvSpPr>
                <p:cNvPr id="149" name="Tekstvak 33"/>
                <p:cNvSpPr txBox="1"/>
                <p:nvPr userDrawn="1"/>
              </p:nvSpPr>
              <p:spPr>
                <a:xfrm>
                  <a:off x="12961946" y="1702639"/>
                  <a:ext cx="1287094" cy="298430"/>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12" fontAlgn="auto">
                    <a:spcBef>
                      <a:spcPts val="0"/>
                    </a:spcBef>
                    <a:spcAft>
                      <a:spcPts val="0"/>
                    </a:spcAft>
                    <a:defRPr/>
                  </a:pPr>
                  <a:r>
                    <a:rPr lang="nl-NL" sz="1600" u="sng" kern="0" dirty="0">
                      <a:solidFill>
                        <a:srgbClr val="000000"/>
                      </a:solidFill>
                      <a:latin typeface="Trebuchet MS"/>
                      <a:cs typeface="Segoe UI Light" panose="020B0502040204020203" pitchFamily="34" charset="0"/>
                    </a:rPr>
                    <a:t>H</a:t>
                  </a:r>
                  <a:r>
                    <a:rPr lang="nl-NL" sz="1600" kern="0" dirty="0">
                      <a:solidFill>
                        <a:srgbClr val="000000"/>
                      </a:solidFill>
                      <a:latin typeface="Trebuchet MS"/>
                      <a:cs typeface="Segoe UI Light" panose="020B0502040204020203" pitchFamily="34" charset="0"/>
                    </a:rPr>
                    <a:t>yperlink…</a:t>
                  </a:r>
                  <a:endParaRPr lang="nl-NL" sz="1400" i="1" kern="0" dirty="0">
                    <a:solidFill>
                      <a:srgbClr val="000000"/>
                    </a:solidFill>
                    <a:latin typeface="Trebuchet MS"/>
                    <a:cs typeface="Segoe UI Light" panose="020B0502040204020203" pitchFamily="34" charset="0"/>
                  </a:endParaRPr>
                </a:p>
              </p:txBody>
            </p:sp>
          </p:grpSp>
          <p:pic>
            <p:nvPicPr>
              <p:cNvPr id="140" name="Afbeelding 139"/>
              <p:cNvPicPr>
                <a:picLocks noChangeAspect="1"/>
              </p:cNvPicPr>
              <p:nvPr userDrawn="1"/>
            </p:nvPicPr>
            <p:blipFill rotWithShape="1">
              <a:blip r:embed="rId2"/>
              <a:srcRect l="541" t="1090" b="517"/>
              <a:stretch/>
            </p:blipFill>
            <p:spPr>
              <a:xfrm>
                <a:off x="12459242" y="3770920"/>
                <a:ext cx="2678178" cy="1300095"/>
              </a:xfrm>
              <a:prstGeom prst="round2SameRect">
                <a:avLst>
                  <a:gd name="adj1" fmla="val 2077"/>
                  <a:gd name="adj2" fmla="val 0"/>
                </a:avLst>
              </a:prstGeom>
              <a:ln w="3175">
                <a:solidFill>
                  <a:schemeClr val="tx1"/>
                </a:solidFill>
              </a:ln>
            </p:spPr>
          </p:pic>
        </p:grpSp>
      </p:grpSp>
      <p:grpSp>
        <p:nvGrpSpPr>
          <p:cNvPr id="107" name="Instructie - Afbeelding invoegen"/>
          <p:cNvGrpSpPr/>
          <p:nvPr userDrawn="1"/>
        </p:nvGrpSpPr>
        <p:grpSpPr>
          <a:xfrm>
            <a:off x="12487712" y="-19834"/>
            <a:ext cx="2717570" cy="3676571"/>
            <a:chOff x="12434693" y="14897"/>
            <a:chExt cx="2716862" cy="3676571"/>
          </a:xfrm>
        </p:grpSpPr>
        <p:sp>
          <p:nvSpPr>
            <p:cNvPr id="123" name="Rechthoek 122"/>
            <p:cNvSpPr/>
            <p:nvPr userDrawn="1"/>
          </p:nvSpPr>
          <p:spPr>
            <a:xfrm>
              <a:off x="12441150" y="14897"/>
              <a:ext cx="2696270" cy="161771"/>
            </a:xfrm>
            <a:prstGeom prst="rect">
              <a:avLst/>
            </a:prstGeom>
            <a:noFill/>
            <a:ln w="25400" cap="flat" cmpd="sng" algn="ctr">
              <a:noFill/>
              <a:prstDash val="solid"/>
            </a:ln>
            <a:effectLst/>
          </p:spPr>
          <p:txBody>
            <a:bodyPr lIns="0" tIns="0" rIns="0" bIns="0" rtlCol="0" anchor="t"/>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12">
                <a:lnSpc>
                  <a:spcPct val="80000"/>
                </a:lnSpc>
              </a:pPr>
              <a:r>
                <a:rPr lang="nl-NL" sz="1600" b="1" kern="0" cap="all" dirty="0">
                  <a:solidFill>
                    <a:srgbClr val="ED1A3B"/>
                  </a:solidFill>
                  <a:cs typeface="Segoe UI Light" panose="020B0502040204020203" pitchFamily="34" charset="0"/>
                </a:rPr>
                <a:t>AFBEELDING INVOEGEN</a:t>
              </a:r>
            </a:p>
          </p:txBody>
        </p:sp>
        <p:sp>
          <p:nvSpPr>
            <p:cNvPr id="124" name="Tekstvak 33"/>
            <p:cNvSpPr txBox="1"/>
            <p:nvPr userDrawn="1"/>
          </p:nvSpPr>
          <p:spPr>
            <a:xfrm>
              <a:off x="12441149" y="814239"/>
              <a:ext cx="2710405" cy="719877"/>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Indien nodig, verwijder de bestaande afbeelding. Klik op het pictogram </a:t>
              </a:r>
              <a:br>
                <a:rPr lang="nl-NL" sz="1200" kern="0" dirty="0">
                  <a:solidFill>
                    <a:srgbClr val="000000"/>
                  </a:solidFill>
                  <a:latin typeface="Trebuchet MS"/>
                  <a:cs typeface="Segoe UI Light" panose="020B0502040204020203" pitchFamily="34" charset="0"/>
                </a:rPr>
              </a:br>
              <a:r>
                <a:rPr lang="nl-NL" sz="1200" kern="0" dirty="0">
                  <a:solidFill>
                    <a:srgbClr val="000000"/>
                  </a:solidFill>
                  <a:latin typeface="Trebuchet MS"/>
                  <a:cs typeface="Segoe UI Light" panose="020B0502040204020203" pitchFamily="34" charset="0"/>
                </a:rPr>
                <a:t>om een afbeelding in te voegen</a:t>
              </a:r>
              <a:br>
                <a:rPr lang="nl-NL" sz="1200" kern="0" dirty="0">
                  <a:solidFill>
                    <a:srgbClr val="000000"/>
                  </a:solidFill>
                  <a:latin typeface="Trebuchet MS"/>
                  <a:cs typeface="Segoe UI Light" panose="020B0502040204020203" pitchFamily="34" charset="0"/>
                </a:rPr>
              </a:br>
              <a:r>
                <a:rPr lang="nl-NL" sz="1100" i="1" kern="0" dirty="0">
                  <a:solidFill>
                    <a:srgbClr val="000000"/>
                  </a:solidFill>
                  <a:latin typeface="Trebuchet MS"/>
                  <a:cs typeface="Segoe UI Light" panose="020B0502040204020203" pitchFamily="34" charset="0"/>
                </a:rPr>
                <a:t>(zie onderstaand voorbeeld).</a:t>
              </a:r>
            </a:p>
          </p:txBody>
        </p:sp>
        <p:sp>
          <p:nvSpPr>
            <p:cNvPr id="125" name="Tekstvak 33"/>
            <p:cNvSpPr txBox="1"/>
            <p:nvPr userDrawn="1"/>
          </p:nvSpPr>
          <p:spPr>
            <a:xfrm>
              <a:off x="12441149" y="2793904"/>
              <a:ext cx="2710405" cy="395943"/>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Selecteer de afbeelding die u wilt invoegen en klik op </a:t>
              </a:r>
              <a:r>
                <a:rPr lang="nl-NL" sz="1200" b="1" kern="0" dirty="0">
                  <a:solidFill>
                    <a:srgbClr val="000000"/>
                  </a:solidFill>
                  <a:latin typeface="Trebuchet MS"/>
                  <a:cs typeface="Segoe UI Light" panose="020B0502040204020203" pitchFamily="34" charset="0"/>
                </a:rPr>
                <a:t>‘Invoegen’</a:t>
              </a:r>
            </a:p>
          </p:txBody>
        </p:sp>
        <p:sp>
          <p:nvSpPr>
            <p:cNvPr id="126" name="Ovaal 125"/>
            <p:cNvSpPr/>
            <p:nvPr userDrawn="1"/>
          </p:nvSpPr>
          <p:spPr>
            <a:xfrm>
              <a:off x="12441150" y="379292"/>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1</a:t>
              </a:r>
            </a:p>
          </p:txBody>
        </p:sp>
        <p:sp>
          <p:nvSpPr>
            <p:cNvPr id="127" name="Ovaal 126"/>
            <p:cNvSpPr/>
            <p:nvPr userDrawn="1"/>
          </p:nvSpPr>
          <p:spPr>
            <a:xfrm>
              <a:off x="12441150" y="2337208"/>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2</a:t>
              </a:r>
            </a:p>
          </p:txBody>
        </p:sp>
        <p:cxnSp>
          <p:nvCxnSpPr>
            <p:cNvPr id="128" name="Rechte verbindingslijn 127"/>
            <p:cNvCxnSpPr/>
            <p:nvPr userDrawn="1"/>
          </p:nvCxnSpPr>
          <p:spPr>
            <a:xfrm>
              <a:off x="12441150" y="248176"/>
              <a:ext cx="2710405" cy="0"/>
            </a:xfrm>
            <a:prstGeom prst="line">
              <a:avLst/>
            </a:prstGeom>
            <a:noFill/>
            <a:ln w="9525" cap="flat" cmpd="sng" algn="ctr">
              <a:solidFill>
                <a:schemeClr val="accent1"/>
              </a:solidFill>
              <a:prstDash val="solid"/>
            </a:ln>
            <a:effectLst/>
          </p:spPr>
        </p:cxnSp>
        <p:cxnSp>
          <p:nvCxnSpPr>
            <p:cNvPr id="129" name="Rechte verbindingslijn 128"/>
            <p:cNvCxnSpPr/>
            <p:nvPr userDrawn="1"/>
          </p:nvCxnSpPr>
          <p:spPr>
            <a:xfrm>
              <a:off x="12441149" y="2212830"/>
              <a:ext cx="2710405" cy="0"/>
            </a:xfrm>
            <a:prstGeom prst="line">
              <a:avLst/>
            </a:prstGeom>
            <a:noFill/>
            <a:ln w="9525" cap="flat" cmpd="sng" algn="ctr">
              <a:solidFill>
                <a:schemeClr val="accent1"/>
              </a:solidFill>
              <a:prstDash val="solid"/>
            </a:ln>
            <a:effectLst/>
          </p:spPr>
        </p:cxnSp>
        <p:cxnSp>
          <p:nvCxnSpPr>
            <p:cNvPr id="130" name="Rechte verbindingslijn 129"/>
            <p:cNvCxnSpPr/>
            <p:nvPr userDrawn="1"/>
          </p:nvCxnSpPr>
          <p:spPr>
            <a:xfrm>
              <a:off x="12444679" y="3691468"/>
              <a:ext cx="2706875" cy="0"/>
            </a:xfrm>
            <a:prstGeom prst="line">
              <a:avLst/>
            </a:prstGeom>
            <a:noFill/>
            <a:ln w="9525" cap="flat" cmpd="sng" algn="ctr">
              <a:solidFill>
                <a:schemeClr val="accent1"/>
              </a:solidFill>
              <a:prstDash val="solid"/>
            </a:ln>
            <a:effectLst/>
          </p:spPr>
        </p:cxnSp>
        <p:pic>
          <p:nvPicPr>
            <p:cNvPr id="131" name="Icoontje afbeeldi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2434693" y="1677764"/>
              <a:ext cx="403210" cy="403210"/>
            </a:xfrm>
            <a:prstGeom prst="rect">
              <a:avLst/>
            </a:prstGeom>
          </p:spPr>
        </p:pic>
        <p:grpSp>
          <p:nvGrpSpPr>
            <p:cNvPr id="132" name="Groep 131"/>
            <p:cNvGrpSpPr/>
            <p:nvPr userDrawn="1"/>
          </p:nvGrpSpPr>
          <p:grpSpPr>
            <a:xfrm>
              <a:off x="12450571" y="3301369"/>
              <a:ext cx="1002992" cy="267962"/>
              <a:chOff x="13560784" y="3471416"/>
              <a:chExt cx="1114138" cy="297656"/>
            </a:xfrm>
          </p:grpSpPr>
          <p:sp>
            <p:nvSpPr>
              <p:cNvPr id="133" name="Afgeronde rechthoek 132"/>
              <p:cNvSpPr/>
              <p:nvPr userDrawn="1"/>
            </p:nvSpPr>
            <p:spPr>
              <a:xfrm>
                <a:off x="13560784" y="3471416"/>
                <a:ext cx="1114138" cy="297656"/>
              </a:xfrm>
              <a:prstGeom prst="roundRect">
                <a:avLst/>
              </a:prstGeom>
              <a:gradFill flip="none" rotWithShape="1">
                <a:gsLst>
                  <a:gs pos="4000">
                    <a:srgbClr val="00B0F0"/>
                  </a:gs>
                  <a:gs pos="0">
                    <a:srgbClr val="0070C0"/>
                  </a:gs>
                  <a:gs pos="100000">
                    <a:srgbClr val="0070C0"/>
                  </a:gs>
                  <a:gs pos="12000">
                    <a:srgbClr val="D1EAFF"/>
                  </a:gs>
                  <a:gs pos="96000">
                    <a:srgbClr val="00B0F0"/>
                  </a:gs>
                  <a:gs pos="89000">
                    <a:srgbClr val="DDF4FF"/>
                  </a:gs>
                  <a:gs pos="43000">
                    <a:srgbClr val="D1EAFF"/>
                  </a:gs>
                  <a:gs pos="51000">
                    <a:srgbClr val="DDF4FF"/>
                  </a:gs>
                </a:gsLst>
                <a:lin ang="16200000" scaled="1"/>
                <a:tileRect/>
              </a:gradFill>
              <a:ln w="63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12"/>
                <a:endParaRPr lang="nl-NL" dirty="0">
                  <a:solidFill>
                    <a:srgbClr val="FFFFFF"/>
                  </a:solidFill>
                </a:endParaRPr>
              </a:p>
            </p:txBody>
          </p:sp>
          <p:sp>
            <p:nvSpPr>
              <p:cNvPr id="134" name="Tekstvak 62"/>
              <p:cNvSpPr txBox="1"/>
              <p:nvPr userDrawn="1"/>
            </p:nvSpPr>
            <p:spPr>
              <a:xfrm>
                <a:off x="13573594" y="3488254"/>
                <a:ext cx="888311" cy="273506"/>
              </a:xfrm>
              <a:prstGeom prst="rect">
                <a:avLst/>
              </a:prstGeom>
              <a:noFill/>
            </p:spPr>
            <p:txBody>
              <a:bodyPr wrap="square" rtlCol="0" anchor="ctr">
                <a:sp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12"/>
                <a:r>
                  <a:rPr lang="nl-NL" sz="1000" dirty="0">
                    <a:solidFill>
                      <a:srgbClr val="000000"/>
                    </a:solidFill>
                    <a:latin typeface="Trebuchet MS"/>
                  </a:rPr>
                  <a:t>Invoegen</a:t>
                </a:r>
              </a:p>
            </p:txBody>
          </p:sp>
          <p:cxnSp>
            <p:nvCxnSpPr>
              <p:cNvPr id="135" name="Rechte verbindingslijn 134"/>
              <p:cNvCxnSpPr/>
              <p:nvPr userDrawn="1"/>
            </p:nvCxnSpPr>
            <p:spPr>
              <a:xfrm>
                <a:off x="14461905" y="3507058"/>
                <a:ext cx="0" cy="224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6" name="Gelijkbenige driehoek 135"/>
              <p:cNvSpPr/>
              <p:nvPr userDrawn="1"/>
            </p:nvSpPr>
            <p:spPr>
              <a:xfrm rot="10800000">
                <a:off x="14518584" y="3600521"/>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12"/>
                <a:endParaRPr lang="nl-NL" dirty="0">
                  <a:solidFill>
                    <a:srgbClr val="FFFFFF"/>
                  </a:solidFill>
                </a:endParaRPr>
              </a:p>
            </p:txBody>
          </p:sp>
        </p:grpSp>
      </p:grpSp>
      <p:grpSp>
        <p:nvGrpSpPr>
          <p:cNvPr id="70" name="Instructie - Tekst niveaus"/>
          <p:cNvGrpSpPr/>
          <p:nvPr userDrawn="1"/>
        </p:nvGrpSpPr>
        <p:grpSpPr>
          <a:xfrm>
            <a:off x="-3117849" y="365"/>
            <a:ext cx="2823358" cy="5254722"/>
            <a:chOff x="-2959433" y="-5444"/>
            <a:chExt cx="2822623" cy="5254722"/>
          </a:xfrm>
        </p:grpSpPr>
        <p:sp>
          <p:nvSpPr>
            <p:cNvPr id="71" name="Rechthoek 70"/>
            <p:cNvSpPr/>
            <p:nvPr userDrawn="1"/>
          </p:nvSpPr>
          <p:spPr>
            <a:xfrm>
              <a:off x="-2959433" y="-5444"/>
              <a:ext cx="2572469" cy="280344"/>
            </a:xfrm>
            <a:prstGeom prst="rect">
              <a:avLst/>
            </a:prstGeom>
            <a:noFill/>
            <a:ln w="25400" cap="flat" cmpd="sng" algn="ctr">
              <a:noFill/>
              <a:prstDash val="solid"/>
            </a:ln>
            <a:effectLst/>
          </p:spPr>
          <p:txBody>
            <a:bodyPr lIns="0" tIns="0" rIns="0" bIns="0" rtlCol="0" anchor="t"/>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nl-NL" sz="1600" b="1" kern="0" dirty="0">
                  <a:solidFill>
                    <a:srgbClr val="ED1A3B"/>
                  </a:solidFill>
                  <a:cs typeface="Segoe UI Light" panose="020B0502040204020203" pitchFamily="34" charset="0"/>
                </a:rPr>
                <a:t>TEKST NIVEAUS</a:t>
              </a:r>
            </a:p>
          </p:txBody>
        </p:sp>
        <p:sp>
          <p:nvSpPr>
            <p:cNvPr id="72" name="Textfield placeholder"/>
            <p:cNvSpPr txBox="1">
              <a:spLocks/>
            </p:cNvSpPr>
            <p:nvPr userDrawn="1"/>
          </p:nvSpPr>
          <p:spPr>
            <a:xfrm>
              <a:off x="-2587337" y="2675411"/>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0" lvl="2"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a:solidFill>
                    <a:srgbClr val="404040"/>
                  </a:solidFill>
                </a:rPr>
                <a:t>Sub-bullets (16 pt.)</a:t>
              </a:r>
            </a:p>
          </p:txBody>
        </p:sp>
        <p:sp>
          <p:nvSpPr>
            <p:cNvPr id="73" name="Ovaal 72"/>
            <p:cNvSpPr/>
            <p:nvPr userDrawn="1"/>
          </p:nvSpPr>
          <p:spPr>
            <a:xfrm>
              <a:off x="-2959433" y="196874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1</a:t>
              </a:r>
            </a:p>
          </p:txBody>
        </p:sp>
        <p:sp>
          <p:nvSpPr>
            <p:cNvPr id="74" name="Ovaal 73"/>
            <p:cNvSpPr/>
            <p:nvPr userDrawn="1"/>
          </p:nvSpPr>
          <p:spPr>
            <a:xfrm>
              <a:off x="-2959433" y="232207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2</a:t>
              </a:r>
            </a:p>
          </p:txBody>
        </p:sp>
        <p:sp>
          <p:nvSpPr>
            <p:cNvPr id="75" name="Ovaal 74"/>
            <p:cNvSpPr/>
            <p:nvPr userDrawn="1"/>
          </p:nvSpPr>
          <p:spPr>
            <a:xfrm>
              <a:off x="-2959433" y="267541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3</a:t>
              </a:r>
            </a:p>
          </p:txBody>
        </p:sp>
        <p:sp>
          <p:nvSpPr>
            <p:cNvPr id="76" name="Ovaal 75"/>
            <p:cNvSpPr/>
            <p:nvPr userDrawn="1"/>
          </p:nvSpPr>
          <p:spPr>
            <a:xfrm>
              <a:off x="-2959433" y="302874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4</a:t>
              </a:r>
            </a:p>
          </p:txBody>
        </p:sp>
        <p:sp>
          <p:nvSpPr>
            <p:cNvPr id="77" name="Textfield placeholder"/>
            <p:cNvSpPr txBox="1">
              <a:spLocks/>
            </p:cNvSpPr>
            <p:nvPr userDrawn="1"/>
          </p:nvSpPr>
          <p:spPr>
            <a:xfrm>
              <a:off x="-2571950" y="1966925"/>
              <a:ext cx="2163709" cy="261500"/>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79388">
                <a:lnSpc>
                  <a:spcPct val="120000"/>
                </a:lnSpc>
                <a:spcBef>
                  <a:spcPts val="0"/>
                </a:spcBef>
                <a:spcAft>
                  <a:spcPts val="900"/>
                </a:spcAft>
                <a:buClr>
                  <a:srgbClr val="000000"/>
                </a:buClr>
                <a:buSzPct val="100000"/>
                <a:buFont typeface="Arial" pitchFamily="34" charset="0"/>
                <a:buNone/>
                <a:defRPr/>
              </a:pPr>
              <a:r>
                <a:rPr lang="nl-NL" sz="1200" dirty="0">
                  <a:solidFill>
                    <a:srgbClr val="535353"/>
                  </a:solidFill>
                </a:rPr>
                <a:t>Leestekst (16 pt.)</a:t>
              </a:r>
            </a:p>
          </p:txBody>
        </p:sp>
        <p:sp>
          <p:nvSpPr>
            <p:cNvPr id="78" name="Textfield placeholder"/>
            <p:cNvSpPr txBox="1">
              <a:spLocks/>
            </p:cNvSpPr>
            <p:nvPr userDrawn="1"/>
          </p:nvSpPr>
          <p:spPr>
            <a:xfrm>
              <a:off x="-2571950" y="2322077"/>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70000" lvl="1"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err="1">
                  <a:solidFill>
                    <a:srgbClr val="535353"/>
                  </a:solidFill>
                </a:rPr>
                <a:t>Bullets</a:t>
              </a:r>
              <a:r>
                <a:rPr lang="nl-NL" sz="1200" dirty="0">
                  <a:solidFill>
                    <a:srgbClr val="535353"/>
                  </a:solidFill>
                </a:rPr>
                <a:t> (16 </a:t>
              </a:r>
              <a:r>
                <a:rPr lang="nl-NL" sz="1200" dirty="0" err="1">
                  <a:solidFill>
                    <a:srgbClr val="535353"/>
                  </a:solidFill>
                </a:rPr>
                <a:t>pt</a:t>
              </a:r>
              <a:r>
                <a:rPr lang="nl-NL" sz="1200" dirty="0">
                  <a:solidFill>
                    <a:srgbClr val="535353"/>
                  </a:solidFill>
                </a:rPr>
                <a:t>.)</a:t>
              </a:r>
            </a:p>
          </p:txBody>
        </p:sp>
        <p:sp>
          <p:nvSpPr>
            <p:cNvPr id="79" name="Textfield placeholder"/>
            <p:cNvSpPr txBox="1">
              <a:spLocks/>
            </p:cNvSpPr>
            <p:nvPr userDrawn="1"/>
          </p:nvSpPr>
          <p:spPr>
            <a:xfrm>
              <a:off x="-2571951" y="3028747"/>
              <a:ext cx="2435141"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10000" lvl="3" indent="-270000" algn="l" defTabSz="179388" rtl="0" eaLnBrk="1" latinLnBrk="0" hangingPunct="1">
                <a:lnSpc>
                  <a:spcPct val="120000"/>
                </a:lnSpc>
                <a:spcBef>
                  <a:spcPts val="0"/>
                </a:spcBef>
                <a:spcAft>
                  <a:spcPts val="900"/>
                </a:spcAft>
                <a:buClr>
                  <a:schemeClr val="accent2"/>
                </a:buClr>
                <a:buSzPct val="80000"/>
                <a:buFont typeface="Wingdings 3" panose="05040102010807070707" pitchFamily="18" charset="2"/>
                <a:buChar char=""/>
                <a:defRPr/>
              </a:pPr>
              <a:r>
                <a:rPr lang="nl-NL" sz="1200" b="0" kern="1200" dirty="0">
                  <a:solidFill>
                    <a:srgbClr val="404040"/>
                  </a:solidFill>
                  <a:latin typeface="+mn-lt"/>
                  <a:ea typeface="+mn-ea"/>
                  <a:cs typeface="+mn-cs"/>
                </a:rPr>
                <a:t>Sub-sub-bullets (16 pt.)</a:t>
              </a:r>
            </a:p>
          </p:txBody>
        </p:sp>
        <p:cxnSp>
          <p:nvCxnSpPr>
            <p:cNvPr id="80" name="Rechte verbindingslijn 79"/>
            <p:cNvCxnSpPr/>
            <p:nvPr userDrawn="1"/>
          </p:nvCxnSpPr>
          <p:spPr>
            <a:xfrm>
              <a:off x="-2959100" y="274900"/>
              <a:ext cx="2674470" cy="0"/>
            </a:xfrm>
            <a:prstGeom prst="line">
              <a:avLst/>
            </a:prstGeom>
            <a:noFill/>
            <a:ln w="9525" cap="flat" cmpd="sng" algn="ctr">
              <a:solidFill>
                <a:schemeClr val="accent1"/>
              </a:solidFill>
              <a:prstDash val="solid"/>
            </a:ln>
            <a:effectLst/>
          </p:spPr>
        </p:cxnSp>
        <p:cxnSp>
          <p:nvCxnSpPr>
            <p:cNvPr id="81" name="Rechte verbindingslijn 80"/>
            <p:cNvCxnSpPr/>
            <p:nvPr userDrawn="1"/>
          </p:nvCxnSpPr>
          <p:spPr>
            <a:xfrm>
              <a:off x="-2959100" y="1841989"/>
              <a:ext cx="2661379" cy="0"/>
            </a:xfrm>
            <a:prstGeom prst="line">
              <a:avLst/>
            </a:prstGeom>
            <a:noFill/>
            <a:ln w="9525" cap="flat" cmpd="sng" algn="ctr">
              <a:solidFill>
                <a:schemeClr val="accent1"/>
              </a:solidFill>
              <a:prstDash val="solid"/>
            </a:ln>
            <a:effectLst/>
          </p:spPr>
        </p:cxnSp>
        <p:cxnSp>
          <p:nvCxnSpPr>
            <p:cNvPr id="82" name="Rechte verbindingslijn 81"/>
            <p:cNvCxnSpPr/>
            <p:nvPr userDrawn="1"/>
          </p:nvCxnSpPr>
          <p:spPr>
            <a:xfrm>
              <a:off x="-2959100" y="5249278"/>
              <a:ext cx="2661379" cy="0"/>
            </a:xfrm>
            <a:prstGeom prst="line">
              <a:avLst/>
            </a:prstGeom>
            <a:noFill/>
            <a:ln w="9525" cap="flat" cmpd="sng" algn="ctr">
              <a:solidFill>
                <a:schemeClr val="accent1"/>
              </a:solidFill>
              <a:prstDash val="solid"/>
            </a:ln>
            <a:effectLst/>
          </p:spPr>
        </p:cxnSp>
        <p:grpSp>
          <p:nvGrpSpPr>
            <p:cNvPr id="83" name="Groep 82"/>
            <p:cNvGrpSpPr/>
            <p:nvPr userDrawn="1"/>
          </p:nvGrpSpPr>
          <p:grpSpPr>
            <a:xfrm>
              <a:off x="-1948476" y="816741"/>
              <a:ext cx="409108" cy="427699"/>
              <a:chOff x="-1085063" y="758027"/>
              <a:chExt cx="633799" cy="622540"/>
            </a:xfrm>
          </p:grpSpPr>
          <p:sp>
            <p:nvSpPr>
              <p:cNvPr id="190" name="Afgeronde rechthoek 189"/>
              <p:cNvSpPr/>
              <p:nvPr userDrawn="1"/>
            </p:nvSpPr>
            <p:spPr>
              <a:xfrm>
                <a:off x="-108506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191" name="Groep 190"/>
              <p:cNvGrpSpPr/>
              <p:nvPr userDrawn="1"/>
            </p:nvGrpSpPr>
            <p:grpSpPr>
              <a:xfrm>
                <a:off x="-977739" y="864082"/>
                <a:ext cx="419168" cy="410429"/>
                <a:chOff x="6366933" y="309013"/>
                <a:chExt cx="1901295" cy="1861668"/>
              </a:xfrm>
              <a:solidFill>
                <a:srgbClr val="000000"/>
              </a:solidFill>
            </p:grpSpPr>
            <p:sp>
              <p:nvSpPr>
                <p:cNvPr id="192" name="Rechthoek 191"/>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93" name="Rechthoek 192"/>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94" name="Rechthoek 193"/>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95" name="Rechthoek 194"/>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96" name="Rechthoek 195"/>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97" name="Rechthoek 196"/>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98" name="Rechthoek 197"/>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99" name="Rechthoek 198"/>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00" name="Rechthoek 199"/>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01" name="Rechthoek 200"/>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02" name="Vrije vorm 201"/>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nvGrpSpPr>
            <p:cNvPr id="84" name="Groep 83"/>
            <p:cNvGrpSpPr/>
            <p:nvPr userDrawn="1"/>
          </p:nvGrpSpPr>
          <p:grpSpPr>
            <a:xfrm>
              <a:off x="-2950232" y="1207835"/>
              <a:ext cx="532929" cy="509563"/>
              <a:chOff x="-2880382" y="802341"/>
              <a:chExt cx="532929" cy="509563"/>
            </a:xfrm>
          </p:grpSpPr>
          <p:sp>
            <p:nvSpPr>
              <p:cNvPr id="168" name="Rechthoek 167"/>
              <p:cNvSpPr/>
              <p:nvPr userDrawn="1"/>
            </p:nvSpPr>
            <p:spPr>
              <a:xfrm>
                <a:off x="-2880382" y="802341"/>
                <a:ext cx="532929" cy="509563"/>
              </a:xfrm>
              <a:prstGeom prst="rect">
                <a:avLst/>
              </a:prstGeom>
              <a:solidFill>
                <a:sysClr val="window" lastClr="FFFFFF"/>
              </a:soli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pic>
            <p:nvPicPr>
              <p:cNvPr id="169"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635852" y="822181"/>
                <a:ext cx="226442" cy="208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0" name="Picture 3"/>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2848026" y="822181"/>
                <a:ext cx="207168" cy="213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71" name="Groep 170"/>
              <p:cNvGrpSpPr/>
              <p:nvPr userDrawn="1"/>
            </p:nvGrpSpPr>
            <p:grpSpPr>
              <a:xfrm>
                <a:off x="-2802433" y="1123442"/>
                <a:ext cx="132915" cy="104889"/>
                <a:chOff x="-2796392" y="1123442"/>
                <a:chExt cx="120832" cy="104889"/>
              </a:xfrm>
            </p:grpSpPr>
            <p:sp>
              <p:nvSpPr>
                <p:cNvPr id="185" name="Rechthoek 184"/>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86" name="Rechthoek 185"/>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87" name="Rechthoek 186"/>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88" name="Rechthoek 187"/>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89" name="Rechthoek 188"/>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172" name="Groep 171"/>
              <p:cNvGrpSpPr/>
              <p:nvPr userDrawn="1"/>
            </p:nvGrpSpPr>
            <p:grpSpPr>
              <a:xfrm>
                <a:off x="-2575417" y="1123442"/>
                <a:ext cx="133930" cy="104889"/>
                <a:chOff x="-2556734" y="1123442"/>
                <a:chExt cx="147324" cy="104889"/>
              </a:xfrm>
            </p:grpSpPr>
            <p:grpSp>
              <p:nvGrpSpPr>
                <p:cNvPr id="173" name="Groep 172"/>
                <p:cNvGrpSpPr/>
                <p:nvPr userDrawn="1"/>
              </p:nvGrpSpPr>
              <p:grpSpPr>
                <a:xfrm>
                  <a:off x="-2556734" y="1123442"/>
                  <a:ext cx="68206" cy="104889"/>
                  <a:chOff x="-2796392" y="1123442"/>
                  <a:chExt cx="120832" cy="104889"/>
                </a:xfrm>
              </p:grpSpPr>
              <p:sp>
                <p:nvSpPr>
                  <p:cNvPr id="180" name="Rechthoek 179"/>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81" name="Rechthoek 180"/>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82" name="Rechthoek 181"/>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83" name="Rechthoek 182"/>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84" name="Rechthoek 183"/>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174" name="Groep 173"/>
                <p:cNvGrpSpPr/>
                <p:nvPr userDrawn="1"/>
              </p:nvGrpSpPr>
              <p:grpSpPr>
                <a:xfrm>
                  <a:off x="-2477616" y="1123442"/>
                  <a:ext cx="68206" cy="104889"/>
                  <a:chOff x="-2796392" y="1123442"/>
                  <a:chExt cx="120832" cy="104889"/>
                </a:xfrm>
              </p:grpSpPr>
              <p:sp>
                <p:nvSpPr>
                  <p:cNvPr id="175" name="Rechthoek 174"/>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76" name="Rechthoek 175"/>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77" name="Rechthoek 176"/>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78" name="Rechthoek 177"/>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79" name="Rechthoek 178"/>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grpSp>
          <p:nvGrpSpPr>
            <p:cNvPr id="85" name="Groep 84"/>
            <p:cNvGrpSpPr/>
            <p:nvPr userDrawn="1"/>
          </p:nvGrpSpPr>
          <p:grpSpPr>
            <a:xfrm>
              <a:off x="-1948476" y="1281164"/>
              <a:ext cx="413704" cy="427699"/>
              <a:chOff x="-1845083" y="758027"/>
              <a:chExt cx="633799" cy="622540"/>
            </a:xfrm>
          </p:grpSpPr>
          <p:sp>
            <p:nvSpPr>
              <p:cNvPr id="104" name="Afgeronde rechthoek 103"/>
              <p:cNvSpPr/>
              <p:nvPr userDrawn="1"/>
            </p:nvSpPr>
            <p:spPr>
              <a:xfrm>
                <a:off x="-184508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105" name="Groep 104"/>
              <p:cNvGrpSpPr/>
              <p:nvPr userDrawn="1"/>
            </p:nvGrpSpPr>
            <p:grpSpPr>
              <a:xfrm>
                <a:off x="-1737762" y="864082"/>
                <a:ext cx="419168" cy="410429"/>
                <a:chOff x="3708400" y="309013"/>
                <a:chExt cx="1901295" cy="1861668"/>
              </a:xfrm>
              <a:solidFill>
                <a:srgbClr val="000000"/>
              </a:solidFill>
            </p:grpSpPr>
            <p:sp>
              <p:nvSpPr>
                <p:cNvPr id="157" name="Rechthoek 156"/>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58" name="Rechthoek 157"/>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59" name="Rechthoek 158"/>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0" name="Rechthoek 159"/>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1" name="Rechthoek 160"/>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2" name="Rechthoek 161"/>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3" name="Rechthoek 162"/>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4" name="Rechthoek 163"/>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5" name="Rechthoek 164"/>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6" name="Rechthoek 165"/>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7" name="Vrije vorm 166"/>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cxnSp>
          <p:nvCxnSpPr>
            <p:cNvPr id="86" name="Rechte verbindingslijn 85"/>
            <p:cNvCxnSpPr/>
            <p:nvPr userDrawn="1"/>
          </p:nvCxnSpPr>
          <p:spPr>
            <a:xfrm>
              <a:off x="-2814292" y="1441193"/>
              <a:ext cx="865816" cy="53821"/>
            </a:xfrm>
            <a:prstGeom prst="line">
              <a:avLst/>
            </a:prstGeom>
            <a:noFill/>
            <a:ln w="9525" cap="flat" cmpd="sng" algn="ctr">
              <a:solidFill>
                <a:schemeClr val="accent1"/>
              </a:solidFill>
              <a:prstDash val="solid"/>
              <a:headEnd type="oval"/>
            </a:ln>
            <a:effectLst/>
          </p:spPr>
        </p:cxnSp>
        <p:cxnSp>
          <p:nvCxnSpPr>
            <p:cNvPr id="87" name="Rechte verbindingslijn 86"/>
            <p:cNvCxnSpPr/>
            <p:nvPr userDrawn="1"/>
          </p:nvCxnSpPr>
          <p:spPr>
            <a:xfrm flipV="1">
              <a:off x="-2453902" y="1030591"/>
              <a:ext cx="505426" cy="283623"/>
            </a:xfrm>
            <a:prstGeom prst="line">
              <a:avLst/>
            </a:prstGeom>
            <a:noFill/>
            <a:ln w="9525" cap="flat" cmpd="sng" algn="ctr">
              <a:solidFill>
                <a:schemeClr val="accent1"/>
              </a:solidFill>
              <a:prstDash val="solid"/>
              <a:headEnd type="oval"/>
            </a:ln>
            <a:effectLst/>
          </p:spPr>
        </p:cxnSp>
        <p:sp>
          <p:nvSpPr>
            <p:cNvPr id="88" name="Textfield placeholder"/>
            <p:cNvSpPr txBox="1">
              <a:spLocks/>
            </p:cNvSpPr>
            <p:nvPr userDrawn="1"/>
          </p:nvSpPr>
          <p:spPr>
            <a:xfrm>
              <a:off x="-1341598" y="816743"/>
              <a:ext cx="1056968" cy="427698"/>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hoog</a:t>
              </a:r>
            </a:p>
          </p:txBody>
        </p:sp>
        <p:sp>
          <p:nvSpPr>
            <p:cNvPr id="89" name="Textfield placeholder"/>
            <p:cNvSpPr txBox="1">
              <a:spLocks/>
            </p:cNvSpPr>
            <p:nvPr userDrawn="1"/>
          </p:nvSpPr>
          <p:spPr>
            <a:xfrm>
              <a:off x="-1341599" y="1281164"/>
              <a:ext cx="1070223" cy="427699"/>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laag</a:t>
              </a:r>
            </a:p>
          </p:txBody>
        </p:sp>
        <p:sp>
          <p:nvSpPr>
            <p:cNvPr id="90" name="Ovaal 89"/>
            <p:cNvSpPr/>
            <p:nvPr userDrawn="1"/>
          </p:nvSpPr>
          <p:spPr>
            <a:xfrm>
              <a:off x="-2959433" y="338208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5</a:t>
              </a:r>
            </a:p>
          </p:txBody>
        </p:sp>
        <p:sp>
          <p:nvSpPr>
            <p:cNvPr id="91" name="Textfield placeholder"/>
            <p:cNvSpPr txBox="1">
              <a:spLocks/>
            </p:cNvSpPr>
            <p:nvPr userDrawn="1"/>
          </p:nvSpPr>
          <p:spPr>
            <a:xfrm>
              <a:off x="-2571950" y="3382082"/>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60000" lvl="4" indent="-360000" defTabSz="179388">
                <a:lnSpc>
                  <a:spcPct val="120000"/>
                </a:lnSpc>
                <a:spcBef>
                  <a:spcPts val="0"/>
                </a:spcBef>
                <a:spcAft>
                  <a:spcPts val="900"/>
                </a:spcAft>
                <a:buClr>
                  <a:srgbClr val="ED1A3B"/>
                </a:buClr>
                <a:buFont typeface="+mj-lt"/>
                <a:buAutoNum type="arabicPeriod"/>
                <a:defRPr/>
              </a:pPr>
              <a:r>
                <a:rPr lang="nl-NL" sz="1200" b="0" dirty="0">
                  <a:solidFill>
                    <a:srgbClr val="404040"/>
                  </a:solidFill>
                </a:rPr>
                <a:t>Numeriek (16 pt.)</a:t>
              </a:r>
            </a:p>
          </p:txBody>
        </p:sp>
        <p:grpSp>
          <p:nvGrpSpPr>
            <p:cNvPr id="92" name="Groep 91"/>
            <p:cNvGrpSpPr/>
            <p:nvPr userDrawn="1"/>
          </p:nvGrpSpPr>
          <p:grpSpPr>
            <a:xfrm>
              <a:off x="-2950232" y="816050"/>
              <a:ext cx="528695" cy="344202"/>
              <a:chOff x="-2880382" y="410556"/>
              <a:chExt cx="528695" cy="344202"/>
            </a:xfrm>
          </p:grpSpPr>
          <p:sp>
            <p:nvSpPr>
              <p:cNvPr id="102" name="Afgeronde rechthoek 101"/>
              <p:cNvSpPr/>
              <p:nvPr userDrawn="1"/>
            </p:nvSpPr>
            <p:spPr>
              <a:xfrm>
                <a:off x="-2874214" y="410556"/>
                <a:ext cx="522527" cy="339183"/>
              </a:xfrm>
              <a:prstGeom prst="roundRect">
                <a:avLst>
                  <a:gd name="adj" fmla="val 7565"/>
                </a:avLst>
              </a:prstGeom>
              <a:gradFill>
                <a:gsLst>
                  <a:gs pos="0">
                    <a:srgbClr val="FFEC8F"/>
                  </a:gs>
                  <a:gs pos="100000">
                    <a:srgbClr val="FFFFFF"/>
                  </a:gs>
                </a:gsLst>
                <a:lin ang="5400000" scaled="0"/>
              </a:gra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sp>
            <p:nvSpPr>
              <p:cNvPr id="103" name="Vrije vorm 102"/>
              <p:cNvSpPr/>
              <p:nvPr userDrawn="1"/>
            </p:nvSpPr>
            <p:spPr>
              <a:xfrm>
                <a:off x="-2880382" y="452699"/>
                <a:ext cx="528695" cy="302059"/>
              </a:xfrm>
              <a:custGeom>
                <a:avLst/>
                <a:gdLst>
                  <a:gd name="connsiteX0" fmla="*/ 55524 w 528695"/>
                  <a:gd name="connsiteY0" fmla="*/ 0 h 302059"/>
                  <a:gd name="connsiteX1" fmla="*/ 455496 w 528695"/>
                  <a:gd name="connsiteY1" fmla="*/ 0 h 302059"/>
                  <a:gd name="connsiteX2" fmla="*/ 475205 w 528695"/>
                  <a:gd name="connsiteY2" fmla="*/ 19709 h 302059"/>
                  <a:gd name="connsiteX3" fmla="*/ 475205 w 528695"/>
                  <a:gd name="connsiteY3" fmla="*/ 230056 h 302059"/>
                  <a:gd name="connsiteX4" fmla="*/ 516694 w 528695"/>
                  <a:gd name="connsiteY4" fmla="*/ 230056 h 302059"/>
                  <a:gd name="connsiteX5" fmla="*/ 528695 w 528695"/>
                  <a:gd name="connsiteY5" fmla="*/ 242057 h 302059"/>
                  <a:gd name="connsiteX6" fmla="*/ 528695 w 528695"/>
                  <a:gd name="connsiteY6" fmla="*/ 290058 h 302059"/>
                  <a:gd name="connsiteX7" fmla="*/ 516694 w 528695"/>
                  <a:gd name="connsiteY7" fmla="*/ 302059 h 302059"/>
                  <a:gd name="connsiteX8" fmla="*/ 12001 w 528695"/>
                  <a:gd name="connsiteY8" fmla="*/ 302059 h 302059"/>
                  <a:gd name="connsiteX9" fmla="*/ 0 w 528695"/>
                  <a:gd name="connsiteY9" fmla="*/ 290058 h 302059"/>
                  <a:gd name="connsiteX10" fmla="*/ 0 w 528695"/>
                  <a:gd name="connsiteY10" fmla="*/ 242057 h 302059"/>
                  <a:gd name="connsiteX11" fmla="*/ 12001 w 528695"/>
                  <a:gd name="connsiteY11" fmla="*/ 230056 h 302059"/>
                  <a:gd name="connsiteX12" fmla="*/ 35815 w 528695"/>
                  <a:gd name="connsiteY12" fmla="*/ 230056 h 302059"/>
                  <a:gd name="connsiteX13" fmla="*/ 35815 w 528695"/>
                  <a:gd name="connsiteY13" fmla="*/ 19709 h 302059"/>
                  <a:gd name="connsiteX14" fmla="*/ 55524 w 528695"/>
                  <a:gd name="connsiteY14" fmla="*/ 0 h 3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8695" h="302059">
                    <a:moveTo>
                      <a:pt x="55524" y="0"/>
                    </a:moveTo>
                    <a:lnTo>
                      <a:pt x="455496" y="0"/>
                    </a:lnTo>
                    <a:cubicBezTo>
                      <a:pt x="466381" y="0"/>
                      <a:pt x="475205" y="8824"/>
                      <a:pt x="475205" y="19709"/>
                    </a:cubicBezTo>
                    <a:lnTo>
                      <a:pt x="475205" y="230056"/>
                    </a:lnTo>
                    <a:lnTo>
                      <a:pt x="516694" y="230056"/>
                    </a:lnTo>
                    <a:cubicBezTo>
                      <a:pt x="523322" y="230056"/>
                      <a:pt x="528695" y="235429"/>
                      <a:pt x="528695" y="242057"/>
                    </a:cubicBezTo>
                    <a:lnTo>
                      <a:pt x="528695" y="290058"/>
                    </a:lnTo>
                    <a:cubicBezTo>
                      <a:pt x="528695" y="296686"/>
                      <a:pt x="523322" y="302059"/>
                      <a:pt x="516694" y="302059"/>
                    </a:cubicBezTo>
                    <a:lnTo>
                      <a:pt x="12001" y="302059"/>
                    </a:lnTo>
                    <a:cubicBezTo>
                      <a:pt x="5373" y="302059"/>
                      <a:pt x="0" y="296686"/>
                      <a:pt x="0" y="290058"/>
                    </a:cubicBezTo>
                    <a:lnTo>
                      <a:pt x="0" y="242057"/>
                    </a:lnTo>
                    <a:cubicBezTo>
                      <a:pt x="0" y="235429"/>
                      <a:pt x="5373" y="230056"/>
                      <a:pt x="12001" y="230056"/>
                    </a:cubicBezTo>
                    <a:lnTo>
                      <a:pt x="35815" y="230056"/>
                    </a:lnTo>
                    <a:lnTo>
                      <a:pt x="35815" y="19709"/>
                    </a:lnTo>
                    <a:cubicBezTo>
                      <a:pt x="35815" y="8824"/>
                      <a:pt x="44639" y="0"/>
                      <a:pt x="55524" y="0"/>
                    </a:cubicBezTo>
                    <a:close/>
                  </a:path>
                </a:pathLst>
              </a:custGeom>
              <a:solidFill>
                <a:sysClr val="window" lastClr="FFFFFF">
                  <a:lumMod val="95000"/>
                </a:sysClr>
              </a:solidFill>
              <a:ln w="9525" cap="flat" cmpd="sng" algn="ctr">
                <a:solidFill>
                  <a:srgbClr val="FFFFFF">
                    <a:lumMod val="90000"/>
                  </a:srgbClr>
                </a:solidFill>
                <a:prstDash val="solid"/>
                <a:miter lim="800000"/>
              </a:ln>
              <a:effectLst/>
            </p:spPr>
            <p:txBody>
              <a:bodyPr rot="0" spcFirstLastPara="0" vert="horz" wrap="square" lIns="108000" tIns="36000" rIns="108000" bIns="10800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900" dirty="0">
                    <a:solidFill>
                      <a:prstClr val="black"/>
                    </a:solidFill>
                    <a:latin typeface="Segoe UI Light"/>
                  </a:rPr>
                  <a:t>Start</a:t>
                </a:r>
              </a:p>
            </p:txBody>
          </p:sp>
        </p:grpSp>
        <p:sp>
          <p:nvSpPr>
            <p:cNvPr id="93" name="Tekstvak 65"/>
            <p:cNvSpPr txBox="1"/>
            <p:nvPr userDrawn="1"/>
          </p:nvSpPr>
          <p:spPr>
            <a:xfrm>
              <a:off x="-2959433" y="372104"/>
              <a:ext cx="2679887" cy="453396"/>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nl-NL" sz="1200" kern="0" dirty="0">
                  <a:solidFill>
                    <a:srgbClr val="000000"/>
                  </a:solidFill>
                  <a:latin typeface="Segoe UI Light" panose="020B0502040204020203" pitchFamily="34" charset="0"/>
                  <a:cs typeface="Segoe UI Light" panose="020B0502040204020203" pitchFamily="34" charset="0"/>
                </a:rPr>
                <a:t>Ga naar de tab </a:t>
              </a:r>
              <a:r>
                <a:rPr lang="nl-NL" sz="1200" b="1" kern="0" dirty="0">
                  <a:solidFill>
                    <a:srgbClr val="000000"/>
                  </a:solidFill>
                  <a:latin typeface="Segoe UI Light" panose="020B0502040204020203" pitchFamily="34" charset="0"/>
                  <a:cs typeface="Segoe UI Light" panose="020B0502040204020203" pitchFamily="34" charset="0"/>
                </a:rPr>
                <a:t>Start’ </a:t>
              </a:r>
              <a:r>
                <a:rPr lang="nl-NL" sz="1200" kern="0" dirty="0">
                  <a:solidFill>
                    <a:srgbClr val="000000"/>
                  </a:solidFill>
                  <a:latin typeface="Segoe UI Light" panose="020B0502040204020203" pitchFamily="34" charset="0"/>
                  <a:cs typeface="Segoe UI Light" panose="020B0502040204020203" pitchFamily="34" charset="0"/>
                </a:rPr>
                <a:t>en vind onderstaande knoppen onder </a:t>
              </a:r>
              <a:r>
                <a:rPr lang="nl-NL" sz="1200" b="1" kern="0" dirty="0">
                  <a:solidFill>
                    <a:srgbClr val="000000"/>
                  </a:solidFill>
                  <a:latin typeface="Segoe UI Light" panose="020B0502040204020203" pitchFamily="34" charset="0"/>
                  <a:cs typeface="Segoe UI Light" panose="020B0502040204020203" pitchFamily="34" charset="0"/>
                </a:rPr>
                <a:t>‘Alinea’</a:t>
              </a:r>
            </a:p>
          </p:txBody>
        </p:sp>
        <p:sp>
          <p:nvSpPr>
            <p:cNvPr id="94" name="Ovaal 93"/>
            <p:cNvSpPr/>
            <p:nvPr userDrawn="1"/>
          </p:nvSpPr>
          <p:spPr>
            <a:xfrm>
              <a:off x="-2959433" y="375153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6</a:t>
              </a:r>
            </a:p>
          </p:txBody>
        </p:sp>
        <p:sp>
          <p:nvSpPr>
            <p:cNvPr id="95" name="Textfield placeholder"/>
            <p:cNvSpPr txBox="1">
              <a:spLocks/>
            </p:cNvSpPr>
            <p:nvPr userDrawn="1"/>
          </p:nvSpPr>
          <p:spPr>
            <a:xfrm>
              <a:off x="-2571950" y="3751536"/>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0000" lvl="5" indent="-270000" defTabSz="179388">
                <a:lnSpc>
                  <a:spcPct val="120000"/>
                </a:lnSpc>
                <a:spcAft>
                  <a:spcPts val="900"/>
                </a:spcAft>
                <a:buClr>
                  <a:srgbClr val="ED1A3B"/>
                </a:buClr>
                <a:buSzPct val="80000"/>
                <a:buFont typeface="Wingdings 3" panose="05040102010807070707" pitchFamily="18" charset="2"/>
                <a:buChar char=""/>
                <a:defRPr/>
              </a:pPr>
              <a:r>
                <a:rPr lang="nl-NL" sz="1200" cap="none" dirty="0">
                  <a:solidFill>
                    <a:srgbClr val="535353"/>
                  </a:solidFill>
                </a:rPr>
                <a:t># Bullets (16 pt.)</a:t>
              </a:r>
            </a:p>
          </p:txBody>
        </p:sp>
        <p:sp>
          <p:nvSpPr>
            <p:cNvPr id="96" name="Ovaal 95"/>
            <p:cNvSpPr/>
            <p:nvPr userDrawn="1"/>
          </p:nvSpPr>
          <p:spPr>
            <a:xfrm>
              <a:off x="-2959433" y="414870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7</a:t>
              </a:r>
            </a:p>
          </p:txBody>
        </p:sp>
        <p:sp>
          <p:nvSpPr>
            <p:cNvPr id="97" name="Textfield placeholder"/>
            <p:cNvSpPr txBox="1">
              <a:spLocks/>
            </p:cNvSpPr>
            <p:nvPr userDrawn="1"/>
          </p:nvSpPr>
          <p:spPr>
            <a:xfrm>
              <a:off x="-2571950" y="414870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6" indent="0" defTabSz="179388">
                <a:lnSpc>
                  <a:spcPct val="120000"/>
                </a:lnSpc>
                <a:spcBef>
                  <a:spcPts val="0"/>
                </a:spcBef>
                <a:spcAft>
                  <a:spcPts val="900"/>
                </a:spcAft>
                <a:buClr>
                  <a:srgbClr val="ED1A3B"/>
                </a:buClr>
                <a:buSzPct val="90000"/>
                <a:buFont typeface="+mj-lt"/>
                <a:buNone/>
                <a:defRPr/>
              </a:pPr>
              <a:r>
                <a:rPr lang="nl-NL" sz="1200" i="1" dirty="0">
                  <a:solidFill>
                    <a:srgbClr val="404040"/>
                  </a:solidFill>
                </a:rPr>
                <a:t>Cursief donker (16 pt.)</a:t>
              </a:r>
            </a:p>
          </p:txBody>
        </p:sp>
        <p:sp>
          <p:nvSpPr>
            <p:cNvPr id="98" name="Ovaal 97"/>
            <p:cNvSpPr/>
            <p:nvPr userDrawn="1"/>
          </p:nvSpPr>
          <p:spPr>
            <a:xfrm>
              <a:off x="-2959433" y="454586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8</a:t>
              </a:r>
            </a:p>
          </p:txBody>
        </p:sp>
        <p:sp>
          <p:nvSpPr>
            <p:cNvPr id="99" name="Textfield placeholder"/>
            <p:cNvSpPr txBox="1">
              <a:spLocks/>
            </p:cNvSpPr>
            <p:nvPr userDrawn="1"/>
          </p:nvSpPr>
          <p:spPr>
            <a:xfrm>
              <a:off x="-2571950" y="4545864"/>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7" indent="0" defTabSz="179388">
                <a:lnSpc>
                  <a:spcPct val="80000"/>
                </a:lnSpc>
                <a:spcBef>
                  <a:spcPts val="0"/>
                </a:spcBef>
                <a:spcAft>
                  <a:spcPts val="900"/>
                </a:spcAft>
                <a:buClr>
                  <a:srgbClr val="ED1A3B"/>
                </a:buClr>
                <a:buFont typeface="Arial" pitchFamily="34" charset="0"/>
                <a:buNone/>
                <a:defRPr/>
              </a:pPr>
              <a:r>
                <a:rPr lang="nl-NL" sz="1200" i="1" dirty="0">
                  <a:solidFill>
                    <a:srgbClr val="A3B0C0"/>
                  </a:solidFill>
                </a:rPr>
                <a:t>Cursief Licht (16 pt.)</a:t>
              </a:r>
            </a:p>
          </p:txBody>
        </p:sp>
        <p:sp>
          <p:nvSpPr>
            <p:cNvPr id="100" name="Ovaal 99"/>
            <p:cNvSpPr/>
            <p:nvPr userDrawn="1"/>
          </p:nvSpPr>
          <p:spPr>
            <a:xfrm>
              <a:off x="-2959433" y="488761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9</a:t>
              </a:r>
            </a:p>
          </p:txBody>
        </p:sp>
        <p:sp>
          <p:nvSpPr>
            <p:cNvPr id="101" name="Textfield placeholder"/>
            <p:cNvSpPr txBox="1">
              <a:spLocks/>
            </p:cNvSpPr>
            <p:nvPr userDrawn="1"/>
          </p:nvSpPr>
          <p:spPr>
            <a:xfrm>
              <a:off x="-2571950" y="488761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8" indent="0" defTabSz="179388">
                <a:lnSpc>
                  <a:spcPct val="80000"/>
                </a:lnSpc>
                <a:spcBef>
                  <a:spcPts val="0"/>
                </a:spcBef>
                <a:spcAft>
                  <a:spcPts val="900"/>
                </a:spcAft>
                <a:buClr>
                  <a:srgbClr val="ED1A3B"/>
                </a:buClr>
                <a:buFont typeface="Arial" pitchFamily="34" charset="0"/>
                <a:buNone/>
                <a:defRPr/>
              </a:pPr>
              <a:r>
                <a:rPr lang="nl-NL" sz="1400" b="1" dirty="0">
                  <a:solidFill>
                    <a:srgbClr val="ED1A3B"/>
                  </a:solidFill>
                </a:rPr>
                <a:t>Subtitel (18 pt.)</a:t>
              </a:r>
            </a:p>
          </p:txBody>
        </p:sp>
      </p:grpSp>
      <p:sp>
        <p:nvSpPr>
          <p:cNvPr id="209" name="Witte achtergrond"/>
          <p:cNvSpPr/>
          <p:nvPr userDrawn="1"/>
        </p:nvSpPr>
        <p:spPr>
          <a:xfrm>
            <a:off x="0" y="0"/>
            <a:ext cx="121983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203" name="Grijze achtergrond"/>
          <p:cNvSpPr/>
          <p:nvPr userDrawn="1"/>
        </p:nvSpPr>
        <p:spPr>
          <a:xfrm>
            <a:off x="-1" y="0"/>
            <a:ext cx="12198350" cy="6858001"/>
          </a:xfrm>
          <a:prstGeom prst="rect">
            <a:avLst/>
          </a:prstGeom>
          <a:solidFill>
            <a:srgbClr val="EDE8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207" name="Tijdelijke aanduiding voor Afbeelding_09 (rechtsonder)"/>
          <p:cNvSpPr>
            <a:spLocks noGrp="1"/>
          </p:cNvSpPr>
          <p:nvPr>
            <p:ph type="pic" idx="46"/>
          </p:nvPr>
        </p:nvSpPr>
        <p:spPr>
          <a:xfrm>
            <a:off x="8136000" y="4572000"/>
            <a:ext cx="4068000" cy="2286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204" name="Tijdelijke aanduiding voor Blok_09 (rechtsonder)"/>
          <p:cNvSpPr>
            <a:spLocks noGrp="1"/>
          </p:cNvSpPr>
          <p:nvPr>
            <p:ph type="body" orient="vert" idx="36" hasCustomPrompt="1"/>
          </p:nvPr>
        </p:nvSpPr>
        <p:spPr>
          <a:xfrm>
            <a:off x="8136000" y="4572000"/>
            <a:ext cx="4069059" cy="2286000"/>
          </a:xfrm>
          <a:solidFill>
            <a:srgbClr val="535353"/>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200">
                <a:solidFill>
                  <a:schemeClr val="bg1"/>
                </a:solidFill>
              </a:defRPr>
            </a:lvl2pPr>
            <a:lvl3pPr algn="ctr">
              <a:lnSpc>
                <a:spcPct val="80000"/>
              </a:lnSpc>
              <a:spcBef>
                <a:spcPts val="600"/>
              </a:spcBef>
              <a:spcAft>
                <a:spcPts val="600"/>
              </a:spcAft>
              <a:defRPr sz="1100">
                <a:solidFill>
                  <a:schemeClr val="bg1"/>
                </a:solidFill>
              </a:defRPr>
            </a:lvl3pPr>
            <a:lvl4pPr algn="ctr">
              <a:lnSpc>
                <a:spcPct val="80000"/>
              </a:lnSpc>
              <a:spcBef>
                <a:spcPts val="600"/>
              </a:spcBef>
              <a:spcAft>
                <a:spcPts val="600"/>
              </a:spcAft>
              <a:defRPr sz="1600">
                <a:solidFill>
                  <a:schemeClr val="bg1"/>
                </a:solidFill>
              </a:defRPr>
            </a:lvl4pPr>
            <a:lvl5pPr algn="ctr">
              <a:lnSpc>
                <a:spcPct val="80000"/>
              </a:lnSpc>
              <a:spcBef>
                <a:spcPts val="600"/>
              </a:spcBef>
              <a:spcAft>
                <a:spcPts val="600"/>
              </a:spcAft>
              <a:defRPr sz="1400">
                <a:solidFill>
                  <a:schemeClr val="bg1"/>
                </a:solidFill>
              </a:defRPr>
            </a:lvl5pPr>
            <a:lvl6pPr algn="ctr">
              <a:lnSpc>
                <a:spcPct val="80000"/>
              </a:lnSpc>
              <a:spcBef>
                <a:spcPts val="600"/>
              </a:spcBef>
              <a:spcAft>
                <a:spcPts val="600"/>
              </a:spcAft>
              <a:defRPr sz="1400">
                <a:solidFill>
                  <a:schemeClr val="bg1"/>
                </a:solidFill>
              </a:defRPr>
            </a:lvl6pPr>
            <a:lvl7pPr algn="ctr">
              <a:lnSpc>
                <a:spcPct val="80000"/>
              </a:lnSpc>
              <a:spcBef>
                <a:spcPts val="600"/>
              </a:spcBef>
              <a:spcAft>
                <a:spcPts val="600"/>
              </a:spcAft>
              <a:defRPr sz="1400">
                <a:solidFill>
                  <a:schemeClr val="bg1"/>
                </a:solidFill>
              </a:defRPr>
            </a:lvl7pPr>
            <a:lvl8pPr algn="ctr">
              <a:lnSpc>
                <a:spcPct val="80000"/>
              </a:lnSpc>
              <a:spcBef>
                <a:spcPts val="600"/>
              </a:spcBef>
              <a:spcAft>
                <a:spcPts val="600"/>
              </a:spcAft>
              <a:defRPr sz="1400">
                <a:solidFill>
                  <a:schemeClr val="bg1"/>
                </a:solidFill>
              </a:defRPr>
            </a:lvl8pPr>
            <a:lvl9pPr algn="ctr">
              <a:lnSpc>
                <a:spcPct val="80000"/>
              </a:lnSpc>
              <a:spcBef>
                <a:spcPts val="600"/>
              </a:spcBef>
              <a:spcAft>
                <a:spcPts val="600"/>
              </a:spcAft>
              <a:defRPr sz="1200" cap="all" baseline="0">
                <a:solidFill>
                  <a:schemeClr val="bg1"/>
                </a:solidFill>
              </a:defRPr>
            </a:lvl9pPr>
          </a:lstStyle>
          <a:p>
            <a:pPr lvl="0"/>
            <a:r>
              <a:rPr lang="nl-NL" dirty="0"/>
              <a:t>Klik om de modelstijlen te bewerken</a:t>
            </a:r>
          </a:p>
        </p:txBody>
      </p:sp>
      <p:sp>
        <p:nvSpPr>
          <p:cNvPr id="208" name="Tijdelijke aanduiding voor Afbeelding_08 (middenonder)"/>
          <p:cNvSpPr>
            <a:spLocks noGrp="1"/>
          </p:cNvSpPr>
          <p:nvPr>
            <p:ph type="pic" idx="45"/>
          </p:nvPr>
        </p:nvSpPr>
        <p:spPr>
          <a:xfrm>
            <a:off x="4068000" y="4572000"/>
            <a:ext cx="4068000" cy="2286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205" name="Tijdelijke aanduiding voor Blok_08 (middenonder)"/>
          <p:cNvSpPr>
            <a:spLocks noGrp="1"/>
          </p:cNvSpPr>
          <p:nvPr>
            <p:ph type="body" orient="vert" idx="37" hasCustomPrompt="1"/>
          </p:nvPr>
        </p:nvSpPr>
        <p:spPr>
          <a:xfrm>
            <a:off x="4068000" y="4572000"/>
            <a:ext cx="4069059" cy="2286000"/>
          </a:xfrm>
          <a:solidFill>
            <a:srgbClr val="ED1A3B"/>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200">
                <a:solidFill>
                  <a:schemeClr val="bg1"/>
                </a:solidFill>
              </a:defRPr>
            </a:lvl2pPr>
            <a:lvl3pPr algn="ctr">
              <a:lnSpc>
                <a:spcPct val="80000"/>
              </a:lnSpc>
              <a:spcBef>
                <a:spcPts val="600"/>
              </a:spcBef>
              <a:spcAft>
                <a:spcPts val="600"/>
              </a:spcAft>
              <a:defRPr sz="1100">
                <a:solidFill>
                  <a:schemeClr val="bg1"/>
                </a:solidFill>
              </a:defRPr>
            </a:lvl3pPr>
            <a:lvl4pPr algn="ctr">
              <a:lnSpc>
                <a:spcPct val="80000"/>
              </a:lnSpc>
              <a:spcBef>
                <a:spcPts val="600"/>
              </a:spcBef>
              <a:spcAft>
                <a:spcPts val="600"/>
              </a:spcAft>
              <a:defRPr sz="1600">
                <a:solidFill>
                  <a:schemeClr val="bg1"/>
                </a:solidFill>
              </a:defRPr>
            </a:lvl4pPr>
            <a:lvl5pPr algn="ctr">
              <a:lnSpc>
                <a:spcPct val="80000"/>
              </a:lnSpc>
              <a:spcBef>
                <a:spcPts val="600"/>
              </a:spcBef>
              <a:spcAft>
                <a:spcPts val="600"/>
              </a:spcAft>
              <a:defRPr sz="1400">
                <a:solidFill>
                  <a:schemeClr val="bg1"/>
                </a:solidFill>
              </a:defRPr>
            </a:lvl5pPr>
            <a:lvl6pPr algn="ctr">
              <a:lnSpc>
                <a:spcPct val="80000"/>
              </a:lnSpc>
              <a:spcBef>
                <a:spcPts val="600"/>
              </a:spcBef>
              <a:spcAft>
                <a:spcPts val="600"/>
              </a:spcAft>
              <a:defRPr sz="1400">
                <a:solidFill>
                  <a:schemeClr val="bg1"/>
                </a:solidFill>
              </a:defRPr>
            </a:lvl6pPr>
            <a:lvl7pPr algn="ctr">
              <a:lnSpc>
                <a:spcPct val="80000"/>
              </a:lnSpc>
              <a:spcBef>
                <a:spcPts val="600"/>
              </a:spcBef>
              <a:spcAft>
                <a:spcPts val="600"/>
              </a:spcAft>
              <a:defRPr sz="1400">
                <a:solidFill>
                  <a:schemeClr val="bg1"/>
                </a:solidFill>
              </a:defRPr>
            </a:lvl7pPr>
            <a:lvl8pPr algn="ctr">
              <a:lnSpc>
                <a:spcPct val="80000"/>
              </a:lnSpc>
              <a:spcBef>
                <a:spcPts val="600"/>
              </a:spcBef>
              <a:spcAft>
                <a:spcPts val="600"/>
              </a:spcAft>
              <a:defRPr sz="1400">
                <a:solidFill>
                  <a:schemeClr val="bg1"/>
                </a:solidFill>
              </a:defRPr>
            </a:lvl8pPr>
            <a:lvl9pPr algn="ctr">
              <a:lnSpc>
                <a:spcPct val="80000"/>
              </a:lnSpc>
              <a:spcBef>
                <a:spcPts val="600"/>
              </a:spcBef>
              <a:spcAft>
                <a:spcPts val="600"/>
              </a:spcAft>
              <a:defRPr sz="1200" cap="all" baseline="0">
                <a:solidFill>
                  <a:schemeClr val="bg1"/>
                </a:solidFill>
              </a:defRPr>
            </a:lvl9pPr>
          </a:lstStyle>
          <a:p>
            <a:pPr lvl="0"/>
            <a:r>
              <a:rPr lang="nl-NL" dirty="0"/>
              <a:t>Klik om de modelstijlen te bewerken</a:t>
            </a:r>
          </a:p>
        </p:txBody>
      </p:sp>
      <p:sp>
        <p:nvSpPr>
          <p:cNvPr id="210" name="Tijdelijke aanduiding voor Afbeelding_07 (linksonder)"/>
          <p:cNvSpPr>
            <a:spLocks noGrp="1"/>
          </p:cNvSpPr>
          <p:nvPr>
            <p:ph type="pic" idx="44"/>
          </p:nvPr>
        </p:nvSpPr>
        <p:spPr>
          <a:xfrm>
            <a:off x="0" y="4572000"/>
            <a:ext cx="4068000" cy="2286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206" name="Tijdelijke aanduiding voor Blok_07 (linksonder)"/>
          <p:cNvSpPr>
            <a:spLocks noGrp="1"/>
          </p:cNvSpPr>
          <p:nvPr>
            <p:ph type="body" orient="vert" idx="38" hasCustomPrompt="1"/>
          </p:nvPr>
        </p:nvSpPr>
        <p:spPr>
          <a:xfrm>
            <a:off x="0" y="4572000"/>
            <a:ext cx="4069059" cy="2286000"/>
          </a:xfrm>
          <a:solidFill>
            <a:srgbClr val="535353"/>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200">
                <a:solidFill>
                  <a:schemeClr val="bg1"/>
                </a:solidFill>
              </a:defRPr>
            </a:lvl2pPr>
            <a:lvl3pPr algn="ctr">
              <a:lnSpc>
                <a:spcPct val="80000"/>
              </a:lnSpc>
              <a:spcBef>
                <a:spcPts val="600"/>
              </a:spcBef>
              <a:spcAft>
                <a:spcPts val="600"/>
              </a:spcAft>
              <a:defRPr sz="1100">
                <a:solidFill>
                  <a:schemeClr val="bg1"/>
                </a:solidFill>
              </a:defRPr>
            </a:lvl3pPr>
            <a:lvl4pPr algn="ctr">
              <a:lnSpc>
                <a:spcPct val="80000"/>
              </a:lnSpc>
              <a:spcBef>
                <a:spcPts val="600"/>
              </a:spcBef>
              <a:spcAft>
                <a:spcPts val="600"/>
              </a:spcAft>
              <a:defRPr sz="1600">
                <a:solidFill>
                  <a:schemeClr val="bg1"/>
                </a:solidFill>
              </a:defRPr>
            </a:lvl4pPr>
            <a:lvl5pPr algn="ctr">
              <a:lnSpc>
                <a:spcPct val="80000"/>
              </a:lnSpc>
              <a:spcBef>
                <a:spcPts val="600"/>
              </a:spcBef>
              <a:spcAft>
                <a:spcPts val="600"/>
              </a:spcAft>
              <a:defRPr sz="1400">
                <a:solidFill>
                  <a:schemeClr val="bg1"/>
                </a:solidFill>
              </a:defRPr>
            </a:lvl5pPr>
            <a:lvl6pPr algn="ctr">
              <a:lnSpc>
                <a:spcPct val="80000"/>
              </a:lnSpc>
              <a:spcBef>
                <a:spcPts val="600"/>
              </a:spcBef>
              <a:spcAft>
                <a:spcPts val="600"/>
              </a:spcAft>
              <a:defRPr sz="1400">
                <a:solidFill>
                  <a:schemeClr val="bg1"/>
                </a:solidFill>
              </a:defRPr>
            </a:lvl6pPr>
            <a:lvl7pPr algn="ctr">
              <a:lnSpc>
                <a:spcPct val="80000"/>
              </a:lnSpc>
              <a:spcBef>
                <a:spcPts val="600"/>
              </a:spcBef>
              <a:spcAft>
                <a:spcPts val="600"/>
              </a:spcAft>
              <a:defRPr sz="1400">
                <a:solidFill>
                  <a:schemeClr val="bg1"/>
                </a:solidFill>
              </a:defRPr>
            </a:lvl7pPr>
            <a:lvl8pPr algn="ctr">
              <a:lnSpc>
                <a:spcPct val="80000"/>
              </a:lnSpc>
              <a:spcBef>
                <a:spcPts val="600"/>
              </a:spcBef>
              <a:spcAft>
                <a:spcPts val="600"/>
              </a:spcAft>
              <a:defRPr sz="1400">
                <a:solidFill>
                  <a:schemeClr val="bg1"/>
                </a:solidFill>
              </a:defRPr>
            </a:lvl8pPr>
            <a:lvl9pPr algn="ctr">
              <a:lnSpc>
                <a:spcPct val="80000"/>
              </a:lnSpc>
              <a:spcBef>
                <a:spcPts val="600"/>
              </a:spcBef>
              <a:spcAft>
                <a:spcPts val="600"/>
              </a:spcAft>
              <a:defRPr sz="1200" cap="all" baseline="0">
                <a:solidFill>
                  <a:schemeClr val="bg1"/>
                </a:solidFill>
              </a:defRPr>
            </a:lvl9pPr>
          </a:lstStyle>
          <a:p>
            <a:pPr lvl="0"/>
            <a:r>
              <a:rPr lang="nl-NL" dirty="0"/>
              <a:t>Klik om de modelstijlen te bewerken</a:t>
            </a:r>
          </a:p>
        </p:txBody>
      </p:sp>
      <p:sp>
        <p:nvSpPr>
          <p:cNvPr id="211" name="Tijdelijke aanduiding voor Afbeelding_06 (middenrechts)"/>
          <p:cNvSpPr>
            <a:spLocks noGrp="1"/>
          </p:cNvSpPr>
          <p:nvPr>
            <p:ph type="pic" idx="43"/>
          </p:nvPr>
        </p:nvSpPr>
        <p:spPr>
          <a:xfrm>
            <a:off x="8136000" y="2286000"/>
            <a:ext cx="4068000" cy="2286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36" name="Tijdelijke aanduiding voor Blok_06 (middenrechts)"/>
          <p:cNvSpPr>
            <a:spLocks noGrp="1"/>
          </p:cNvSpPr>
          <p:nvPr>
            <p:ph type="body" orient="vert" idx="35" hasCustomPrompt="1"/>
          </p:nvPr>
        </p:nvSpPr>
        <p:spPr>
          <a:xfrm>
            <a:off x="8136000" y="2286000"/>
            <a:ext cx="4069059" cy="2286000"/>
          </a:xfrm>
          <a:solidFill>
            <a:schemeClr val="accent5"/>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200">
                <a:solidFill>
                  <a:schemeClr val="bg1"/>
                </a:solidFill>
              </a:defRPr>
            </a:lvl2pPr>
            <a:lvl3pPr algn="ctr">
              <a:lnSpc>
                <a:spcPct val="80000"/>
              </a:lnSpc>
              <a:spcBef>
                <a:spcPts val="600"/>
              </a:spcBef>
              <a:spcAft>
                <a:spcPts val="600"/>
              </a:spcAft>
              <a:defRPr sz="1100">
                <a:solidFill>
                  <a:schemeClr val="bg1"/>
                </a:solidFill>
              </a:defRPr>
            </a:lvl3pPr>
            <a:lvl4pPr algn="ctr">
              <a:lnSpc>
                <a:spcPct val="80000"/>
              </a:lnSpc>
              <a:spcBef>
                <a:spcPts val="600"/>
              </a:spcBef>
              <a:spcAft>
                <a:spcPts val="600"/>
              </a:spcAft>
              <a:defRPr sz="1600">
                <a:solidFill>
                  <a:schemeClr val="bg1"/>
                </a:solidFill>
              </a:defRPr>
            </a:lvl4pPr>
            <a:lvl5pPr algn="ctr">
              <a:lnSpc>
                <a:spcPct val="80000"/>
              </a:lnSpc>
              <a:spcBef>
                <a:spcPts val="600"/>
              </a:spcBef>
              <a:spcAft>
                <a:spcPts val="600"/>
              </a:spcAft>
              <a:defRPr sz="1400">
                <a:solidFill>
                  <a:schemeClr val="bg1"/>
                </a:solidFill>
              </a:defRPr>
            </a:lvl5pPr>
            <a:lvl6pPr algn="ctr">
              <a:lnSpc>
                <a:spcPct val="80000"/>
              </a:lnSpc>
              <a:spcBef>
                <a:spcPts val="600"/>
              </a:spcBef>
              <a:spcAft>
                <a:spcPts val="600"/>
              </a:spcAft>
              <a:defRPr sz="1400">
                <a:solidFill>
                  <a:schemeClr val="bg1"/>
                </a:solidFill>
              </a:defRPr>
            </a:lvl6pPr>
            <a:lvl7pPr algn="ctr">
              <a:lnSpc>
                <a:spcPct val="80000"/>
              </a:lnSpc>
              <a:spcBef>
                <a:spcPts val="600"/>
              </a:spcBef>
              <a:spcAft>
                <a:spcPts val="600"/>
              </a:spcAft>
              <a:defRPr sz="1400">
                <a:solidFill>
                  <a:schemeClr val="bg1"/>
                </a:solidFill>
              </a:defRPr>
            </a:lvl7pPr>
            <a:lvl8pPr algn="ctr">
              <a:lnSpc>
                <a:spcPct val="80000"/>
              </a:lnSpc>
              <a:spcBef>
                <a:spcPts val="600"/>
              </a:spcBef>
              <a:spcAft>
                <a:spcPts val="600"/>
              </a:spcAft>
              <a:defRPr sz="1400">
                <a:solidFill>
                  <a:schemeClr val="bg1"/>
                </a:solidFill>
              </a:defRPr>
            </a:lvl8pPr>
            <a:lvl9pPr algn="ctr">
              <a:lnSpc>
                <a:spcPct val="80000"/>
              </a:lnSpc>
              <a:spcBef>
                <a:spcPts val="600"/>
              </a:spcBef>
              <a:spcAft>
                <a:spcPts val="600"/>
              </a:spcAft>
              <a:defRPr sz="1200" cap="all" baseline="0">
                <a:solidFill>
                  <a:schemeClr val="bg1"/>
                </a:solidFill>
              </a:defRPr>
            </a:lvl9pPr>
          </a:lstStyle>
          <a:p>
            <a:pPr lvl="0"/>
            <a:r>
              <a:rPr lang="nl-NL" dirty="0"/>
              <a:t>Klik om de modelstijlen te bewerken</a:t>
            </a:r>
          </a:p>
        </p:txBody>
      </p:sp>
      <p:sp>
        <p:nvSpPr>
          <p:cNvPr id="212" name="Tijdelijke aanduiding voor Afbeelding_05 (midden)"/>
          <p:cNvSpPr>
            <a:spLocks noGrp="1"/>
          </p:cNvSpPr>
          <p:nvPr>
            <p:ph type="pic" idx="42"/>
          </p:nvPr>
        </p:nvSpPr>
        <p:spPr>
          <a:xfrm>
            <a:off x="4068000" y="2286000"/>
            <a:ext cx="4068000" cy="2286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35" name="Tijdelijke aanduiding voor Blok_05 (midden)"/>
          <p:cNvSpPr>
            <a:spLocks noGrp="1"/>
          </p:cNvSpPr>
          <p:nvPr>
            <p:ph type="body" orient="vert" idx="34" hasCustomPrompt="1"/>
          </p:nvPr>
        </p:nvSpPr>
        <p:spPr>
          <a:xfrm>
            <a:off x="4068000" y="2286000"/>
            <a:ext cx="4069059" cy="2286000"/>
          </a:xfrm>
          <a:solidFill>
            <a:schemeClr val="accent3"/>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200">
                <a:solidFill>
                  <a:schemeClr val="bg1"/>
                </a:solidFill>
              </a:defRPr>
            </a:lvl2pPr>
            <a:lvl3pPr algn="ctr">
              <a:lnSpc>
                <a:spcPct val="80000"/>
              </a:lnSpc>
              <a:spcBef>
                <a:spcPts val="600"/>
              </a:spcBef>
              <a:spcAft>
                <a:spcPts val="600"/>
              </a:spcAft>
              <a:defRPr sz="1100">
                <a:solidFill>
                  <a:schemeClr val="bg1"/>
                </a:solidFill>
              </a:defRPr>
            </a:lvl3pPr>
            <a:lvl4pPr algn="ctr">
              <a:lnSpc>
                <a:spcPct val="80000"/>
              </a:lnSpc>
              <a:spcBef>
                <a:spcPts val="600"/>
              </a:spcBef>
              <a:spcAft>
                <a:spcPts val="600"/>
              </a:spcAft>
              <a:defRPr sz="1600">
                <a:solidFill>
                  <a:schemeClr val="bg1"/>
                </a:solidFill>
              </a:defRPr>
            </a:lvl4pPr>
            <a:lvl5pPr algn="ctr">
              <a:lnSpc>
                <a:spcPct val="80000"/>
              </a:lnSpc>
              <a:spcBef>
                <a:spcPts val="600"/>
              </a:spcBef>
              <a:spcAft>
                <a:spcPts val="600"/>
              </a:spcAft>
              <a:defRPr sz="1400">
                <a:solidFill>
                  <a:schemeClr val="bg1"/>
                </a:solidFill>
              </a:defRPr>
            </a:lvl5pPr>
            <a:lvl6pPr algn="ctr">
              <a:lnSpc>
                <a:spcPct val="80000"/>
              </a:lnSpc>
              <a:spcBef>
                <a:spcPts val="600"/>
              </a:spcBef>
              <a:spcAft>
                <a:spcPts val="600"/>
              </a:spcAft>
              <a:defRPr sz="1400">
                <a:solidFill>
                  <a:schemeClr val="bg1"/>
                </a:solidFill>
              </a:defRPr>
            </a:lvl6pPr>
            <a:lvl7pPr algn="ctr">
              <a:lnSpc>
                <a:spcPct val="80000"/>
              </a:lnSpc>
              <a:spcBef>
                <a:spcPts val="600"/>
              </a:spcBef>
              <a:spcAft>
                <a:spcPts val="600"/>
              </a:spcAft>
              <a:defRPr sz="1400">
                <a:solidFill>
                  <a:schemeClr val="bg1"/>
                </a:solidFill>
              </a:defRPr>
            </a:lvl7pPr>
            <a:lvl8pPr algn="ctr">
              <a:lnSpc>
                <a:spcPct val="80000"/>
              </a:lnSpc>
              <a:spcBef>
                <a:spcPts val="600"/>
              </a:spcBef>
              <a:spcAft>
                <a:spcPts val="600"/>
              </a:spcAft>
              <a:defRPr sz="1400">
                <a:solidFill>
                  <a:schemeClr val="bg1"/>
                </a:solidFill>
              </a:defRPr>
            </a:lvl8pPr>
            <a:lvl9pPr algn="ctr">
              <a:lnSpc>
                <a:spcPct val="80000"/>
              </a:lnSpc>
              <a:spcBef>
                <a:spcPts val="600"/>
              </a:spcBef>
              <a:spcAft>
                <a:spcPts val="600"/>
              </a:spcAft>
              <a:defRPr sz="1200" cap="all" baseline="0">
                <a:solidFill>
                  <a:schemeClr val="bg1"/>
                </a:solidFill>
              </a:defRPr>
            </a:lvl9pPr>
          </a:lstStyle>
          <a:p>
            <a:pPr lvl="0"/>
            <a:r>
              <a:rPr lang="nl-NL" dirty="0"/>
              <a:t>Klik om de modelstijlen te bewerken</a:t>
            </a:r>
          </a:p>
        </p:txBody>
      </p:sp>
      <p:sp>
        <p:nvSpPr>
          <p:cNvPr id="213" name="Tijdelijke aanduiding voor Afbeelding_04 (middenlinks)"/>
          <p:cNvSpPr>
            <a:spLocks noGrp="1"/>
          </p:cNvSpPr>
          <p:nvPr>
            <p:ph type="pic" idx="41"/>
          </p:nvPr>
        </p:nvSpPr>
        <p:spPr>
          <a:xfrm>
            <a:off x="0" y="2286000"/>
            <a:ext cx="4068000" cy="2286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34" name="Tijdelijke aanduiding voor Blok_04 (middenlinks)"/>
          <p:cNvSpPr>
            <a:spLocks noGrp="1"/>
          </p:cNvSpPr>
          <p:nvPr>
            <p:ph type="body" orient="vert" idx="33" hasCustomPrompt="1"/>
          </p:nvPr>
        </p:nvSpPr>
        <p:spPr>
          <a:xfrm>
            <a:off x="0" y="2286000"/>
            <a:ext cx="4069059" cy="2286000"/>
          </a:xfrm>
          <a:solidFill>
            <a:schemeClr val="accent2"/>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200">
                <a:solidFill>
                  <a:schemeClr val="bg1"/>
                </a:solidFill>
              </a:defRPr>
            </a:lvl2pPr>
            <a:lvl3pPr algn="ctr">
              <a:lnSpc>
                <a:spcPct val="80000"/>
              </a:lnSpc>
              <a:spcBef>
                <a:spcPts val="600"/>
              </a:spcBef>
              <a:spcAft>
                <a:spcPts val="600"/>
              </a:spcAft>
              <a:defRPr sz="1100">
                <a:solidFill>
                  <a:schemeClr val="bg1"/>
                </a:solidFill>
              </a:defRPr>
            </a:lvl3pPr>
            <a:lvl4pPr algn="ctr">
              <a:lnSpc>
                <a:spcPct val="80000"/>
              </a:lnSpc>
              <a:spcBef>
                <a:spcPts val="600"/>
              </a:spcBef>
              <a:spcAft>
                <a:spcPts val="600"/>
              </a:spcAft>
              <a:defRPr sz="1600">
                <a:solidFill>
                  <a:schemeClr val="bg1"/>
                </a:solidFill>
              </a:defRPr>
            </a:lvl4pPr>
            <a:lvl5pPr algn="ctr">
              <a:lnSpc>
                <a:spcPct val="80000"/>
              </a:lnSpc>
              <a:spcBef>
                <a:spcPts val="600"/>
              </a:spcBef>
              <a:spcAft>
                <a:spcPts val="600"/>
              </a:spcAft>
              <a:defRPr sz="1400">
                <a:solidFill>
                  <a:schemeClr val="bg1"/>
                </a:solidFill>
              </a:defRPr>
            </a:lvl5pPr>
            <a:lvl6pPr algn="ctr">
              <a:lnSpc>
                <a:spcPct val="80000"/>
              </a:lnSpc>
              <a:spcBef>
                <a:spcPts val="600"/>
              </a:spcBef>
              <a:spcAft>
                <a:spcPts val="600"/>
              </a:spcAft>
              <a:defRPr sz="1400">
                <a:solidFill>
                  <a:schemeClr val="bg1"/>
                </a:solidFill>
              </a:defRPr>
            </a:lvl6pPr>
            <a:lvl7pPr algn="ctr">
              <a:lnSpc>
                <a:spcPct val="80000"/>
              </a:lnSpc>
              <a:spcBef>
                <a:spcPts val="600"/>
              </a:spcBef>
              <a:spcAft>
                <a:spcPts val="600"/>
              </a:spcAft>
              <a:defRPr sz="1400">
                <a:solidFill>
                  <a:schemeClr val="bg1"/>
                </a:solidFill>
              </a:defRPr>
            </a:lvl7pPr>
            <a:lvl8pPr algn="ctr">
              <a:lnSpc>
                <a:spcPct val="80000"/>
              </a:lnSpc>
              <a:spcBef>
                <a:spcPts val="600"/>
              </a:spcBef>
              <a:spcAft>
                <a:spcPts val="600"/>
              </a:spcAft>
              <a:defRPr sz="1400">
                <a:solidFill>
                  <a:schemeClr val="bg1"/>
                </a:solidFill>
              </a:defRPr>
            </a:lvl8pPr>
            <a:lvl9pPr algn="ctr">
              <a:lnSpc>
                <a:spcPct val="80000"/>
              </a:lnSpc>
              <a:spcBef>
                <a:spcPts val="600"/>
              </a:spcBef>
              <a:spcAft>
                <a:spcPts val="600"/>
              </a:spcAft>
              <a:defRPr sz="1200" cap="all" baseline="0">
                <a:solidFill>
                  <a:schemeClr val="bg1"/>
                </a:solidFill>
              </a:defRPr>
            </a:lvl9pPr>
          </a:lstStyle>
          <a:p>
            <a:pPr lvl="0"/>
            <a:r>
              <a:rPr lang="nl-NL" dirty="0"/>
              <a:t>Klik om de modelstijlen te bewerken</a:t>
            </a:r>
          </a:p>
        </p:txBody>
      </p:sp>
      <p:sp>
        <p:nvSpPr>
          <p:cNvPr id="214" name="Tijdelijke aanduiding voor Afbeelding_03 (rechtsboven)"/>
          <p:cNvSpPr>
            <a:spLocks noGrp="1"/>
          </p:cNvSpPr>
          <p:nvPr>
            <p:ph type="pic" idx="40"/>
          </p:nvPr>
        </p:nvSpPr>
        <p:spPr>
          <a:xfrm>
            <a:off x="8136000" y="0"/>
            <a:ext cx="4068000" cy="2286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p>
        </p:txBody>
      </p:sp>
      <p:sp>
        <p:nvSpPr>
          <p:cNvPr id="16" name="Tijdelijke aanduiding voor Blok_03 (rechtsboven)"/>
          <p:cNvSpPr>
            <a:spLocks noGrp="1"/>
          </p:cNvSpPr>
          <p:nvPr>
            <p:ph type="body" orient="vert" idx="20" hasCustomPrompt="1"/>
          </p:nvPr>
        </p:nvSpPr>
        <p:spPr>
          <a:xfrm>
            <a:off x="8136000" y="0"/>
            <a:ext cx="4069059" cy="2286000"/>
          </a:xfrm>
          <a:solidFill>
            <a:schemeClr val="accent6">
              <a:lumMod val="75000"/>
            </a:schemeClr>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200">
                <a:solidFill>
                  <a:schemeClr val="bg1"/>
                </a:solidFill>
              </a:defRPr>
            </a:lvl2pPr>
            <a:lvl3pPr algn="ctr">
              <a:lnSpc>
                <a:spcPct val="80000"/>
              </a:lnSpc>
              <a:spcBef>
                <a:spcPts val="600"/>
              </a:spcBef>
              <a:spcAft>
                <a:spcPts val="600"/>
              </a:spcAft>
              <a:defRPr sz="1100">
                <a:solidFill>
                  <a:schemeClr val="bg1"/>
                </a:solidFill>
              </a:defRPr>
            </a:lvl3pPr>
            <a:lvl4pPr algn="ctr">
              <a:lnSpc>
                <a:spcPct val="80000"/>
              </a:lnSpc>
              <a:spcBef>
                <a:spcPts val="600"/>
              </a:spcBef>
              <a:spcAft>
                <a:spcPts val="600"/>
              </a:spcAft>
              <a:defRPr sz="1600">
                <a:solidFill>
                  <a:schemeClr val="bg1"/>
                </a:solidFill>
              </a:defRPr>
            </a:lvl4pPr>
            <a:lvl5pPr algn="ctr">
              <a:lnSpc>
                <a:spcPct val="80000"/>
              </a:lnSpc>
              <a:spcBef>
                <a:spcPts val="600"/>
              </a:spcBef>
              <a:spcAft>
                <a:spcPts val="600"/>
              </a:spcAft>
              <a:defRPr sz="1400">
                <a:solidFill>
                  <a:schemeClr val="bg1"/>
                </a:solidFill>
              </a:defRPr>
            </a:lvl5pPr>
            <a:lvl6pPr algn="ctr">
              <a:lnSpc>
                <a:spcPct val="80000"/>
              </a:lnSpc>
              <a:spcBef>
                <a:spcPts val="600"/>
              </a:spcBef>
              <a:spcAft>
                <a:spcPts val="600"/>
              </a:spcAft>
              <a:defRPr sz="1400">
                <a:solidFill>
                  <a:schemeClr val="bg1"/>
                </a:solidFill>
              </a:defRPr>
            </a:lvl6pPr>
            <a:lvl7pPr algn="ctr">
              <a:lnSpc>
                <a:spcPct val="80000"/>
              </a:lnSpc>
              <a:spcBef>
                <a:spcPts val="600"/>
              </a:spcBef>
              <a:spcAft>
                <a:spcPts val="600"/>
              </a:spcAft>
              <a:defRPr sz="1400">
                <a:solidFill>
                  <a:schemeClr val="bg1"/>
                </a:solidFill>
              </a:defRPr>
            </a:lvl7pPr>
            <a:lvl8pPr algn="ctr">
              <a:lnSpc>
                <a:spcPct val="80000"/>
              </a:lnSpc>
              <a:spcBef>
                <a:spcPts val="600"/>
              </a:spcBef>
              <a:spcAft>
                <a:spcPts val="600"/>
              </a:spcAft>
              <a:defRPr sz="1400">
                <a:solidFill>
                  <a:schemeClr val="bg1"/>
                </a:solidFill>
              </a:defRPr>
            </a:lvl8pPr>
            <a:lvl9pPr algn="ctr">
              <a:lnSpc>
                <a:spcPct val="80000"/>
              </a:lnSpc>
              <a:spcBef>
                <a:spcPts val="600"/>
              </a:spcBef>
              <a:spcAft>
                <a:spcPts val="600"/>
              </a:spcAft>
              <a:defRPr sz="1200" cap="all" baseline="0">
                <a:solidFill>
                  <a:schemeClr val="bg1"/>
                </a:solidFill>
              </a:defRPr>
            </a:lvl9pPr>
          </a:lstStyle>
          <a:p>
            <a:pPr lvl="0"/>
            <a:r>
              <a:rPr lang="nl-NL" dirty="0"/>
              <a:t>Klik om de modelstijlen te bewerken</a:t>
            </a:r>
          </a:p>
        </p:txBody>
      </p:sp>
      <p:sp>
        <p:nvSpPr>
          <p:cNvPr id="215" name="Tijdelijke aanduiding voor Afbeelding_02 (middenboven)"/>
          <p:cNvSpPr>
            <a:spLocks noGrp="1"/>
          </p:cNvSpPr>
          <p:nvPr>
            <p:ph type="pic" idx="39"/>
          </p:nvPr>
        </p:nvSpPr>
        <p:spPr>
          <a:xfrm>
            <a:off x="4068000" y="0"/>
            <a:ext cx="4068000" cy="2286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p>
        </p:txBody>
      </p:sp>
      <p:sp>
        <p:nvSpPr>
          <p:cNvPr id="15" name="Tijdelijke aanduiding voor Blok_02 (middenboven)"/>
          <p:cNvSpPr>
            <a:spLocks noGrp="1"/>
          </p:cNvSpPr>
          <p:nvPr>
            <p:ph type="body" orient="vert" idx="19" hasCustomPrompt="1"/>
          </p:nvPr>
        </p:nvSpPr>
        <p:spPr>
          <a:xfrm>
            <a:off x="4067999" y="0"/>
            <a:ext cx="4068000" cy="2286000"/>
          </a:xfrm>
          <a:solidFill>
            <a:schemeClr val="accent4"/>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200">
                <a:solidFill>
                  <a:schemeClr val="bg1"/>
                </a:solidFill>
              </a:defRPr>
            </a:lvl2pPr>
            <a:lvl3pPr algn="ctr">
              <a:lnSpc>
                <a:spcPct val="80000"/>
              </a:lnSpc>
              <a:spcBef>
                <a:spcPts val="600"/>
              </a:spcBef>
              <a:spcAft>
                <a:spcPts val="600"/>
              </a:spcAft>
              <a:defRPr sz="1100">
                <a:solidFill>
                  <a:schemeClr val="bg1"/>
                </a:solidFill>
              </a:defRPr>
            </a:lvl3pPr>
            <a:lvl4pPr algn="ctr">
              <a:lnSpc>
                <a:spcPct val="80000"/>
              </a:lnSpc>
              <a:spcBef>
                <a:spcPts val="600"/>
              </a:spcBef>
              <a:spcAft>
                <a:spcPts val="600"/>
              </a:spcAft>
              <a:defRPr sz="1600">
                <a:solidFill>
                  <a:schemeClr val="bg1"/>
                </a:solidFill>
              </a:defRPr>
            </a:lvl4pPr>
            <a:lvl5pPr algn="ctr">
              <a:lnSpc>
                <a:spcPct val="80000"/>
              </a:lnSpc>
              <a:spcBef>
                <a:spcPts val="600"/>
              </a:spcBef>
              <a:spcAft>
                <a:spcPts val="600"/>
              </a:spcAft>
              <a:defRPr sz="1400">
                <a:solidFill>
                  <a:schemeClr val="bg1"/>
                </a:solidFill>
              </a:defRPr>
            </a:lvl5pPr>
            <a:lvl6pPr algn="ctr">
              <a:lnSpc>
                <a:spcPct val="80000"/>
              </a:lnSpc>
              <a:spcBef>
                <a:spcPts val="600"/>
              </a:spcBef>
              <a:spcAft>
                <a:spcPts val="600"/>
              </a:spcAft>
              <a:defRPr sz="1400">
                <a:solidFill>
                  <a:schemeClr val="bg1"/>
                </a:solidFill>
              </a:defRPr>
            </a:lvl6pPr>
            <a:lvl7pPr algn="ctr">
              <a:lnSpc>
                <a:spcPct val="80000"/>
              </a:lnSpc>
              <a:spcBef>
                <a:spcPts val="600"/>
              </a:spcBef>
              <a:spcAft>
                <a:spcPts val="600"/>
              </a:spcAft>
              <a:defRPr sz="1400">
                <a:solidFill>
                  <a:schemeClr val="bg1"/>
                </a:solidFill>
              </a:defRPr>
            </a:lvl7pPr>
            <a:lvl8pPr algn="ctr">
              <a:lnSpc>
                <a:spcPct val="80000"/>
              </a:lnSpc>
              <a:spcBef>
                <a:spcPts val="600"/>
              </a:spcBef>
              <a:spcAft>
                <a:spcPts val="600"/>
              </a:spcAft>
              <a:defRPr sz="1400">
                <a:solidFill>
                  <a:schemeClr val="bg1"/>
                </a:solidFill>
              </a:defRPr>
            </a:lvl8pPr>
            <a:lvl9pPr algn="ctr">
              <a:lnSpc>
                <a:spcPct val="80000"/>
              </a:lnSpc>
              <a:spcBef>
                <a:spcPts val="600"/>
              </a:spcBef>
              <a:spcAft>
                <a:spcPts val="600"/>
              </a:spcAft>
              <a:defRPr sz="1200" cap="all" baseline="0">
                <a:solidFill>
                  <a:schemeClr val="bg1"/>
                </a:solidFill>
              </a:defRPr>
            </a:lvl9pPr>
          </a:lstStyle>
          <a:p>
            <a:pPr lvl="0"/>
            <a:r>
              <a:rPr lang="nl-NL" dirty="0"/>
              <a:t>Klik om de modelstijlen te bewerken</a:t>
            </a:r>
          </a:p>
        </p:txBody>
      </p:sp>
      <p:sp>
        <p:nvSpPr>
          <p:cNvPr id="216" name="Tijdelijke aanduiding voor Afbeelding_01 (linksboven)"/>
          <p:cNvSpPr>
            <a:spLocks noGrp="1"/>
          </p:cNvSpPr>
          <p:nvPr>
            <p:ph type="pic" idx="13"/>
          </p:nvPr>
        </p:nvSpPr>
        <p:spPr>
          <a:xfrm>
            <a:off x="0" y="0"/>
            <a:ext cx="4068000" cy="2286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p>
        </p:txBody>
      </p:sp>
      <p:sp>
        <p:nvSpPr>
          <p:cNvPr id="14" name="Tijdelijke aanduiding voor Blok_01 (linksboven)"/>
          <p:cNvSpPr>
            <a:spLocks noGrp="1"/>
          </p:cNvSpPr>
          <p:nvPr>
            <p:ph type="body" orient="vert" idx="1" hasCustomPrompt="1"/>
          </p:nvPr>
        </p:nvSpPr>
        <p:spPr>
          <a:xfrm>
            <a:off x="0" y="0"/>
            <a:ext cx="4068000" cy="2286000"/>
          </a:xfrm>
          <a:solidFill>
            <a:schemeClr val="accent1"/>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200">
                <a:solidFill>
                  <a:schemeClr val="bg1"/>
                </a:solidFill>
              </a:defRPr>
            </a:lvl2pPr>
            <a:lvl3pPr algn="ctr">
              <a:lnSpc>
                <a:spcPct val="80000"/>
              </a:lnSpc>
              <a:spcBef>
                <a:spcPts val="600"/>
              </a:spcBef>
              <a:spcAft>
                <a:spcPts val="600"/>
              </a:spcAft>
              <a:defRPr sz="1100">
                <a:solidFill>
                  <a:schemeClr val="bg1"/>
                </a:solidFill>
              </a:defRPr>
            </a:lvl3pPr>
            <a:lvl4pPr algn="ctr">
              <a:lnSpc>
                <a:spcPct val="80000"/>
              </a:lnSpc>
              <a:spcBef>
                <a:spcPts val="600"/>
              </a:spcBef>
              <a:spcAft>
                <a:spcPts val="600"/>
              </a:spcAft>
              <a:defRPr sz="1600">
                <a:solidFill>
                  <a:schemeClr val="bg1"/>
                </a:solidFill>
              </a:defRPr>
            </a:lvl4pPr>
            <a:lvl5pPr algn="ctr">
              <a:lnSpc>
                <a:spcPct val="80000"/>
              </a:lnSpc>
              <a:spcBef>
                <a:spcPts val="600"/>
              </a:spcBef>
              <a:spcAft>
                <a:spcPts val="600"/>
              </a:spcAft>
              <a:defRPr sz="1400">
                <a:solidFill>
                  <a:schemeClr val="bg1"/>
                </a:solidFill>
              </a:defRPr>
            </a:lvl5pPr>
            <a:lvl6pPr algn="ctr">
              <a:lnSpc>
                <a:spcPct val="80000"/>
              </a:lnSpc>
              <a:spcBef>
                <a:spcPts val="600"/>
              </a:spcBef>
              <a:spcAft>
                <a:spcPts val="600"/>
              </a:spcAft>
              <a:defRPr sz="1400">
                <a:solidFill>
                  <a:schemeClr val="bg1"/>
                </a:solidFill>
              </a:defRPr>
            </a:lvl6pPr>
            <a:lvl7pPr algn="ctr">
              <a:lnSpc>
                <a:spcPct val="80000"/>
              </a:lnSpc>
              <a:spcBef>
                <a:spcPts val="600"/>
              </a:spcBef>
              <a:spcAft>
                <a:spcPts val="600"/>
              </a:spcAft>
              <a:defRPr sz="1400">
                <a:solidFill>
                  <a:schemeClr val="bg1"/>
                </a:solidFill>
              </a:defRPr>
            </a:lvl7pPr>
            <a:lvl8pPr algn="ctr">
              <a:lnSpc>
                <a:spcPct val="80000"/>
              </a:lnSpc>
              <a:spcBef>
                <a:spcPts val="600"/>
              </a:spcBef>
              <a:spcAft>
                <a:spcPts val="600"/>
              </a:spcAft>
              <a:defRPr sz="1400">
                <a:solidFill>
                  <a:schemeClr val="bg1"/>
                </a:solidFill>
              </a:defRPr>
            </a:lvl8pPr>
            <a:lvl9pPr algn="ctr">
              <a:lnSpc>
                <a:spcPct val="80000"/>
              </a:lnSpc>
              <a:spcBef>
                <a:spcPts val="600"/>
              </a:spcBef>
              <a:spcAft>
                <a:spcPts val="600"/>
              </a:spcAft>
              <a:defRPr sz="1200" cap="all" baseline="0">
                <a:solidFill>
                  <a:schemeClr val="bg1"/>
                </a:solidFill>
              </a:defRPr>
            </a:lvl9pPr>
          </a:lstStyle>
          <a:p>
            <a:pPr lvl="0"/>
            <a:r>
              <a:rPr lang="nl-NL" dirty="0"/>
              <a:t>Klik om de modelstijlen te bewerken</a:t>
            </a:r>
          </a:p>
        </p:txBody>
      </p:sp>
    </p:spTree>
    <p:extLst>
      <p:ext uri="{BB962C8B-B14F-4D97-AF65-F5344CB8AC3E}">
        <p14:creationId xmlns:p14="http://schemas.microsoft.com/office/powerpoint/2010/main" val="4032835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50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1000" fill="hold"/>
                                        <p:tgtEl>
                                          <p:spTgt spid="14"/>
                                        </p:tgtEl>
                                        <p:attrNameLst>
                                          <p:attrName>ppt_x</p:attrName>
                                        </p:attrNameLst>
                                      </p:cBhvr>
                                      <p:tavLst>
                                        <p:tav tm="0">
                                          <p:val>
                                            <p:strVal val="#ppt_x"/>
                                          </p:val>
                                        </p:tav>
                                        <p:tav tm="100000">
                                          <p:val>
                                            <p:strVal val="#ppt_x"/>
                                          </p:val>
                                        </p:tav>
                                      </p:tavLst>
                                    </p:anim>
                                    <p:anim calcmode="lin" valueType="num">
                                      <p:cBhvr additive="base">
                                        <p:cTn id="8" dur="1000" fill="hold"/>
                                        <p:tgtEl>
                                          <p:spTgt spid="14"/>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500"/>
                                  </p:stCondLst>
                                  <p:childTnLst>
                                    <p:set>
                                      <p:cBhvr>
                                        <p:cTn id="10" dur="1" fill="hold">
                                          <p:stCondLst>
                                            <p:cond delay="0"/>
                                          </p:stCondLst>
                                        </p:cTn>
                                        <p:tgtEl>
                                          <p:spTgt spid="216"/>
                                        </p:tgtEl>
                                        <p:attrNameLst>
                                          <p:attrName>style.visibility</p:attrName>
                                        </p:attrNameLst>
                                      </p:cBhvr>
                                      <p:to>
                                        <p:strVal val="visible"/>
                                      </p:to>
                                    </p:set>
                                    <p:anim calcmode="lin" valueType="num">
                                      <p:cBhvr additive="base">
                                        <p:cTn id="11" dur="1000" fill="hold"/>
                                        <p:tgtEl>
                                          <p:spTgt spid="216"/>
                                        </p:tgtEl>
                                        <p:attrNameLst>
                                          <p:attrName>ppt_x</p:attrName>
                                        </p:attrNameLst>
                                      </p:cBhvr>
                                      <p:tavLst>
                                        <p:tav tm="0">
                                          <p:val>
                                            <p:strVal val="#ppt_x"/>
                                          </p:val>
                                        </p:tav>
                                        <p:tav tm="100000">
                                          <p:val>
                                            <p:strVal val="#ppt_x"/>
                                          </p:val>
                                        </p:tav>
                                      </p:tavLst>
                                    </p:anim>
                                    <p:anim calcmode="lin" valueType="num">
                                      <p:cBhvr additive="base">
                                        <p:cTn id="12" dur="1000" fill="hold"/>
                                        <p:tgtEl>
                                          <p:spTgt spid="216"/>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75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1000" fill="hold"/>
                                        <p:tgtEl>
                                          <p:spTgt spid="15"/>
                                        </p:tgtEl>
                                        <p:attrNameLst>
                                          <p:attrName>ppt_x</p:attrName>
                                        </p:attrNameLst>
                                      </p:cBhvr>
                                      <p:tavLst>
                                        <p:tav tm="0">
                                          <p:val>
                                            <p:strVal val="#ppt_x"/>
                                          </p:val>
                                        </p:tav>
                                        <p:tav tm="100000">
                                          <p:val>
                                            <p:strVal val="#ppt_x"/>
                                          </p:val>
                                        </p:tav>
                                      </p:tavLst>
                                    </p:anim>
                                    <p:anim calcmode="lin" valueType="num">
                                      <p:cBhvr additive="base">
                                        <p:cTn id="16" dur="1000" fill="hold"/>
                                        <p:tgtEl>
                                          <p:spTgt spid="15"/>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750"/>
                                  </p:stCondLst>
                                  <p:childTnLst>
                                    <p:set>
                                      <p:cBhvr>
                                        <p:cTn id="18" dur="1" fill="hold">
                                          <p:stCondLst>
                                            <p:cond delay="0"/>
                                          </p:stCondLst>
                                        </p:cTn>
                                        <p:tgtEl>
                                          <p:spTgt spid="215"/>
                                        </p:tgtEl>
                                        <p:attrNameLst>
                                          <p:attrName>style.visibility</p:attrName>
                                        </p:attrNameLst>
                                      </p:cBhvr>
                                      <p:to>
                                        <p:strVal val="visible"/>
                                      </p:to>
                                    </p:set>
                                    <p:anim calcmode="lin" valueType="num">
                                      <p:cBhvr additive="base">
                                        <p:cTn id="19" dur="1000" fill="hold"/>
                                        <p:tgtEl>
                                          <p:spTgt spid="215"/>
                                        </p:tgtEl>
                                        <p:attrNameLst>
                                          <p:attrName>ppt_x</p:attrName>
                                        </p:attrNameLst>
                                      </p:cBhvr>
                                      <p:tavLst>
                                        <p:tav tm="0">
                                          <p:val>
                                            <p:strVal val="#ppt_x"/>
                                          </p:val>
                                        </p:tav>
                                        <p:tav tm="100000">
                                          <p:val>
                                            <p:strVal val="#ppt_x"/>
                                          </p:val>
                                        </p:tav>
                                      </p:tavLst>
                                    </p:anim>
                                    <p:anim calcmode="lin" valueType="num">
                                      <p:cBhvr additive="base">
                                        <p:cTn id="20" dur="1000" fill="hold"/>
                                        <p:tgtEl>
                                          <p:spTgt spid="215"/>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1000"/>
                                  </p:stCondLst>
                                  <p:childTnLst>
                                    <p:set>
                                      <p:cBhvr>
                                        <p:cTn id="22" dur="1" fill="hold">
                                          <p:stCondLst>
                                            <p:cond delay="0"/>
                                          </p:stCondLst>
                                        </p:cTn>
                                        <p:tgtEl>
                                          <p:spTgt spid="16"/>
                                        </p:tgtEl>
                                        <p:attrNameLst>
                                          <p:attrName>style.visibility</p:attrName>
                                        </p:attrNameLst>
                                      </p:cBhvr>
                                      <p:to>
                                        <p:strVal val="visible"/>
                                      </p:to>
                                    </p:set>
                                    <p:anim calcmode="lin" valueType="num">
                                      <p:cBhvr additive="base">
                                        <p:cTn id="23" dur="1000" fill="hold"/>
                                        <p:tgtEl>
                                          <p:spTgt spid="16"/>
                                        </p:tgtEl>
                                        <p:attrNameLst>
                                          <p:attrName>ppt_x</p:attrName>
                                        </p:attrNameLst>
                                      </p:cBhvr>
                                      <p:tavLst>
                                        <p:tav tm="0">
                                          <p:val>
                                            <p:strVal val="#ppt_x"/>
                                          </p:val>
                                        </p:tav>
                                        <p:tav tm="100000">
                                          <p:val>
                                            <p:strVal val="#ppt_x"/>
                                          </p:val>
                                        </p:tav>
                                      </p:tavLst>
                                    </p:anim>
                                    <p:anim calcmode="lin" valueType="num">
                                      <p:cBhvr additive="base">
                                        <p:cTn id="24" dur="1000" fill="hold"/>
                                        <p:tgtEl>
                                          <p:spTgt spid="16"/>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1000"/>
                                  </p:stCondLst>
                                  <p:childTnLst>
                                    <p:set>
                                      <p:cBhvr>
                                        <p:cTn id="26" dur="1" fill="hold">
                                          <p:stCondLst>
                                            <p:cond delay="0"/>
                                          </p:stCondLst>
                                        </p:cTn>
                                        <p:tgtEl>
                                          <p:spTgt spid="214"/>
                                        </p:tgtEl>
                                        <p:attrNameLst>
                                          <p:attrName>style.visibility</p:attrName>
                                        </p:attrNameLst>
                                      </p:cBhvr>
                                      <p:to>
                                        <p:strVal val="visible"/>
                                      </p:to>
                                    </p:set>
                                    <p:anim calcmode="lin" valueType="num">
                                      <p:cBhvr additive="base">
                                        <p:cTn id="27" dur="1000" fill="hold"/>
                                        <p:tgtEl>
                                          <p:spTgt spid="214"/>
                                        </p:tgtEl>
                                        <p:attrNameLst>
                                          <p:attrName>ppt_x</p:attrName>
                                        </p:attrNameLst>
                                      </p:cBhvr>
                                      <p:tavLst>
                                        <p:tav tm="0">
                                          <p:val>
                                            <p:strVal val="#ppt_x"/>
                                          </p:val>
                                        </p:tav>
                                        <p:tav tm="100000">
                                          <p:val>
                                            <p:strVal val="#ppt_x"/>
                                          </p:val>
                                        </p:tav>
                                      </p:tavLst>
                                    </p:anim>
                                    <p:anim calcmode="lin" valueType="num">
                                      <p:cBhvr additive="base">
                                        <p:cTn id="28" dur="1000" fill="hold"/>
                                        <p:tgtEl>
                                          <p:spTgt spid="214"/>
                                        </p:tgtEl>
                                        <p:attrNameLst>
                                          <p:attrName>ppt_y</p:attrName>
                                        </p:attrNameLst>
                                      </p:cBhvr>
                                      <p:tavLst>
                                        <p:tav tm="0">
                                          <p:val>
                                            <p:strVal val="1+#ppt_h/2"/>
                                          </p:val>
                                        </p:tav>
                                        <p:tav tm="100000">
                                          <p:val>
                                            <p:strVal val="#ppt_y"/>
                                          </p:val>
                                        </p:tav>
                                      </p:tavLst>
                                    </p:anim>
                                  </p:childTnLst>
                                </p:cTn>
                              </p:par>
                              <p:par>
                                <p:cTn id="29" presetID="2" presetClass="entr" presetSubtype="4" decel="100000" fill="hold" grpId="0" nodeType="withEffect">
                                  <p:stCondLst>
                                    <p:cond delay="500"/>
                                  </p:stCondLst>
                                  <p:childTnLst>
                                    <p:set>
                                      <p:cBhvr>
                                        <p:cTn id="30" dur="1" fill="hold">
                                          <p:stCondLst>
                                            <p:cond delay="0"/>
                                          </p:stCondLst>
                                        </p:cTn>
                                        <p:tgtEl>
                                          <p:spTgt spid="34"/>
                                        </p:tgtEl>
                                        <p:attrNameLst>
                                          <p:attrName>style.visibility</p:attrName>
                                        </p:attrNameLst>
                                      </p:cBhvr>
                                      <p:to>
                                        <p:strVal val="visible"/>
                                      </p:to>
                                    </p:set>
                                    <p:anim calcmode="lin" valueType="num">
                                      <p:cBhvr additive="base">
                                        <p:cTn id="31" dur="1000" fill="hold"/>
                                        <p:tgtEl>
                                          <p:spTgt spid="34"/>
                                        </p:tgtEl>
                                        <p:attrNameLst>
                                          <p:attrName>ppt_x</p:attrName>
                                        </p:attrNameLst>
                                      </p:cBhvr>
                                      <p:tavLst>
                                        <p:tav tm="0">
                                          <p:val>
                                            <p:strVal val="#ppt_x"/>
                                          </p:val>
                                        </p:tav>
                                        <p:tav tm="100000">
                                          <p:val>
                                            <p:strVal val="#ppt_x"/>
                                          </p:val>
                                        </p:tav>
                                      </p:tavLst>
                                    </p:anim>
                                    <p:anim calcmode="lin" valueType="num">
                                      <p:cBhvr additive="base">
                                        <p:cTn id="32" dur="1000" fill="hold"/>
                                        <p:tgtEl>
                                          <p:spTgt spid="34"/>
                                        </p:tgtEl>
                                        <p:attrNameLst>
                                          <p:attrName>ppt_y</p:attrName>
                                        </p:attrNameLst>
                                      </p:cBhvr>
                                      <p:tavLst>
                                        <p:tav tm="0">
                                          <p:val>
                                            <p:strVal val="1+#ppt_h/2"/>
                                          </p:val>
                                        </p:tav>
                                        <p:tav tm="100000">
                                          <p:val>
                                            <p:strVal val="#ppt_y"/>
                                          </p:val>
                                        </p:tav>
                                      </p:tavLst>
                                    </p:anim>
                                  </p:childTnLst>
                                </p:cTn>
                              </p:par>
                              <p:par>
                                <p:cTn id="33" presetID="2" presetClass="entr" presetSubtype="4" decel="100000" fill="hold" grpId="0" nodeType="withEffect">
                                  <p:stCondLst>
                                    <p:cond delay="500"/>
                                  </p:stCondLst>
                                  <p:childTnLst>
                                    <p:set>
                                      <p:cBhvr>
                                        <p:cTn id="34" dur="1" fill="hold">
                                          <p:stCondLst>
                                            <p:cond delay="0"/>
                                          </p:stCondLst>
                                        </p:cTn>
                                        <p:tgtEl>
                                          <p:spTgt spid="213"/>
                                        </p:tgtEl>
                                        <p:attrNameLst>
                                          <p:attrName>style.visibility</p:attrName>
                                        </p:attrNameLst>
                                      </p:cBhvr>
                                      <p:to>
                                        <p:strVal val="visible"/>
                                      </p:to>
                                    </p:set>
                                    <p:anim calcmode="lin" valueType="num">
                                      <p:cBhvr additive="base">
                                        <p:cTn id="35" dur="1000" fill="hold"/>
                                        <p:tgtEl>
                                          <p:spTgt spid="213"/>
                                        </p:tgtEl>
                                        <p:attrNameLst>
                                          <p:attrName>ppt_x</p:attrName>
                                        </p:attrNameLst>
                                      </p:cBhvr>
                                      <p:tavLst>
                                        <p:tav tm="0">
                                          <p:val>
                                            <p:strVal val="#ppt_x"/>
                                          </p:val>
                                        </p:tav>
                                        <p:tav tm="100000">
                                          <p:val>
                                            <p:strVal val="#ppt_x"/>
                                          </p:val>
                                        </p:tav>
                                      </p:tavLst>
                                    </p:anim>
                                    <p:anim calcmode="lin" valueType="num">
                                      <p:cBhvr additive="base">
                                        <p:cTn id="36" dur="1000" fill="hold"/>
                                        <p:tgtEl>
                                          <p:spTgt spid="213"/>
                                        </p:tgtEl>
                                        <p:attrNameLst>
                                          <p:attrName>ppt_y</p:attrName>
                                        </p:attrNameLst>
                                      </p:cBhvr>
                                      <p:tavLst>
                                        <p:tav tm="0">
                                          <p:val>
                                            <p:strVal val="1+#ppt_h/2"/>
                                          </p:val>
                                        </p:tav>
                                        <p:tav tm="100000">
                                          <p:val>
                                            <p:strVal val="#ppt_y"/>
                                          </p:val>
                                        </p:tav>
                                      </p:tavLst>
                                    </p:anim>
                                  </p:childTnLst>
                                </p:cTn>
                              </p:par>
                              <p:par>
                                <p:cTn id="37" presetID="2" presetClass="entr" presetSubtype="4" decel="100000" fill="hold" grpId="0" nodeType="withEffect">
                                  <p:stCondLst>
                                    <p:cond delay="750"/>
                                  </p:stCondLst>
                                  <p:childTnLst>
                                    <p:set>
                                      <p:cBhvr>
                                        <p:cTn id="38" dur="1" fill="hold">
                                          <p:stCondLst>
                                            <p:cond delay="0"/>
                                          </p:stCondLst>
                                        </p:cTn>
                                        <p:tgtEl>
                                          <p:spTgt spid="35"/>
                                        </p:tgtEl>
                                        <p:attrNameLst>
                                          <p:attrName>style.visibility</p:attrName>
                                        </p:attrNameLst>
                                      </p:cBhvr>
                                      <p:to>
                                        <p:strVal val="visible"/>
                                      </p:to>
                                    </p:set>
                                    <p:anim calcmode="lin" valueType="num">
                                      <p:cBhvr additive="base">
                                        <p:cTn id="39" dur="1000" fill="hold"/>
                                        <p:tgtEl>
                                          <p:spTgt spid="35"/>
                                        </p:tgtEl>
                                        <p:attrNameLst>
                                          <p:attrName>ppt_x</p:attrName>
                                        </p:attrNameLst>
                                      </p:cBhvr>
                                      <p:tavLst>
                                        <p:tav tm="0">
                                          <p:val>
                                            <p:strVal val="#ppt_x"/>
                                          </p:val>
                                        </p:tav>
                                        <p:tav tm="100000">
                                          <p:val>
                                            <p:strVal val="#ppt_x"/>
                                          </p:val>
                                        </p:tav>
                                      </p:tavLst>
                                    </p:anim>
                                    <p:anim calcmode="lin" valueType="num">
                                      <p:cBhvr additive="base">
                                        <p:cTn id="40" dur="1000" fill="hold"/>
                                        <p:tgtEl>
                                          <p:spTgt spid="35"/>
                                        </p:tgtEl>
                                        <p:attrNameLst>
                                          <p:attrName>ppt_y</p:attrName>
                                        </p:attrNameLst>
                                      </p:cBhvr>
                                      <p:tavLst>
                                        <p:tav tm="0">
                                          <p:val>
                                            <p:strVal val="1+#ppt_h/2"/>
                                          </p:val>
                                        </p:tav>
                                        <p:tav tm="100000">
                                          <p:val>
                                            <p:strVal val="#ppt_y"/>
                                          </p:val>
                                        </p:tav>
                                      </p:tavLst>
                                    </p:anim>
                                  </p:childTnLst>
                                </p:cTn>
                              </p:par>
                              <p:par>
                                <p:cTn id="41" presetID="2" presetClass="entr" presetSubtype="4" decel="100000" fill="hold" grpId="0" nodeType="withEffect">
                                  <p:stCondLst>
                                    <p:cond delay="750"/>
                                  </p:stCondLst>
                                  <p:childTnLst>
                                    <p:set>
                                      <p:cBhvr>
                                        <p:cTn id="42" dur="1" fill="hold">
                                          <p:stCondLst>
                                            <p:cond delay="0"/>
                                          </p:stCondLst>
                                        </p:cTn>
                                        <p:tgtEl>
                                          <p:spTgt spid="212"/>
                                        </p:tgtEl>
                                        <p:attrNameLst>
                                          <p:attrName>style.visibility</p:attrName>
                                        </p:attrNameLst>
                                      </p:cBhvr>
                                      <p:to>
                                        <p:strVal val="visible"/>
                                      </p:to>
                                    </p:set>
                                    <p:anim calcmode="lin" valueType="num">
                                      <p:cBhvr additive="base">
                                        <p:cTn id="43" dur="1000" fill="hold"/>
                                        <p:tgtEl>
                                          <p:spTgt spid="212"/>
                                        </p:tgtEl>
                                        <p:attrNameLst>
                                          <p:attrName>ppt_x</p:attrName>
                                        </p:attrNameLst>
                                      </p:cBhvr>
                                      <p:tavLst>
                                        <p:tav tm="0">
                                          <p:val>
                                            <p:strVal val="#ppt_x"/>
                                          </p:val>
                                        </p:tav>
                                        <p:tav tm="100000">
                                          <p:val>
                                            <p:strVal val="#ppt_x"/>
                                          </p:val>
                                        </p:tav>
                                      </p:tavLst>
                                    </p:anim>
                                    <p:anim calcmode="lin" valueType="num">
                                      <p:cBhvr additive="base">
                                        <p:cTn id="44" dur="1000" fill="hold"/>
                                        <p:tgtEl>
                                          <p:spTgt spid="212"/>
                                        </p:tgtEl>
                                        <p:attrNameLst>
                                          <p:attrName>ppt_y</p:attrName>
                                        </p:attrNameLst>
                                      </p:cBhvr>
                                      <p:tavLst>
                                        <p:tav tm="0">
                                          <p:val>
                                            <p:strVal val="1+#ppt_h/2"/>
                                          </p:val>
                                        </p:tav>
                                        <p:tav tm="100000">
                                          <p:val>
                                            <p:strVal val="#ppt_y"/>
                                          </p:val>
                                        </p:tav>
                                      </p:tavLst>
                                    </p:anim>
                                  </p:childTnLst>
                                </p:cTn>
                              </p:par>
                              <p:par>
                                <p:cTn id="45" presetID="2" presetClass="entr" presetSubtype="4" decel="100000" fill="hold" grpId="0" nodeType="withEffect">
                                  <p:stCondLst>
                                    <p:cond delay="1000"/>
                                  </p:stCondLst>
                                  <p:childTnLst>
                                    <p:set>
                                      <p:cBhvr>
                                        <p:cTn id="46" dur="1" fill="hold">
                                          <p:stCondLst>
                                            <p:cond delay="0"/>
                                          </p:stCondLst>
                                        </p:cTn>
                                        <p:tgtEl>
                                          <p:spTgt spid="36"/>
                                        </p:tgtEl>
                                        <p:attrNameLst>
                                          <p:attrName>style.visibility</p:attrName>
                                        </p:attrNameLst>
                                      </p:cBhvr>
                                      <p:to>
                                        <p:strVal val="visible"/>
                                      </p:to>
                                    </p:set>
                                    <p:anim calcmode="lin" valueType="num">
                                      <p:cBhvr additive="base">
                                        <p:cTn id="47" dur="1000" fill="hold"/>
                                        <p:tgtEl>
                                          <p:spTgt spid="36"/>
                                        </p:tgtEl>
                                        <p:attrNameLst>
                                          <p:attrName>ppt_x</p:attrName>
                                        </p:attrNameLst>
                                      </p:cBhvr>
                                      <p:tavLst>
                                        <p:tav tm="0">
                                          <p:val>
                                            <p:strVal val="#ppt_x"/>
                                          </p:val>
                                        </p:tav>
                                        <p:tav tm="100000">
                                          <p:val>
                                            <p:strVal val="#ppt_x"/>
                                          </p:val>
                                        </p:tav>
                                      </p:tavLst>
                                    </p:anim>
                                    <p:anim calcmode="lin" valueType="num">
                                      <p:cBhvr additive="base">
                                        <p:cTn id="48" dur="1000" fill="hold"/>
                                        <p:tgtEl>
                                          <p:spTgt spid="36"/>
                                        </p:tgtEl>
                                        <p:attrNameLst>
                                          <p:attrName>ppt_y</p:attrName>
                                        </p:attrNameLst>
                                      </p:cBhvr>
                                      <p:tavLst>
                                        <p:tav tm="0">
                                          <p:val>
                                            <p:strVal val="1+#ppt_h/2"/>
                                          </p:val>
                                        </p:tav>
                                        <p:tav tm="100000">
                                          <p:val>
                                            <p:strVal val="#ppt_y"/>
                                          </p:val>
                                        </p:tav>
                                      </p:tavLst>
                                    </p:anim>
                                  </p:childTnLst>
                                </p:cTn>
                              </p:par>
                              <p:par>
                                <p:cTn id="49" presetID="2" presetClass="entr" presetSubtype="4" decel="100000" fill="hold" grpId="0" nodeType="withEffect">
                                  <p:stCondLst>
                                    <p:cond delay="1000"/>
                                  </p:stCondLst>
                                  <p:childTnLst>
                                    <p:set>
                                      <p:cBhvr>
                                        <p:cTn id="50" dur="1" fill="hold">
                                          <p:stCondLst>
                                            <p:cond delay="0"/>
                                          </p:stCondLst>
                                        </p:cTn>
                                        <p:tgtEl>
                                          <p:spTgt spid="211"/>
                                        </p:tgtEl>
                                        <p:attrNameLst>
                                          <p:attrName>style.visibility</p:attrName>
                                        </p:attrNameLst>
                                      </p:cBhvr>
                                      <p:to>
                                        <p:strVal val="visible"/>
                                      </p:to>
                                    </p:set>
                                    <p:anim calcmode="lin" valueType="num">
                                      <p:cBhvr additive="base">
                                        <p:cTn id="51" dur="1000" fill="hold"/>
                                        <p:tgtEl>
                                          <p:spTgt spid="211"/>
                                        </p:tgtEl>
                                        <p:attrNameLst>
                                          <p:attrName>ppt_x</p:attrName>
                                        </p:attrNameLst>
                                      </p:cBhvr>
                                      <p:tavLst>
                                        <p:tav tm="0">
                                          <p:val>
                                            <p:strVal val="#ppt_x"/>
                                          </p:val>
                                        </p:tav>
                                        <p:tav tm="100000">
                                          <p:val>
                                            <p:strVal val="#ppt_x"/>
                                          </p:val>
                                        </p:tav>
                                      </p:tavLst>
                                    </p:anim>
                                    <p:anim calcmode="lin" valueType="num">
                                      <p:cBhvr additive="base">
                                        <p:cTn id="52" dur="1000" fill="hold"/>
                                        <p:tgtEl>
                                          <p:spTgt spid="211"/>
                                        </p:tgtEl>
                                        <p:attrNameLst>
                                          <p:attrName>ppt_y</p:attrName>
                                        </p:attrNameLst>
                                      </p:cBhvr>
                                      <p:tavLst>
                                        <p:tav tm="0">
                                          <p:val>
                                            <p:strVal val="1+#ppt_h/2"/>
                                          </p:val>
                                        </p:tav>
                                        <p:tav tm="100000">
                                          <p:val>
                                            <p:strVal val="#ppt_y"/>
                                          </p:val>
                                        </p:tav>
                                      </p:tavLst>
                                    </p:anim>
                                  </p:childTnLst>
                                </p:cTn>
                              </p:par>
                              <p:par>
                                <p:cTn id="53" presetID="2" presetClass="entr" presetSubtype="4" decel="100000" fill="hold" grpId="0" nodeType="withEffect">
                                  <p:stCondLst>
                                    <p:cond delay="500"/>
                                  </p:stCondLst>
                                  <p:childTnLst>
                                    <p:set>
                                      <p:cBhvr>
                                        <p:cTn id="54" dur="1" fill="hold">
                                          <p:stCondLst>
                                            <p:cond delay="0"/>
                                          </p:stCondLst>
                                        </p:cTn>
                                        <p:tgtEl>
                                          <p:spTgt spid="206"/>
                                        </p:tgtEl>
                                        <p:attrNameLst>
                                          <p:attrName>style.visibility</p:attrName>
                                        </p:attrNameLst>
                                      </p:cBhvr>
                                      <p:to>
                                        <p:strVal val="visible"/>
                                      </p:to>
                                    </p:set>
                                    <p:anim calcmode="lin" valueType="num">
                                      <p:cBhvr additive="base">
                                        <p:cTn id="55" dur="1000" fill="hold"/>
                                        <p:tgtEl>
                                          <p:spTgt spid="206"/>
                                        </p:tgtEl>
                                        <p:attrNameLst>
                                          <p:attrName>ppt_x</p:attrName>
                                        </p:attrNameLst>
                                      </p:cBhvr>
                                      <p:tavLst>
                                        <p:tav tm="0">
                                          <p:val>
                                            <p:strVal val="#ppt_x"/>
                                          </p:val>
                                        </p:tav>
                                        <p:tav tm="100000">
                                          <p:val>
                                            <p:strVal val="#ppt_x"/>
                                          </p:val>
                                        </p:tav>
                                      </p:tavLst>
                                    </p:anim>
                                    <p:anim calcmode="lin" valueType="num">
                                      <p:cBhvr additive="base">
                                        <p:cTn id="56" dur="1000" fill="hold"/>
                                        <p:tgtEl>
                                          <p:spTgt spid="206"/>
                                        </p:tgtEl>
                                        <p:attrNameLst>
                                          <p:attrName>ppt_y</p:attrName>
                                        </p:attrNameLst>
                                      </p:cBhvr>
                                      <p:tavLst>
                                        <p:tav tm="0">
                                          <p:val>
                                            <p:strVal val="1+#ppt_h/2"/>
                                          </p:val>
                                        </p:tav>
                                        <p:tav tm="100000">
                                          <p:val>
                                            <p:strVal val="#ppt_y"/>
                                          </p:val>
                                        </p:tav>
                                      </p:tavLst>
                                    </p:anim>
                                  </p:childTnLst>
                                </p:cTn>
                              </p:par>
                              <p:par>
                                <p:cTn id="57" presetID="2" presetClass="entr" presetSubtype="4" decel="100000" fill="hold" grpId="0" nodeType="withEffect">
                                  <p:stCondLst>
                                    <p:cond delay="500"/>
                                  </p:stCondLst>
                                  <p:childTnLst>
                                    <p:set>
                                      <p:cBhvr>
                                        <p:cTn id="58" dur="1" fill="hold">
                                          <p:stCondLst>
                                            <p:cond delay="0"/>
                                          </p:stCondLst>
                                        </p:cTn>
                                        <p:tgtEl>
                                          <p:spTgt spid="210"/>
                                        </p:tgtEl>
                                        <p:attrNameLst>
                                          <p:attrName>style.visibility</p:attrName>
                                        </p:attrNameLst>
                                      </p:cBhvr>
                                      <p:to>
                                        <p:strVal val="visible"/>
                                      </p:to>
                                    </p:set>
                                    <p:anim calcmode="lin" valueType="num">
                                      <p:cBhvr additive="base">
                                        <p:cTn id="59" dur="1000" fill="hold"/>
                                        <p:tgtEl>
                                          <p:spTgt spid="210"/>
                                        </p:tgtEl>
                                        <p:attrNameLst>
                                          <p:attrName>ppt_x</p:attrName>
                                        </p:attrNameLst>
                                      </p:cBhvr>
                                      <p:tavLst>
                                        <p:tav tm="0">
                                          <p:val>
                                            <p:strVal val="#ppt_x"/>
                                          </p:val>
                                        </p:tav>
                                        <p:tav tm="100000">
                                          <p:val>
                                            <p:strVal val="#ppt_x"/>
                                          </p:val>
                                        </p:tav>
                                      </p:tavLst>
                                    </p:anim>
                                    <p:anim calcmode="lin" valueType="num">
                                      <p:cBhvr additive="base">
                                        <p:cTn id="60" dur="1000" fill="hold"/>
                                        <p:tgtEl>
                                          <p:spTgt spid="210"/>
                                        </p:tgtEl>
                                        <p:attrNameLst>
                                          <p:attrName>ppt_y</p:attrName>
                                        </p:attrNameLst>
                                      </p:cBhvr>
                                      <p:tavLst>
                                        <p:tav tm="0">
                                          <p:val>
                                            <p:strVal val="1+#ppt_h/2"/>
                                          </p:val>
                                        </p:tav>
                                        <p:tav tm="100000">
                                          <p:val>
                                            <p:strVal val="#ppt_y"/>
                                          </p:val>
                                        </p:tav>
                                      </p:tavLst>
                                    </p:anim>
                                  </p:childTnLst>
                                </p:cTn>
                              </p:par>
                              <p:par>
                                <p:cTn id="61" presetID="2" presetClass="entr" presetSubtype="4" decel="100000" fill="hold" grpId="0" nodeType="withEffect">
                                  <p:stCondLst>
                                    <p:cond delay="750"/>
                                  </p:stCondLst>
                                  <p:childTnLst>
                                    <p:set>
                                      <p:cBhvr>
                                        <p:cTn id="62" dur="1" fill="hold">
                                          <p:stCondLst>
                                            <p:cond delay="0"/>
                                          </p:stCondLst>
                                        </p:cTn>
                                        <p:tgtEl>
                                          <p:spTgt spid="205"/>
                                        </p:tgtEl>
                                        <p:attrNameLst>
                                          <p:attrName>style.visibility</p:attrName>
                                        </p:attrNameLst>
                                      </p:cBhvr>
                                      <p:to>
                                        <p:strVal val="visible"/>
                                      </p:to>
                                    </p:set>
                                    <p:anim calcmode="lin" valueType="num">
                                      <p:cBhvr additive="base">
                                        <p:cTn id="63" dur="1000" fill="hold"/>
                                        <p:tgtEl>
                                          <p:spTgt spid="205"/>
                                        </p:tgtEl>
                                        <p:attrNameLst>
                                          <p:attrName>ppt_x</p:attrName>
                                        </p:attrNameLst>
                                      </p:cBhvr>
                                      <p:tavLst>
                                        <p:tav tm="0">
                                          <p:val>
                                            <p:strVal val="#ppt_x"/>
                                          </p:val>
                                        </p:tav>
                                        <p:tav tm="100000">
                                          <p:val>
                                            <p:strVal val="#ppt_x"/>
                                          </p:val>
                                        </p:tav>
                                      </p:tavLst>
                                    </p:anim>
                                    <p:anim calcmode="lin" valueType="num">
                                      <p:cBhvr additive="base">
                                        <p:cTn id="64" dur="1000" fill="hold"/>
                                        <p:tgtEl>
                                          <p:spTgt spid="205"/>
                                        </p:tgtEl>
                                        <p:attrNameLst>
                                          <p:attrName>ppt_y</p:attrName>
                                        </p:attrNameLst>
                                      </p:cBhvr>
                                      <p:tavLst>
                                        <p:tav tm="0">
                                          <p:val>
                                            <p:strVal val="1+#ppt_h/2"/>
                                          </p:val>
                                        </p:tav>
                                        <p:tav tm="100000">
                                          <p:val>
                                            <p:strVal val="#ppt_y"/>
                                          </p:val>
                                        </p:tav>
                                      </p:tavLst>
                                    </p:anim>
                                  </p:childTnLst>
                                </p:cTn>
                              </p:par>
                              <p:par>
                                <p:cTn id="65" presetID="2" presetClass="entr" presetSubtype="4" decel="100000" fill="hold" grpId="0" nodeType="withEffect">
                                  <p:stCondLst>
                                    <p:cond delay="750"/>
                                  </p:stCondLst>
                                  <p:childTnLst>
                                    <p:set>
                                      <p:cBhvr>
                                        <p:cTn id="66" dur="1" fill="hold">
                                          <p:stCondLst>
                                            <p:cond delay="0"/>
                                          </p:stCondLst>
                                        </p:cTn>
                                        <p:tgtEl>
                                          <p:spTgt spid="208"/>
                                        </p:tgtEl>
                                        <p:attrNameLst>
                                          <p:attrName>style.visibility</p:attrName>
                                        </p:attrNameLst>
                                      </p:cBhvr>
                                      <p:to>
                                        <p:strVal val="visible"/>
                                      </p:to>
                                    </p:set>
                                    <p:anim calcmode="lin" valueType="num">
                                      <p:cBhvr additive="base">
                                        <p:cTn id="67" dur="1000" fill="hold"/>
                                        <p:tgtEl>
                                          <p:spTgt spid="208"/>
                                        </p:tgtEl>
                                        <p:attrNameLst>
                                          <p:attrName>ppt_x</p:attrName>
                                        </p:attrNameLst>
                                      </p:cBhvr>
                                      <p:tavLst>
                                        <p:tav tm="0">
                                          <p:val>
                                            <p:strVal val="#ppt_x"/>
                                          </p:val>
                                        </p:tav>
                                        <p:tav tm="100000">
                                          <p:val>
                                            <p:strVal val="#ppt_x"/>
                                          </p:val>
                                        </p:tav>
                                      </p:tavLst>
                                    </p:anim>
                                    <p:anim calcmode="lin" valueType="num">
                                      <p:cBhvr additive="base">
                                        <p:cTn id="68" dur="1000" fill="hold"/>
                                        <p:tgtEl>
                                          <p:spTgt spid="208"/>
                                        </p:tgtEl>
                                        <p:attrNameLst>
                                          <p:attrName>ppt_y</p:attrName>
                                        </p:attrNameLst>
                                      </p:cBhvr>
                                      <p:tavLst>
                                        <p:tav tm="0">
                                          <p:val>
                                            <p:strVal val="1+#ppt_h/2"/>
                                          </p:val>
                                        </p:tav>
                                        <p:tav tm="100000">
                                          <p:val>
                                            <p:strVal val="#ppt_y"/>
                                          </p:val>
                                        </p:tav>
                                      </p:tavLst>
                                    </p:anim>
                                  </p:childTnLst>
                                </p:cTn>
                              </p:par>
                              <p:par>
                                <p:cTn id="69" presetID="2" presetClass="entr" presetSubtype="4" decel="100000" fill="hold" grpId="0" nodeType="withEffect">
                                  <p:stCondLst>
                                    <p:cond delay="1000"/>
                                  </p:stCondLst>
                                  <p:childTnLst>
                                    <p:set>
                                      <p:cBhvr>
                                        <p:cTn id="70" dur="1" fill="hold">
                                          <p:stCondLst>
                                            <p:cond delay="0"/>
                                          </p:stCondLst>
                                        </p:cTn>
                                        <p:tgtEl>
                                          <p:spTgt spid="204"/>
                                        </p:tgtEl>
                                        <p:attrNameLst>
                                          <p:attrName>style.visibility</p:attrName>
                                        </p:attrNameLst>
                                      </p:cBhvr>
                                      <p:to>
                                        <p:strVal val="visible"/>
                                      </p:to>
                                    </p:set>
                                    <p:anim calcmode="lin" valueType="num">
                                      <p:cBhvr additive="base">
                                        <p:cTn id="71" dur="1000" fill="hold"/>
                                        <p:tgtEl>
                                          <p:spTgt spid="204"/>
                                        </p:tgtEl>
                                        <p:attrNameLst>
                                          <p:attrName>ppt_x</p:attrName>
                                        </p:attrNameLst>
                                      </p:cBhvr>
                                      <p:tavLst>
                                        <p:tav tm="0">
                                          <p:val>
                                            <p:strVal val="#ppt_x"/>
                                          </p:val>
                                        </p:tav>
                                        <p:tav tm="100000">
                                          <p:val>
                                            <p:strVal val="#ppt_x"/>
                                          </p:val>
                                        </p:tav>
                                      </p:tavLst>
                                    </p:anim>
                                    <p:anim calcmode="lin" valueType="num">
                                      <p:cBhvr additive="base">
                                        <p:cTn id="72" dur="1000" fill="hold"/>
                                        <p:tgtEl>
                                          <p:spTgt spid="204"/>
                                        </p:tgtEl>
                                        <p:attrNameLst>
                                          <p:attrName>ppt_y</p:attrName>
                                        </p:attrNameLst>
                                      </p:cBhvr>
                                      <p:tavLst>
                                        <p:tav tm="0">
                                          <p:val>
                                            <p:strVal val="1+#ppt_h/2"/>
                                          </p:val>
                                        </p:tav>
                                        <p:tav tm="100000">
                                          <p:val>
                                            <p:strVal val="#ppt_y"/>
                                          </p:val>
                                        </p:tav>
                                      </p:tavLst>
                                    </p:anim>
                                  </p:childTnLst>
                                </p:cTn>
                              </p:par>
                              <p:par>
                                <p:cTn id="73" presetID="2" presetClass="entr" presetSubtype="4" decel="100000" fill="hold" grpId="0" nodeType="withEffect">
                                  <p:stCondLst>
                                    <p:cond delay="1000"/>
                                  </p:stCondLst>
                                  <p:childTnLst>
                                    <p:set>
                                      <p:cBhvr>
                                        <p:cTn id="74" dur="1" fill="hold">
                                          <p:stCondLst>
                                            <p:cond delay="0"/>
                                          </p:stCondLst>
                                        </p:cTn>
                                        <p:tgtEl>
                                          <p:spTgt spid="207"/>
                                        </p:tgtEl>
                                        <p:attrNameLst>
                                          <p:attrName>style.visibility</p:attrName>
                                        </p:attrNameLst>
                                      </p:cBhvr>
                                      <p:to>
                                        <p:strVal val="visible"/>
                                      </p:to>
                                    </p:set>
                                    <p:anim calcmode="lin" valueType="num">
                                      <p:cBhvr additive="base">
                                        <p:cTn id="75" dur="1000" fill="hold"/>
                                        <p:tgtEl>
                                          <p:spTgt spid="207"/>
                                        </p:tgtEl>
                                        <p:attrNameLst>
                                          <p:attrName>ppt_x</p:attrName>
                                        </p:attrNameLst>
                                      </p:cBhvr>
                                      <p:tavLst>
                                        <p:tav tm="0">
                                          <p:val>
                                            <p:strVal val="#ppt_x"/>
                                          </p:val>
                                        </p:tav>
                                        <p:tav tm="100000">
                                          <p:val>
                                            <p:strVal val="#ppt_x"/>
                                          </p:val>
                                        </p:tav>
                                      </p:tavLst>
                                    </p:anim>
                                    <p:anim calcmode="lin" valueType="num">
                                      <p:cBhvr additive="base">
                                        <p:cTn id="76" dur="1000" fill="hold"/>
                                        <p:tgtEl>
                                          <p:spTgt spid="207"/>
                                        </p:tgtEl>
                                        <p:attrNameLst>
                                          <p:attrName>ppt_y</p:attrName>
                                        </p:attrNameLst>
                                      </p:cBhvr>
                                      <p:tavLst>
                                        <p:tav tm="0">
                                          <p:val>
                                            <p:strVal val="1+#ppt_h/2"/>
                                          </p:val>
                                        </p:tav>
                                        <p:tav tm="100000">
                                          <p:val>
                                            <p:strVal val="#ppt_y"/>
                                          </p:val>
                                        </p:tav>
                                      </p:tavLst>
                                    </p:anim>
                                  </p:childTnLst>
                                </p:cTn>
                              </p:par>
                              <p:par>
                                <p:cTn id="77" presetID="2" presetClass="entr" presetSubtype="4" decel="100000" fill="hold" grpId="0" nodeType="withEffect">
                                  <p:stCondLst>
                                    <p:cond delay="0"/>
                                  </p:stCondLst>
                                  <p:childTnLst>
                                    <p:set>
                                      <p:cBhvr>
                                        <p:cTn id="78" dur="1" fill="hold">
                                          <p:stCondLst>
                                            <p:cond delay="0"/>
                                          </p:stCondLst>
                                        </p:cTn>
                                        <p:tgtEl>
                                          <p:spTgt spid="203"/>
                                        </p:tgtEl>
                                        <p:attrNameLst>
                                          <p:attrName>style.visibility</p:attrName>
                                        </p:attrNameLst>
                                      </p:cBhvr>
                                      <p:to>
                                        <p:strVal val="visible"/>
                                      </p:to>
                                    </p:set>
                                    <p:anim calcmode="lin" valueType="num">
                                      <p:cBhvr additive="base">
                                        <p:cTn id="79" dur="1500" fill="hold"/>
                                        <p:tgtEl>
                                          <p:spTgt spid="203"/>
                                        </p:tgtEl>
                                        <p:attrNameLst>
                                          <p:attrName>ppt_x</p:attrName>
                                        </p:attrNameLst>
                                      </p:cBhvr>
                                      <p:tavLst>
                                        <p:tav tm="0">
                                          <p:val>
                                            <p:strVal val="#ppt_x"/>
                                          </p:val>
                                        </p:tav>
                                        <p:tav tm="100000">
                                          <p:val>
                                            <p:strVal val="#ppt_x"/>
                                          </p:val>
                                        </p:tav>
                                      </p:tavLst>
                                    </p:anim>
                                    <p:anim calcmode="lin" valueType="num">
                                      <p:cBhvr additive="base">
                                        <p:cTn id="80" dur="1500" fill="hold"/>
                                        <p:tgtEl>
                                          <p:spTgt spid="20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3" grpId="0" animBg="1"/>
      <p:bldP spid="207" grpId="0" animBg="1"/>
      <p:bldP spid="204" grpId="0" animBg="1">
        <p:tmplLst>
          <p:tmpl>
            <p:tnLst>
              <p:par>
                <p:cTn presetID="2" presetClass="entr" presetSubtype="4" decel="100000" fill="hold" nodeType="withEffect">
                  <p:stCondLst>
                    <p:cond delay="1000"/>
                  </p:stCondLst>
                  <p:childTnLst>
                    <p:set>
                      <p:cBhvr>
                        <p:cTn dur="1" fill="hold">
                          <p:stCondLst>
                            <p:cond delay="0"/>
                          </p:stCondLst>
                        </p:cTn>
                        <p:tgtEl>
                          <p:spTgt spid="204"/>
                        </p:tgtEl>
                        <p:attrNameLst>
                          <p:attrName>style.visibility</p:attrName>
                        </p:attrNameLst>
                      </p:cBhvr>
                      <p:to>
                        <p:strVal val="visible"/>
                      </p:to>
                    </p:set>
                    <p:anim calcmode="lin" valueType="num">
                      <p:cBhvr additive="base">
                        <p:cTn dur="1000" fill="hold"/>
                        <p:tgtEl>
                          <p:spTgt spid="204"/>
                        </p:tgtEl>
                        <p:attrNameLst>
                          <p:attrName>ppt_x</p:attrName>
                        </p:attrNameLst>
                      </p:cBhvr>
                      <p:tavLst>
                        <p:tav tm="0">
                          <p:val>
                            <p:strVal val="#ppt_x"/>
                          </p:val>
                        </p:tav>
                        <p:tav tm="100000">
                          <p:val>
                            <p:strVal val="#ppt_x"/>
                          </p:val>
                        </p:tav>
                      </p:tavLst>
                    </p:anim>
                    <p:anim calcmode="lin" valueType="num">
                      <p:cBhvr additive="base">
                        <p:cTn dur="1000" fill="hold"/>
                        <p:tgtEl>
                          <p:spTgt spid="204"/>
                        </p:tgtEl>
                        <p:attrNameLst>
                          <p:attrName>ppt_y</p:attrName>
                        </p:attrNameLst>
                      </p:cBhvr>
                      <p:tavLst>
                        <p:tav tm="0">
                          <p:val>
                            <p:strVal val="1+#ppt_h/2"/>
                          </p:val>
                        </p:tav>
                        <p:tav tm="100000">
                          <p:val>
                            <p:strVal val="#ppt_y"/>
                          </p:val>
                        </p:tav>
                      </p:tavLst>
                    </p:anim>
                  </p:childTnLst>
                </p:cTn>
              </p:par>
            </p:tnLst>
          </p:tmpl>
        </p:tmplLst>
      </p:bldP>
      <p:bldP spid="208" grpId="0" animBg="1"/>
      <p:bldP spid="205" grpId="0" animBg="1">
        <p:tmplLst>
          <p:tmpl>
            <p:tnLst>
              <p:par>
                <p:cTn presetID="2" presetClass="entr" presetSubtype="4" decel="100000" fill="hold" nodeType="withEffect">
                  <p:stCondLst>
                    <p:cond delay="750"/>
                  </p:stCondLst>
                  <p:childTnLst>
                    <p:set>
                      <p:cBhvr>
                        <p:cTn dur="1" fill="hold">
                          <p:stCondLst>
                            <p:cond delay="0"/>
                          </p:stCondLst>
                        </p:cTn>
                        <p:tgtEl>
                          <p:spTgt spid="205"/>
                        </p:tgtEl>
                        <p:attrNameLst>
                          <p:attrName>style.visibility</p:attrName>
                        </p:attrNameLst>
                      </p:cBhvr>
                      <p:to>
                        <p:strVal val="visible"/>
                      </p:to>
                    </p:set>
                    <p:anim calcmode="lin" valueType="num">
                      <p:cBhvr additive="base">
                        <p:cTn dur="1000" fill="hold"/>
                        <p:tgtEl>
                          <p:spTgt spid="205"/>
                        </p:tgtEl>
                        <p:attrNameLst>
                          <p:attrName>ppt_x</p:attrName>
                        </p:attrNameLst>
                      </p:cBhvr>
                      <p:tavLst>
                        <p:tav tm="0">
                          <p:val>
                            <p:strVal val="#ppt_x"/>
                          </p:val>
                        </p:tav>
                        <p:tav tm="100000">
                          <p:val>
                            <p:strVal val="#ppt_x"/>
                          </p:val>
                        </p:tav>
                      </p:tavLst>
                    </p:anim>
                    <p:anim calcmode="lin" valueType="num">
                      <p:cBhvr additive="base">
                        <p:cTn dur="1000" fill="hold"/>
                        <p:tgtEl>
                          <p:spTgt spid="205"/>
                        </p:tgtEl>
                        <p:attrNameLst>
                          <p:attrName>ppt_y</p:attrName>
                        </p:attrNameLst>
                      </p:cBhvr>
                      <p:tavLst>
                        <p:tav tm="0">
                          <p:val>
                            <p:strVal val="1+#ppt_h/2"/>
                          </p:val>
                        </p:tav>
                        <p:tav tm="100000">
                          <p:val>
                            <p:strVal val="#ppt_y"/>
                          </p:val>
                        </p:tav>
                      </p:tavLst>
                    </p:anim>
                  </p:childTnLst>
                </p:cTn>
              </p:par>
            </p:tnLst>
          </p:tmpl>
        </p:tmplLst>
      </p:bldP>
      <p:bldP spid="210" grpId="0" animBg="1"/>
      <p:bldP spid="206" grpId="0" animBg="1">
        <p:tmplLst>
          <p:tmpl>
            <p:tnLst>
              <p:par>
                <p:cTn presetID="2" presetClass="entr" presetSubtype="4" decel="100000" fill="hold" nodeType="withEffect">
                  <p:stCondLst>
                    <p:cond delay="500"/>
                  </p:stCondLst>
                  <p:childTnLst>
                    <p:set>
                      <p:cBhvr>
                        <p:cTn dur="1" fill="hold">
                          <p:stCondLst>
                            <p:cond delay="0"/>
                          </p:stCondLst>
                        </p:cTn>
                        <p:tgtEl>
                          <p:spTgt spid="206"/>
                        </p:tgtEl>
                        <p:attrNameLst>
                          <p:attrName>style.visibility</p:attrName>
                        </p:attrNameLst>
                      </p:cBhvr>
                      <p:to>
                        <p:strVal val="visible"/>
                      </p:to>
                    </p:set>
                    <p:anim calcmode="lin" valueType="num">
                      <p:cBhvr additive="base">
                        <p:cTn dur="1000" fill="hold"/>
                        <p:tgtEl>
                          <p:spTgt spid="206"/>
                        </p:tgtEl>
                        <p:attrNameLst>
                          <p:attrName>ppt_x</p:attrName>
                        </p:attrNameLst>
                      </p:cBhvr>
                      <p:tavLst>
                        <p:tav tm="0">
                          <p:val>
                            <p:strVal val="#ppt_x"/>
                          </p:val>
                        </p:tav>
                        <p:tav tm="100000">
                          <p:val>
                            <p:strVal val="#ppt_x"/>
                          </p:val>
                        </p:tav>
                      </p:tavLst>
                    </p:anim>
                    <p:anim calcmode="lin" valueType="num">
                      <p:cBhvr additive="base">
                        <p:cTn dur="1000" fill="hold"/>
                        <p:tgtEl>
                          <p:spTgt spid="206"/>
                        </p:tgtEl>
                        <p:attrNameLst>
                          <p:attrName>ppt_y</p:attrName>
                        </p:attrNameLst>
                      </p:cBhvr>
                      <p:tavLst>
                        <p:tav tm="0">
                          <p:val>
                            <p:strVal val="1+#ppt_h/2"/>
                          </p:val>
                        </p:tav>
                        <p:tav tm="100000">
                          <p:val>
                            <p:strVal val="#ppt_y"/>
                          </p:val>
                        </p:tav>
                      </p:tavLst>
                    </p:anim>
                  </p:childTnLst>
                </p:cTn>
              </p:par>
            </p:tnLst>
          </p:tmpl>
        </p:tmplLst>
      </p:bldP>
      <p:bldP spid="211" grpId="0" animBg="1"/>
      <p:bldP spid="36" grpId="0" animBg="1">
        <p:tmplLst>
          <p:tmpl>
            <p:tnLst>
              <p:par>
                <p:cTn presetID="2" presetClass="entr" presetSubtype="4" decel="100000" fill="hold" nodeType="withEffect">
                  <p:stCondLst>
                    <p:cond delay="1000"/>
                  </p:stCondLst>
                  <p:childTnLst>
                    <p:set>
                      <p:cBhvr>
                        <p:cTn dur="1" fill="hold">
                          <p:stCondLst>
                            <p:cond delay="0"/>
                          </p:stCondLst>
                        </p:cTn>
                        <p:tgtEl>
                          <p:spTgt spid="36"/>
                        </p:tgtEl>
                        <p:attrNameLst>
                          <p:attrName>style.visibility</p:attrName>
                        </p:attrNameLst>
                      </p:cBhvr>
                      <p:to>
                        <p:strVal val="visible"/>
                      </p:to>
                    </p:set>
                    <p:anim calcmode="lin" valueType="num">
                      <p:cBhvr additive="base">
                        <p:cTn dur="1000" fill="hold"/>
                        <p:tgtEl>
                          <p:spTgt spid="36"/>
                        </p:tgtEl>
                        <p:attrNameLst>
                          <p:attrName>ppt_x</p:attrName>
                        </p:attrNameLst>
                      </p:cBhvr>
                      <p:tavLst>
                        <p:tav tm="0">
                          <p:val>
                            <p:strVal val="#ppt_x"/>
                          </p:val>
                        </p:tav>
                        <p:tav tm="100000">
                          <p:val>
                            <p:strVal val="#ppt_x"/>
                          </p:val>
                        </p:tav>
                      </p:tavLst>
                    </p:anim>
                    <p:anim calcmode="lin" valueType="num">
                      <p:cBhvr additive="base">
                        <p:cTn dur="1000" fill="hold"/>
                        <p:tgtEl>
                          <p:spTgt spid="36"/>
                        </p:tgtEl>
                        <p:attrNameLst>
                          <p:attrName>ppt_y</p:attrName>
                        </p:attrNameLst>
                      </p:cBhvr>
                      <p:tavLst>
                        <p:tav tm="0">
                          <p:val>
                            <p:strVal val="1+#ppt_h/2"/>
                          </p:val>
                        </p:tav>
                        <p:tav tm="100000">
                          <p:val>
                            <p:strVal val="#ppt_y"/>
                          </p:val>
                        </p:tav>
                      </p:tavLst>
                    </p:anim>
                  </p:childTnLst>
                </p:cTn>
              </p:par>
            </p:tnLst>
          </p:tmpl>
        </p:tmplLst>
      </p:bldP>
      <p:bldP spid="212" grpId="0" animBg="1"/>
      <p:bldP spid="35" grpId="0" animBg="1">
        <p:tmplLst>
          <p:tmpl>
            <p:tnLst>
              <p:par>
                <p:cTn presetID="2" presetClass="entr" presetSubtype="4" decel="100000" fill="hold" nodeType="withEffect">
                  <p:stCondLst>
                    <p:cond delay="750"/>
                  </p:stCondLst>
                  <p:childTnLst>
                    <p:set>
                      <p:cBhvr>
                        <p:cTn dur="1" fill="hold">
                          <p:stCondLst>
                            <p:cond delay="0"/>
                          </p:stCondLst>
                        </p:cTn>
                        <p:tgtEl>
                          <p:spTgt spid="35"/>
                        </p:tgtEl>
                        <p:attrNameLst>
                          <p:attrName>style.visibility</p:attrName>
                        </p:attrNameLst>
                      </p:cBhvr>
                      <p:to>
                        <p:strVal val="visible"/>
                      </p:to>
                    </p:set>
                    <p:anim calcmode="lin" valueType="num">
                      <p:cBhvr additive="base">
                        <p:cTn dur="1000" fill="hold"/>
                        <p:tgtEl>
                          <p:spTgt spid="35"/>
                        </p:tgtEl>
                        <p:attrNameLst>
                          <p:attrName>ppt_x</p:attrName>
                        </p:attrNameLst>
                      </p:cBhvr>
                      <p:tavLst>
                        <p:tav tm="0">
                          <p:val>
                            <p:strVal val="#ppt_x"/>
                          </p:val>
                        </p:tav>
                        <p:tav tm="100000">
                          <p:val>
                            <p:strVal val="#ppt_x"/>
                          </p:val>
                        </p:tav>
                      </p:tavLst>
                    </p:anim>
                    <p:anim calcmode="lin" valueType="num">
                      <p:cBhvr additive="base">
                        <p:cTn dur="1000" fill="hold"/>
                        <p:tgtEl>
                          <p:spTgt spid="35"/>
                        </p:tgtEl>
                        <p:attrNameLst>
                          <p:attrName>ppt_y</p:attrName>
                        </p:attrNameLst>
                      </p:cBhvr>
                      <p:tavLst>
                        <p:tav tm="0">
                          <p:val>
                            <p:strVal val="1+#ppt_h/2"/>
                          </p:val>
                        </p:tav>
                        <p:tav tm="100000">
                          <p:val>
                            <p:strVal val="#ppt_y"/>
                          </p:val>
                        </p:tav>
                      </p:tavLst>
                    </p:anim>
                  </p:childTnLst>
                </p:cTn>
              </p:par>
            </p:tnLst>
          </p:tmpl>
        </p:tmplLst>
      </p:bldP>
      <p:bldP spid="213" grpId="0" animBg="1"/>
      <p:bldP spid="34" grpId="0" animBg="1">
        <p:tmplLst>
          <p:tmpl>
            <p:tnLst>
              <p:par>
                <p:cTn presetID="2" presetClass="entr" presetSubtype="4" decel="100000" fill="hold" nodeType="withEffect">
                  <p:stCondLst>
                    <p:cond delay="500"/>
                  </p:stCondLst>
                  <p:childTnLst>
                    <p:set>
                      <p:cBhvr>
                        <p:cTn dur="1" fill="hold">
                          <p:stCondLst>
                            <p:cond delay="0"/>
                          </p:stCondLst>
                        </p:cTn>
                        <p:tgtEl>
                          <p:spTgt spid="34"/>
                        </p:tgtEl>
                        <p:attrNameLst>
                          <p:attrName>style.visibility</p:attrName>
                        </p:attrNameLst>
                      </p:cBhvr>
                      <p:to>
                        <p:strVal val="visible"/>
                      </p:to>
                    </p:set>
                    <p:anim calcmode="lin" valueType="num">
                      <p:cBhvr additive="base">
                        <p:cTn dur="1000" fill="hold"/>
                        <p:tgtEl>
                          <p:spTgt spid="34"/>
                        </p:tgtEl>
                        <p:attrNameLst>
                          <p:attrName>ppt_x</p:attrName>
                        </p:attrNameLst>
                      </p:cBhvr>
                      <p:tavLst>
                        <p:tav tm="0">
                          <p:val>
                            <p:strVal val="#ppt_x"/>
                          </p:val>
                        </p:tav>
                        <p:tav tm="100000">
                          <p:val>
                            <p:strVal val="#ppt_x"/>
                          </p:val>
                        </p:tav>
                      </p:tavLst>
                    </p:anim>
                    <p:anim calcmode="lin" valueType="num">
                      <p:cBhvr additive="base">
                        <p:cTn dur="1000" fill="hold"/>
                        <p:tgtEl>
                          <p:spTgt spid="34"/>
                        </p:tgtEl>
                        <p:attrNameLst>
                          <p:attrName>ppt_y</p:attrName>
                        </p:attrNameLst>
                      </p:cBhvr>
                      <p:tavLst>
                        <p:tav tm="0">
                          <p:val>
                            <p:strVal val="1+#ppt_h/2"/>
                          </p:val>
                        </p:tav>
                        <p:tav tm="100000">
                          <p:val>
                            <p:strVal val="#ppt_y"/>
                          </p:val>
                        </p:tav>
                      </p:tavLst>
                    </p:anim>
                  </p:childTnLst>
                </p:cTn>
              </p:par>
            </p:tnLst>
          </p:tmpl>
        </p:tmplLst>
      </p:bldP>
      <p:bldP spid="214" grpId="0" animBg="1"/>
      <p:bldP spid="16" grpId="0" animBg="1">
        <p:tmplLst>
          <p:tmpl>
            <p:tnLst>
              <p:par>
                <p:cTn presetID="2" presetClass="entr" presetSubtype="4" decel="100000" fill="hold" nodeType="withEffect">
                  <p:stCondLst>
                    <p:cond delay="1000"/>
                  </p:stCondLst>
                  <p:childTnLst>
                    <p:set>
                      <p:cBhvr>
                        <p:cTn dur="1" fill="hold">
                          <p:stCondLst>
                            <p:cond delay="0"/>
                          </p:stCondLst>
                        </p:cTn>
                        <p:tgtEl>
                          <p:spTgt spid="16"/>
                        </p:tgtEl>
                        <p:attrNameLst>
                          <p:attrName>style.visibility</p:attrName>
                        </p:attrNameLst>
                      </p:cBhvr>
                      <p:to>
                        <p:strVal val="visible"/>
                      </p:to>
                    </p:set>
                    <p:anim calcmode="lin" valueType="num">
                      <p:cBhvr additive="base">
                        <p:cTn dur="1000" fill="hold"/>
                        <p:tgtEl>
                          <p:spTgt spid="16"/>
                        </p:tgtEl>
                        <p:attrNameLst>
                          <p:attrName>ppt_x</p:attrName>
                        </p:attrNameLst>
                      </p:cBhvr>
                      <p:tavLst>
                        <p:tav tm="0">
                          <p:val>
                            <p:strVal val="#ppt_x"/>
                          </p:val>
                        </p:tav>
                        <p:tav tm="100000">
                          <p:val>
                            <p:strVal val="#ppt_x"/>
                          </p:val>
                        </p:tav>
                      </p:tavLst>
                    </p:anim>
                    <p:anim calcmode="lin" valueType="num">
                      <p:cBhvr additive="base">
                        <p:cTn dur="1000" fill="hold"/>
                        <p:tgtEl>
                          <p:spTgt spid="16"/>
                        </p:tgtEl>
                        <p:attrNameLst>
                          <p:attrName>ppt_y</p:attrName>
                        </p:attrNameLst>
                      </p:cBhvr>
                      <p:tavLst>
                        <p:tav tm="0">
                          <p:val>
                            <p:strVal val="1+#ppt_h/2"/>
                          </p:val>
                        </p:tav>
                        <p:tav tm="100000">
                          <p:val>
                            <p:strVal val="#ppt_y"/>
                          </p:val>
                        </p:tav>
                      </p:tavLst>
                    </p:anim>
                  </p:childTnLst>
                </p:cTn>
              </p:par>
            </p:tnLst>
          </p:tmpl>
        </p:tmplLst>
      </p:bldP>
      <p:bldP spid="215" grpId="0" animBg="1"/>
      <p:bldP spid="15" grpId="0" animBg="1">
        <p:tmplLst>
          <p:tmpl>
            <p:tnLst>
              <p:par>
                <p:cTn presetID="2" presetClass="entr" presetSubtype="4" decel="100000" fill="hold" nodeType="withEffect">
                  <p:stCondLst>
                    <p:cond delay="750"/>
                  </p:stCondLst>
                  <p:childTnLst>
                    <p:set>
                      <p:cBhvr>
                        <p:cTn dur="1" fill="hold">
                          <p:stCondLst>
                            <p:cond delay="0"/>
                          </p:stCondLst>
                        </p:cTn>
                        <p:tgtEl>
                          <p:spTgt spid="15"/>
                        </p:tgtEl>
                        <p:attrNameLst>
                          <p:attrName>style.visibility</p:attrName>
                        </p:attrNameLst>
                      </p:cBhvr>
                      <p:to>
                        <p:strVal val="visible"/>
                      </p:to>
                    </p:set>
                    <p:anim calcmode="lin" valueType="num">
                      <p:cBhvr additive="base">
                        <p:cTn dur="1000" fill="hold"/>
                        <p:tgtEl>
                          <p:spTgt spid="15"/>
                        </p:tgtEl>
                        <p:attrNameLst>
                          <p:attrName>ppt_x</p:attrName>
                        </p:attrNameLst>
                      </p:cBhvr>
                      <p:tavLst>
                        <p:tav tm="0">
                          <p:val>
                            <p:strVal val="#ppt_x"/>
                          </p:val>
                        </p:tav>
                        <p:tav tm="100000">
                          <p:val>
                            <p:strVal val="#ppt_x"/>
                          </p:val>
                        </p:tav>
                      </p:tavLst>
                    </p:anim>
                    <p:anim calcmode="lin" valueType="num">
                      <p:cBhvr additive="base">
                        <p:cTn dur="1000" fill="hold"/>
                        <p:tgtEl>
                          <p:spTgt spid="15"/>
                        </p:tgtEl>
                        <p:attrNameLst>
                          <p:attrName>ppt_y</p:attrName>
                        </p:attrNameLst>
                      </p:cBhvr>
                      <p:tavLst>
                        <p:tav tm="0">
                          <p:val>
                            <p:strVal val="1+#ppt_h/2"/>
                          </p:val>
                        </p:tav>
                        <p:tav tm="100000">
                          <p:val>
                            <p:strVal val="#ppt_y"/>
                          </p:val>
                        </p:tav>
                      </p:tavLst>
                    </p:anim>
                  </p:childTnLst>
                </p:cTn>
              </p:par>
            </p:tnLst>
          </p:tmpl>
        </p:tmplLst>
      </p:bldP>
      <p:bldP spid="216" grpId="0" animBg="1"/>
      <p:bldP spid="14" grpId="0" animBg="1">
        <p:tmplLst>
          <p:tmpl>
            <p:tnLst>
              <p:par>
                <p:cTn presetID="2" presetClass="entr" presetSubtype="4" decel="100000" fill="hold" nodeType="withEffect">
                  <p:stCondLst>
                    <p:cond delay="500"/>
                  </p:stCondLst>
                  <p:childTnLst>
                    <p:set>
                      <p:cBhvr>
                        <p:cTn dur="1" fill="hold">
                          <p:stCondLst>
                            <p:cond delay="0"/>
                          </p:stCondLst>
                        </p:cTn>
                        <p:tgtEl>
                          <p:spTgt spid="14"/>
                        </p:tgtEl>
                        <p:attrNameLst>
                          <p:attrName>style.visibility</p:attrName>
                        </p:attrNameLst>
                      </p:cBhvr>
                      <p:to>
                        <p:strVal val="visible"/>
                      </p:to>
                    </p:set>
                    <p:anim calcmode="lin" valueType="num">
                      <p:cBhvr additive="base">
                        <p:cTn dur="1000" fill="hold"/>
                        <p:tgtEl>
                          <p:spTgt spid="14"/>
                        </p:tgtEl>
                        <p:attrNameLst>
                          <p:attrName>ppt_x</p:attrName>
                        </p:attrNameLst>
                      </p:cBhvr>
                      <p:tavLst>
                        <p:tav tm="0">
                          <p:val>
                            <p:strVal val="#ppt_x"/>
                          </p:val>
                        </p:tav>
                        <p:tav tm="100000">
                          <p:val>
                            <p:strVal val="#ppt_x"/>
                          </p:val>
                        </p:tav>
                      </p:tavLst>
                    </p:anim>
                    <p:anim calcmode="lin" valueType="num">
                      <p:cBhvr additive="base">
                        <p:cTn dur="1000" fill="hold"/>
                        <p:tgtEl>
                          <p:spTgt spid="14"/>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MENU_ANIM 12 blokken">
    <p:spTree>
      <p:nvGrpSpPr>
        <p:cNvPr id="1" name=""/>
        <p:cNvGrpSpPr/>
        <p:nvPr/>
      </p:nvGrpSpPr>
      <p:grpSpPr>
        <a:xfrm>
          <a:off x="0" y="0"/>
          <a:ext cx="0" cy="0"/>
          <a:chOff x="0" y="0"/>
          <a:chExt cx="0" cy="0"/>
        </a:xfrm>
      </p:grpSpPr>
      <p:sp>
        <p:nvSpPr>
          <p:cNvPr id="21" name="Naam indeling - MENU_ANIM 12 blokken"/>
          <p:cNvSpPr txBox="1"/>
          <p:nvPr/>
        </p:nvSpPr>
        <p:spPr>
          <a:xfrm>
            <a:off x="1" y="-453266"/>
            <a:ext cx="3582333" cy="276999"/>
          </a:xfrm>
          <a:prstGeom prst="rect">
            <a:avLst/>
          </a:prstGeom>
          <a:noFill/>
        </p:spPr>
        <p:txBody>
          <a:bodyPr wrap="square" lIns="0" tIns="0" rIns="0" bIns="0" rtlCol="0">
            <a:spAutoFit/>
          </a:bodyPr>
          <a:lstStyle/>
          <a:p>
            <a:pPr defTabSz="914112"/>
            <a:r>
              <a:rPr lang="nl-NL" dirty="0">
                <a:solidFill>
                  <a:srgbClr val="404040"/>
                </a:solidFill>
                <a:latin typeface="Calibri" panose="020F0502020204030204" pitchFamily="34" charset="0"/>
              </a:rPr>
              <a:t>MENU_ANIM 12 blokken</a:t>
            </a:r>
            <a:endParaRPr lang="en-GB" dirty="0">
              <a:solidFill>
                <a:srgbClr val="404040"/>
              </a:solidFill>
              <a:latin typeface="Calibri" panose="020F0502020204030204" pitchFamily="34" charset="0"/>
            </a:endParaRPr>
          </a:p>
        </p:txBody>
      </p:sp>
      <p:grpSp>
        <p:nvGrpSpPr>
          <p:cNvPr id="106" name="Instructie - Hyperlink aanmaken"/>
          <p:cNvGrpSpPr/>
          <p:nvPr userDrawn="1"/>
        </p:nvGrpSpPr>
        <p:grpSpPr>
          <a:xfrm>
            <a:off x="12544468" y="4029638"/>
            <a:ext cx="2711112" cy="5221861"/>
            <a:chOff x="12441149" y="14897"/>
            <a:chExt cx="2710406" cy="5221861"/>
          </a:xfrm>
        </p:grpSpPr>
        <p:grpSp>
          <p:nvGrpSpPr>
            <p:cNvPr id="137" name="Groep 136"/>
            <p:cNvGrpSpPr/>
            <p:nvPr userDrawn="1"/>
          </p:nvGrpSpPr>
          <p:grpSpPr>
            <a:xfrm>
              <a:off x="12486425" y="1700551"/>
              <a:ext cx="276600" cy="277539"/>
              <a:chOff x="12486425" y="1700551"/>
              <a:chExt cx="276600" cy="277539"/>
            </a:xfrm>
          </p:grpSpPr>
          <p:sp>
            <p:nvSpPr>
              <p:cNvPr id="150" name="Ovaal 149"/>
              <p:cNvSpPr/>
              <p:nvPr userDrawn="1"/>
            </p:nvSpPr>
            <p:spPr>
              <a:xfrm>
                <a:off x="12491756" y="1700551"/>
                <a:ext cx="211685" cy="213802"/>
              </a:xfrm>
              <a:prstGeom prst="ellipse">
                <a:avLst/>
              </a:prstGeom>
              <a:noFill/>
              <a:ln w="158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12"/>
                <a:endParaRPr lang="nl-NL">
                  <a:solidFill>
                    <a:srgbClr val="FFFFFF"/>
                  </a:solidFill>
                </a:endParaRPr>
              </a:p>
            </p:txBody>
          </p:sp>
          <p:sp>
            <p:nvSpPr>
              <p:cNvPr id="151" name="Ovaal 150"/>
              <p:cNvSpPr/>
              <p:nvPr userDrawn="1"/>
            </p:nvSpPr>
            <p:spPr>
              <a:xfrm>
                <a:off x="12552711" y="1700551"/>
                <a:ext cx="89775" cy="213802"/>
              </a:xfrm>
              <a:prstGeom prst="ellipse">
                <a:avLst/>
              </a:prstGeom>
              <a:noFill/>
              <a:ln w="158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12"/>
                <a:endParaRPr lang="nl-NL">
                  <a:solidFill>
                    <a:srgbClr val="FFFFFF"/>
                  </a:solidFill>
                </a:endParaRPr>
              </a:p>
            </p:txBody>
          </p:sp>
          <p:cxnSp>
            <p:nvCxnSpPr>
              <p:cNvPr id="152" name="Rechte verbindingslijn 151"/>
              <p:cNvCxnSpPr/>
              <p:nvPr userDrawn="1"/>
            </p:nvCxnSpPr>
            <p:spPr>
              <a:xfrm>
                <a:off x="12491756" y="1814916"/>
                <a:ext cx="211685" cy="0"/>
              </a:xfrm>
              <a:prstGeom prst="line">
                <a:avLst/>
              </a:prstGeom>
              <a:noFill/>
              <a:ln w="158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153" name="Rechte verbindingslijn 152"/>
              <p:cNvCxnSpPr/>
              <p:nvPr userDrawn="1"/>
            </p:nvCxnSpPr>
            <p:spPr>
              <a:xfrm>
                <a:off x="12502330" y="1762664"/>
                <a:ext cx="190536" cy="0"/>
              </a:xfrm>
              <a:prstGeom prst="line">
                <a:avLst/>
              </a:prstGeom>
              <a:noFill/>
              <a:ln w="158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154" name="Rechthoek: afgeronde hoeken 78"/>
              <p:cNvSpPr/>
              <p:nvPr userDrawn="1"/>
            </p:nvSpPr>
            <p:spPr>
              <a:xfrm>
                <a:off x="12486425" y="1844390"/>
                <a:ext cx="276600" cy="133700"/>
              </a:xfrm>
              <a:prstGeom prst="roundRect">
                <a:avLst>
                  <a:gd name="adj" fmla="val 4258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12"/>
                <a:endParaRPr lang="nl-NL">
                  <a:solidFill>
                    <a:srgbClr val="FFFFFF"/>
                  </a:solidFill>
                </a:endParaRPr>
              </a:p>
            </p:txBody>
          </p:sp>
          <p:sp>
            <p:nvSpPr>
              <p:cNvPr id="155" name="Vrije vorm: vorm 79"/>
              <p:cNvSpPr/>
              <p:nvPr userDrawn="1"/>
            </p:nvSpPr>
            <p:spPr>
              <a:xfrm>
                <a:off x="12517912" y="1869290"/>
                <a:ext cx="127323" cy="78974"/>
              </a:xfrm>
              <a:custGeom>
                <a:avLst/>
                <a:gdLst>
                  <a:gd name="connsiteX0" fmla="*/ 141826 w 141826"/>
                  <a:gd name="connsiteY0" fmla="*/ 37323 h 93306"/>
                  <a:gd name="connsiteX1" fmla="*/ 108235 w 141826"/>
                  <a:gd name="connsiteY1" fmla="*/ 3732 h 93306"/>
                  <a:gd name="connsiteX2" fmla="*/ 37323 w 141826"/>
                  <a:gd name="connsiteY2" fmla="*/ 0 h 93306"/>
                  <a:gd name="connsiteX3" fmla="*/ 0 w 141826"/>
                  <a:gd name="connsiteY3" fmla="*/ 41055 h 93306"/>
                  <a:gd name="connsiteX4" fmla="*/ 29858 w 141826"/>
                  <a:gd name="connsiteY4" fmla="*/ 93306 h 93306"/>
                  <a:gd name="connsiteX5" fmla="*/ 78378 w 141826"/>
                  <a:gd name="connsiteY5" fmla="*/ 89574 h 93306"/>
                  <a:gd name="connsiteX0" fmla="*/ 141826 w 141826"/>
                  <a:gd name="connsiteY0" fmla="*/ 37666 h 93649"/>
                  <a:gd name="connsiteX1" fmla="*/ 107420 w 141826"/>
                  <a:gd name="connsiteY1" fmla="*/ 0 h 93649"/>
                  <a:gd name="connsiteX2" fmla="*/ 37323 w 141826"/>
                  <a:gd name="connsiteY2" fmla="*/ 343 h 93649"/>
                  <a:gd name="connsiteX3" fmla="*/ 0 w 141826"/>
                  <a:gd name="connsiteY3" fmla="*/ 41398 h 93649"/>
                  <a:gd name="connsiteX4" fmla="*/ 29858 w 141826"/>
                  <a:gd name="connsiteY4" fmla="*/ 93649 h 93649"/>
                  <a:gd name="connsiteX5" fmla="*/ 78378 w 141826"/>
                  <a:gd name="connsiteY5" fmla="*/ 89917 h 93649"/>
                  <a:gd name="connsiteX0" fmla="*/ 141826 w 141826"/>
                  <a:gd name="connsiteY0" fmla="*/ 37666 h 93649"/>
                  <a:gd name="connsiteX1" fmla="*/ 107420 w 141826"/>
                  <a:gd name="connsiteY1" fmla="*/ 0 h 93649"/>
                  <a:gd name="connsiteX2" fmla="*/ 37323 w 141826"/>
                  <a:gd name="connsiteY2" fmla="*/ 343 h 93649"/>
                  <a:gd name="connsiteX3" fmla="*/ 0 w 141826"/>
                  <a:gd name="connsiteY3" fmla="*/ 41398 h 93649"/>
                  <a:gd name="connsiteX4" fmla="*/ 29858 w 141826"/>
                  <a:gd name="connsiteY4" fmla="*/ 93649 h 93649"/>
                  <a:gd name="connsiteX5" fmla="*/ 78378 w 141826"/>
                  <a:gd name="connsiteY5" fmla="*/ 89917 h 93649"/>
                  <a:gd name="connsiteX0" fmla="*/ 141826 w 141826"/>
                  <a:gd name="connsiteY0" fmla="*/ 37666 h 93649"/>
                  <a:gd name="connsiteX1" fmla="*/ 107420 w 141826"/>
                  <a:gd name="connsiteY1" fmla="*/ 0 h 93649"/>
                  <a:gd name="connsiteX2" fmla="*/ 37323 w 141826"/>
                  <a:gd name="connsiteY2" fmla="*/ 343 h 93649"/>
                  <a:gd name="connsiteX3" fmla="*/ 0 w 141826"/>
                  <a:gd name="connsiteY3" fmla="*/ 41398 h 93649"/>
                  <a:gd name="connsiteX4" fmla="*/ 29858 w 141826"/>
                  <a:gd name="connsiteY4" fmla="*/ 93649 h 93649"/>
                  <a:gd name="connsiteX5" fmla="*/ 79193 w 141826"/>
                  <a:gd name="connsiteY5" fmla="*/ 93177 h 93649"/>
                  <a:gd name="connsiteX0" fmla="*/ 141826 w 141826"/>
                  <a:gd name="connsiteY0" fmla="*/ 37666 h 93650"/>
                  <a:gd name="connsiteX1" fmla="*/ 107420 w 141826"/>
                  <a:gd name="connsiteY1" fmla="*/ 0 h 93650"/>
                  <a:gd name="connsiteX2" fmla="*/ 37323 w 141826"/>
                  <a:gd name="connsiteY2" fmla="*/ 343 h 93650"/>
                  <a:gd name="connsiteX3" fmla="*/ 0 w 141826"/>
                  <a:gd name="connsiteY3" fmla="*/ 41398 h 93650"/>
                  <a:gd name="connsiteX4" fmla="*/ 29858 w 141826"/>
                  <a:gd name="connsiteY4" fmla="*/ 93649 h 93650"/>
                  <a:gd name="connsiteX5" fmla="*/ 79193 w 141826"/>
                  <a:gd name="connsiteY5" fmla="*/ 93177 h 93650"/>
                  <a:gd name="connsiteX0" fmla="*/ 141826 w 141826"/>
                  <a:gd name="connsiteY0" fmla="*/ 37666 h 93650"/>
                  <a:gd name="connsiteX1" fmla="*/ 107420 w 141826"/>
                  <a:gd name="connsiteY1" fmla="*/ 0 h 93650"/>
                  <a:gd name="connsiteX2" fmla="*/ 37323 w 141826"/>
                  <a:gd name="connsiteY2" fmla="*/ 343 h 93650"/>
                  <a:gd name="connsiteX3" fmla="*/ 0 w 141826"/>
                  <a:gd name="connsiteY3" fmla="*/ 41398 h 93650"/>
                  <a:gd name="connsiteX4" fmla="*/ 29858 w 141826"/>
                  <a:gd name="connsiteY4" fmla="*/ 93649 h 93650"/>
                  <a:gd name="connsiteX5" fmla="*/ 79193 w 141826"/>
                  <a:gd name="connsiteY5" fmla="*/ 93177 h 93650"/>
                  <a:gd name="connsiteX0" fmla="*/ 141826 w 141826"/>
                  <a:gd name="connsiteY0" fmla="*/ 37666 h 93650"/>
                  <a:gd name="connsiteX1" fmla="*/ 107420 w 141826"/>
                  <a:gd name="connsiteY1" fmla="*/ 0 h 93650"/>
                  <a:gd name="connsiteX2" fmla="*/ 37323 w 141826"/>
                  <a:gd name="connsiteY2" fmla="*/ 343 h 93650"/>
                  <a:gd name="connsiteX3" fmla="*/ 0 w 141826"/>
                  <a:gd name="connsiteY3" fmla="*/ 41398 h 93650"/>
                  <a:gd name="connsiteX4" fmla="*/ 29858 w 141826"/>
                  <a:gd name="connsiteY4" fmla="*/ 93649 h 93650"/>
                  <a:gd name="connsiteX5" fmla="*/ 79193 w 141826"/>
                  <a:gd name="connsiteY5" fmla="*/ 93177 h 93650"/>
                  <a:gd name="connsiteX0" fmla="*/ 141555 w 141555"/>
                  <a:gd name="connsiteY0" fmla="*/ 37666 h 93650"/>
                  <a:gd name="connsiteX1" fmla="*/ 107149 w 141555"/>
                  <a:gd name="connsiteY1" fmla="*/ 0 h 93650"/>
                  <a:gd name="connsiteX2" fmla="*/ 37052 w 141555"/>
                  <a:gd name="connsiteY2" fmla="*/ 343 h 93650"/>
                  <a:gd name="connsiteX3" fmla="*/ 1 w 141555"/>
                  <a:gd name="connsiteY3" fmla="*/ 46832 h 93650"/>
                  <a:gd name="connsiteX4" fmla="*/ 29587 w 141555"/>
                  <a:gd name="connsiteY4" fmla="*/ 93649 h 93650"/>
                  <a:gd name="connsiteX5" fmla="*/ 78922 w 141555"/>
                  <a:gd name="connsiteY5" fmla="*/ 93177 h 93650"/>
                  <a:gd name="connsiteX0" fmla="*/ 142097 w 142097"/>
                  <a:gd name="connsiteY0" fmla="*/ 37666 h 93650"/>
                  <a:gd name="connsiteX1" fmla="*/ 107691 w 142097"/>
                  <a:gd name="connsiteY1" fmla="*/ 0 h 93650"/>
                  <a:gd name="connsiteX2" fmla="*/ 37594 w 142097"/>
                  <a:gd name="connsiteY2" fmla="*/ 343 h 93650"/>
                  <a:gd name="connsiteX3" fmla="*/ 0 w 142097"/>
                  <a:gd name="connsiteY3" fmla="*/ 45745 h 93650"/>
                  <a:gd name="connsiteX4" fmla="*/ 30129 w 142097"/>
                  <a:gd name="connsiteY4" fmla="*/ 93649 h 93650"/>
                  <a:gd name="connsiteX5" fmla="*/ 79464 w 142097"/>
                  <a:gd name="connsiteY5" fmla="*/ 93177 h 93650"/>
                  <a:gd name="connsiteX0" fmla="*/ 142151 w 142151"/>
                  <a:gd name="connsiteY0" fmla="*/ 37666 h 93177"/>
                  <a:gd name="connsiteX1" fmla="*/ 107745 w 142151"/>
                  <a:gd name="connsiteY1" fmla="*/ 0 h 93177"/>
                  <a:gd name="connsiteX2" fmla="*/ 37648 w 142151"/>
                  <a:gd name="connsiteY2" fmla="*/ 343 h 93177"/>
                  <a:gd name="connsiteX3" fmla="*/ 54 w 142151"/>
                  <a:gd name="connsiteY3" fmla="*/ 45745 h 93177"/>
                  <a:gd name="connsiteX4" fmla="*/ 30455 w 142151"/>
                  <a:gd name="connsiteY4" fmla="*/ 92834 h 93177"/>
                  <a:gd name="connsiteX5" fmla="*/ 79518 w 142151"/>
                  <a:gd name="connsiteY5" fmla="*/ 93177 h 93177"/>
                  <a:gd name="connsiteX0" fmla="*/ 142111 w 142111"/>
                  <a:gd name="connsiteY0" fmla="*/ 37666 h 93177"/>
                  <a:gd name="connsiteX1" fmla="*/ 107705 w 142111"/>
                  <a:gd name="connsiteY1" fmla="*/ 0 h 93177"/>
                  <a:gd name="connsiteX2" fmla="*/ 37608 w 142111"/>
                  <a:gd name="connsiteY2" fmla="*/ 343 h 93177"/>
                  <a:gd name="connsiteX3" fmla="*/ 14 w 142111"/>
                  <a:gd name="connsiteY3" fmla="*/ 45745 h 93177"/>
                  <a:gd name="connsiteX4" fmla="*/ 30415 w 142111"/>
                  <a:gd name="connsiteY4" fmla="*/ 92834 h 93177"/>
                  <a:gd name="connsiteX5" fmla="*/ 79478 w 142111"/>
                  <a:gd name="connsiteY5" fmla="*/ 93177 h 93177"/>
                  <a:gd name="connsiteX0" fmla="*/ 142111 w 142111"/>
                  <a:gd name="connsiteY0" fmla="*/ 37666 h 93177"/>
                  <a:gd name="connsiteX1" fmla="*/ 107705 w 142111"/>
                  <a:gd name="connsiteY1" fmla="*/ 0 h 93177"/>
                  <a:gd name="connsiteX2" fmla="*/ 37608 w 142111"/>
                  <a:gd name="connsiteY2" fmla="*/ 343 h 93177"/>
                  <a:gd name="connsiteX3" fmla="*/ 14 w 142111"/>
                  <a:gd name="connsiteY3" fmla="*/ 45745 h 93177"/>
                  <a:gd name="connsiteX4" fmla="*/ 30415 w 142111"/>
                  <a:gd name="connsiteY4" fmla="*/ 92834 h 93177"/>
                  <a:gd name="connsiteX5" fmla="*/ 79478 w 142111"/>
                  <a:gd name="connsiteY5" fmla="*/ 93177 h 9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111" h="93177">
                    <a:moveTo>
                      <a:pt x="142111" y="37666"/>
                    </a:moveTo>
                    <a:cubicBezTo>
                      <a:pt x="132000" y="23209"/>
                      <a:pt x="116185" y="600"/>
                      <a:pt x="107705" y="0"/>
                    </a:cubicBezTo>
                    <a:lnTo>
                      <a:pt x="37608" y="343"/>
                    </a:lnTo>
                    <a:cubicBezTo>
                      <a:pt x="25439" y="715"/>
                      <a:pt x="-689" y="17289"/>
                      <a:pt x="14" y="45745"/>
                    </a:cubicBezTo>
                    <a:cubicBezTo>
                      <a:pt x="717" y="74201"/>
                      <a:pt x="17745" y="93077"/>
                      <a:pt x="30415" y="92834"/>
                    </a:cubicBezTo>
                    <a:lnTo>
                      <a:pt x="79478" y="93177"/>
                    </a:lnTo>
                  </a:path>
                </a:pathLst>
              </a:custGeom>
              <a:noFill/>
              <a:ln w="28575"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12"/>
                <a:endParaRPr lang="nl-NL">
                  <a:solidFill>
                    <a:srgbClr val="FFFFFF"/>
                  </a:solidFill>
                </a:endParaRPr>
              </a:p>
            </p:txBody>
          </p:sp>
          <p:sp>
            <p:nvSpPr>
              <p:cNvPr id="156" name="Vrije vorm: vorm 80"/>
              <p:cNvSpPr/>
              <p:nvPr userDrawn="1"/>
            </p:nvSpPr>
            <p:spPr>
              <a:xfrm flipH="1" flipV="1">
                <a:off x="12605887" y="1869290"/>
                <a:ext cx="127323" cy="78974"/>
              </a:xfrm>
              <a:custGeom>
                <a:avLst/>
                <a:gdLst>
                  <a:gd name="connsiteX0" fmla="*/ 141826 w 141826"/>
                  <a:gd name="connsiteY0" fmla="*/ 37323 h 93306"/>
                  <a:gd name="connsiteX1" fmla="*/ 108235 w 141826"/>
                  <a:gd name="connsiteY1" fmla="*/ 3732 h 93306"/>
                  <a:gd name="connsiteX2" fmla="*/ 37323 w 141826"/>
                  <a:gd name="connsiteY2" fmla="*/ 0 h 93306"/>
                  <a:gd name="connsiteX3" fmla="*/ 0 w 141826"/>
                  <a:gd name="connsiteY3" fmla="*/ 41055 h 93306"/>
                  <a:gd name="connsiteX4" fmla="*/ 29858 w 141826"/>
                  <a:gd name="connsiteY4" fmla="*/ 93306 h 93306"/>
                  <a:gd name="connsiteX5" fmla="*/ 78378 w 141826"/>
                  <a:gd name="connsiteY5" fmla="*/ 89574 h 93306"/>
                  <a:gd name="connsiteX0" fmla="*/ 141826 w 141826"/>
                  <a:gd name="connsiteY0" fmla="*/ 37666 h 93649"/>
                  <a:gd name="connsiteX1" fmla="*/ 107420 w 141826"/>
                  <a:gd name="connsiteY1" fmla="*/ 0 h 93649"/>
                  <a:gd name="connsiteX2" fmla="*/ 37323 w 141826"/>
                  <a:gd name="connsiteY2" fmla="*/ 343 h 93649"/>
                  <a:gd name="connsiteX3" fmla="*/ 0 w 141826"/>
                  <a:gd name="connsiteY3" fmla="*/ 41398 h 93649"/>
                  <a:gd name="connsiteX4" fmla="*/ 29858 w 141826"/>
                  <a:gd name="connsiteY4" fmla="*/ 93649 h 93649"/>
                  <a:gd name="connsiteX5" fmla="*/ 78378 w 141826"/>
                  <a:gd name="connsiteY5" fmla="*/ 89917 h 93649"/>
                  <a:gd name="connsiteX0" fmla="*/ 141826 w 141826"/>
                  <a:gd name="connsiteY0" fmla="*/ 37666 h 93649"/>
                  <a:gd name="connsiteX1" fmla="*/ 107420 w 141826"/>
                  <a:gd name="connsiteY1" fmla="*/ 0 h 93649"/>
                  <a:gd name="connsiteX2" fmla="*/ 37323 w 141826"/>
                  <a:gd name="connsiteY2" fmla="*/ 343 h 93649"/>
                  <a:gd name="connsiteX3" fmla="*/ 0 w 141826"/>
                  <a:gd name="connsiteY3" fmla="*/ 41398 h 93649"/>
                  <a:gd name="connsiteX4" fmla="*/ 29858 w 141826"/>
                  <a:gd name="connsiteY4" fmla="*/ 93649 h 93649"/>
                  <a:gd name="connsiteX5" fmla="*/ 78378 w 141826"/>
                  <a:gd name="connsiteY5" fmla="*/ 89917 h 93649"/>
                  <a:gd name="connsiteX0" fmla="*/ 141826 w 141826"/>
                  <a:gd name="connsiteY0" fmla="*/ 37666 h 93649"/>
                  <a:gd name="connsiteX1" fmla="*/ 107420 w 141826"/>
                  <a:gd name="connsiteY1" fmla="*/ 0 h 93649"/>
                  <a:gd name="connsiteX2" fmla="*/ 37323 w 141826"/>
                  <a:gd name="connsiteY2" fmla="*/ 343 h 93649"/>
                  <a:gd name="connsiteX3" fmla="*/ 0 w 141826"/>
                  <a:gd name="connsiteY3" fmla="*/ 41398 h 93649"/>
                  <a:gd name="connsiteX4" fmla="*/ 29858 w 141826"/>
                  <a:gd name="connsiteY4" fmla="*/ 93649 h 93649"/>
                  <a:gd name="connsiteX5" fmla="*/ 79193 w 141826"/>
                  <a:gd name="connsiteY5" fmla="*/ 93177 h 93649"/>
                  <a:gd name="connsiteX0" fmla="*/ 141826 w 141826"/>
                  <a:gd name="connsiteY0" fmla="*/ 37666 h 93650"/>
                  <a:gd name="connsiteX1" fmla="*/ 107420 w 141826"/>
                  <a:gd name="connsiteY1" fmla="*/ 0 h 93650"/>
                  <a:gd name="connsiteX2" fmla="*/ 37323 w 141826"/>
                  <a:gd name="connsiteY2" fmla="*/ 343 h 93650"/>
                  <a:gd name="connsiteX3" fmla="*/ 0 w 141826"/>
                  <a:gd name="connsiteY3" fmla="*/ 41398 h 93650"/>
                  <a:gd name="connsiteX4" fmla="*/ 29858 w 141826"/>
                  <a:gd name="connsiteY4" fmla="*/ 93649 h 93650"/>
                  <a:gd name="connsiteX5" fmla="*/ 79193 w 141826"/>
                  <a:gd name="connsiteY5" fmla="*/ 93177 h 93650"/>
                  <a:gd name="connsiteX0" fmla="*/ 141826 w 141826"/>
                  <a:gd name="connsiteY0" fmla="*/ 37666 h 93650"/>
                  <a:gd name="connsiteX1" fmla="*/ 107420 w 141826"/>
                  <a:gd name="connsiteY1" fmla="*/ 0 h 93650"/>
                  <a:gd name="connsiteX2" fmla="*/ 37323 w 141826"/>
                  <a:gd name="connsiteY2" fmla="*/ 343 h 93650"/>
                  <a:gd name="connsiteX3" fmla="*/ 0 w 141826"/>
                  <a:gd name="connsiteY3" fmla="*/ 41398 h 93650"/>
                  <a:gd name="connsiteX4" fmla="*/ 29858 w 141826"/>
                  <a:gd name="connsiteY4" fmla="*/ 93649 h 93650"/>
                  <a:gd name="connsiteX5" fmla="*/ 79193 w 141826"/>
                  <a:gd name="connsiteY5" fmla="*/ 93177 h 93650"/>
                  <a:gd name="connsiteX0" fmla="*/ 141826 w 141826"/>
                  <a:gd name="connsiteY0" fmla="*/ 37666 h 93650"/>
                  <a:gd name="connsiteX1" fmla="*/ 107420 w 141826"/>
                  <a:gd name="connsiteY1" fmla="*/ 0 h 93650"/>
                  <a:gd name="connsiteX2" fmla="*/ 37323 w 141826"/>
                  <a:gd name="connsiteY2" fmla="*/ 343 h 93650"/>
                  <a:gd name="connsiteX3" fmla="*/ 0 w 141826"/>
                  <a:gd name="connsiteY3" fmla="*/ 41398 h 93650"/>
                  <a:gd name="connsiteX4" fmla="*/ 29858 w 141826"/>
                  <a:gd name="connsiteY4" fmla="*/ 93649 h 93650"/>
                  <a:gd name="connsiteX5" fmla="*/ 79193 w 141826"/>
                  <a:gd name="connsiteY5" fmla="*/ 93177 h 93650"/>
                  <a:gd name="connsiteX0" fmla="*/ 141555 w 141555"/>
                  <a:gd name="connsiteY0" fmla="*/ 37666 h 93650"/>
                  <a:gd name="connsiteX1" fmla="*/ 107149 w 141555"/>
                  <a:gd name="connsiteY1" fmla="*/ 0 h 93650"/>
                  <a:gd name="connsiteX2" fmla="*/ 37052 w 141555"/>
                  <a:gd name="connsiteY2" fmla="*/ 343 h 93650"/>
                  <a:gd name="connsiteX3" fmla="*/ 1 w 141555"/>
                  <a:gd name="connsiteY3" fmla="*/ 46832 h 93650"/>
                  <a:gd name="connsiteX4" fmla="*/ 29587 w 141555"/>
                  <a:gd name="connsiteY4" fmla="*/ 93649 h 93650"/>
                  <a:gd name="connsiteX5" fmla="*/ 78922 w 141555"/>
                  <a:gd name="connsiteY5" fmla="*/ 93177 h 93650"/>
                  <a:gd name="connsiteX0" fmla="*/ 142097 w 142097"/>
                  <a:gd name="connsiteY0" fmla="*/ 37666 h 93650"/>
                  <a:gd name="connsiteX1" fmla="*/ 107691 w 142097"/>
                  <a:gd name="connsiteY1" fmla="*/ 0 h 93650"/>
                  <a:gd name="connsiteX2" fmla="*/ 37594 w 142097"/>
                  <a:gd name="connsiteY2" fmla="*/ 343 h 93650"/>
                  <a:gd name="connsiteX3" fmla="*/ 0 w 142097"/>
                  <a:gd name="connsiteY3" fmla="*/ 45745 h 93650"/>
                  <a:gd name="connsiteX4" fmla="*/ 30129 w 142097"/>
                  <a:gd name="connsiteY4" fmla="*/ 93649 h 93650"/>
                  <a:gd name="connsiteX5" fmla="*/ 79464 w 142097"/>
                  <a:gd name="connsiteY5" fmla="*/ 93177 h 93650"/>
                  <a:gd name="connsiteX0" fmla="*/ 142151 w 142151"/>
                  <a:gd name="connsiteY0" fmla="*/ 37666 h 93177"/>
                  <a:gd name="connsiteX1" fmla="*/ 107745 w 142151"/>
                  <a:gd name="connsiteY1" fmla="*/ 0 h 93177"/>
                  <a:gd name="connsiteX2" fmla="*/ 37648 w 142151"/>
                  <a:gd name="connsiteY2" fmla="*/ 343 h 93177"/>
                  <a:gd name="connsiteX3" fmla="*/ 54 w 142151"/>
                  <a:gd name="connsiteY3" fmla="*/ 45745 h 93177"/>
                  <a:gd name="connsiteX4" fmla="*/ 30455 w 142151"/>
                  <a:gd name="connsiteY4" fmla="*/ 92834 h 93177"/>
                  <a:gd name="connsiteX5" fmla="*/ 79518 w 142151"/>
                  <a:gd name="connsiteY5" fmla="*/ 93177 h 93177"/>
                  <a:gd name="connsiteX0" fmla="*/ 142111 w 142111"/>
                  <a:gd name="connsiteY0" fmla="*/ 37666 h 93177"/>
                  <a:gd name="connsiteX1" fmla="*/ 107705 w 142111"/>
                  <a:gd name="connsiteY1" fmla="*/ 0 h 93177"/>
                  <a:gd name="connsiteX2" fmla="*/ 37608 w 142111"/>
                  <a:gd name="connsiteY2" fmla="*/ 343 h 93177"/>
                  <a:gd name="connsiteX3" fmla="*/ 14 w 142111"/>
                  <a:gd name="connsiteY3" fmla="*/ 45745 h 93177"/>
                  <a:gd name="connsiteX4" fmla="*/ 30415 w 142111"/>
                  <a:gd name="connsiteY4" fmla="*/ 92834 h 93177"/>
                  <a:gd name="connsiteX5" fmla="*/ 79478 w 142111"/>
                  <a:gd name="connsiteY5" fmla="*/ 93177 h 93177"/>
                  <a:gd name="connsiteX0" fmla="*/ 142111 w 142111"/>
                  <a:gd name="connsiteY0" fmla="*/ 37666 h 93177"/>
                  <a:gd name="connsiteX1" fmla="*/ 107705 w 142111"/>
                  <a:gd name="connsiteY1" fmla="*/ 0 h 93177"/>
                  <a:gd name="connsiteX2" fmla="*/ 37608 w 142111"/>
                  <a:gd name="connsiteY2" fmla="*/ 343 h 93177"/>
                  <a:gd name="connsiteX3" fmla="*/ 14 w 142111"/>
                  <a:gd name="connsiteY3" fmla="*/ 45745 h 93177"/>
                  <a:gd name="connsiteX4" fmla="*/ 30415 w 142111"/>
                  <a:gd name="connsiteY4" fmla="*/ 92834 h 93177"/>
                  <a:gd name="connsiteX5" fmla="*/ 79478 w 142111"/>
                  <a:gd name="connsiteY5" fmla="*/ 93177 h 9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111" h="93177">
                    <a:moveTo>
                      <a:pt x="142111" y="37666"/>
                    </a:moveTo>
                    <a:cubicBezTo>
                      <a:pt x="132000" y="23209"/>
                      <a:pt x="116185" y="600"/>
                      <a:pt x="107705" y="0"/>
                    </a:cubicBezTo>
                    <a:lnTo>
                      <a:pt x="37608" y="343"/>
                    </a:lnTo>
                    <a:cubicBezTo>
                      <a:pt x="25439" y="715"/>
                      <a:pt x="-689" y="17289"/>
                      <a:pt x="14" y="45745"/>
                    </a:cubicBezTo>
                    <a:cubicBezTo>
                      <a:pt x="717" y="74201"/>
                      <a:pt x="17745" y="93077"/>
                      <a:pt x="30415" y="92834"/>
                    </a:cubicBezTo>
                    <a:lnTo>
                      <a:pt x="79478" y="93177"/>
                    </a:lnTo>
                  </a:path>
                </a:pathLst>
              </a:custGeom>
              <a:noFill/>
              <a:ln w="28575"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12"/>
                <a:endParaRPr lang="nl-NL">
                  <a:solidFill>
                    <a:srgbClr val="FFFFFF"/>
                  </a:solidFill>
                </a:endParaRPr>
              </a:p>
            </p:txBody>
          </p:sp>
        </p:grpSp>
        <p:grpSp>
          <p:nvGrpSpPr>
            <p:cNvPr id="138" name="Groep 137"/>
            <p:cNvGrpSpPr/>
            <p:nvPr userDrawn="1"/>
          </p:nvGrpSpPr>
          <p:grpSpPr>
            <a:xfrm>
              <a:off x="12441149" y="14897"/>
              <a:ext cx="2710406" cy="5221861"/>
              <a:chOff x="12441149" y="14897"/>
              <a:chExt cx="2710406" cy="5221861"/>
            </a:xfrm>
          </p:grpSpPr>
          <p:grpSp>
            <p:nvGrpSpPr>
              <p:cNvPr id="139" name="Groep 138"/>
              <p:cNvGrpSpPr/>
              <p:nvPr userDrawn="1"/>
            </p:nvGrpSpPr>
            <p:grpSpPr>
              <a:xfrm>
                <a:off x="12441149" y="14897"/>
                <a:ext cx="2710406" cy="5221861"/>
                <a:chOff x="12441149" y="14897"/>
                <a:chExt cx="2710406" cy="5221861"/>
              </a:xfrm>
            </p:grpSpPr>
            <p:sp>
              <p:nvSpPr>
                <p:cNvPr id="141" name="Rechthoek 140"/>
                <p:cNvSpPr/>
                <p:nvPr userDrawn="1"/>
              </p:nvSpPr>
              <p:spPr>
                <a:xfrm>
                  <a:off x="12441150" y="14897"/>
                  <a:ext cx="2696270" cy="161771"/>
                </a:xfrm>
                <a:prstGeom prst="rect">
                  <a:avLst/>
                </a:prstGeom>
                <a:noFill/>
                <a:ln w="25400" cap="flat" cmpd="sng" algn="ctr">
                  <a:noFill/>
                  <a:prstDash val="solid"/>
                </a:ln>
                <a:effectLst/>
              </p:spPr>
              <p:txBody>
                <a:bodyPr lIns="0" tIns="0" rIns="0" bIns="0" rtlCol="0" anchor="t"/>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12">
                    <a:lnSpc>
                      <a:spcPct val="80000"/>
                    </a:lnSpc>
                  </a:pPr>
                  <a:r>
                    <a:rPr lang="nl-NL" sz="1600" b="1" kern="0" cap="all" dirty="0">
                      <a:solidFill>
                        <a:srgbClr val="ED1A3B"/>
                      </a:solidFill>
                      <a:cs typeface="Segoe UI Light" panose="020B0502040204020203" pitchFamily="34" charset="0"/>
                    </a:rPr>
                    <a:t>Hyperlink aanmaken</a:t>
                  </a:r>
                </a:p>
              </p:txBody>
            </p:sp>
            <p:sp>
              <p:nvSpPr>
                <p:cNvPr id="142" name="Tekstvak 33"/>
                <p:cNvSpPr txBox="1"/>
                <p:nvPr userDrawn="1"/>
              </p:nvSpPr>
              <p:spPr>
                <a:xfrm>
                  <a:off x="12441149" y="814239"/>
                  <a:ext cx="2710405" cy="719877"/>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Selecteer het ingevoegde icoon of transparante kader en ga met rechtermuisknop naar </a:t>
                  </a:r>
                  <a:r>
                    <a:rPr lang="nl-NL" sz="1200" u="sng" kern="0" dirty="0">
                      <a:solidFill>
                        <a:srgbClr val="000000"/>
                      </a:solidFill>
                      <a:latin typeface="Trebuchet MS"/>
                      <a:cs typeface="Segoe UI Light" panose="020B0502040204020203" pitchFamily="34" charset="0"/>
                    </a:rPr>
                    <a:t>H</a:t>
                  </a:r>
                  <a:r>
                    <a:rPr lang="nl-NL" sz="1200" kern="0" dirty="0">
                      <a:solidFill>
                        <a:srgbClr val="000000"/>
                      </a:solidFill>
                      <a:latin typeface="Trebuchet MS"/>
                      <a:cs typeface="Segoe UI Light" panose="020B0502040204020203" pitchFamily="34" charset="0"/>
                    </a:rPr>
                    <a:t>yperlink…</a:t>
                  </a:r>
                  <a:br>
                    <a:rPr lang="nl-NL" sz="1200" kern="0" dirty="0">
                      <a:solidFill>
                        <a:srgbClr val="000000"/>
                      </a:solidFill>
                      <a:latin typeface="Trebuchet MS"/>
                      <a:cs typeface="Segoe UI Light" panose="020B0502040204020203" pitchFamily="34" charset="0"/>
                    </a:rPr>
                  </a:br>
                  <a:r>
                    <a:rPr lang="nl-NL" sz="1100" i="1" kern="0" dirty="0">
                      <a:solidFill>
                        <a:srgbClr val="000000"/>
                      </a:solidFill>
                      <a:latin typeface="Trebuchet MS"/>
                      <a:cs typeface="Segoe UI Light" panose="020B0502040204020203" pitchFamily="34" charset="0"/>
                    </a:rPr>
                    <a:t>(zie onderstaand voorbeeld).</a:t>
                  </a:r>
                </a:p>
              </p:txBody>
            </p:sp>
            <p:sp>
              <p:nvSpPr>
                <p:cNvPr id="143" name="Tekstvak 33"/>
                <p:cNvSpPr txBox="1"/>
                <p:nvPr userDrawn="1"/>
              </p:nvSpPr>
              <p:spPr>
                <a:xfrm>
                  <a:off x="12441149" y="2793904"/>
                  <a:ext cx="2710405" cy="395943"/>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Selecteer tab: </a:t>
                  </a:r>
                  <a:r>
                    <a:rPr lang="nl-NL" sz="1200" i="1" kern="0" dirty="0">
                      <a:solidFill>
                        <a:srgbClr val="000000"/>
                      </a:solidFill>
                      <a:latin typeface="Trebuchet MS"/>
                      <a:cs typeface="Segoe UI Light" panose="020B0502040204020203" pitchFamily="34" charset="0"/>
                    </a:rPr>
                    <a:t>‘Plaats in dit document’ </a:t>
                  </a:r>
                  <a:r>
                    <a:rPr lang="nl-NL" sz="1200" kern="0" dirty="0">
                      <a:solidFill>
                        <a:srgbClr val="000000"/>
                      </a:solidFill>
                      <a:latin typeface="Trebuchet MS"/>
                      <a:cs typeface="Segoe UI Light" panose="020B0502040204020203" pitchFamily="34" charset="0"/>
                    </a:rPr>
                    <a:t>en selecteer hierna bij </a:t>
                  </a:r>
                  <a:r>
                    <a:rPr lang="nl-NL" sz="1200" b="1" kern="0" dirty="0">
                      <a:solidFill>
                        <a:srgbClr val="000000"/>
                      </a:solidFill>
                      <a:latin typeface="Trebuchet MS"/>
                      <a:cs typeface="Segoe UI Light" panose="020B0502040204020203" pitchFamily="34" charset="0"/>
                    </a:rPr>
                    <a:t>‘Diatitels’ </a:t>
                  </a:r>
                  <a:r>
                    <a:rPr lang="nl-NL" sz="1200" kern="0" dirty="0">
                      <a:solidFill>
                        <a:srgbClr val="000000"/>
                      </a:solidFill>
                      <a:latin typeface="Trebuchet MS"/>
                      <a:cs typeface="Segoe UI Light" panose="020B0502040204020203" pitchFamily="34" charset="0"/>
                    </a:rPr>
                    <a:t>de slide waar u naar wilt linken. Klik vervolgens  op </a:t>
                  </a:r>
                  <a:r>
                    <a:rPr lang="nl-NL" sz="1200" b="1" kern="0" dirty="0">
                      <a:solidFill>
                        <a:srgbClr val="000000"/>
                      </a:solidFill>
                      <a:latin typeface="Trebuchet MS"/>
                      <a:cs typeface="Segoe UI Light" panose="020B0502040204020203" pitchFamily="34" charset="0"/>
                    </a:rPr>
                    <a:t>‘OK’</a:t>
                  </a:r>
                </a:p>
              </p:txBody>
            </p:sp>
            <p:sp>
              <p:nvSpPr>
                <p:cNvPr id="144" name="Ovaal 143"/>
                <p:cNvSpPr/>
                <p:nvPr userDrawn="1"/>
              </p:nvSpPr>
              <p:spPr>
                <a:xfrm>
                  <a:off x="12441150" y="379292"/>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1</a:t>
                  </a:r>
                </a:p>
              </p:txBody>
            </p:sp>
            <p:sp>
              <p:nvSpPr>
                <p:cNvPr id="145" name="Ovaal 144"/>
                <p:cNvSpPr/>
                <p:nvPr userDrawn="1"/>
              </p:nvSpPr>
              <p:spPr>
                <a:xfrm>
                  <a:off x="12441150" y="2337208"/>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2</a:t>
                  </a:r>
                </a:p>
              </p:txBody>
            </p:sp>
            <p:cxnSp>
              <p:nvCxnSpPr>
                <p:cNvPr id="146" name="Rechte verbindingslijn 145"/>
                <p:cNvCxnSpPr/>
                <p:nvPr userDrawn="1"/>
              </p:nvCxnSpPr>
              <p:spPr>
                <a:xfrm>
                  <a:off x="12441150" y="248176"/>
                  <a:ext cx="2710405" cy="0"/>
                </a:xfrm>
                <a:prstGeom prst="line">
                  <a:avLst/>
                </a:prstGeom>
                <a:noFill/>
                <a:ln w="9525" cap="flat" cmpd="sng" algn="ctr">
                  <a:solidFill>
                    <a:schemeClr val="accent1"/>
                  </a:solidFill>
                  <a:prstDash val="solid"/>
                </a:ln>
                <a:effectLst/>
              </p:spPr>
            </p:cxnSp>
            <p:cxnSp>
              <p:nvCxnSpPr>
                <p:cNvPr id="147" name="Rechte verbindingslijn 146"/>
                <p:cNvCxnSpPr/>
                <p:nvPr userDrawn="1"/>
              </p:nvCxnSpPr>
              <p:spPr>
                <a:xfrm>
                  <a:off x="12441149" y="2212830"/>
                  <a:ext cx="2710405" cy="0"/>
                </a:xfrm>
                <a:prstGeom prst="line">
                  <a:avLst/>
                </a:prstGeom>
                <a:noFill/>
                <a:ln w="9525" cap="flat" cmpd="sng" algn="ctr">
                  <a:solidFill>
                    <a:schemeClr val="accent1"/>
                  </a:solidFill>
                  <a:prstDash val="solid"/>
                </a:ln>
                <a:effectLst/>
              </p:spPr>
            </p:cxnSp>
            <p:cxnSp>
              <p:nvCxnSpPr>
                <p:cNvPr id="148" name="Rechte verbindingslijn 147"/>
                <p:cNvCxnSpPr/>
                <p:nvPr userDrawn="1"/>
              </p:nvCxnSpPr>
              <p:spPr>
                <a:xfrm>
                  <a:off x="12444679" y="5236758"/>
                  <a:ext cx="2706875" cy="0"/>
                </a:xfrm>
                <a:prstGeom prst="line">
                  <a:avLst/>
                </a:prstGeom>
                <a:noFill/>
                <a:ln w="9525" cap="flat" cmpd="sng" algn="ctr">
                  <a:solidFill>
                    <a:schemeClr val="accent1"/>
                  </a:solidFill>
                  <a:prstDash val="solid"/>
                </a:ln>
                <a:effectLst/>
              </p:spPr>
            </p:cxnSp>
            <p:sp>
              <p:nvSpPr>
                <p:cNvPr id="149" name="Tekstvak 33"/>
                <p:cNvSpPr txBox="1"/>
                <p:nvPr userDrawn="1"/>
              </p:nvSpPr>
              <p:spPr>
                <a:xfrm>
                  <a:off x="12961946" y="1702639"/>
                  <a:ext cx="1287094" cy="298430"/>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12" fontAlgn="auto">
                    <a:spcBef>
                      <a:spcPts val="0"/>
                    </a:spcBef>
                    <a:spcAft>
                      <a:spcPts val="0"/>
                    </a:spcAft>
                    <a:defRPr/>
                  </a:pPr>
                  <a:r>
                    <a:rPr lang="nl-NL" sz="1600" u="sng" kern="0" dirty="0">
                      <a:solidFill>
                        <a:srgbClr val="000000"/>
                      </a:solidFill>
                      <a:latin typeface="Trebuchet MS"/>
                      <a:cs typeface="Segoe UI Light" panose="020B0502040204020203" pitchFamily="34" charset="0"/>
                    </a:rPr>
                    <a:t>H</a:t>
                  </a:r>
                  <a:r>
                    <a:rPr lang="nl-NL" sz="1600" kern="0" dirty="0">
                      <a:solidFill>
                        <a:srgbClr val="000000"/>
                      </a:solidFill>
                      <a:latin typeface="Trebuchet MS"/>
                      <a:cs typeface="Segoe UI Light" panose="020B0502040204020203" pitchFamily="34" charset="0"/>
                    </a:rPr>
                    <a:t>yperlink…</a:t>
                  </a:r>
                  <a:endParaRPr lang="nl-NL" sz="1400" i="1" kern="0" dirty="0">
                    <a:solidFill>
                      <a:srgbClr val="000000"/>
                    </a:solidFill>
                    <a:latin typeface="Trebuchet MS"/>
                    <a:cs typeface="Segoe UI Light" panose="020B0502040204020203" pitchFamily="34" charset="0"/>
                  </a:endParaRPr>
                </a:p>
              </p:txBody>
            </p:sp>
          </p:grpSp>
          <p:pic>
            <p:nvPicPr>
              <p:cNvPr id="140" name="Afbeelding 139"/>
              <p:cNvPicPr>
                <a:picLocks noChangeAspect="1"/>
              </p:cNvPicPr>
              <p:nvPr userDrawn="1"/>
            </p:nvPicPr>
            <p:blipFill rotWithShape="1">
              <a:blip r:embed="rId2"/>
              <a:srcRect l="541" t="1090" b="517"/>
              <a:stretch/>
            </p:blipFill>
            <p:spPr>
              <a:xfrm>
                <a:off x="12459242" y="3770920"/>
                <a:ext cx="2678178" cy="1300095"/>
              </a:xfrm>
              <a:prstGeom prst="round2SameRect">
                <a:avLst>
                  <a:gd name="adj1" fmla="val 2077"/>
                  <a:gd name="adj2" fmla="val 0"/>
                </a:avLst>
              </a:prstGeom>
              <a:ln w="3175">
                <a:solidFill>
                  <a:schemeClr val="tx1"/>
                </a:solidFill>
              </a:ln>
            </p:spPr>
          </p:pic>
        </p:grpSp>
      </p:grpSp>
      <p:grpSp>
        <p:nvGrpSpPr>
          <p:cNvPr id="107" name="Instructie - Afbeelding invoegen"/>
          <p:cNvGrpSpPr/>
          <p:nvPr userDrawn="1"/>
        </p:nvGrpSpPr>
        <p:grpSpPr>
          <a:xfrm>
            <a:off x="12487712" y="-19834"/>
            <a:ext cx="2717570" cy="3676571"/>
            <a:chOff x="12434693" y="14897"/>
            <a:chExt cx="2716862" cy="3676571"/>
          </a:xfrm>
        </p:grpSpPr>
        <p:sp>
          <p:nvSpPr>
            <p:cNvPr id="123" name="Rechthoek 122"/>
            <p:cNvSpPr/>
            <p:nvPr userDrawn="1"/>
          </p:nvSpPr>
          <p:spPr>
            <a:xfrm>
              <a:off x="12441150" y="14897"/>
              <a:ext cx="2696270" cy="161771"/>
            </a:xfrm>
            <a:prstGeom prst="rect">
              <a:avLst/>
            </a:prstGeom>
            <a:noFill/>
            <a:ln w="25400" cap="flat" cmpd="sng" algn="ctr">
              <a:noFill/>
              <a:prstDash val="solid"/>
            </a:ln>
            <a:effectLst/>
          </p:spPr>
          <p:txBody>
            <a:bodyPr lIns="0" tIns="0" rIns="0" bIns="0" rtlCol="0" anchor="t"/>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12">
                <a:lnSpc>
                  <a:spcPct val="80000"/>
                </a:lnSpc>
              </a:pPr>
              <a:r>
                <a:rPr lang="nl-NL" sz="1600" b="1" kern="0" cap="all" dirty="0">
                  <a:solidFill>
                    <a:srgbClr val="ED1A3B"/>
                  </a:solidFill>
                  <a:cs typeface="Segoe UI Light" panose="020B0502040204020203" pitchFamily="34" charset="0"/>
                </a:rPr>
                <a:t>AFBEELDING INVOEGEN</a:t>
              </a:r>
            </a:p>
          </p:txBody>
        </p:sp>
        <p:sp>
          <p:nvSpPr>
            <p:cNvPr id="124" name="Tekstvak 33"/>
            <p:cNvSpPr txBox="1"/>
            <p:nvPr userDrawn="1"/>
          </p:nvSpPr>
          <p:spPr>
            <a:xfrm>
              <a:off x="12441149" y="814239"/>
              <a:ext cx="2710405" cy="719877"/>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Indien nodig, verwijder de bestaande afbeelding. Klik op het pictogram </a:t>
              </a:r>
              <a:br>
                <a:rPr lang="nl-NL" sz="1200" kern="0" dirty="0">
                  <a:solidFill>
                    <a:srgbClr val="000000"/>
                  </a:solidFill>
                  <a:latin typeface="Trebuchet MS"/>
                  <a:cs typeface="Segoe UI Light" panose="020B0502040204020203" pitchFamily="34" charset="0"/>
                </a:rPr>
              </a:br>
              <a:r>
                <a:rPr lang="nl-NL" sz="1200" kern="0" dirty="0">
                  <a:solidFill>
                    <a:srgbClr val="000000"/>
                  </a:solidFill>
                  <a:latin typeface="Trebuchet MS"/>
                  <a:cs typeface="Segoe UI Light" panose="020B0502040204020203" pitchFamily="34" charset="0"/>
                </a:rPr>
                <a:t>om een afbeelding in te voegen</a:t>
              </a:r>
              <a:br>
                <a:rPr lang="nl-NL" sz="1200" kern="0" dirty="0">
                  <a:solidFill>
                    <a:srgbClr val="000000"/>
                  </a:solidFill>
                  <a:latin typeface="Trebuchet MS"/>
                  <a:cs typeface="Segoe UI Light" panose="020B0502040204020203" pitchFamily="34" charset="0"/>
                </a:rPr>
              </a:br>
              <a:r>
                <a:rPr lang="nl-NL" sz="1100" i="1" kern="0" dirty="0">
                  <a:solidFill>
                    <a:srgbClr val="000000"/>
                  </a:solidFill>
                  <a:latin typeface="Trebuchet MS"/>
                  <a:cs typeface="Segoe UI Light" panose="020B0502040204020203" pitchFamily="34" charset="0"/>
                </a:rPr>
                <a:t>(zie onderstaand voorbeeld).</a:t>
              </a:r>
            </a:p>
          </p:txBody>
        </p:sp>
        <p:sp>
          <p:nvSpPr>
            <p:cNvPr id="125" name="Tekstvak 33"/>
            <p:cNvSpPr txBox="1"/>
            <p:nvPr userDrawn="1"/>
          </p:nvSpPr>
          <p:spPr>
            <a:xfrm>
              <a:off x="12441149" y="2793904"/>
              <a:ext cx="2710405" cy="395943"/>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Selecteer de afbeelding die u wilt invoegen en klik op </a:t>
              </a:r>
              <a:r>
                <a:rPr lang="nl-NL" sz="1200" b="1" kern="0" dirty="0">
                  <a:solidFill>
                    <a:srgbClr val="000000"/>
                  </a:solidFill>
                  <a:latin typeface="Trebuchet MS"/>
                  <a:cs typeface="Segoe UI Light" panose="020B0502040204020203" pitchFamily="34" charset="0"/>
                </a:rPr>
                <a:t>‘Invoegen’</a:t>
              </a:r>
            </a:p>
          </p:txBody>
        </p:sp>
        <p:sp>
          <p:nvSpPr>
            <p:cNvPr id="126" name="Ovaal 125"/>
            <p:cNvSpPr/>
            <p:nvPr userDrawn="1"/>
          </p:nvSpPr>
          <p:spPr>
            <a:xfrm>
              <a:off x="12441150" y="379292"/>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1</a:t>
              </a:r>
            </a:p>
          </p:txBody>
        </p:sp>
        <p:sp>
          <p:nvSpPr>
            <p:cNvPr id="127" name="Ovaal 126"/>
            <p:cNvSpPr/>
            <p:nvPr userDrawn="1"/>
          </p:nvSpPr>
          <p:spPr>
            <a:xfrm>
              <a:off x="12441150" y="2337208"/>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2</a:t>
              </a:r>
            </a:p>
          </p:txBody>
        </p:sp>
        <p:cxnSp>
          <p:nvCxnSpPr>
            <p:cNvPr id="128" name="Rechte verbindingslijn 127"/>
            <p:cNvCxnSpPr/>
            <p:nvPr userDrawn="1"/>
          </p:nvCxnSpPr>
          <p:spPr>
            <a:xfrm>
              <a:off x="12441150" y="248176"/>
              <a:ext cx="2710405" cy="0"/>
            </a:xfrm>
            <a:prstGeom prst="line">
              <a:avLst/>
            </a:prstGeom>
            <a:noFill/>
            <a:ln w="9525" cap="flat" cmpd="sng" algn="ctr">
              <a:solidFill>
                <a:schemeClr val="accent1"/>
              </a:solidFill>
              <a:prstDash val="solid"/>
            </a:ln>
            <a:effectLst/>
          </p:spPr>
        </p:cxnSp>
        <p:cxnSp>
          <p:nvCxnSpPr>
            <p:cNvPr id="129" name="Rechte verbindingslijn 128"/>
            <p:cNvCxnSpPr/>
            <p:nvPr userDrawn="1"/>
          </p:nvCxnSpPr>
          <p:spPr>
            <a:xfrm>
              <a:off x="12441149" y="2212830"/>
              <a:ext cx="2710405" cy="0"/>
            </a:xfrm>
            <a:prstGeom prst="line">
              <a:avLst/>
            </a:prstGeom>
            <a:noFill/>
            <a:ln w="9525" cap="flat" cmpd="sng" algn="ctr">
              <a:solidFill>
                <a:schemeClr val="accent1"/>
              </a:solidFill>
              <a:prstDash val="solid"/>
            </a:ln>
            <a:effectLst/>
          </p:spPr>
        </p:cxnSp>
        <p:cxnSp>
          <p:nvCxnSpPr>
            <p:cNvPr id="130" name="Rechte verbindingslijn 129"/>
            <p:cNvCxnSpPr/>
            <p:nvPr userDrawn="1"/>
          </p:nvCxnSpPr>
          <p:spPr>
            <a:xfrm>
              <a:off x="12444679" y="3691468"/>
              <a:ext cx="2706875" cy="0"/>
            </a:xfrm>
            <a:prstGeom prst="line">
              <a:avLst/>
            </a:prstGeom>
            <a:noFill/>
            <a:ln w="9525" cap="flat" cmpd="sng" algn="ctr">
              <a:solidFill>
                <a:schemeClr val="accent1"/>
              </a:solidFill>
              <a:prstDash val="solid"/>
            </a:ln>
            <a:effectLst/>
          </p:spPr>
        </p:cxnSp>
        <p:pic>
          <p:nvPicPr>
            <p:cNvPr id="131" name="Icoontje afbeeldi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2434693" y="1677764"/>
              <a:ext cx="403210" cy="403210"/>
            </a:xfrm>
            <a:prstGeom prst="rect">
              <a:avLst/>
            </a:prstGeom>
          </p:spPr>
        </p:pic>
        <p:grpSp>
          <p:nvGrpSpPr>
            <p:cNvPr id="132" name="Groep 131"/>
            <p:cNvGrpSpPr/>
            <p:nvPr userDrawn="1"/>
          </p:nvGrpSpPr>
          <p:grpSpPr>
            <a:xfrm>
              <a:off x="12450571" y="3301369"/>
              <a:ext cx="1002992" cy="267962"/>
              <a:chOff x="13560784" y="3471416"/>
              <a:chExt cx="1114138" cy="297656"/>
            </a:xfrm>
          </p:grpSpPr>
          <p:sp>
            <p:nvSpPr>
              <p:cNvPr id="133" name="Afgeronde rechthoek 132"/>
              <p:cNvSpPr/>
              <p:nvPr userDrawn="1"/>
            </p:nvSpPr>
            <p:spPr>
              <a:xfrm>
                <a:off x="13560784" y="3471416"/>
                <a:ext cx="1114138" cy="297656"/>
              </a:xfrm>
              <a:prstGeom prst="roundRect">
                <a:avLst/>
              </a:prstGeom>
              <a:gradFill flip="none" rotWithShape="1">
                <a:gsLst>
                  <a:gs pos="4000">
                    <a:srgbClr val="00B0F0"/>
                  </a:gs>
                  <a:gs pos="0">
                    <a:srgbClr val="0070C0"/>
                  </a:gs>
                  <a:gs pos="100000">
                    <a:srgbClr val="0070C0"/>
                  </a:gs>
                  <a:gs pos="12000">
                    <a:srgbClr val="D1EAFF"/>
                  </a:gs>
                  <a:gs pos="96000">
                    <a:srgbClr val="00B0F0"/>
                  </a:gs>
                  <a:gs pos="89000">
                    <a:srgbClr val="DDF4FF"/>
                  </a:gs>
                  <a:gs pos="43000">
                    <a:srgbClr val="D1EAFF"/>
                  </a:gs>
                  <a:gs pos="51000">
                    <a:srgbClr val="DDF4FF"/>
                  </a:gs>
                </a:gsLst>
                <a:lin ang="16200000" scaled="1"/>
                <a:tileRect/>
              </a:gradFill>
              <a:ln w="63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12"/>
                <a:endParaRPr lang="nl-NL" dirty="0">
                  <a:solidFill>
                    <a:srgbClr val="FFFFFF"/>
                  </a:solidFill>
                </a:endParaRPr>
              </a:p>
            </p:txBody>
          </p:sp>
          <p:sp>
            <p:nvSpPr>
              <p:cNvPr id="134" name="Tekstvak 62"/>
              <p:cNvSpPr txBox="1"/>
              <p:nvPr userDrawn="1"/>
            </p:nvSpPr>
            <p:spPr>
              <a:xfrm>
                <a:off x="13573594" y="3488254"/>
                <a:ext cx="888311" cy="273506"/>
              </a:xfrm>
              <a:prstGeom prst="rect">
                <a:avLst/>
              </a:prstGeom>
              <a:noFill/>
            </p:spPr>
            <p:txBody>
              <a:bodyPr wrap="square" rtlCol="0" anchor="ctr">
                <a:sp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12"/>
                <a:r>
                  <a:rPr lang="nl-NL" sz="1000" dirty="0">
                    <a:solidFill>
                      <a:srgbClr val="000000"/>
                    </a:solidFill>
                    <a:latin typeface="Trebuchet MS"/>
                  </a:rPr>
                  <a:t>Invoegen</a:t>
                </a:r>
              </a:p>
            </p:txBody>
          </p:sp>
          <p:cxnSp>
            <p:nvCxnSpPr>
              <p:cNvPr id="135" name="Rechte verbindingslijn 134"/>
              <p:cNvCxnSpPr/>
              <p:nvPr userDrawn="1"/>
            </p:nvCxnSpPr>
            <p:spPr>
              <a:xfrm>
                <a:off x="14461905" y="3507058"/>
                <a:ext cx="0" cy="224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6" name="Gelijkbenige driehoek 135"/>
              <p:cNvSpPr/>
              <p:nvPr userDrawn="1"/>
            </p:nvSpPr>
            <p:spPr>
              <a:xfrm rot="10800000">
                <a:off x="14518584" y="3600521"/>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12"/>
                <a:endParaRPr lang="nl-NL" dirty="0">
                  <a:solidFill>
                    <a:srgbClr val="FFFFFF"/>
                  </a:solidFill>
                </a:endParaRPr>
              </a:p>
            </p:txBody>
          </p:sp>
        </p:grpSp>
      </p:grpSp>
      <p:grpSp>
        <p:nvGrpSpPr>
          <p:cNvPr id="70" name="Instructie - Tekst niveaus"/>
          <p:cNvGrpSpPr/>
          <p:nvPr userDrawn="1"/>
        </p:nvGrpSpPr>
        <p:grpSpPr>
          <a:xfrm>
            <a:off x="-3117849" y="365"/>
            <a:ext cx="2823358" cy="5254722"/>
            <a:chOff x="-2959433" y="-5444"/>
            <a:chExt cx="2822623" cy="5254722"/>
          </a:xfrm>
        </p:grpSpPr>
        <p:sp>
          <p:nvSpPr>
            <p:cNvPr id="71" name="Rechthoek 70"/>
            <p:cNvSpPr/>
            <p:nvPr userDrawn="1"/>
          </p:nvSpPr>
          <p:spPr>
            <a:xfrm>
              <a:off x="-2959433" y="-5444"/>
              <a:ext cx="2572469" cy="280344"/>
            </a:xfrm>
            <a:prstGeom prst="rect">
              <a:avLst/>
            </a:prstGeom>
            <a:noFill/>
            <a:ln w="25400" cap="flat" cmpd="sng" algn="ctr">
              <a:noFill/>
              <a:prstDash val="solid"/>
            </a:ln>
            <a:effectLst/>
          </p:spPr>
          <p:txBody>
            <a:bodyPr lIns="0" tIns="0" rIns="0" bIns="0" rtlCol="0" anchor="t"/>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nl-NL" sz="1600" b="1" kern="0" dirty="0">
                  <a:solidFill>
                    <a:srgbClr val="ED1A3B"/>
                  </a:solidFill>
                  <a:cs typeface="Segoe UI Light" panose="020B0502040204020203" pitchFamily="34" charset="0"/>
                </a:rPr>
                <a:t>TEKST NIVEAUS</a:t>
              </a:r>
            </a:p>
          </p:txBody>
        </p:sp>
        <p:sp>
          <p:nvSpPr>
            <p:cNvPr id="72" name="Textfield placeholder"/>
            <p:cNvSpPr txBox="1">
              <a:spLocks/>
            </p:cNvSpPr>
            <p:nvPr userDrawn="1"/>
          </p:nvSpPr>
          <p:spPr>
            <a:xfrm>
              <a:off x="-2587337" y="2675411"/>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0" lvl="2"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a:solidFill>
                    <a:srgbClr val="404040"/>
                  </a:solidFill>
                </a:rPr>
                <a:t>Sub-bullets (16 pt.)</a:t>
              </a:r>
            </a:p>
          </p:txBody>
        </p:sp>
        <p:sp>
          <p:nvSpPr>
            <p:cNvPr id="73" name="Ovaal 72"/>
            <p:cNvSpPr/>
            <p:nvPr userDrawn="1"/>
          </p:nvSpPr>
          <p:spPr>
            <a:xfrm>
              <a:off x="-2959433" y="196874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1</a:t>
              </a:r>
            </a:p>
          </p:txBody>
        </p:sp>
        <p:sp>
          <p:nvSpPr>
            <p:cNvPr id="74" name="Ovaal 73"/>
            <p:cNvSpPr/>
            <p:nvPr userDrawn="1"/>
          </p:nvSpPr>
          <p:spPr>
            <a:xfrm>
              <a:off x="-2959433" y="232207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2</a:t>
              </a:r>
            </a:p>
          </p:txBody>
        </p:sp>
        <p:sp>
          <p:nvSpPr>
            <p:cNvPr id="75" name="Ovaal 74"/>
            <p:cNvSpPr/>
            <p:nvPr userDrawn="1"/>
          </p:nvSpPr>
          <p:spPr>
            <a:xfrm>
              <a:off x="-2959433" y="267541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3</a:t>
              </a:r>
            </a:p>
          </p:txBody>
        </p:sp>
        <p:sp>
          <p:nvSpPr>
            <p:cNvPr id="76" name="Ovaal 75"/>
            <p:cNvSpPr/>
            <p:nvPr userDrawn="1"/>
          </p:nvSpPr>
          <p:spPr>
            <a:xfrm>
              <a:off x="-2959433" y="302874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4</a:t>
              </a:r>
            </a:p>
          </p:txBody>
        </p:sp>
        <p:sp>
          <p:nvSpPr>
            <p:cNvPr id="77" name="Textfield placeholder"/>
            <p:cNvSpPr txBox="1">
              <a:spLocks/>
            </p:cNvSpPr>
            <p:nvPr userDrawn="1"/>
          </p:nvSpPr>
          <p:spPr>
            <a:xfrm>
              <a:off x="-2571950" y="1966925"/>
              <a:ext cx="2163709" cy="261500"/>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79388">
                <a:lnSpc>
                  <a:spcPct val="120000"/>
                </a:lnSpc>
                <a:spcBef>
                  <a:spcPts val="0"/>
                </a:spcBef>
                <a:spcAft>
                  <a:spcPts val="900"/>
                </a:spcAft>
                <a:buClr>
                  <a:srgbClr val="000000"/>
                </a:buClr>
                <a:buSzPct val="100000"/>
                <a:buFont typeface="Arial" pitchFamily="34" charset="0"/>
                <a:buNone/>
                <a:defRPr/>
              </a:pPr>
              <a:r>
                <a:rPr lang="nl-NL" sz="1200" dirty="0">
                  <a:solidFill>
                    <a:srgbClr val="535353"/>
                  </a:solidFill>
                </a:rPr>
                <a:t>Leestekst (16 pt.)</a:t>
              </a:r>
            </a:p>
          </p:txBody>
        </p:sp>
        <p:sp>
          <p:nvSpPr>
            <p:cNvPr id="78" name="Textfield placeholder"/>
            <p:cNvSpPr txBox="1">
              <a:spLocks/>
            </p:cNvSpPr>
            <p:nvPr userDrawn="1"/>
          </p:nvSpPr>
          <p:spPr>
            <a:xfrm>
              <a:off x="-2571950" y="2322077"/>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70000" lvl="1"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err="1">
                  <a:solidFill>
                    <a:srgbClr val="535353"/>
                  </a:solidFill>
                </a:rPr>
                <a:t>Bullets</a:t>
              </a:r>
              <a:r>
                <a:rPr lang="nl-NL" sz="1200" dirty="0">
                  <a:solidFill>
                    <a:srgbClr val="535353"/>
                  </a:solidFill>
                </a:rPr>
                <a:t> (16 </a:t>
              </a:r>
              <a:r>
                <a:rPr lang="nl-NL" sz="1200" dirty="0" err="1">
                  <a:solidFill>
                    <a:srgbClr val="535353"/>
                  </a:solidFill>
                </a:rPr>
                <a:t>pt</a:t>
              </a:r>
              <a:r>
                <a:rPr lang="nl-NL" sz="1200" dirty="0">
                  <a:solidFill>
                    <a:srgbClr val="535353"/>
                  </a:solidFill>
                </a:rPr>
                <a:t>.)</a:t>
              </a:r>
            </a:p>
          </p:txBody>
        </p:sp>
        <p:sp>
          <p:nvSpPr>
            <p:cNvPr id="79" name="Textfield placeholder"/>
            <p:cNvSpPr txBox="1">
              <a:spLocks/>
            </p:cNvSpPr>
            <p:nvPr userDrawn="1"/>
          </p:nvSpPr>
          <p:spPr>
            <a:xfrm>
              <a:off x="-2571951" y="3028747"/>
              <a:ext cx="2435141"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10000" lvl="3" indent="-270000" algn="l" defTabSz="179388" rtl="0" eaLnBrk="1" latinLnBrk="0" hangingPunct="1">
                <a:lnSpc>
                  <a:spcPct val="120000"/>
                </a:lnSpc>
                <a:spcBef>
                  <a:spcPts val="0"/>
                </a:spcBef>
                <a:spcAft>
                  <a:spcPts val="900"/>
                </a:spcAft>
                <a:buClr>
                  <a:schemeClr val="accent2"/>
                </a:buClr>
                <a:buSzPct val="80000"/>
                <a:buFont typeface="Wingdings 3" panose="05040102010807070707" pitchFamily="18" charset="2"/>
                <a:buChar char=""/>
                <a:defRPr/>
              </a:pPr>
              <a:r>
                <a:rPr lang="nl-NL" sz="1200" b="0" kern="1200" dirty="0">
                  <a:solidFill>
                    <a:srgbClr val="404040"/>
                  </a:solidFill>
                  <a:latin typeface="+mn-lt"/>
                  <a:ea typeface="+mn-ea"/>
                  <a:cs typeface="+mn-cs"/>
                </a:rPr>
                <a:t>Sub-sub-bullets (16 pt.)</a:t>
              </a:r>
            </a:p>
          </p:txBody>
        </p:sp>
        <p:cxnSp>
          <p:nvCxnSpPr>
            <p:cNvPr id="80" name="Rechte verbindingslijn 79"/>
            <p:cNvCxnSpPr/>
            <p:nvPr userDrawn="1"/>
          </p:nvCxnSpPr>
          <p:spPr>
            <a:xfrm>
              <a:off x="-2959100" y="274900"/>
              <a:ext cx="2674470" cy="0"/>
            </a:xfrm>
            <a:prstGeom prst="line">
              <a:avLst/>
            </a:prstGeom>
            <a:noFill/>
            <a:ln w="9525" cap="flat" cmpd="sng" algn="ctr">
              <a:solidFill>
                <a:schemeClr val="accent1"/>
              </a:solidFill>
              <a:prstDash val="solid"/>
            </a:ln>
            <a:effectLst/>
          </p:spPr>
        </p:cxnSp>
        <p:cxnSp>
          <p:nvCxnSpPr>
            <p:cNvPr id="81" name="Rechte verbindingslijn 80"/>
            <p:cNvCxnSpPr/>
            <p:nvPr userDrawn="1"/>
          </p:nvCxnSpPr>
          <p:spPr>
            <a:xfrm>
              <a:off x="-2959100" y="1841989"/>
              <a:ext cx="2661379" cy="0"/>
            </a:xfrm>
            <a:prstGeom prst="line">
              <a:avLst/>
            </a:prstGeom>
            <a:noFill/>
            <a:ln w="9525" cap="flat" cmpd="sng" algn="ctr">
              <a:solidFill>
                <a:schemeClr val="accent1"/>
              </a:solidFill>
              <a:prstDash val="solid"/>
            </a:ln>
            <a:effectLst/>
          </p:spPr>
        </p:cxnSp>
        <p:cxnSp>
          <p:nvCxnSpPr>
            <p:cNvPr id="82" name="Rechte verbindingslijn 81"/>
            <p:cNvCxnSpPr/>
            <p:nvPr userDrawn="1"/>
          </p:nvCxnSpPr>
          <p:spPr>
            <a:xfrm>
              <a:off x="-2959100" y="5249278"/>
              <a:ext cx="2661379" cy="0"/>
            </a:xfrm>
            <a:prstGeom prst="line">
              <a:avLst/>
            </a:prstGeom>
            <a:noFill/>
            <a:ln w="9525" cap="flat" cmpd="sng" algn="ctr">
              <a:solidFill>
                <a:schemeClr val="accent1"/>
              </a:solidFill>
              <a:prstDash val="solid"/>
            </a:ln>
            <a:effectLst/>
          </p:spPr>
        </p:cxnSp>
        <p:grpSp>
          <p:nvGrpSpPr>
            <p:cNvPr id="83" name="Groep 82"/>
            <p:cNvGrpSpPr/>
            <p:nvPr userDrawn="1"/>
          </p:nvGrpSpPr>
          <p:grpSpPr>
            <a:xfrm>
              <a:off x="-1948476" y="816741"/>
              <a:ext cx="409108" cy="427699"/>
              <a:chOff x="-1085063" y="758027"/>
              <a:chExt cx="633799" cy="622540"/>
            </a:xfrm>
          </p:grpSpPr>
          <p:sp>
            <p:nvSpPr>
              <p:cNvPr id="190" name="Afgeronde rechthoek 189"/>
              <p:cNvSpPr/>
              <p:nvPr userDrawn="1"/>
            </p:nvSpPr>
            <p:spPr>
              <a:xfrm>
                <a:off x="-108506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191" name="Groep 190"/>
              <p:cNvGrpSpPr/>
              <p:nvPr userDrawn="1"/>
            </p:nvGrpSpPr>
            <p:grpSpPr>
              <a:xfrm>
                <a:off x="-977739" y="864082"/>
                <a:ext cx="419168" cy="410429"/>
                <a:chOff x="6366933" y="309013"/>
                <a:chExt cx="1901295" cy="1861668"/>
              </a:xfrm>
              <a:solidFill>
                <a:srgbClr val="000000"/>
              </a:solidFill>
            </p:grpSpPr>
            <p:sp>
              <p:nvSpPr>
                <p:cNvPr id="192" name="Rechthoek 191"/>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93" name="Rechthoek 192"/>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94" name="Rechthoek 193"/>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95" name="Rechthoek 194"/>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96" name="Rechthoek 195"/>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97" name="Rechthoek 196"/>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98" name="Rechthoek 197"/>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99" name="Rechthoek 198"/>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00" name="Rechthoek 199"/>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01" name="Rechthoek 200"/>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02" name="Vrije vorm 201"/>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nvGrpSpPr>
            <p:cNvPr id="84" name="Groep 83"/>
            <p:cNvGrpSpPr/>
            <p:nvPr userDrawn="1"/>
          </p:nvGrpSpPr>
          <p:grpSpPr>
            <a:xfrm>
              <a:off x="-2950232" y="1207835"/>
              <a:ext cx="532929" cy="509563"/>
              <a:chOff x="-2880382" y="802341"/>
              <a:chExt cx="532929" cy="509563"/>
            </a:xfrm>
          </p:grpSpPr>
          <p:sp>
            <p:nvSpPr>
              <p:cNvPr id="168" name="Rechthoek 167"/>
              <p:cNvSpPr/>
              <p:nvPr userDrawn="1"/>
            </p:nvSpPr>
            <p:spPr>
              <a:xfrm>
                <a:off x="-2880382" y="802341"/>
                <a:ext cx="532929" cy="509563"/>
              </a:xfrm>
              <a:prstGeom prst="rect">
                <a:avLst/>
              </a:prstGeom>
              <a:solidFill>
                <a:sysClr val="window" lastClr="FFFFFF"/>
              </a:soli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pic>
            <p:nvPicPr>
              <p:cNvPr id="169"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635852" y="822181"/>
                <a:ext cx="226442" cy="208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0" name="Picture 3"/>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2848026" y="822181"/>
                <a:ext cx="207168" cy="213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71" name="Groep 170"/>
              <p:cNvGrpSpPr/>
              <p:nvPr userDrawn="1"/>
            </p:nvGrpSpPr>
            <p:grpSpPr>
              <a:xfrm>
                <a:off x="-2802433" y="1123442"/>
                <a:ext cx="132915" cy="104889"/>
                <a:chOff x="-2796392" y="1123442"/>
                <a:chExt cx="120832" cy="104889"/>
              </a:xfrm>
            </p:grpSpPr>
            <p:sp>
              <p:nvSpPr>
                <p:cNvPr id="185" name="Rechthoek 184"/>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86" name="Rechthoek 185"/>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87" name="Rechthoek 186"/>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88" name="Rechthoek 187"/>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89" name="Rechthoek 188"/>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172" name="Groep 171"/>
              <p:cNvGrpSpPr/>
              <p:nvPr userDrawn="1"/>
            </p:nvGrpSpPr>
            <p:grpSpPr>
              <a:xfrm>
                <a:off x="-2575417" y="1123442"/>
                <a:ext cx="133930" cy="104889"/>
                <a:chOff x="-2556734" y="1123442"/>
                <a:chExt cx="147324" cy="104889"/>
              </a:xfrm>
            </p:grpSpPr>
            <p:grpSp>
              <p:nvGrpSpPr>
                <p:cNvPr id="173" name="Groep 172"/>
                <p:cNvGrpSpPr/>
                <p:nvPr userDrawn="1"/>
              </p:nvGrpSpPr>
              <p:grpSpPr>
                <a:xfrm>
                  <a:off x="-2556734" y="1123442"/>
                  <a:ext cx="68206" cy="104889"/>
                  <a:chOff x="-2796392" y="1123442"/>
                  <a:chExt cx="120832" cy="104889"/>
                </a:xfrm>
              </p:grpSpPr>
              <p:sp>
                <p:nvSpPr>
                  <p:cNvPr id="180" name="Rechthoek 179"/>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81" name="Rechthoek 180"/>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82" name="Rechthoek 181"/>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83" name="Rechthoek 182"/>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84" name="Rechthoek 183"/>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174" name="Groep 173"/>
                <p:cNvGrpSpPr/>
                <p:nvPr userDrawn="1"/>
              </p:nvGrpSpPr>
              <p:grpSpPr>
                <a:xfrm>
                  <a:off x="-2477616" y="1123442"/>
                  <a:ext cx="68206" cy="104889"/>
                  <a:chOff x="-2796392" y="1123442"/>
                  <a:chExt cx="120832" cy="104889"/>
                </a:xfrm>
              </p:grpSpPr>
              <p:sp>
                <p:nvSpPr>
                  <p:cNvPr id="175" name="Rechthoek 174"/>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76" name="Rechthoek 175"/>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77" name="Rechthoek 176"/>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78" name="Rechthoek 177"/>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79" name="Rechthoek 178"/>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grpSp>
          <p:nvGrpSpPr>
            <p:cNvPr id="85" name="Groep 84"/>
            <p:cNvGrpSpPr/>
            <p:nvPr userDrawn="1"/>
          </p:nvGrpSpPr>
          <p:grpSpPr>
            <a:xfrm>
              <a:off x="-1948476" y="1281164"/>
              <a:ext cx="413704" cy="427699"/>
              <a:chOff x="-1845083" y="758027"/>
              <a:chExt cx="633799" cy="622540"/>
            </a:xfrm>
          </p:grpSpPr>
          <p:sp>
            <p:nvSpPr>
              <p:cNvPr id="104" name="Afgeronde rechthoek 103"/>
              <p:cNvSpPr/>
              <p:nvPr userDrawn="1"/>
            </p:nvSpPr>
            <p:spPr>
              <a:xfrm>
                <a:off x="-184508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105" name="Groep 104"/>
              <p:cNvGrpSpPr/>
              <p:nvPr userDrawn="1"/>
            </p:nvGrpSpPr>
            <p:grpSpPr>
              <a:xfrm>
                <a:off x="-1737762" y="864082"/>
                <a:ext cx="419168" cy="410429"/>
                <a:chOff x="3708400" y="309013"/>
                <a:chExt cx="1901295" cy="1861668"/>
              </a:xfrm>
              <a:solidFill>
                <a:srgbClr val="000000"/>
              </a:solidFill>
            </p:grpSpPr>
            <p:sp>
              <p:nvSpPr>
                <p:cNvPr id="157" name="Rechthoek 156"/>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58" name="Rechthoek 157"/>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59" name="Rechthoek 158"/>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0" name="Rechthoek 159"/>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1" name="Rechthoek 160"/>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2" name="Rechthoek 161"/>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3" name="Rechthoek 162"/>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4" name="Rechthoek 163"/>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5" name="Rechthoek 164"/>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6" name="Rechthoek 165"/>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7" name="Vrije vorm 166"/>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cxnSp>
          <p:nvCxnSpPr>
            <p:cNvPr id="86" name="Rechte verbindingslijn 85"/>
            <p:cNvCxnSpPr/>
            <p:nvPr userDrawn="1"/>
          </p:nvCxnSpPr>
          <p:spPr>
            <a:xfrm>
              <a:off x="-2814292" y="1441193"/>
              <a:ext cx="865816" cy="53821"/>
            </a:xfrm>
            <a:prstGeom prst="line">
              <a:avLst/>
            </a:prstGeom>
            <a:noFill/>
            <a:ln w="9525" cap="flat" cmpd="sng" algn="ctr">
              <a:solidFill>
                <a:schemeClr val="accent1"/>
              </a:solidFill>
              <a:prstDash val="solid"/>
              <a:headEnd type="oval"/>
            </a:ln>
            <a:effectLst/>
          </p:spPr>
        </p:cxnSp>
        <p:cxnSp>
          <p:nvCxnSpPr>
            <p:cNvPr id="87" name="Rechte verbindingslijn 86"/>
            <p:cNvCxnSpPr/>
            <p:nvPr userDrawn="1"/>
          </p:nvCxnSpPr>
          <p:spPr>
            <a:xfrm flipV="1">
              <a:off x="-2453902" y="1030591"/>
              <a:ext cx="505426" cy="283623"/>
            </a:xfrm>
            <a:prstGeom prst="line">
              <a:avLst/>
            </a:prstGeom>
            <a:noFill/>
            <a:ln w="9525" cap="flat" cmpd="sng" algn="ctr">
              <a:solidFill>
                <a:schemeClr val="accent1"/>
              </a:solidFill>
              <a:prstDash val="solid"/>
              <a:headEnd type="oval"/>
            </a:ln>
            <a:effectLst/>
          </p:spPr>
        </p:cxnSp>
        <p:sp>
          <p:nvSpPr>
            <p:cNvPr id="88" name="Textfield placeholder"/>
            <p:cNvSpPr txBox="1">
              <a:spLocks/>
            </p:cNvSpPr>
            <p:nvPr userDrawn="1"/>
          </p:nvSpPr>
          <p:spPr>
            <a:xfrm>
              <a:off x="-1341598" y="816743"/>
              <a:ext cx="1056968" cy="427698"/>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hoog</a:t>
              </a:r>
            </a:p>
          </p:txBody>
        </p:sp>
        <p:sp>
          <p:nvSpPr>
            <p:cNvPr id="89" name="Textfield placeholder"/>
            <p:cNvSpPr txBox="1">
              <a:spLocks/>
            </p:cNvSpPr>
            <p:nvPr userDrawn="1"/>
          </p:nvSpPr>
          <p:spPr>
            <a:xfrm>
              <a:off x="-1341599" y="1281164"/>
              <a:ext cx="1070223" cy="427699"/>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laag</a:t>
              </a:r>
            </a:p>
          </p:txBody>
        </p:sp>
        <p:sp>
          <p:nvSpPr>
            <p:cNvPr id="90" name="Ovaal 89"/>
            <p:cNvSpPr/>
            <p:nvPr userDrawn="1"/>
          </p:nvSpPr>
          <p:spPr>
            <a:xfrm>
              <a:off x="-2959433" y="338208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5</a:t>
              </a:r>
            </a:p>
          </p:txBody>
        </p:sp>
        <p:sp>
          <p:nvSpPr>
            <p:cNvPr id="91" name="Textfield placeholder"/>
            <p:cNvSpPr txBox="1">
              <a:spLocks/>
            </p:cNvSpPr>
            <p:nvPr userDrawn="1"/>
          </p:nvSpPr>
          <p:spPr>
            <a:xfrm>
              <a:off x="-2571950" y="3382082"/>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60000" lvl="4" indent="-360000" defTabSz="179388">
                <a:lnSpc>
                  <a:spcPct val="120000"/>
                </a:lnSpc>
                <a:spcBef>
                  <a:spcPts val="0"/>
                </a:spcBef>
                <a:spcAft>
                  <a:spcPts val="900"/>
                </a:spcAft>
                <a:buClr>
                  <a:srgbClr val="ED1A3B"/>
                </a:buClr>
                <a:buFont typeface="+mj-lt"/>
                <a:buAutoNum type="arabicPeriod"/>
                <a:defRPr/>
              </a:pPr>
              <a:r>
                <a:rPr lang="nl-NL" sz="1200" b="0" dirty="0">
                  <a:solidFill>
                    <a:srgbClr val="404040"/>
                  </a:solidFill>
                </a:rPr>
                <a:t>Numeriek (16 pt.)</a:t>
              </a:r>
            </a:p>
          </p:txBody>
        </p:sp>
        <p:grpSp>
          <p:nvGrpSpPr>
            <p:cNvPr id="92" name="Groep 91"/>
            <p:cNvGrpSpPr/>
            <p:nvPr userDrawn="1"/>
          </p:nvGrpSpPr>
          <p:grpSpPr>
            <a:xfrm>
              <a:off x="-2950232" y="816050"/>
              <a:ext cx="528695" cy="344202"/>
              <a:chOff x="-2880382" y="410556"/>
              <a:chExt cx="528695" cy="344202"/>
            </a:xfrm>
          </p:grpSpPr>
          <p:sp>
            <p:nvSpPr>
              <p:cNvPr id="102" name="Afgeronde rechthoek 101"/>
              <p:cNvSpPr/>
              <p:nvPr userDrawn="1"/>
            </p:nvSpPr>
            <p:spPr>
              <a:xfrm>
                <a:off x="-2874214" y="410556"/>
                <a:ext cx="522527" cy="339183"/>
              </a:xfrm>
              <a:prstGeom prst="roundRect">
                <a:avLst>
                  <a:gd name="adj" fmla="val 7565"/>
                </a:avLst>
              </a:prstGeom>
              <a:gradFill>
                <a:gsLst>
                  <a:gs pos="0">
                    <a:srgbClr val="FFEC8F"/>
                  </a:gs>
                  <a:gs pos="100000">
                    <a:srgbClr val="FFFFFF"/>
                  </a:gs>
                </a:gsLst>
                <a:lin ang="5400000" scaled="0"/>
              </a:gra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sp>
            <p:nvSpPr>
              <p:cNvPr id="103" name="Vrije vorm 102"/>
              <p:cNvSpPr/>
              <p:nvPr userDrawn="1"/>
            </p:nvSpPr>
            <p:spPr>
              <a:xfrm>
                <a:off x="-2880382" y="452699"/>
                <a:ext cx="528695" cy="302059"/>
              </a:xfrm>
              <a:custGeom>
                <a:avLst/>
                <a:gdLst>
                  <a:gd name="connsiteX0" fmla="*/ 55524 w 528695"/>
                  <a:gd name="connsiteY0" fmla="*/ 0 h 302059"/>
                  <a:gd name="connsiteX1" fmla="*/ 455496 w 528695"/>
                  <a:gd name="connsiteY1" fmla="*/ 0 h 302059"/>
                  <a:gd name="connsiteX2" fmla="*/ 475205 w 528695"/>
                  <a:gd name="connsiteY2" fmla="*/ 19709 h 302059"/>
                  <a:gd name="connsiteX3" fmla="*/ 475205 w 528695"/>
                  <a:gd name="connsiteY3" fmla="*/ 230056 h 302059"/>
                  <a:gd name="connsiteX4" fmla="*/ 516694 w 528695"/>
                  <a:gd name="connsiteY4" fmla="*/ 230056 h 302059"/>
                  <a:gd name="connsiteX5" fmla="*/ 528695 w 528695"/>
                  <a:gd name="connsiteY5" fmla="*/ 242057 h 302059"/>
                  <a:gd name="connsiteX6" fmla="*/ 528695 w 528695"/>
                  <a:gd name="connsiteY6" fmla="*/ 290058 h 302059"/>
                  <a:gd name="connsiteX7" fmla="*/ 516694 w 528695"/>
                  <a:gd name="connsiteY7" fmla="*/ 302059 h 302059"/>
                  <a:gd name="connsiteX8" fmla="*/ 12001 w 528695"/>
                  <a:gd name="connsiteY8" fmla="*/ 302059 h 302059"/>
                  <a:gd name="connsiteX9" fmla="*/ 0 w 528695"/>
                  <a:gd name="connsiteY9" fmla="*/ 290058 h 302059"/>
                  <a:gd name="connsiteX10" fmla="*/ 0 w 528695"/>
                  <a:gd name="connsiteY10" fmla="*/ 242057 h 302059"/>
                  <a:gd name="connsiteX11" fmla="*/ 12001 w 528695"/>
                  <a:gd name="connsiteY11" fmla="*/ 230056 h 302059"/>
                  <a:gd name="connsiteX12" fmla="*/ 35815 w 528695"/>
                  <a:gd name="connsiteY12" fmla="*/ 230056 h 302059"/>
                  <a:gd name="connsiteX13" fmla="*/ 35815 w 528695"/>
                  <a:gd name="connsiteY13" fmla="*/ 19709 h 302059"/>
                  <a:gd name="connsiteX14" fmla="*/ 55524 w 528695"/>
                  <a:gd name="connsiteY14" fmla="*/ 0 h 3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8695" h="302059">
                    <a:moveTo>
                      <a:pt x="55524" y="0"/>
                    </a:moveTo>
                    <a:lnTo>
                      <a:pt x="455496" y="0"/>
                    </a:lnTo>
                    <a:cubicBezTo>
                      <a:pt x="466381" y="0"/>
                      <a:pt x="475205" y="8824"/>
                      <a:pt x="475205" y="19709"/>
                    </a:cubicBezTo>
                    <a:lnTo>
                      <a:pt x="475205" y="230056"/>
                    </a:lnTo>
                    <a:lnTo>
                      <a:pt x="516694" y="230056"/>
                    </a:lnTo>
                    <a:cubicBezTo>
                      <a:pt x="523322" y="230056"/>
                      <a:pt x="528695" y="235429"/>
                      <a:pt x="528695" y="242057"/>
                    </a:cubicBezTo>
                    <a:lnTo>
                      <a:pt x="528695" y="290058"/>
                    </a:lnTo>
                    <a:cubicBezTo>
                      <a:pt x="528695" y="296686"/>
                      <a:pt x="523322" y="302059"/>
                      <a:pt x="516694" y="302059"/>
                    </a:cubicBezTo>
                    <a:lnTo>
                      <a:pt x="12001" y="302059"/>
                    </a:lnTo>
                    <a:cubicBezTo>
                      <a:pt x="5373" y="302059"/>
                      <a:pt x="0" y="296686"/>
                      <a:pt x="0" y="290058"/>
                    </a:cubicBezTo>
                    <a:lnTo>
                      <a:pt x="0" y="242057"/>
                    </a:lnTo>
                    <a:cubicBezTo>
                      <a:pt x="0" y="235429"/>
                      <a:pt x="5373" y="230056"/>
                      <a:pt x="12001" y="230056"/>
                    </a:cubicBezTo>
                    <a:lnTo>
                      <a:pt x="35815" y="230056"/>
                    </a:lnTo>
                    <a:lnTo>
                      <a:pt x="35815" y="19709"/>
                    </a:lnTo>
                    <a:cubicBezTo>
                      <a:pt x="35815" y="8824"/>
                      <a:pt x="44639" y="0"/>
                      <a:pt x="55524" y="0"/>
                    </a:cubicBezTo>
                    <a:close/>
                  </a:path>
                </a:pathLst>
              </a:custGeom>
              <a:solidFill>
                <a:sysClr val="window" lastClr="FFFFFF">
                  <a:lumMod val="95000"/>
                </a:sysClr>
              </a:solidFill>
              <a:ln w="9525" cap="flat" cmpd="sng" algn="ctr">
                <a:solidFill>
                  <a:srgbClr val="FFFFFF">
                    <a:lumMod val="90000"/>
                  </a:srgbClr>
                </a:solidFill>
                <a:prstDash val="solid"/>
                <a:miter lim="800000"/>
              </a:ln>
              <a:effectLst/>
            </p:spPr>
            <p:txBody>
              <a:bodyPr rot="0" spcFirstLastPara="0" vert="horz" wrap="square" lIns="108000" tIns="36000" rIns="108000" bIns="10800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900" dirty="0">
                    <a:solidFill>
                      <a:prstClr val="black"/>
                    </a:solidFill>
                    <a:latin typeface="Segoe UI Light"/>
                  </a:rPr>
                  <a:t>Start</a:t>
                </a:r>
              </a:p>
            </p:txBody>
          </p:sp>
        </p:grpSp>
        <p:sp>
          <p:nvSpPr>
            <p:cNvPr id="93" name="Tekstvak 65"/>
            <p:cNvSpPr txBox="1"/>
            <p:nvPr userDrawn="1"/>
          </p:nvSpPr>
          <p:spPr>
            <a:xfrm>
              <a:off x="-2959433" y="372104"/>
              <a:ext cx="2679887" cy="453396"/>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nl-NL" sz="1200" kern="0" dirty="0">
                  <a:solidFill>
                    <a:srgbClr val="000000"/>
                  </a:solidFill>
                  <a:latin typeface="Segoe UI Light" panose="020B0502040204020203" pitchFamily="34" charset="0"/>
                  <a:cs typeface="Segoe UI Light" panose="020B0502040204020203" pitchFamily="34" charset="0"/>
                </a:rPr>
                <a:t>Ga naar de tab </a:t>
              </a:r>
              <a:r>
                <a:rPr lang="nl-NL" sz="1200" b="1" kern="0" dirty="0">
                  <a:solidFill>
                    <a:srgbClr val="000000"/>
                  </a:solidFill>
                  <a:latin typeface="Segoe UI Light" panose="020B0502040204020203" pitchFamily="34" charset="0"/>
                  <a:cs typeface="Segoe UI Light" panose="020B0502040204020203" pitchFamily="34" charset="0"/>
                </a:rPr>
                <a:t>Start’ </a:t>
              </a:r>
              <a:r>
                <a:rPr lang="nl-NL" sz="1200" kern="0" dirty="0">
                  <a:solidFill>
                    <a:srgbClr val="000000"/>
                  </a:solidFill>
                  <a:latin typeface="Segoe UI Light" panose="020B0502040204020203" pitchFamily="34" charset="0"/>
                  <a:cs typeface="Segoe UI Light" panose="020B0502040204020203" pitchFamily="34" charset="0"/>
                </a:rPr>
                <a:t>en vind onderstaande knoppen onder </a:t>
              </a:r>
              <a:r>
                <a:rPr lang="nl-NL" sz="1200" b="1" kern="0" dirty="0">
                  <a:solidFill>
                    <a:srgbClr val="000000"/>
                  </a:solidFill>
                  <a:latin typeface="Segoe UI Light" panose="020B0502040204020203" pitchFamily="34" charset="0"/>
                  <a:cs typeface="Segoe UI Light" panose="020B0502040204020203" pitchFamily="34" charset="0"/>
                </a:rPr>
                <a:t>‘Alinea’</a:t>
              </a:r>
            </a:p>
          </p:txBody>
        </p:sp>
        <p:sp>
          <p:nvSpPr>
            <p:cNvPr id="94" name="Ovaal 93"/>
            <p:cNvSpPr/>
            <p:nvPr userDrawn="1"/>
          </p:nvSpPr>
          <p:spPr>
            <a:xfrm>
              <a:off x="-2959433" y="375153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6</a:t>
              </a:r>
            </a:p>
          </p:txBody>
        </p:sp>
        <p:sp>
          <p:nvSpPr>
            <p:cNvPr id="95" name="Textfield placeholder"/>
            <p:cNvSpPr txBox="1">
              <a:spLocks/>
            </p:cNvSpPr>
            <p:nvPr userDrawn="1"/>
          </p:nvSpPr>
          <p:spPr>
            <a:xfrm>
              <a:off x="-2571950" y="3751536"/>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0000" lvl="5" indent="-270000" defTabSz="179388">
                <a:lnSpc>
                  <a:spcPct val="120000"/>
                </a:lnSpc>
                <a:spcAft>
                  <a:spcPts val="900"/>
                </a:spcAft>
                <a:buClr>
                  <a:srgbClr val="ED1A3B"/>
                </a:buClr>
                <a:buSzPct val="80000"/>
                <a:buFont typeface="Wingdings 3" panose="05040102010807070707" pitchFamily="18" charset="2"/>
                <a:buChar char=""/>
                <a:defRPr/>
              </a:pPr>
              <a:r>
                <a:rPr lang="nl-NL" sz="1200" cap="none" dirty="0">
                  <a:solidFill>
                    <a:srgbClr val="535353"/>
                  </a:solidFill>
                </a:rPr>
                <a:t># Bullets (16 pt.)</a:t>
              </a:r>
            </a:p>
          </p:txBody>
        </p:sp>
        <p:sp>
          <p:nvSpPr>
            <p:cNvPr id="96" name="Ovaal 95"/>
            <p:cNvSpPr/>
            <p:nvPr userDrawn="1"/>
          </p:nvSpPr>
          <p:spPr>
            <a:xfrm>
              <a:off x="-2959433" y="414870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7</a:t>
              </a:r>
            </a:p>
          </p:txBody>
        </p:sp>
        <p:sp>
          <p:nvSpPr>
            <p:cNvPr id="97" name="Textfield placeholder"/>
            <p:cNvSpPr txBox="1">
              <a:spLocks/>
            </p:cNvSpPr>
            <p:nvPr userDrawn="1"/>
          </p:nvSpPr>
          <p:spPr>
            <a:xfrm>
              <a:off x="-2571950" y="414870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6" indent="0" defTabSz="179388">
                <a:lnSpc>
                  <a:spcPct val="120000"/>
                </a:lnSpc>
                <a:spcBef>
                  <a:spcPts val="0"/>
                </a:spcBef>
                <a:spcAft>
                  <a:spcPts val="900"/>
                </a:spcAft>
                <a:buClr>
                  <a:srgbClr val="ED1A3B"/>
                </a:buClr>
                <a:buSzPct val="90000"/>
                <a:buFont typeface="+mj-lt"/>
                <a:buNone/>
                <a:defRPr/>
              </a:pPr>
              <a:r>
                <a:rPr lang="nl-NL" sz="1200" i="1" dirty="0">
                  <a:solidFill>
                    <a:srgbClr val="404040"/>
                  </a:solidFill>
                </a:rPr>
                <a:t>Cursief donker (16 pt.)</a:t>
              </a:r>
            </a:p>
          </p:txBody>
        </p:sp>
        <p:sp>
          <p:nvSpPr>
            <p:cNvPr id="98" name="Ovaal 97"/>
            <p:cNvSpPr/>
            <p:nvPr userDrawn="1"/>
          </p:nvSpPr>
          <p:spPr>
            <a:xfrm>
              <a:off x="-2959433" y="454586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8</a:t>
              </a:r>
            </a:p>
          </p:txBody>
        </p:sp>
        <p:sp>
          <p:nvSpPr>
            <p:cNvPr id="99" name="Textfield placeholder"/>
            <p:cNvSpPr txBox="1">
              <a:spLocks/>
            </p:cNvSpPr>
            <p:nvPr userDrawn="1"/>
          </p:nvSpPr>
          <p:spPr>
            <a:xfrm>
              <a:off x="-2571950" y="4545864"/>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7" indent="0" defTabSz="179388">
                <a:lnSpc>
                  <a:spcPct val="80000"/>
                </a:lnSpc>
                <a:spcBef>
                  <a:spcPts val="0"/>
                </a:spcBef>
                <a:spcAft>
                  <a:spcPts val="900"/>
                </a:spcAft>
                <a:buClr>
                  <a:srgbClr val="ED1A3B"/>
                </a:buClr>
                <a:buFont typeface="Arial" pitchFamily="34" charset="0"/>
                <a:buNone/>
                <a:defRPr/>
              </a:pPr>
              <a:r>
                <a:rPr lang="nl-NL" sz="1200" i="1" dirty="0">
                  <a:solidFill>
                    <a:srgbClr val="A3B0C0"/>
                  </a:solidFill>
                </a:rPr>
                <a:t>Cursief Licht (16 pt.)</a:t>
              </a:r>
            </a:p>
          </p:txBody>
        </p:sp>
        <p:sp>
          <p:nvSpPr>
            <p:cNvPr id="100" name="Ovaal 99"/>
            <p:cNvSpPr/>
            <p:nvPr userDrawn="1"/>
          </p:nvSpPr>
          <p:spPr>
            <a:xfrm>
              <a:off x="-2959433" y="488761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9</a:t>
              </a:r>
            </a:p>
          </p:txBody>
        </p:sp>
        <p:sp>
          <p:nvSpPr>
            <p:cNvPr id="101" name="Textfield placeholder"/>
            <p:cNvSpPr txBox="1">
              <a:spLocks/>
            </p:cNvSpPr>
            <p:nvPr userDrawn="1"/>
          </p:nvSpPr>
          <p:spPr>
            <a:xfrm>
              <a:off x="-2571950" y="488761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8" indent="0" defTabSz="179388">
                <a:lnSpc>
                  <a:spcPct val="80000"/>
                </a:lnSpc>
                <a:spcBef>
                  <a:spcPts val="0"/>
                </a:spcBef>
                <a:spcAft>
                  <a:spcPts val="900"/>
                </a:spcAft>
                <a:buClr>
                  <a:srgbClr val="ED1A3B"/>
                </a:buClr>
                <a:buFont typeface="Arial" pitchFamily="34" charset="0"/>
                <a:buNone/>
                <a:defRPr/>
              </a:pPr>
              <a:r>
                <a:rPr lang="nl-NL" sz="1400" b="1" dirty="0">
                  <a:solidFill>
                    <a:srgbClr val="ED1A3B"/>
                  </a:solidFill>
                </a:rPr>
                <a:t>Subtitel (18 pt.)</a:t>
              </a:r>
            </a:p>
          </p:txBody>
        </p:sp>
      </p:grpSp>
      <p:sp>
        <p:nvSpPr>
          <p:cNvPr id="209" name="Witte achtergrond"/>
          <p:cNvSpPr/>
          <p:nvPr userDrawn="1"/>
        </p:nvSpPr>
        <p:spPr>
          <a:xfrm>
            <a:off x="0" y="0"/>
            <a:ext cx="121983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203" name="Grijze achtergrond"/>
          <p:cNvSpPr/>
          <p:nvPr userDrawn="1"/>
        </p:nvSpPr>
        <p:spPr>
          <a:xfrm>
            <a:off x="-1" y="0"/>
            <a:ext cx="12198350" cy="6858001"/>
          </a:xfrm>
          <a:prstGeom prst="rect">
            <a:avLst/>
          </a:prstGeom>
          <a:solidFill>
            <a:srgbClr val="EDE8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211" name="Tijdelijke aanduiding voor Afbeelding_12 (rechtsonder)"/>
          <p:cNvSpPr>
            <a:spLocks noGrp="1"/>
          </p:cNvSpPr>
          <p:nvPr>
            <p:ph type="pic" idx="52"/>
          </p:nvPr>
        </p:nvSpPr>
        <p:spPr>
          <a:xfrm>
            <a:off x="9147600" y="4572000"/>
            <a:ext cx="3049200" cy="2286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207" name="Tijdelijke aanduiding voor Blok_12 (rechtsonder)"/>
          <p:cNvSpPr>
            <a:spLocks noGrp="1"/>
          </p:cNvSpPr>
          <p:nvPr>
            <p:ph type="body" orient="vert" idx="39" hasCustomPrompt="1"/>
          </p:nvPr>
        </p:nvSpPr>
        <p:spPr>
          <a:xfrm>
            <a:off x="9147600" y="4572000"/>
            <a:ext cx="3049200" cy="2286000"/>
          </a:xfrm>
          <a:solidFill>
            <a:srgbClr val="8596A8"/>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200">
                <a:solidFill>
                  <a:schemeClr val="bg1"/>
                </a:solidFill>
              </a:defRPr>
            </a:lvl2pPr>
            <a:lvl3pPr algn="ctr">
              <a:lnSpc>
                <a:spcPct val="80000"/>
              </a:lnSpc>
              <a:spcBef>
                <a:spcPts val="600"/>
              </a:spcBef>
              <a:spcAft>
                <a:spcPts val="600"/>
              </a:spcAft>
              <a:defRPr sz="1100">
                <a:solidFill>
                  <a:schemeClr val="bg1"/>
                </a:solidFill>
              </a:defRPr>
            </a:lvl3pPr>
            <a:lvl4pPr algn="ctr">
              <a:lnSpc>
                <a:spcPct val="80000"/>
              </a:lnSpc>
              <a:spcBef>
                <a:spcPts val="600"/>
              </a:spcBef>
              <a:spcAft>
                <a:spcPts val="600"/>
              </a:spcAft>
              <a:defRPr sz="1600">
                <a:solidFill>
                  <a:schemeClr val="bg1"/>
                </a:solidFill>
              </a:defRPr>
            </a:lvl4pPr>
            <a:lvl5pPr algn="ctr">
              <a:lnSpc>
                <a:spcPct val="80000"/>
              </a:lnSpc>
              <a:spcBef>
                <a:spcPts val="600"/>
              </a:spcBef>
              <a:spcAft>
                <a:spcPts val="600"/>
              </a:spcAft>
              <a:defRPr sz="1400">
                <a:solidFill>
                  <a:schemeClr val="bg1"/>
                </a:solidFill>
              </a:defRPr>
            </a:lvl5pPr>
            <a:lvl6pPr algn="ctr">
              <a:lnSpc>
                <a:spcPct val="80000"/>
              </a:lnSpc>
              <a:spcBef>
                <a:spcPts val="600"/>
              </a:spcBef>
              <a:spcAft>
                <a:spcPts val="600"/>
              </a:spcAft>
              <a:defRPr sz="1400">
                <a:solidFill>
                  <a:schemeClr val="bg1"/>
                </a:solidFill>
              </a:defRPr>
            </a:lvl6pPr>
            <a:lvl7pPr algn="ctr">
              <a:lnSpc>
                <a:spcPct val="80000"/>
              </a:lnSpc>
              <a:spcBef>
                <a:spcPts val="600"/>
              </a:spcBef>
              <a:spcAft>
                <a:spcPts val="600"/>
              </a:spcAft>
              <a:defRPr sz="1400">
                <a:solidFill>
                  <a:schemeClr val="bg1"/>
                </a:solidFill>
              </a:defRPr>
            </a:lvl7pPr>
            <a:lvl8pPr algn="ctr">
              <a:lnSpc>
                <a:spcPct val="80000"/>
              </a:lnSpc>
              <a:spcBef>
                <a:spcPts val="600"/>
              </a:spcBef>
              <a:spcAft>
                <a:spcPts val="600"/>
              </a:spcAft>
              <a:defRPr sz="1400">
                <a:solidFill>
                  <a:schemeClr val="bg1"/>
                </a:solidFill>
              </a:defRPr>
            </a:lvl8pPr>
            <a:lvl9pPr algn="ctr">
              <a:lnSpc>
                <a:spcPct val="80000"/>
              </a:lnSpc>
              <a:spcBef>
                <a:spcPts val="600"/>
              </a:spcBef>
              <a:spcAft>
                <a:spcPts val="600"/>
              </a:spcAft>
              <a:defRPr sz="1200" cap="all" baseline="0">
                <a:solidFill>
                  <a:schemeClr val="bg1"/>
                </a:solidFill>
              </a:defRPr>
            </a:lvl9pPr>
          </a:lstStyle>
          <a:p>
            <a:pPr lvl="0"/>
            <a:r>
              <a:rPr lang="nl-NL" dirty="0"/>
              <a:t>Klik om de modelstijlen</a:t>
            </a:r>
            <a:br>
              <a:rPr lang="nl-NL" dirty="0"/>
            </a:br>
            <a:r>
              <a:rPr lang="nl-NL" dirty="0"/>
              <a:t>te bewerken</a:t>
            </a:r>
          </a:p>
        </p:txBody>
      </p:sp>
      <p:sp>
        <p:nvSpPr>
          <p:cNvPr id="212" name="Tijdelijke aanduiding voor Afbeelding_11 (rechtsonder)"/>
          <p:cNvSpPr>
            <a:spLocks noGrp="1"/>
          </p:cNvSpPr>
          <p:nvPr>
            <p:ph type="pic" idx="51"/>
          </p:nvPr>
        </p:nvSpPr>
        <p:spPr>
          <a:xfrm>
            <a:off x="6098400" y="4572000"/>
            <a:ext cx="3049200" cy="2286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204" name="Tijdelijke aanduiding voor Blok_11 (rechtsonder)"/>
          <p:cNvSpPr>
            <a:spLocks noGrp="1"/>
          </p:cNvSpPr>
          <p:nvPr>
            <p:ph type="body" orient="vert" idx="36" hasCustomPrompt="1"/>
          </p:nvPr>
        </p:nvSpPr>
        <p:spPr>
          <a:xfrm>
            <a:off x="6098400" y="4572000"/>
            <a:ext cx="3049200" cy="2286000"/>
          </a:xfrm>
          <a:solidFill>
            <a:srgbClr val="535353"/>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200">
                <a:solidFill>
                  <a:schemeClr val="bg1"/>
                </a:solidFill>
              </a:defRPr>
            </a:lvl2pPr>
            <a:lvl3pPr algn="ctr">
              <a:lnSpc>
                <a:spcPct val="80000"/>
              </a:lnSpc>
              <a:spcBef>
                <a:spcPts val="600"/>
              </a:spcBef>
              <a:spcAft>
                <a:spcPts val="600"/>
              </a:spcAft>
              <a:defRPr sz="1100">
                <a:solidFill>
                  <a:schemeClr val="bg1"/>
                </a:solidFill>
              </a:defRPr>
            </a:lvl3pPr>
            <a:lvl4pPr algn="ctr">
              <a:lnSpc>
                <a:spcPct val="80000"/>
              </a:lnSpc>
              <a:spcBef>
                <a:spcPts val="600"/>
              </a:spcBef>
              <a:spcAft>
                <a:spcPts val="600"/>
              </a:spcAft>
              <a:defRPr sz="1600">
                <a:solidFill>
                  <a:schemeClr val="bg1"/>
                </a:solidFill>
              </a:defRPr>
            </a:lvl4pPr>
            <a:lvl5pPr algn="ctr">
              <a:lnSpc>
                <a:spcPct val="80000"/>
              </a:lnSpc>
              <a:spcBef>
                <a:spcPts val="600"/>
              </a:spcBef>
              <a:spcAft>
                <a:spcPts val="600"/>
              </a:spcAft>
              <a:defRPr sz="1400">
                <a:solidFill>
                  <a:schemeClr val="bg1"/>
                </a:solidFill>
              </a:defRPr>
            </a:lvl5pPr>
            <a:lvl6pPr algn="ctr">
              <a:lnSpc>
                <a:spcPct val="80000"/>
              </a:lnSpc>
              <a:spcBef>
                <a:spcPts val="600"/>
              </a:spcBef>
              <a:spcAft>
                <a:spcPts val="600"/>
              </a:spcAft>
              <a:defRPr sz="1400">
                <a:solidFill>
                  <a:schemeClr val="bg1"/>
                </a:solidFill>
              </a:defRPr>
            </a:lvl6pPr>
            <a:lvl7pPr algn="ctr">
              <a:lnSpc>
                <a:spcPct val="80000"/>
              </a:lnSpc>
              <a:spcBef>
                <a:spcPts val="600"/>
              </a:spcBef>
              <a:spcAft>
                <a:spcPts val="600"/>
              </a:spcAft>
              <a:defRPr sz="1400">
                <a:solidFill>
                  <a:schemeClr val="bg1"/>
                </a:solidFill>
              </a:defRPr>
            </a:lvl7pPr>
            <a:lvl8pPr algn="ctr">
              <a:lnSpc>
                <a:spcPct val="80000"/>
              </a:lnSpc>
              <a:spcBef>
                <a:spcPts val="600"/>
              </a:spcBef>
              <a:spcAft>
                <a:spcPts val="600"/>
              </a:spcAft>
              <a:defRPr sz="1400">
                <a:solidFill>
                  <a:schemeClr val="bg1"/>
                </a:solidFill>
              </a:defRPr>
            </a:lvl8pPr>
            <a:lvl9pPr algn="ctr">
              <a:lnSpc>
                <a:spcPct val="80000"/>
              </a:lnSpc>
              <a:spcBef>
                <a:spcPts val="600"/>
              </a:spcBef>
              <a:spcAft>
                <a:spcPts val="600"/>
              </a:spcAft>
              <a:defRPr sz="1200" cap="all" baseline="0">
                <a:solidFill>
                  <a:schemeClr val="bg1"/>
                </a:solidFill>
              </a:defRPr>
            </a:lvl9pPr>
          </a:lstStyle>
          <a:p>
            <a:pPr lvl="0"/>
            <a:r>
              <a:rPr lang="nl-NL" dirty="0"/>
              <a:t>Klik om de modelstijlen</a:t>
            </a:r>
            <a:br>
              <a:rPr lang="nl-NL" dirty="0"/>
            </a:br>
            <a:r>
              <a:rPr lang="nl-NL" dirty="0"/>
              <a:t>te bewerken</a:t>
            </a:r>
          </a:p>
        </p:txBody>
      </p:sp>
      <p:sp>
        <p:nvSpPr>
          <p:cNvPr id="213" name="Tijdelijke aanduiding voor Afbeelding_10 (linksonder)"/>
          <p:cNvSpPr>
            <a:spLocks noGrp="1"/>
          </p:cNvSpPr>
          <p:nvPr>
            <p:ph type="pic" idx="50"/>
          </p:nvPr>
        </p:nvSpPr>
        <p:spPr>
          <a:xfrm>
            <a:off x="3049200" y="4572000"/>
            <a:ext cx="3049200" cy="2286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205" name="Tijdelijke aanduiding voor Blok_10 (linksonder)"/>
          <p:cNvSpPr>
            <a:spLocks noGrp="1"/>
          </p:cNvSpPr>
          <p:nvPr>
            <p:ph type="body" orient="vert" idx="37" hasCustomPrompt="1"/>
          </p:nvPr>
        </p:nvSpPr>
        <p:spPr>
          <a:xfrm>
            <a:off x="3049200" y="4572000"/>
            <a:ext cx="3049200" cy="2286000"/>
          </a:xfrm>
          <a:solidFill>
            <a:srgbClr val="ED1A3B"/>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200">
                <a:solidFill>
                  <a:schemeClr val="bg1"/>
                </a:solidFill>
              </a:defRPr>
            </a:lvl2pPr>
            <a:lvl3pPr algn="ctr">
              <a:lnSpc>
                <a:spcPct val="80000"/>
              </a:lnSpc>
              <a:spcBef>
                <a:spcPts val="600"/>
              </a:spcBef>
              <a:spcAft>
                <a:spcPts val="600"/>
              </a:spcAft>
              <a:defRPr sz="1100">
                <a:solidFill>
                  <a:schemeClr val="bg1"/>
                </a:solidFill>
              </a:defRPr>
            </a:lvl3pPr>
            <a:lvl4pPr algn="ctr">
              <a:lnSpc>
                <a:spcPct val="80000"/>
              </a:lnSpc>
              <a:spcBef>
                <a:spcPts val="600"/>
              </a:spcBef>
              <a:spcAft>
                <a:spcPts val="600"/>
              </a:spcAft>
              <a:defRPr sz="1600">
                <a:solidFill>
                  <a:schemeClr val="bg1"/>
                </a:solidFill>
              </a:defRPr>
            </a:lvl4pPr>
            <a:lvl5pPr algn="ctr">
              <a:lnSpc>
                <a:spcPct val="80000"/>
              </a:lnSpc>
              <a:spcBef>
                <a:spcPts val="600"/>
              </a:spcBef>
              <a:spcAft>
                <a:spcPts val="600"/>
              </a:spcAft>
              <a:defRPr sz="1400">
                <a:solidFill>
                  <a:schemeClr val="bg1"/>
                </a:solidFill>
              </a:defRPr>
            </a:lvl5pPr>
            <a:lvl6pPr algn="ctr">
              <a:lnSpc>
                <a:spcPct val="80000"/>
              </a:lnSpc>
              <a:spcBef>
                <a:spcPts val="600"/>
              </a:spcBef>
              <a:spcAft>
                <a:spcPts val="600"/>
              </a:spcAft>
              <a:defRPr sz="1400">
                <a:solidFill>
                  <a:schemeClr val="bg1"/>
                </a:solidFill>
              </a:defRPr>
            </a:lvl6pPr>
            <a:lvl7pPr algn="ctr">
              <a:lnSpc>
                <a:spcPct val="80000"/>
              </a:lnSpc>
              <a:spcBef>
                <a:spcPts val="600"/>
              </a:spcBef>
              <a:spcAft>
                <a:spcPts val="600"/>
              </a:spcAft>
              <a:defRPr sz="1400">
                <a:solidFill>
                  <a:schemeClr val="bg1"/>
                </a:solidFill>
              </a:defRPr>
            </a:lvl7pPr>
            <a:lvl8pPr algn="ctr">
              <a:lnSpc>
                <a:spcPct val="80000"/>
              </a:lnSpc>
              <a:spcBef>
                <a:spcPts val="600"/>
              </a:spcBef>
              <a:spcAft>
                <a:spcPts val="600"/>
              </a:spcAft>
              <a:defRPr sz="1400">
                <a:solidFill>
                  <a:schemeClr val="bg1"/>
                </a:solidFill>
              </a:defRPr>
            </a:lvl8pPr>
            <a:lvl9pPr algn="ctr">
              <a:lnSpc>
                <a:spcPct val="80000"/>
              </a:lnSpc>
              <a:spcBef>
                <a:spcPts val="600"/>
              </a:spcBef>
              <a:spcAft>
                <a:spcPts val="600"/>
              </a:spcAft>
              <a:defRPr sz="1200" cap="all" baseline="0">
                <a:solidFill>
                  <a:schemeClr val="bg1"/>
                </a:solidFill>
              </a:defRPr>
            </a:lvl9pPr>
          </a:lstStyle>
          <a:p>
            <a:pPr lvl="0"/>
            <a:r>
              <a:rPr lang="nl-NL" dirty="0"/>
              <a:t>Klik om de modelstijlen</a:t>
            </a:r>
            <a:br>
              <a:rPr lang="nl-NL" dirty="0"/>
            </a:br>
            <a:r>
              <a:rPr lang="nl-NL" dirty="0"/>
              <a:t>te bewerken</a:t>
            </a:r>
          </a:p>
        </p:txBody>
      </p:sp>
      <p:sp>
        <p:nvSpPr>
          <p:cNvPr id="214" name="Tijdelijke aanduiding voor Afbeelding_09 (linksonder)"/>
          <p:cNvSpPr>
            <a:spLocks noGrp="1"/>
          </p:cNvSpPr>
          <p:nvPr>
            <p:ph type="pic" idx="49"/>
          </p:nvPr>
        </p:nvSpPr>
        <p:spPr>
          <a:xfrm>
            <a:off x="0" y="4572000"/>
            <a:ext cx="3049200" cy="2286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206" name="Tijdelijke aanduiding voor Blok_09 (linksonder)"/>
          <p:cNvSpPr>
            <a:spLocks noGrp="1"/>
          </p:cNvSpPr>
          <p:nvPr>
            <p:ph type="body" orient="vert" idx="38" hasCustomPrompt="1"/>
          </p:nvPr>
        </p:nvSpPr>
        <p:spPr>
          <a:xfrm>
            <a:off x="0" y="4572000"/>
            <a:ext cx="3049200" cy="2286000"/>
          </a:xfrm>
          <a:solidFill>
            <a:srgbClr val="535353"/>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200">
                <a:solidFill>
                  <a:schemeClr val="bg1"/>
                </a:solidFill>
              </a:defRPr>
            </a:lvl2pPr>
            <a:lvl3pPr algn="ctr">
              <a:lnSpc>
                <a:spcPct val="80000"/>
              </a:lnSpc>
              <a:spcBef>
                <a:spcPts val="600"/>
              </a:spcBef>
              <a:spcAft>
                <a:spcPts val="600"/>
              </a:spcAft>
              <a:defRPr sz="1100">
                <a:solidFill>
                  <a:schemeClr val="bg1"/>
                </a:solidFill>
              </a:defRPr>
            </a:lvl3pPr>
            <a:lvl4pPr algn="ctr">
              <a:lnSpc>
                <a:spcPct val="80000"/>
              </a:lnSpc>
              <a:spcBef>
                <a:spcPts val="600"/>
              </a:spcBef>
              <a:spcAft>
                <a:spcPts val="600"/>
              </a:spcAft>
              <a:defRPr sz="1600">
                <a:solidFill>
                  <a:schemeClr val="bg1"/>
                </a:solidFill>
              </a:defRPr>
            </a:lvl4pPr>
            <a:lvl5pPr algn="ctr">
              <a:lnSpc>
                <a:spcPct val="80000"/>
              </a:lnSpc>
              <a:spcBef>
                <a:spcPts val="600"/>
              </a:spcBef>
              <a:spcAft>
                <a:spcPts val="600"/>
              </a:spcAft>
              <a:defRPr sz="1400">
                <a:solidFill>
                  <a:schemeClr val="bg1"/>
                </a:solidFill>
              </a:defRPr>
            </a:lvl5pPr>
            <a:lvl6pPr algn="ctr">
              <a:lnSpc>
                <a:spcPct val="80000"/>
              </a:lnSpc>
              <a:spcBef>
                <a:spcPts val="600"/>
              </a:spcBef>
              <a:spcAft>
                <a:spcPts val="600"/>
              </a:spcAft>
              <a:defRPr sz="1400">
                <a:solidFill>
                  <a:schemeClr val="bg1"/>
                </a:solidFill>
              </a:defRPr>
            </a:lvl6pPr>
            <a:lvl7pPr algn="ctr">
              <a:lnSpc>
                <a:spcPct val="80000"/>
              </a:lnSpc>
              <a:spcBef>
                <a:spcPts val="600"/>
              </a:spcBef>
              <a:spcAft>
                <a:spcPts val="600"/>
              </a:spcAft>
              <a:defRPr sz="1400">
                <a:solidFill>
                  <a:schemeClr val="bg1"/>
                </a:solidFill>
              </a:defRPr>
            </a:lvl7pPr>
            <a:lvl8pPr algn="ctr">
              <a:lnSpc>
                <a:spcPct val="80000"/>
              </a:lnSpc>
              <a:spcBef>
                <a:spcPts val="600"/>
              </a:spcBef>
              <a:spcAft>
                <a:spcPts val="600"/>
              </a:spcAft>
              <a:defRPr sz="1400">
                <a:solidFill>
                  <a:schemeClr val="bg1"/>
                </a:solidFill>
              </a:defRPr>
            </a:lvl8pPr>
            <a:lvl9pPr algn="ctr">
              <a:lnSpc>
                <a:spcPct val="80000"/>
              </a:lnSpc>
              <a:spcBef>
                <a:spcPts val="600"/>
              </a:spcBef>
              <a:spcAft>
                <a:spcPts val="600"/>
              </a:spcAft>
              <a:defRPr sz="1200" cap="all" baseline="0">
                <a:solidFill>
                  <a:schemeClr val="bg1"/>
                </a:solidFill>
              </a:defRPr>
            </a:lvl9pPr>
          </a:lstStyle>
          <a:p>
            <a:pPr lvl="0"/>
            <a:r>
              <a:rPr lang="nl-NL" dirty="0"/>
              <a:t>Klik om de modelstijlen</a:t>
            </a:r>
            <a:br>
              <a:rPr lang="nl-NL" dirty="0"/>
            </a:br>
            <a:r>
              <a:rPr lang="nl-NL" dirty="0"/>
              <a:t>te bewerken</a:t>
            </a:r>
          </a:p>
        </p:txBody>
      </p:sp>
      <p:sp>
        <p:nvSpPr>
          <p:cNvPr id="215" name="Tijdelijke aanduiding voor Afbeelding_08 (middenrechts)"/>
          <p:cNvSpPr>
            <a:spLocks noGrp="1"/>
          </p:cNvSpPr>
          <p:nvPr>
            <p:ph type="pic" idx="48"/>
          </p:nvPr>
        </p:nvSpPr>
        <p:spPr>
          <a:xfrm>
            <a:off x="9147600" y="2286000"/>
            <a:ext cx="3049200" cy="2286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208" name="Tijdelijke aanduiding voor Blok_08 (middenrechts)"/>
          <p:cNvSpPr>
            <a:spLocks noGrp="1"/>
          </p:cNvSpPr>
          <p:nvPr>
            <p:ph type="body" orient="vert" idx="40" hasCustomPrompt="1"/>
          </p:nvPr>
        </p:nvSpPr>
        <p:spPr>
          <a:xfrm>
            <a:off x="9147600" y="2286000"/>
            <a:ext cx="3049200" cy="2286000"/>
          </a:xfrm>
          <a:solidFill>
            <a:srgbClr val="ED1A3B"/>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200">
                <a:solidFill>
                  <a:schemeClr val="bg1"/>
                </a:solidFill>
              </a:defRPr>
            </a:lvl2pPr>
            <a:lvl3pPr algn="ctr">
              <a:lnSpc>
                <a:spcPct val="80000"/>
              </a:lnSpc>
              <a:spcBef>
                <a:spcPts val="600"/>
              </a:spcBef>
              <a:spcAft>
                <a:spcPts val="600"/>
              </a:spcAft>
              <a:defRPr sz="1100">
                <a:solidFill>
                  <a:schemeClr val="bg1"/>
                </a:solidFill>
              </a:defRPr>
            </a:lvl3pPr>
            <a:lvl4pPr algn="ctr">
              <a:lnSpc>
                <a:spcPct val="80000"/>
              </a:lnSpc>
              <a:spcBef>
                <a:spcPts val="600"/>
              </a:spcBef>
              <a:spcAft>
                <a:spcPts val="600"/>
              </a:spcAft>
              <a:defRPr sz="1600">
                <a:solidFill>
                  <a:schemeClr val="bg1"/>
                </a:solidFill>
              </a:defRPr>
            </a:lvl4pPr>
            <a:lvl5pPr algn="ctr">
              <a:lnSpc>
                <a:spcPct val="80000"/>
              </a:lnSpc>
              <a:spcBef>
                <a:spcPts val="600"/>
              </a:spcBef>
              <a:spcAft>
                <a:spcPts val="600"/>
              </a:spcAft>
              <a:defRPr sz="1400">
                <a:solidFill>
                  <a:schemeClr val="bg1"/>
                </a:solidFill>
              </a:defRPr>
            </a:lvl5pPr>
            <a:lvl6pPr algn="ctr">
              <a:lnSpc>
                <a:spcPct val="80000"/>
              </a:lnSpc>
              <a:spcBef>
                <a:spcPts val="600"/>
              </a:spcBef>
              <a:spcAft>
                <a:spcPts val="600"/>
              </a:spcAft>
              <a:defRPr sz="1400">
                <a:solidFill>
                  <a:schemeClr val="bg1"/>
                </a:solidFill>
              </a:defRPr>
            </a:lvl6pPr>
            <a:lvl7pPr algn="ctr">
              <a:lnSpc>
                <a:spcPct val="80000"/>
              </a:lnSpc>
              <a:spcBef>
                <a:spcPts val="600"/>
              </a:spcBef>
              <a:spcAft>
                <a:spcPts val="600"/>
              </a:spcAft>
              <a:defRPr sz="1400">
                <a:solidFill>
                  <a:schemeClr val="bg1"/>
                </a:solidFill>
              </a:defRPr>
            </a:lvl7pPr>
            <a:lvl8pPr algn="ctr">
              <a:lnSpc>
                <a:spcPct val="80000"/>
              </a:lnSpc>
              <a:spcBef>
                <a:spcPts val="600"/>
              </a:spcBef>
              <a:spcAft>
                <a:spcPts val="600"/>
              </a:spcAft>
              <a:defRPr sz="1400">
                <a:solidFill>
                  <a:schemeClr val="bg1"/>
                </a:solidFill>
              </a:defRPr>
            </a:lvl8pPr>
            <a:lvl9pPr algn="ctr">
              <a:lnSpc>
                <a:spcPct val="80000"/>
              </a:lnSpc>
              <a:spcBef>
                <a:spcPts val="600"/>
              </a:spcBef>
              <a:spcAft>
                <a:spcPts val="600"/>
              </a:spcAft>
              <a:defRPr sz="1200" cap="all" baseline="0">
                <a:solidFill>
                  <a:schemeClr val="bg1"/>
                </a:solidFill>
              </a:defRPr>
            </a:lvl9pPr>
          </a:lstStyle>
          <a:p>
            <a:pPr lvl="0"/>
            <a:r>
              <a:rPr lang="nl-NL" dirty="0"/>
              <a:t>Klik om de modelstijlen</a:t>
            </a:r>
            <a:br>
              <a:rPr lang="nl-NL" dirty="0"/>
            </a:br>
            <a:r>
              <a:rPr lang="nl-NL" dirty="0"/>
              <a:t>te bewerken</a:t>
            </a:r>
          </a:p>
        </p:txBody>
      </p:sp>
      <p:sp>
        <p:nvSpPr>
          <p:cNvPr id="216" name="Tijdelijke aanduiding voor Afbeelding_07 (middenrechts)"/>
          <p:cNvSpPr>
            <a:spLocks noGrp="1"/>
          </p:cNvSpPr>
          <p:nvPr>
            <p:ph type="pic" idx="47"/>
          </p:nvPr>
        </p:nvSpPr>
        <p:spPr>
          <a:xfrm>
            <a:off x="6098400" y="2286000"/>
            <a:ext cx="3049200" cy="2286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36" name="Tijdelijke aanduiding voor Blok_07 (middenrechts)"/>
          <p:cNvSpPr>
            <a:spLocks noGrp="1"/>
          </p:cNvSpPr>
          <p:nvPr>
            <p:ph type="body" orient="vert" idx="35" hasCustomPrompt="1"/>
          </p:nvPr>
        </p:nvSpPr>
        <p:spPr>
          <a:xfrm>
            <a:off x="6098400" y="2286000"/>
            <a:ext cx="3049200" cy="2286000"/>
          </a:xfrm>
          <a:solidFill>
            <a:schemeClr val="accent5"/>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200">
                <a:solidFill>
                  <a:schemeClr val="bg1"/>
                </a:solidFill>
              </a:defRPr>
            </a:lvl2pPr>
            <a:lvl3pPr algn="ctr">
              <a:lnSpc>
                <a:spcPct val="80000"/>
              </a:lnSpc>
              <a:spcBef>
                <a:spcPts val="600"/>
              </a:spcBef>
              <a:spcAft>
                <a:spcPts val="600"/>
              </a:spcAft>
              <a:defRPr sz="1100">
                <a:solidFill>
                  <a:schemeClr val="bg1"/>
                </a:solidFill>
              </a:defRPr>
            </a:lvl3pPr>
            <a:lvl4pPr algn="ctr">
              <a:lnSpc>
                <a:spcPct val="80000"/>
              </a:lnSpc>
              <a:spcBef>
                <a:spcPts val="600"/>
              </a:spcBef>
              <a:spcAft>
                <a:spcPts val="600"/>
              </a:spcAft>
              <a:defRPr sz="1600">
                <a:solidFill>
                  <a:schemeClr val="bg1"/>
                </a:solidFill>
              </a:defRPr>
            </a:lvl4pPr>
            <a:lvl5pPr algn="ctr">
              <a:lnSpc>
                <a:spcPct val="80000"/>
              </a:lnSpc>
              <a:spcBef>
                <a:spcPts val="600"/>
              </a:spcBef>
              <a:spcAft>
                <a:spcPts val="600"/>
              </a:spcAft>
              <a:defRPr sz="1400">
                <a:solidFill>
                  <a:schemeClr val="bg1"/>
                </a:solidFill>
              </a:defRPr>
            </a:lvl5pPr>
            <a:lvl6pPr algn="ctr">
              <a:lnSpc>
                <a:spcPct val="80000"/>
              </a:lnSpc>
              <a:spcBef>
                <a:spcPts val="600"/>
              </a:spcBef>
              <a:spcAft>
                <a:spcPts val="600"/>
              </a:spcAft>
              <a:defRPr sz="1400">
                <a:solidFill>
                  <a:schemeClr val="bg1"/>
                </a:solidFill>
              </a:defRPr>
            </a:lvl6pPr>
            <a:lvl7pPr algn="ctr">
              <a:lnSpc>
                <a:spcPct val="80000"/>
              </a:lnSpc>
              <a:spcBef>
                <a:spcPts val="600"/>
              </a:spcBef>
              <a:spcAft>
                <a:spcPts val="600"/>
              </a:spcAft>
              <a:defRPr sz="1400">
                <a:solidFill>
                  <a:schemeClr val="bg1"/>
                </a:solidFill>
              </a:defRPr>
            </a:lvl7pPr>
            <a:lvl8pPr algn="ctr">
              <a:lnSpc>
                <a:spcPct val="80000"/>
              </a:lnSpc>
              <a:spcBef>
                <a:spcPts val="600"/>
              </a:spcBef>
              <a:spcAft>
                <a:spcPts val="600"/>
              </a:spcAft>
              <a:defRPr sz="1400">
                <a:solidFill>
                  <a:schemeClr val="bg1"/>
                </a:solidFill>
              </a:defRPr>
            </a:lvl8pPr>
            <a:lvl9pPr algn="ctr">
              <a:lnSpc>
                <a:spcPct val="80000"/>
              </a:lnSpc>
              <a:spcBef>
                <a:spcPts val="600"/>
              </a:spcBef>
              <a:spcAft>
                <a:spcPts val="600"/>
              </a:spcAft>
              <a:defRPr sz="1200" cap="all" baseline="0">
                <a:solidFill>
                  <a:schemeClr val="bg1"/>
                </a:solidFill>
              </a:defRPr>
            </a:lvl9pPr>
          </a:lstStyle>
          <a:p>
            <a:pPr lvl="0"/>
            <a:r>
              <a:rPr lang="nl-NL" dirty="0"/>
              <a:t>Klik om de modelstijlen</a:t>
            </a:r>
            <a:br>
              <a:rPr lang="nl-NL" dirty="0"/>
            </a:br>
            <a:r>
              <a:rPr lang="nl-NL" dirty="0"/>
              <a:t>te bewerken</a:t>
            </a:r>
          </a:p>
        </p:txBody>
      </p:sp>
      <p:sp>
        <p:nvSpPr>
          <p:cNvPr id="217" name="Tijdelijke aanduiding voor Afbeelding_06 (middenlinks)"/>
          <p:cNvSpPr>
            <a:spLocks noGrp="1"/>
          </p:cNvSpPr>
          <p:nvPr>
            <p:ph type="pic" idx="46"/>
          </p:nvPr>
        </p:nvSpPr>
        <p:spPr>
          <a:xfrm>
            <a:off x="3049200" y="2286000"/>
            <a:ext cx="3049200" cy="2286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35" name="Tijdelijke aanduiding voor Blok_06 (middenlinks)"/>
          <p:cNvSpPr>
            <a:spLocks noGrp="1"/>
          </p:cNvSpPr>
          <p:nvPr>
            <p:ph type="body" orient="vert" idx="34" hasCustomPrompt="1"/>
          </p:nvPr>
        </p:nvSpPr>
        <p:spPr>
          <a:xfrm>
            <a:off x="3049200" y="2286000"/>
            <a:ext cx="3049200" cy="2286000"/>
          </a:xfrm>
          <a:solidFill>
            <a:schemeClr val="accent3"/>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200">
                <a:solidFill>
                  <a:schemeClr val="bg1"/>
                </a:solidFill>
              </a:defRPr>
            </a:lvl2pPr>
            <a:lvl3pPr algn="ctr">
              <a:lnSpc>
                <a:spcPct val="80000"/>
              </a:lnSpc>
              <a:spcBef>
                <a:spcPts val="600"/>
              </a:spcBef>
              <a:spcAft>
                <a:spcPts val="600"/>
              </a:spcAft>
              <a:defRPr sz="1100">
                <a:solidFill>
                  <a:schemeClr val="bg1"/>
                </a:solidFill>
              </a:defRPr>
            </a:lvl3pPr>
            <a:lvl4pPr algn="ctr">
              <a:lnSpc>
                <a:spcPct val="80000"/>
              </a:lnSpc>
              <a:spcBef>
                <a:spcPts val="600"/>
              </a:spcBef>
              <a:spcAft>
                <a:spcPts val="600"/>
              </a:spcAft>
              <a:defRPr sz="1600">
                <a:solidFill>
                  <a:schemeClr val="bg1"/>
                </a:solidFill>
              </a:defRPr>
            </a:lvl4pPr>
            <a:lvl5pPr algn="ctr">
              <a:lnSpc>
                <a:spcPct val="80000"/>
              </a:lnSpc>
              <a:spcBef>
                <a:spcPts val="600"/>
              </a:spcBef>
              <a:spcAft>
                <a:spcPts val="600"/>
              </a:spcAft>
              <a:defRPr sz="1400">
                <a:solidFill>
                  <a:schemeClr val="bg1"/>
                </a:solidFill>
              </a:defRPr>
            </a:lvl5pPr>
            <a:lvl6pPr algn="ctr">
              <a:lnSpc>
                <a:spcPct val="80000"/>
              </a:lnSpc>
              <a:spcBef>
                <a:spcPts val="600"/>
              </a:spcBef>
              <a:spcAft>
                <a:spcPts val="600"/>
              </a:spcAft>
              <a:defRPr sz="1400">
                <a:solidFill>
                  <a:schemeClr val="bg1"/>
                </a:solidFill>
              </a:defRPr>
            </a:lvl6pPr>
            <a:lvl7pPr algn="ctr">
              <a:lnSpc>
                <a:spcPct val="80000"/>
              </a:lnSpc>
              <a:spcBef>
                <a:spcPts val="600"/>
              </a:spcBef>
              <a:spcAft>
                <a:spcPts val="600"/>
              </a:spcAft>
              <a:defRPr sz="1400">
                <a:solidFill>
                  <a:schemeClr val="bg1"/>
                </a:solidFill>
              </a:defRPr>
            </a:lvl7pPr>
            <a:lvl8pPr algn="ctr">
              <a:lnSpc>
                <a:spcPct val="80000"/>
              </a:lnSpc>
              <a:spcBef>
                <a:spcPts val="600"/>
              </a:spcBef>
              <a:spcAft>
                <a:spcPts val="600"/>
              </a:spcAft>
              <a:defRPr sz="1400">
                <a:solidFill>
                  <a:schemeClr val="bg1"/>
                </a:solidFill>
              </a:defRPr>
            </a:lvl8pPr>
            <a:lvl9pPr algn="ctr">
              <a:lnSpc>
                <a:spcPct val="80000"/>
              </a:lnSpc>
              <a:spcBef>
                <a:spcPts val="600"/>
              </a:spcBef>
              <a:spcAft>
                <a:spcPts val="600"/>
              </a:spcAft>
              <a:defRPr sz="1200" cap="all" baseline="0">
                <a:solidFill>
                  <a:schemeClr val="bg1"/>
                </a:solidFill>
              </a:defRPr>
            </a:lvl9pPr>
          </a:lstStyle>
          <a:p>
            <a:pPr lvl="0"/>
            <a:r>
              <a:rPr lang="nl-NL" dirty="0"/>
              <a:t>Klik om de modelstijlen</a:t>
            </a:r>
            <a:br>
              <a:rPr lang="nl-NL" dirty="0"/>
            </a:br>
            <a:r>
              <a:rPr lang="nl-NL" dirty="0"/>
              <a:t>te bewerken</a:t>
            </a:r>
          </a:p>
        </p:txBody>
      </p:sp>
      <p:sp>
        <p:nvSpPr>
          <p:cNvPr id="218" name="Tijdelijke aanduiding voor Afbeelding_05 (middenlinks)"/>
          <p:cNvSpPr>
            <a:spLocks noGrp="1"/>
          </p:cNvSpPr>
          <p:nvPr>
            <p:ph type="pic" idx="45"/>
          </p:nvPr>
        </p:nvSpPr>
        <p:spPr>
          <a:xfrm>
            <a:off x="0" y="2286000"/>
            <a:ext cx="3049200" cy="2286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34" name="Tijdelijke aanduiding voor Blok_05 (middenlinks)"/>
          <p:cNvSpPr>
            <a:spLocks noGrp="1"/>
          </p:cNvSpPr>
          <p:nvPr>
            <p:ph type="body" orient="vert" idx="33" hasCustomPrompt="1"/>
          </p:nvPr>
        </p:nvSpPr>
        <p:spPr>
          <a:xfrm>
            <a:off x="0" y="2286000"/>
            <a:ext cx="3049200" cy="2286000"/>
          </a:xfrm>
          <a:solidFill>
            <a:schemeClr val="accent2"/>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200">
                <a:solidFill>
                  <a:schemeClr val="bg1"/>
                </a:solidFill>
              </a:defRPr>
            </a:lvl2pPr>
            <a:lvl3pPr algn="ctr">
              <a:lnSpc>
                <a:spcPct val="80000"/>
              </a:lnSpc>
              <a:spcBef>
                <a:spcPts val="600"/>
              </a:spcBef>
              <a:spcAft>
                <a:spcPts val="600"/>
              </a:spcAft>
              <a:defRPr sz="1100">
                <a:solidFill>
                  <a:schemeClr val="bg1"/>
                </a:solidFill>
              </a:defRPr>
            </a:lvl3pPr>
            <a:lvl4pPr algn="ctr">
              <a:lnSpc>
                <a:spcPct val="80000"/>
              </a:lnSpc>
              <a:spcBef>
                <a:spcPts val="600"/>
              </a:spcBef>
              <a:spcAft>
                <a:spcPts val="600"/>
              </a:spcAft>
              <a:defRPr sz="1600">
                <a:solidFill>
                  <a:schemeClr val="bg1"/>
                </a:solidFill>
              </a:defRPr>
            </a:lvl4pPr>
            <a:lvl5pPr algn="ctr">
              <a:lnSpc>
                <a:spcPct val="80000"/>
              </a:lnSpc>
              <a:spcBef>
                <a:spcPts val="600"/>
              </a:spcBef>
              <a:spcAft>
                <a:spcPts val="600"/>
              </a:spcAft>
              <a:defRPr sz="1400">
                <a:solidFill>
                  <a:schemeClr val="bg1"/>
                </a:solidFill>
              </a:defRPr>
            </a:lvl5pPr>
            <a:lvl6pPr algn="ctr">
              <a:lnSpc>
                <a:spcPct val="80000"/>
              </a:lnSpc>
              <a:spcBef>
                <a:spcPts val="600"/>
              </a:spcBef>
              <a:spcAft>
                <a:spcPts val="600"/>
              </a:spcAft>
              <a:defRPr sz="1400">
                <a:solidFill>
                  <a:schemeClr val="bg1"/>
                </a:solidFill>
              </a:defRPr>
            </a:lvl6pPr>
            <a:lvl7pPr algn="ctr">
              <a:lnSpc>
                <a:spcPct val="80000"/>
              </a:lnSpc>
              <a:spcBef>
                <a:spcPts val="600"/>
              </a:spcBef>
              <a:spcAft>
                <a:spcPts val="600"/>
              </a:spcAft>
              <a:defRPr sz="1400">
                <a:solidFill>
                  <a:schemeClr val="bg1"/>
                </a:solidFill>
              </a:defRPr>
            </a:lvl7pPr>
            <a:lvl8pPr algn="ctr">
              <a:lnSpc>
                <a:spcPct val="80000"/>
              </a:lnSpc>
              <a:spcBef>
                <a:spcPts val="600"/>
              </a:spcBef>
              <a:spcAft>
                <a:spcPts val="600"/>
              </a:spcAft>
              <a:defRPr sz="1400">
                <a:solidFill>
                  <a:schemeClr val="bg1"/>
                </a:solidFill>
              </a:defRPr>
            </a:lvl8pPr>
            <a:lvl9pPr algn="ctr">
              <a:lnSpc>
                <a:spcPct val="80000"/>
              </a:lnSpc>
              <a:spcBef>
                <a:spcPts val="600"/>
              </a:spcBef>
              <a:spcAft>
                <a:spcPts val="600"/>
              </a:spcAft>
              <a:defRPr sz="1200" cap="all" baseline="0">
                <a:solidFill>
                  <a:schemeClr val="bg1"/>
                </a:solidFill>
              </a:defRPr>
            </a:lvl9pPr>
          </a:lstStyle>
          <a:p>
            <a:pPr lvl="0"/>
            <a:r>
              <a:rPr lang="nl-NL" dirty="0"/>
              <a:t>Klik om de modelstijlen</a:t>
            </a:r>
            <a:br>
              <a:rPr lang="nl-NL" dirty="0"/>
            </a:br>
            <a:r>
              <a:rPr lang="nl-NL" dirty="0"/>
              <a:t>te bewerken</a:t>
            </a:r>
          </a:p>
        </p:txBody>
      </p:sp>
      <p:sp>
        <p:nvSpPr>
          <p:cNvPr id="219" name="Tijdelijke aanduiding voor Afbeelding_04 (rechtsboven)"/>
          <p:cNvSpPr>
            <a:spLocks noGrp="1"/>
          </p:cNvSpPr>
          <p:nvPr>
            <p:ph type="pic" idx="44"/>
          </p:nvPr>
        </p:nvSpPr>
        <p:spPr>
          <a:xfrm>
            <a:off x="9147600" y="0"/>
            <a:ext cx="3049200" cy="2286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210" name="Tijdelijke aanduiding voor Blok_04 (rechtsboven)"/>
          <p:cNvSpPr>
            <a:spLocks noGrp="1"/>
          </p:cNvSpPr>
          <p:nvPr>
            <p:ph type="body" orient="vert" idx="41" hasCustomPrompt="1"/>
          </p:nvPr>
        </p:nvSpPr>
        <p:spPr>
          <a:xfrm>
            <a:off x="9147600" y="0"/>
            <a:ext cx="3049200" cy="2286000"/>
          </a:xfrm>
          <a:solidFill>
            <a:srgbClr val="98002E"/>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200">
                <a:solidFill>
                  <a:schemeClr val="bg1"/>
                </a:solidFill>
              </a:defRPr>
            </a:lvl2pPr>
            <a:lvl3pPr algn="ctr">
              <a:lnSpc>
                <a:spcPct val="80000"/>
              </a:lnSpc>
              <a:spcBef>
                <a:spcPts val="600"/>
              </a:spcBef>
              <a:spcAft>
                <a:spcPts val="600"/>
              </a:spcAft>
              <a:defRPr sz="1100">
                <a:solidFill>
                  <a:schemeClr val="bg1"/>
                </a:solidFill>
              </a:defRPr>
            </a:lvl3pPr>
            <a:lvl4pPr algn="ctr">
              <a:lnSpc>
                <a:spcPct val="80000"/>
              </a:lnSpc>
              <a:spcBef>
                <a:spcPts val="600"/>
              </a:spcBef>
              <a:spcAft>
                <a:spcPts val="600"/>
              </a:spcAft>
              <a:defRPr sz="1600">
                <a:solidFill>
                  <a:schemeClr val="bg1"/>
                </a:solidFill>
              </a:defRPr>
            </a:lvl4pPr>
            <a:lvl5pPr algn="ctr">
              <a:lnSpc>
                <a:spcPct val="80000"/>
              </a:lnSpc>
              <a:spcBef>
                <a:spcPts val="600"/>
              </a:spcBef>
              <a:spcAft>
                <a:spcPts val="600"/>
              </a:spcAft>
              <a:defRPr sz="1400">
                <a:solidFill>
                  <a:schemeClr val="bg1"/>
                </a:solidFill>
              </a:defRPr>
            </a:lvl5pPr>
            <a:lvl6pPr algn="ctr">
              <a:lnSpc>
                <a:spcPct val="80000"/>
              </a:lnSpc>
              <a:spcBef>
                <a:spcPts val="600"/>
              </a:spcBef>
              <a:spcAft>
                <a:spcPts val="600"/>
              </a:spcAft>
              <a:defRPr sz="1400">
                <a:solidFill>
                  <a:schemeClr val="bg1"/>
                </a:solidFill>
              </a:defRPr>
            </a:lvl6pPr>
            <a:lvl7pPr algn="ctr">
              <a:lnSpc>
                <a:spcPct val="80000"/>
              </a:lnSpc>
              <a:spcBef>
                <a:spcPts val="600"/>
              </a:spcBef>
              <a:spcAft>
                <a:spcPts val="600"/>
              </a:spcAft>
              <a:defRPr sz="1400">
                <a:solidFill>
                  <a:schemeClr val="bg1"/>
                </a:solidFill>
              </a:defRPr>
            </a:lvl7pPr>
            <a:lvl8pPr algn="ctr">
              <a:lnSpc>
                <a:spcPct val="80000"/>
              </a:lnSpc>
              <a:spcBef>
                <a:spcPts val="600"/>
              </a:spcBef>
              <a:spcAft>
                <a:spcPts val="600"/>
              </a:spcAft>
              <a:defRPr sz="1400">
                <a:solidFill>
                  <a:schemeClr val="bg1"/>
                </a:solidFill>
              </a:defRPr>
            </a:lvl8pPr>
            <a:lvl9pPr algn="ctr">
              <a:lnSpc>
                <a:spcPct val="80000"/>
              </a:lnSpc>
              <a:spcBef>
                <a:spcPts val="600"/>
              </a:spcBef>
              <a:spcAft>
                <a:spcPts val="600"/>
              </a:spcAft>
              <a:defRPr sz="1200" cap="all" baseline="0">
                <a:solidFill>
                  <a:schemeClr val="bg1"/>
                </a:solidFill>
              </a:defRPr>
            </a:lvl9pPr>
          </a:lstStyle>
          <a:p>
            <a:pPr lvl="0"/>
            <a:r>
              <a:rPr lang="nl-NL" dirty="0"/>
              <a:t>Klik om de modelstijlen</a:t>
            </a:r>
            <a:br>
              <a:rPr lang="nl-NL" dirty="0"/>
            </a:br>
            <a:r>
              <a:rPr lang="nl-NL" dirty="0"/>
              <a:t>te bewerken</a:t>
            </a:r>
          </a:p>
        </p:txBody>
      </p:sp>
      <p:sp>
        <p:nvSpPr>
          <p:cNvPr id="220" name="Tijdelijke aanduiding voor Afbeelding_03 (rechtsboven)"/>
          <p:cNvSpPr>
            <a:spLocks noGrp="1"/>
          </p:cNvSpPr>
          <p:nvPr>
            <p:ph type="pic" idx="43"/>
          </p:nvPr>
        </p:nvSpPr>
        <p:spPr>
          <a:xfrm>
            <a:off x="6098400" y="0"/>
            <a:ext cx="3049200" cy="2286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16" name="Tijdelijke aanduiding voor Blok_03 (rechtsboven)"/>
          <p:cNvSpPr>
            <a:spLocks noGrp="1"/>
          </p:cNvSpPr>
          <p:nvPr>
            <p:ph type="body" orient="vert" idx="20" hasCustomPrompt="1"/>
          </p:nvPr>
        </p:nvSpPr>
        <p:spPr>
          <a:xfrm>
            <a:off x="6098400" y="0"/>
            <a:ext cx="3049200" cy="2286000"/>
          </a:xfrm>
          <a:solidFill>
            <a:schemeClr val="accent6">
              <a:lumMod val="75000"/>
            </a:schemeClr>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200">
                <a:solidFill>
                  <a:schemeClr val="bg1"/>
                </a:solidFill>
              </a:defRPr>
            </a:lvl2pPr>
            <a:lvl3pPr algn="ctr">
              <a:lnSpc>
                <a:spcPct val="80000"/>
              </a:lnSpc>
              <a:spcBef>
                <a:spcPts val="600"/>
              </a:spcBef>
              <a:spcAft>
                <a:spcPts val="600"/>
              </a:spcAft>
              <a:defRPr sz="1100">
                <a:solidFill>
                  <a:schemeClr val="bg1"/>
                </a:solidFill>
              </a:defRPr>
            </a:lvl3pPr>
            <a:lvl4pPr algn="ctr">
              <a:lnSpc>
                <a:spcPct val="80000"/>
              </a:lnSpc>
              <a:spcBef>
                <a:spcPts val="600"/>
              </a:spcBef>
              <a:spcAft>
                <a:spcPts val="600"/>
              </a:spcAft>
              <a:defRPr sz="1600">
                <a:solidFill>
                  <a:schemeClr val="bg1"/>
                </a:solidFill>
              </a:defRPr>
            </a:lvl4pPr>
            <a:lvl5pPr algn="ctr">
              <a:lnSpc>
                <a:spcPct val="80000"/>
              </a:lnSpc>
              <a:spcBef>
                <a:spcPts val="600"/>
              </a:spcBef>
              <a:spcAft>
                <a:spcPts val="600"/>
              </a:spcAft>
              <a:defRPr sz="1400">
                <a:solidFill>
                  <a:schemeClr val="bg1"/>
                </a:solidFill>
              </a:defRPr>
            </a:lvl5pPr>
            <a:lvl6pPr algn="ctr">
              <a:lnSpc>
                <a:spcPct val="80000"/>
              </a:lnSpc>
              <a:spcBef>
                <a:spcPts val="600"/>
              </a:spcBef>
              <a:spcAft>
                <a:spcPts val="600"/>
              </a:spcAft>
              <a:defRPr sz="1400">
                <a:solidFill>
                  <a:schemeClr val="bg1"/>
                </a:solidFill>
              </a:defRPr>
            </a:lvl6pPr>
            <a:lvl7pPr algn="ctr">
              <a:lnSpc>
                <a:spcPct val="80000"/>
              </a:lnSpc>
              <a:spcBef>
                <a:spcPts val="600"/>
              </a:spcBef>
              <a:spcAft>
                <a:spcPts val="600"/>
              </a:spcAft>
              <a:defRPr sz="1400">
                <a:solidFill>
                  <a:schemeClr val="bg1"/>
                </a:solidFill>
              </a:defRPr>
            </a:lvl7pPr>
            <a:lvl8pPr algn="ctr">
              <a:lnSpc>
                <a:spcPct val="80000"/>
              </a:lnSpc>
              <a:spcBef>
                <a:spcPts val="600"/>
              </a:spcBef>
              <a:spcAft>
                <a:spcPts val="600"/>
              </a:spcAft>
              <a:defRPr sz="1400">
                <a:solidFill>
                  <a:schemeClr val="bg1"/>
                </a:solidFill>
              </a:defRPr>
            </a:lvl8pPr>
            <a:lvl9pPr algn="ctr">
              <a:lnSpc>
                <a:spcPct val="80000"/>
              </a:lnSpc>
              <a:spcBef>
                <a:spcPts val="600"/>
              </a:spcBef>
              <a:spcAft>
                <a:spcPts val="600"/>
              </a:spcAft>
              <a:defRPr sz="1200" cap="all" baseline="0">
                <a:solidFill>
                  <a:schemeClr val="bg1"/>
                </a:solidFill>
              </a:defRPr>
            </a:lvl9pPr>
          </a:lstStyle>
          <a:p>
            <a:pPr lvl="0"/>
            <a:r>
              <a:rPr lang="nl-NL" dirty="0"/>
              <a:t>Klik om de modelstijlen</a:t>
            </a:r>
            <a:br>
              <a:rPr lang="nl-NL" dirty="0"/>
            </a:br>
            <a:r>
              <a:rPr lang="nl-NL" dirty="0"/>
              <a:t>te bewerken</a:t>
            </a:r>
          </a:p>
        </p:txBody>
      </p:sp>
      <p:sp>
        <p:nvSpPr>
          <p:cNvPr id="221" name="Tijdelijke aanduiding voor Afbeelding_02 (linksboven)"/>
          <p:cNvSpPr>
            <a:spLocks noGrp="1"/>
          </p:cNvSpPr>
          <p:nvPr>
            <p:ph type="pic" idx="42"/>
          </p:nvPr>
        </p:nvSpPr>
        <p:spPr>
          <a:xfrm>
            <a:off x="3049200" y="0"/>
            <a:ext cx="3049200" cy="2286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15" name="Tijdelijke aanduiding voor Blok_02 (linksboven)"/>
          <p:cNvSpPr>
            <a:spLocks noGrp="1"/>
          </p:cNvSpPr>
          <p:nvPr>
            <p:ph type="body" orient="vert" idx="19" hasCustomPrompt="1"/>
          </p:nvPr>
        </p:nvSpPr>
        <p:spPr>
          <a:xfrm>
            <a:off x="3049200" y="0"/>
            <a:ext cx="3049200" cy="2286000"/>
          </a:xfrm>
          <a:solidFill>
            <a:schemeClr val="accent4"/>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200">
                <a:solidFill>
                  <a:schemeClr val="bg1"/>
                </a:solidFill>
              </a:defRPr>
            </a:lvl2pPr>
            <a:lvl3pPr algn="ctr">
              <a:lnSpc>
                <a:spcPct val="80000"/>
              </a:lnSpc>
              <a:spcBef>
                <a:spcPts val="600"/>
              </a:spcBef>
              <a:spcAft>
                <a:spcPts val="600"/>
              </a:spcAft>
              <a:defRPr sz="1100">
                <a:solidFill>
                  <a:schemeClr val="bg1"/>
                </a:solidFill>
              </a:defRPr>
            </a:lvl3pPr>
            <a:lvl4pPr algn="ctr">
              <a:lnSpc>
                <a:spcPct val="80000"/>
              </a:lnSpc>
              <a:spcBef>
                <a:spcPts val="600"/>
              </a:spcBef>
              <a:spcAft>
                <a:spcPts val="600"/>
              </a:spcAft>
              <a:defRPr sz="1600">
                <a:solidFill>
                  <a:schemeClr val="bg1"/>
                </a:solidFill>
              </a:defRPr>
            </a:lvl4pPr>
            <a:lvl5pPr algn="ctr">
              <a:lnSpc>
                <a:spcPct val="80000"/>
              </a:lnSpc>
              <a:spcBef>
                <a:spcPts val="600"/>
              </a:spcBef>
              <a:spcAft>
                <a:spcPts val="600"/>
              </a:spcAft>
              <a:defRPr sz="1400">
                <a:solidFill>
                  <a:schemeClr val="bg1"/>
                </a:solidFill>
              </a:defRPr>
            </a:lvl5pPr>
            <a:lvl6pPr algn="ctr">
              <a:lnSpc>
                <a:spcPct val="80000"/>
              </a:lnSpc>
              <a:spcBef>
                <a:spcPts val="600"/>
              </a:spcBef>
              <a:spcAft>
                <a:spcPts val="600"/>
              </a:spcAft>
              <a:defRPr sz="1400">
                <a:solidFill>
                  <a:schemeClr val="bg1"/>
                </a:solidFill>
              </a:defRPr>
            </a:lvl6pPr>
            <a:lvl7pPr algn="ctr">
              <a:lnSpc>
                <a:spcPct val="80000"/>
              </a:lnSpc>
              <a:spcBef>
                <a:spcPts val="600"/>
              </a:spcBef>
              <a:spcAft>
                <a:spcPts val="600"/>
              </a:spcAft>
              <a:defRPr sz="1400">
                <a:solidFill>
                  <a:schemeClr val="bg1"/>
                </a:solidFill>
              </a:defRPr>
            </a:lvl7pPr>
            <a:lvl8pPr algn="ctr">
              <a:lnSpc>
                <a:spcPct val="80000"/>
              </a:lnSpc>
              <a:spcBef>
                <a:spcPts val="600"/>
              </a:spcBef>
              <a:spcAft>
                <a:spcPts val="600"/>
              </a:spcAft>
              <a:defRPr sz="1400">
                <a:solidFill>
                  <a:schemeClr val="bg1"/>
                </a:solidFill>
              </a:defRPr>
            </a:lvl8pPr>
            <a:lvl9pPr algn="ctr">
              <a:lnSpc>
                <a:spcPct val="80000"/>
              </a:lnSpc>
              <a:spcBef>
                <a:spcPts val="600"/>
              </a:spcBef>
              <a:spcAft>
                <a:spcPts val="600"/>
              </a:spcAft>
              <a:defRPr sz="1200" cap="all" baseline="0">
                <a:solidFill>
                  <a:schemeClr val="bg1"/>
                </a:solidFill>
              </a:defRPr>
            </a:lvl9pPr>
          </a:lstStyle>
          <a:p>
            <a:pPr lvl="0"/>
            <a:r>
              <a:rPr lang="nl-NL" dirty="0"/>
              <a:t>Klik om de modelstijlen</a:t>
            </a:r>
            <a:br>
              <a:rPr lang="nl-NL" dirty="0"/>
            </a:br>
            <a:r>
              <a:rPr lang="nl-NL" dirty="0"/>
              <a:t>te bewerken</a:t>
            </a:r>
          </a:p>
        </p:txBody>
      </p:sp>
      <p:sp>
        <p:nvSpPr>
          <p:cNvPr id="222" name="Tijdelijke aanduiding voor Afbeelding_01 (linksboven)"/>
          <p:cNvSpPr>
            <a:spLocks noGrp="1"/>
          </p:cNvSpPr>
          <p:nvPr>
            <p:ph type="pic" idx="13"/>
          </p:nvPr>
        </p:nvSpPr>
        <p:spPr>
          <a:xfrm>
            <a:off x="0" y="0"/>
            <a:ext cx="3049200" cy="2286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14" name="Tijdelijke aanduiding voor Blok_01 (linksboven)"/>
          <p:cNvSpPr>
            <a:spLocks noGrp="1"/>
          </p:cNvSpPr>
          <p:nvPr>
            <p:ph type="body" orient="vert" idx="1" hasCustomPrompt="1"/>
          </p:nvPr>
        </p:nvSpPr>
        <p:spPr>
          <a:xfrm>
            <a:off x="0" y="0"/>
            <a:ext cx="3049200" cy="2286000"/>
          </a:xfrm>
          <a:solidFill>
            <a:schemeClr val="accent1"/>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200">
                <a:solidFill>
                  <a:schemeClr val="bg1"/>
                </a:solidFill>
              </a:defRPr>
            </a:lvl2pPr>
            <a:lvl3pPr algn="ctr">
              <a:lnSpc>
                <a:spcPct val="80000"/>
              </a:lnSpc>
              <a:spcBef>
                <a:spcPts val="600"/>
              </a:spcBef>
              <a:spcAft>
                <a:spcPts val="600"/>
              </a:spcAft>
              <a:defRPr sz="1100">
                <a:solidFill>
                  <a:schemeClr val="bg1"/>
                </a:solidFill>
              </a:defRPr>
            </a:lvl3pPr>
            <a:lvl4pPr algn="ctr">
              <a:lnSpc>
                <a:spcPct val="80000"/>
              </a:lnSpc>
              <a:spcBef>
                <a:spcPts val="600"/>
              </a:spcBef>
              <a:spcAft>
                <a:spcPts val="600"/>
              </a:spcAft>
              <a:defRPr sz="1600">
                <a:solidFill>
                  <a:schemeClr val="bg1"/>
                </a:solidFill>
              </a:defRPr>
            </a:lvl4pPr>
            <a:lvl5pPr algn="ctr">
              <a:lnSpc>
                <a:spcPct val="80000"/>
              </a:lnSpc>
              <a:spcBef>
                <a:spcPts val="600"/>
              </a:spcBef>
              <a:spcAft>
                <a:spcPts val="600"/>
              </a:spcAft>
              <a:defRPr sz="1400">
                <a:solidFill>
                  <a:schemeClr val="bg1"/>
                </a:solidFill>
              </a:defRPr>
            </a:lvl5pPr>
            <a:lvl6pPr algn="ctr">
              <a:lnSpc>
                <a:spcPct val="80000"/>
              </a:lnSpc>
              <a:spcBef>
                <a:spcPts val="600"/>
              </a:spcBef>
              <a:spcAft>
                <a:spcPts val="600"/>
              </a:spcAft>
              <a:defRPr sz="1400">
                <a:solidFill>
                  <a:schemeClr val="bg1"/>
                </a:solidFill>
              </a:defRPr>
            </a:lvl6pPr>
            <a:lvl7pPr algn="ctr">
              <a:lnSpc>
                <a:spcPct val="80000"/>
              </a:lnSpc>
              <a:spcBef>
                <a:spcPts val="600"/>
              </a:spcBef>
              <a:spcAft>
                <a:spcPts val="600"/>
              </a:spcAft>
              <a:defRPr sz="1400">
                <a:solidFill>
                  <a:schemeClr val="bg1"/>
                </a:solidFill>
              </a:defRPr>
            </a:lvl7pPr>
            <a:lvl8pPr algn="ctr">
              <a:lnSpc>
                <a:spcPct val="80000"/>
              </a:lnSpc>
              <a:spcBef>
                <a:spcPts val="600"/>
              </a:spcBef>
              <a:spcAft>
                <a:spcPts val="600"/>
              </a:spcAft>
              <a:defRPr sz="1400">
                <a:solidFill>
                  <a:schemeClr val="bg1"/>
                </a:solidFill>
              </a:defRPr>
            </a:lvl8pPr>
            <a:lvl9pPr algn="ctr">
              <a:lnSpc>
                <a:spcPct val="80000"/>
              </a:lnSpc>
              <a:spcBef>
                <a:spcPts val="600"/>
              </a:spcBef>
              <a:spcAft>
                <a:spcPts val="600"/>
              </a:spcAft>
              <a:defRPr sz="1200" cap="all" baseline="0">
                <a:solidFill>
                  <a:schemeClr val="bg1"/>
                </a:solidFill>
              </a:defRPr>
            </a:lvl9pPr>
          </a:lstStyle>
          <a:p>
            <a:pPr lvl="0"/>
            <a:r>
              <a:rPr lang="nl-NL" dirty="0"/>
              <a:t>Klik om de modelstijlen</a:t>
            </a:r>
            <a:br>
              <a:rPr lang="nl-NL" dirty="0"/>
            </a:br>
            <a:r>
              <a:rPr lang="nl-NL" dirty="0"/>
              <a:t>te bewerken</a:t>
            </a:r>
          </a:p>
        </p:txBody>
      </p:sp>
    </p:spTree>
    <p:extLst>
      <p:ext uri="{BB962C8B-B14F-4D97-AF65-F5344CB8AC3E}">
        <p14:creationId xmlns:p14="http://schemas.microsoft.com/office/powerpoint/2010/main" val="1787292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50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1000" fill="hold"/>
                                        <p:tgtEl>
                                          <p:spTgt spid="14"/>
                                        </p:tgtEl>
                                        <p:attrNameLst>
                                          <p:attrName>ppt_x</p:attrName>
                                        </p:attrNameLst>
                                      </p:cBhvr>
                                      <p:tavLst>
                                        <p:tav tm="0">
                                          <p:val>
                                            <p:strVal val="#ppt_x"/>
                                          </p:val>
                                        </p:tav>
                                        <p:tav tm="100000">
                                          <p:val>
                                            <p:strVal val="#ppt_x"/>
                                          </p:val>
                                        </p:tav>
                                      </p:tavLst>
                                    </p:anim>
                                    <p:anim calcmode="lin" valueType="num">
                                      <p:cBhvr additive="base">
                                        <p:cTn id="8" dur="1000" fill="hold"/>
                                        <p:tgtEl>
                                          <p:spTgt spid="14"/>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500"/>
                                  </p:stCondLst>
                                  <p:childTnLst>
                                    <p:set>
                                      <p:cBhvr>
                                        <p:cTn id="10" dur="1" fill="hold">
                                          <p:stCondLst>
                                            <p:cond delay="0"/>
                                          </p:stCondLst>
                                        </p:cTn>
                                        <p:tgtEl>
                                          <p:spTgt spid="222"/>
                                        </p:tgtEl>
                                        <p:attrNameLst>
                                          <p:attrName>style.visibility</p:attrName>
                                        </p:attrNameLst>
                                      </p:cBhvr>
                                      <p:to>
                                        <p:strVal val="visible"/>
                                      </p:to>
                                    </p:set>
                                    <p:anim calcmode="lin" valueType="num">
                                      <p:cBhvr additive="base">
                                        <p:cTn id="11" dur="1000" fill="hold"/>
                                        <p:tgtEl>
                                          <p:spTgt spid="222"/>
                                        </p:tgtEl>
                                        <p:attrNameLst>
                                          <p:attrName>ppt_x</p:attrName>
                                        </p:attrNameLst>
                                      </p:cBhvr>
                                      <p:tavLst>
                                        <p:tav tm="0">
                                          <p:val>
                                            <p:strVal val="#ppt_x"/>
                                          </p:val>
                                        </p:tav>
                                        <p:tav tm="100000">
                                          <p:val>
                                            <p:strVal val="#ppt_x"/>
                                          </p:val>
                                        </p:tav>
                                      </p:tavLst>
                                    </p:anim>
                                    <p:anim calcmode="lin" valueType="num">
                                      <p:cBhvr additive="base">
                                        <p:cTn id="12" dur="1000" fill="hold"/>
                                        <p:tgtEl>
                                          <p:spTgt spid="222"/>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75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1000" fill="hold"/>
                                        <p:tgtEl>
                                          <p:spTgt spid="15"/>
                                        </p:tgtEl>
                                        <p:attrNameLst>
                                          <p:attrName>ppt_x</p:attrName>
                                        </p:attrNameLst>
                                      </p:cBhvr>
                                      <p:tavLst>
                                        <p:tav tm="0">
                                          <p:val>
                                            <p:strVal val="#ppt_x"/>
                                          </p:val>
                                        </p:tav>
                                        <p:tav tm="100000">
                                          <p:val>
                                            <p:strVal val="#ppt_x"/>
                                          </p:val>
                                        </p:tav>
                                      </p:tavLst>
                                    </p:anim>
                                    <p:anim calcmode="lin" valueType="num">
                                      <p:cBhvr additive="base">
                                        <p:cTn id="16" dur="1000" fill="hold"/>
                                        <p:tgtEl>
                                          <p:spTgt spid="15"/>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750"/>
                                  </p:stCondLst>
                                  <p:childTnLst>
                                    <p:set>
                                      <p:cBhvr>
                                        <p:cTn id="18" dur="1" fill="hold">
                                          <p:stCondLst>
                                            <p:cond delay="0"/>
                                          </p:stCondLst>
                                        </p:cTn>
                                        <p:tgtEl>
                                          <p:spTgt spid="221"/>
                                        </p:tgtEl>
                                        <p:attrNameLst>
                                          <p:attrName>style.visibility</p:attrName>
                                        </p:attrNameLst>
                                      </p:cBhvr>
                                      <p:to>
                                        <p:strVal val="visible"/>
                                      </p:to>
                                    </p:set>
                                    <p:anim calcmode="lin" valueType="num">
                                      <p:cBhvr additive="base">
                                        <p:cTn id="19" dur="1000" fill="hold"/>
                                        <p:tgtEl>
                                          <p:spTgt spid="221"/>
                                        </p:tgtEl>
                                        <p:attrNameLst>
                                          <p:attrName>ppt_x</p:attrName>
                                        </p:attrNameLst>
                                      </p:cBhvr>
                                      <p:tavLst>
                                        <p:tav tm="0">
                                          <p:val>
                                            <p:strVal val="#ppt_x"/>
                                          </p:val>
                                        </p:tav>
                                        <p:tav tm="100000">
                                          <p:val>
                                            <p:strVal val="#ppt_x"/>
                                          </p:val>
                                        </p:tav>
                                      </p:tavLst>
                                    </p:anim>
                                    <p:anim calcmode="lin" valueType="num">
                                      <p:cBhvr additive="base">
                                        <p:cTn id="20" dur="1000" fill="hold"/>
                                        <p:tgtEl>
                                          <p:spTgt spid="221"/>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1000"/>
                                  </p:stCondLst>
                                  <p:childTnLst>
                                    <p:set>
                                      <p:cBhvr>
                                        <p:cTn id="22" dur="1" fill="hold">
                                          <p:stCondLst>
                                            <p:cond delay="0"/>
                                          </p:stCondLst>
                                        </p:cTn>
                                        <p:tgtEl>
                                          <p:spTgt spid="16"/>
                                        </p:tgtEl>
                                        <p:attrNameLst>
                                          <p:attrName>style.visibility</p:attrName>
                                        </p:attrNameLst>
                                      </p:cBhvr>
                                      <p:to>
                                        <p:strVal val="visible"/>
                                      </p:to>
                                    </p:set>
                                    <p:anim calcmode="lin" valueType="num">
                                      <p:cBhvr additive="base">
                                        <p:cTn id="23" dur="1000" fill="hold"/>
                                        <p:tgtEl>
                                          <p:spTgt spid="16"/>
                                        </p:tgtEl>
                                        <p:attrNameLst>
                                          <p:attrName>ppt_x</p:attrName>
                                        </p:attrNameLst>
                                      </p:cBhvr>
                                      <p:tavLst>
                                        <p:tav tm="0">
                                          <p:val>
                                            <p:strVal val="#ppt_x"/>
                                          </p:val>
                                        </p:tav>
                                        <p:tav tm="100000">
                                          <p:val>
                                            <p:strVal val="#ppt_x"/>
                                          </p:val>
                                        </p:tav>
                                      </p:tavLst>
                                    </p:anim>
                                    <p:anim calcmode="lin" valueType="num">
                                      <p:cBhvr additive="base">
                                        <p:cTn id="24" dur="1000" fill="hold"/>
                                        <p:tgtEl>
                                          <p:spTgt spid="16"/>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1000"/>
                                  </p:stCondLst>
                                  <p:childTnLst>
                                    <p:set>
                                      <p:cBhvr>
                                        <p:cTn id="26" dur="1" fill="hold">
                                          <p:stCondLst>
                                            <p:cond delay="0"/>
                                          </p:stCondLst>
                                        </p:cTn>
                                        <p:tgtEl>
                                          <p:spTgt spid="220"/>
                                        </p:tgtEl>
                                        <p:attrNameLst>
                                          <p:attrName>style.visibility</p:attrName>
                                        </p:attrNameLst>
                                      </p:cBhvr>
                                      <p:to>
                                        <p:strVal val="visible"/>
                                      </p:to>
                                    </p:set>
                                    <p:anim calcmode="lin" valueType="num">
                                      <p:cBhvr additive="base">
                                        <p:cTn id="27" dur="1000" fill="hold"/>
                                        <p:tgtEl>
                                          <p:spTgt spid="220"/>
                                        </p:tgtEl>
                                        <p:attrNameLst>
                                          <p:attrName>ppt_x</p:attrName>
                                        </p:attrNameLst>
                                      </p:cBhvr>
                                      <p:tavLst>
                                        <p:tav tm="0">
                                          <p:val>
                                            <p:strVal val="#ppt_x"/>
                                          </p:val>
                                        </p:tav>
                                        <p:tav tm="100000">
                                          <p:val>
                                            <p:strVal val="#ppt_x"/>
                                          </p:val>
                                        </p:tav>
                                      </p:tavLst>
                                    </p:anim>
                                    <p:anim calcmode="lin" valueType="num">
                                      <p:cBhvr additive="base">
                                        <p:cTn id="28" dur="1000" fill="hold"/>
                                        <p:tgtEl>
                                          <p:spTgt spid="220"/>
                                        </p:tgtEl>
                                        <p:attrNameLst>
                                          <p:attrName>ppt_y</p:attrName>
                                        </p:attrNameLst>
                                      </p:cBhvr>
                                      <p:tavLst>
                                        <p:tav tm="0">
                                          <p:val>
                                            <p:strVal val="1+#ppt_h/2"/>
                                          </p:val>
                                        </p:tav>
                                        <p:tav tm="100000">
                                          <p:val>
                                            <p:strVal val="#ppt_y"/>
                                          </p:val>
                                        </p:tav>
                                      </p:tavLst>
                                    </p:anim>
                                  </p:childTnLst>
                                </p:cTn>
                              </p:par>
                              <p:par>
                                <p:cTn id="29" presetID="2" presetClass="entr" presetSubtype="4" decel="100000" fill="hold" grpId="0" nodeType="withEffect">
                                  <p:stCondLst>
                                    <p:cond delay="1250"/>
                                  </p:stCondLst>
                                  <p:childTnLst>
                                    <p:set>
                                      <p:cBhvr>
                                        <p:cTn id="30" dur="1" fill="hold">
                                          <p:stCondLst>
                                            <p:cond delay="0"/>
                                          </p:stCondLst>
                                        </p:cTn>
                                        <p:tgtEl>
                                          <p:spTgt spid="210"/>
                                        </p:tgtEl>
                                        <p:attrNameLst>
                                          <p:attrName>style.visibility</p:attrName>
                                        </p:attrNameLst>
                                      </p:cBhvr>
                                      <p:to>
                                        <p:strVal val="visible"/>
                                      </p:to>
                                    </p:set>
                                    <p:anim calcmode="lin" valueType="num">
                                      <p:cBhvr additive="base">
                                        <p:cTn id="31" dur="1000" fill="hold"/>
                                        <p:tgtEl>
                                          <p:spTgt spid="210"/>
                                        </p:tgtEl>
                                        <p:attrNameLst>
                                          <p:attrName>ppt_x</p:attrName>
                                        </p:attrNameLst>
                                      </p:cBhvr>
                                      <p:tavLst>
                                        <p:tav tm="0">
                                          <p:val>
                                            <p:strVal val="#ppt_x"/>
                                          </p:val>
                                        </p:tav>
                                        <p:tav tm="100000">
                                          <p:val>
                                            <p:strVal val="#ppt_x"/>
                                          </p:val>
                                        </p:tav>
                                      </p:tavLst>
                                    </p:anim>
                                    <p:anim calcmode="lin" valueType="num">
                                      <p:cBhvr additive="base">
                                        <p:cTn id="32" dur="1000" fill="hold"/>
                                        <p:tgtEl>
                                          <p:spTgt spid="210"/>
                                        </p:tgtEl>
                                        <p:attrNameLst>
                                          <p:attrName>ppt_y</p:attrName>
                                        </p:attrNameLst>
                                      </p:cBhvr>
                                      <p:tavLst>
                                        <p:tav tm="0">
                                          <p:val>
                                            <p:strVal val="1+#ppt_h/2"/>
                                          </p:val>
                                        </p:tav>
                                        <p:tav tm="100000">
                                          <p:val>
                                            <p:strVal val="#ppt_y"/>
                                          </p:val>
                                        </p:tav>
                                      </p:tavLst>
                                    </p:anim>
                                  </p:childTnLst>
                                </p:cTn>
                              </p:par>
                              <p:par>
                                <p:cTn id="33" presetID="2" presetClass="entr" presetSubtype="4" decel="100000" fill="hold" grpId="0" nodeType="withEffect">
                                  <p:stCondLst>
                                    <p:cond delay="1250"/>
                                  </p:stCondLst>
                                  <p:childTnLst>
                                    <p:set>
                                      <p:cBhvr>
                                        <p:cTn id="34" dur="1" fill="hold">
                                          <p:stCondLst>
                                            <p:cond delay="0"/>
                                          </p:stCondLst>
                                        </p:cTn>
                                        <p:tgtEl>
                                          <p:spTgt spid="219"/>
                                        </p:tgtEl>
                                        <p:attrNameLst>
                                          <p:attrName>style.visibility</p:attrName>
                                        </p:attrNameLst>
                                      </p:cBhvr>
                                      <p:to>
                                        <p:strVal val="visible"/>
                                      </p:to>
                                    </p:set>
                                    <p:anim calcmode="lin" valueType="num">
                                      <p:cBhvr additive="base">
                                        <p:cTn id="35" dur="1000" fill="hold"/>
                                        <p:tgtEl>
                                          <p:spTgt spid="219"/>
                                        </p:tgtEl>
                                        <p:attrNameLst>
                                          <p:attrName>ppt_x</p:attrName>
                                        </p:attrNameLst>
                                      </p:cBhvr>
                                      <p:tavLst>
                                        <p:tav tm="0">
                                          <p:val>
                                            <p:strVal val="#ppt_x"/>
                                          </p:val>
                                        </p:tav>
                                        <p:tav tm="100000">
                                          <p:val>
                                            <p:strVal val="#ppt_x"/>
                                          </p:val>
                                        </p:tav>
                                      </p:tavLst>
                                    </p:anim>
                                    <p:anim calcmode="lin" valueType="num">
                                      <p:cBhvr additive="base">
                                        <p:cTn id="36" dur="1000" fill="hold"/>
                                        <p:tgtEl>
                                          <p:spTgt spid="219"/>
                                        </p:tgtEl>
                                        <p:attrNameLst>
                                          <p:attrName>ppt_y</p:attrName>
                                        </p:attrNameLst>
                                      </p:cBhvr>
                                      <p:tavLst>
                                        <p:tav tm="0">
                                          <p:val>
                                            <p:strVal val="1+#ppt_h/2"/>
                                          </p:val>
                                        </p:tav>
                                        <p:tav tm="100000">
                                          <p:val>
                                            <p:strVal val="#ppt_y"/>
                                          </p:val>
                                        </p:tav>
                                      </p:tavLst>
                                    </p:anim>
                                  </p:childTnLst>
                                </p:cTn>
                              </p:par>
                              <p:par>
                                <p:cTn id="37" presetID="2" presetClass="entr" presetSubtype="4" decel="100000" fill="hold" grpId="0" nodeType="withEffect">
                                  <p:stCondLst>
                                    <p:cond delay="500"/>
                                  </p:stCondLst>
                                  <p:childTnLst>
                                    <p:set>
                                      <p:cBhvr>
                                        <p:cTn id="38" dur="1" fill="hold">
                                          <p:stCondLst>
                                            <p:cond delay="0"/>
                                          </p:stCondLst>
                                        </p:cTn>
                                        <p:tgtEl>
                                          <p:spTgt spid="34"/>
                                        </p:tgtEl>
                                        <p:attrNameLst>
                                          <p:attrName>style.visibility</p:attrName>
                                        </p:attrNameLst>
                                      </p:cBhvr>
                                      <p:to>
                                        <p:strVal val="visible"/>
                                      </p:to>
                                    </p:set>
                                    <p:anim calcmode="lin" valueType="num">
                                      <p:cBhvr additive="base">
                                        <p:cTn id="39" dur="1000" fill="hold"/>
                                        <p:tgtEl>
                                          <p:spTgt spid="34"/>
                                        </p:tgtEl>
                                        <p:attrNameLst>
                                          <p:attrName>ppt_x</p:attrName>
                                        </p:attrNameLst>
                                      </p:cBhvr>
                                      <p:tavLst>
                                        <p:tav tm="0">
                                          <p:val>
                                            <p:strVal val="#ppt_x"/>
                                          </p:val>
                                        </p:tav>
                                        <p:tav tm="100000">
                                          <p:val>
                                            <p:strVal val="#ppt_x"/>
                                          </p:val>
                                        </p:tav>
                                      </p:tavLst>
                                    </p:anim>
                                    <p:anim calcmode="lin" valueType="num">
                                      <p:cBhvr additive="base">
                                        <p:cTn id="40" dur="1000" fill="hold"/>
                                        <p:tgtEl>
                                          <p:spTgt spid="34"/>
                                        </p:tgtEl>
                                        <p:attrNameLst>
                                          <p:attrName>ppt_y</p:attrName>
                                        </p:attrNameLst>
                                      </p:cBhvr>
                                      <p:tavLst>
                                        <p:tav tm="0">
                                          <p:val>
                                            <p:strVal val="1+#ppt_h/2"/>
                                          </p:val>
                                        </p:tav>
                                        <p:tav tm="100000">
                                          <p:val>
                                            <p:strVal val="#ppt_y"/>
                                          </p:val>
                                        </p:tav>
                                      </p:tavLst>
                                    </p:anim>
                                  </p:childTnLst>
                                </p:cTn>
                              </p:par>
                              <p:par>
                                <p:cTn id="41" presetID="2" presetClass="entr" presetSubtype="4" decel="100000" fill="hold" grpId="0" nodeType="withEffect">
                                  <p:stCondLst>
                                    <p:cond delay="500"/>
                                  </p:stCondLst>
                                  <p:childTnLst>
                                    <p:set>
                                      <p:cBhvr>
                                        <p:cTn id="42" dur="1" fill="hold">
                                          <p:stCondLst>
                                            <p:cond delay="0"/>
                                          </p:stCondLst>
                                        </p:cTn>
                                        <p:tgtEl>
                                          <p:spTgt spid="218"/>
                                        </p:tgtEl>
                                        <p:attrNameLst>
                                          <p:attrName>style.visibility</p:attrName>
                                        </p:attrNameLst>
                                      </p:cBhvr>
                                      <p:to>
                                        <p:strVal val="visible"/>
                                      </p:to>
                                    </p:set>
                                    <p:anim calcmode="lin" valueType="num">
                                      <p:cBhvr additive="base">
                                        <p:cTn id="43" dur="1000" fill="hold"/>
                                        <p:tgtEl>
                                          <p:spTgt spid="218"/>
                                        </p:tgtEl>
                                        <p:attrNameLst>
                                          <p:attrName>ppt_x</p:attrName>
                                        </p:attrNameLst>
                                      </p:cBhvr>
                                      <p:tavLst>
                                        <p:tav tm="0">
                                          <p:val>
                                            <p:strVal val="#ppt_x"/>
                                          </p:val>
                                        </p:tav>
                                        <p:tav tm="100000">
                                          <p:val>
                                            <p:strVal val="#ppt_x"/>
                                          </p:val>
                                        </p:tav>
                                      </p:tavLst>
                                    </p:anim>
                                    <p:anim calcmode="lin" valueType="num">
                                      <p:cBhvr additive="base">
                                        <p:cTn id="44" dur="1000" fill="hold"/>
                                        <p:tgtEl>
                                          <p:spTgt spid="218"/>
                                        </p:tgtEl>
                                        <p:attrNameLst>
                                          <p:attrName>ppt_y</p:attrName>
                                        </p:attrNameLst>
                                      </p:cBhvr>
                                      <p:tavLst>
                                        <p:tav tm="0">
                                          <p:val>
                                            <p:strVal val="1+#ppt_h/2"/>
                                          </p:val>
                                        </p:tav>
                                        <p:tav tm="100000">
                                          <p:val>
                                            <p:strVal val="#ppt_y"/>
                                          </p:val>
                                        </p:tav>
                                      </p:tavLst>
                                    </p:anim>
                                  </p:childTnLst>
                                </p:cTn>
                              </p:par>
                              <p:par>
                                <p:cTn id="45" presetID="2" presetClass="entr" presetSubtype="4" decel="100000" fill="hold" grpId="0" nodeType="withEffect">
                                  <p:stCondLst>
                                    <p:cond delay="750"/>
                                  </p:stCondLst>
                                  <p:childTnLst>
                                    <p:set>
                                      <p:cBhvr>
                                        <p:cTn id="46" dur="1" fill="hold">
                                          <p:stCondLst>
                                            <p:cond delay="0"/>
                                          </p:stCondLst>
                                        </p:cTn>
                                        <p:tgtEl>
                                          <p:spTgt spid="35"/>
                                        </p:tgtEl>
                                        <p:attrNameLst>
                                          <p:attrName>style.visibility</p:attrName>
                                        </p:attrNameLst>
                                      </p:cBhvr>
                                      <p:to>
                                        <p:strVal val="visible"/>
                                      </p:to>
                                    </p:set>
                                    <p:anim calcmode="lin" valueType="num">
                                      <p:cBhvr additive="base">
                                        <p:cTn id="47" dur="1000" fill="hold"/>
                                        <p:tgtEl>
                                          <p:spTgt spid="35"/>
                                        </p:tgtEl>
                                        <p:attrNameLst>
                                          <p:attrName>ppt_x</p:attrName>
                                        </p:attrNameLst>
                                      </p:cBhvr>
                                      <p:tavLst>
                                        <p:tav tm="0">
                                          <p:val>
                                            <p:strVal val="#ppt_x"/>
                                          </p:val>
                                        </p:tav>
                                        <p:tav tm="100000">
                                          <p:val>
                                            <p:strVal val="#ppt_x"/>
                                          </p:val>
                                        </p:tav>
                                      </p:tavLst>
                                    </p:anim>
                                    <p:anim calcmode="lin" valueType="num">
                                      <p:cBhvr additive="base">
                                        <p:cTn id="48" dur="1000" fill="hold"/>
                                        <p:tgtEl>
                                          <p:spTgt spid="35"/>
                                        </p:tgtEl>
                                        <p:attrNameLst>
                                          <p:attrName>ppt_y</p:attrName>
                                        </p:attrNameLst>
                                      </p:cBhvr>
                                      <p:tavLst>
                                        <p:tav tm="0">
                                          <p:val>
                                            <p:strVal val="1+#ppt_h/2"/>
                                          </p:val>
                                        </p:tav>
                                        <p:tav tm="100000">
                                          <p:val>
                                            <p:strVal val="#ppt_y"/>
                                          </p:val>
                                        </p:tav>
                                      </p:tavLst>
                                    </p:anim>
                                  </p:childTnLst>
                                </p:cTn>
                              </p:par>
                              <p:par>
                                <p:cTn id="49" presetID="2" presetClass="entr" presetSubtype="4" decel="100000" fill="hold" grpId="0" nodeType="withEffect">
                                  <p:stCondLst>
                                    <p:cond delay="750"/>
                                  </p:stCondLst>
                                  <p:childTnLst>
                                    <p:set>
                                      <p:cBhvr>
                                        <p:cTn id="50" dur="1" fill="hold">
                                          <p:stCondLst>
                                            <p:cond delay="0"/>
                                          </p:stCondLst>
                                        </p:cTn>
                                        <p:tgtEl>
                                          <p:spTgt spid="217"/>
                                        </p:tgtEl>
                                        <p:attrNameLst>
                                          <p:attrName>style.visibility</p:attrName>
                                        </p:attrNameLst>
                                      </p:cBhvr>
                                      <p:to>
                                        <p:strVal val="visible"/>
                                      </p:to>
                                    </p:set>
                                    <p:anim calcmode="lin" valueType="num">
                                      <p:cBhvr additive="base">
                                        <p:cTn id="51" dur="1000" fill="hold"/>
                                        <p:tgtEl>
                                          <p:spTgt spid="217"/>
                                        </p:tgtEl>
                                        <p:attrNameLst>
                                          <p:attrName>ppt_x</p:attrName>
                                        </p:attrNameLst>
                                      </p:cBhvr>
                                      <p:tavLst>
                                        <p:tav tm="0">
                                          <p:val>
                                            <p:strVal val="#ppt_x"/>
                                          </p:val>
                                        </p:tav>
                                        <p:tav tm="100000">
                                          <p:val>
                                            <p:strVal val="#ppt_x"/>
                                          </p:val>
                                        </p:tav>
                                      </p:tavLst>
                                    </p:anim>
                                    <p:anim calcmode="lin" valueType="num">
                                      <p:cBhvr additive="base">
                                        <p:cTn id="52" dur="1000" fill="hold"/>
                                        <p:tgtEl>
                                          <p:spTgt spid="217"/>
                                        </p:tgtEl>
                                        <p:attrNameLst>
                                          <p:attrName>ppt_y</p:attrName>
                                        </p:attrNameLst>
                                      </p:cBhvr>
                                      <p:tavLst>
                                        <p:tav tm="0">
                                          <p:val>
                                            <p:strVal val="1+#ppt_h/2"/>
                                          </p:val>
                                        </p:tav>
                                        <p:tav tm="100000">
                                          <p:val>
                                            <p:strVal val="#ppt_y"/>
                                          </p:val>
                                        </p:tav>
                                      </p:tavLst>
                                    </p:anim>
                                  </p:childTnLst>
                                </p:cTn>
                              </p:par>
                              <p:par>
                                <p:cTn id="53" presetID="2" presetClass="entr" presetSubtype="4" decel="100000" fill="hold" grpId="0" nodeType="withEffect">
                                  <p:stCondLst>
                                    <p:cond delay="1000"/>
                                  </p:stCondLst>
                                  <p:childTnLst>
                                    <p:set>
                                      <p:cBhvr>
                                        <p:cTn id="54" dur="1" fill="hold">
                                          <p:stCondLst>
                                            <p:cond delay="0"/>
                                          </p:stCondLst>
                                        </p:cTn>
                                        <p:tgtEl>
                                          <p:spTgt spid="36"/>
                                        </p:tgtEl>
                                        <p:attrNameLst>
                                          <p:attrName>style.visibility</p:attrName>
                                        </p:attrNameLst>
                                      </p:cBhvr>
                                      <p:to>
                                        <p:strVal val="visible"/>
                                      </p:to>
                                    </p:set>
                                    <p:anim calcmode="lin" valueType="num">
                                      <p:cBhvr additive="base">
                                        <p:cTn id="55" dur="1000" fill="hold"/>
                                        <p:tgtEl>
                                          <p:spTgt spid="36"/>
                                        </p:tgtEl>
                                        <p:attrNameLst>
                                          <p:attrName>ppt_x</p:attrName>
                                        </p:attrNameLst>
                                      </p:cBhvr>
                                      <p:tavLst>
                                        <p:tav tm="0">
                                          <p:val>
                                            <p:strVal val="#ppt_x"/>
                                          </p:val>
                                        </p:tav>
                                        <p:tav tm="100000">
                                          <p:val>
                                            <p:strVal val="#ppt_x"/>
                                          </p:val>
                                        </p:tav>
                                      </p:tavLst>
                                    </p:anim>
                                    <p:anim calcmode="lin" valueType="num">
                                      <p:cBhvr additive="base">
                                        <p:cTn id="56" dur="1000" fill="hold"/>
                                        <p:tgtEl>
                                          <p:spTgt spid="36"/>
                                        </p:tgtEl>
                                        <p:attrNameLst>
                                          <p:attrName>ppt_y</p:attrName>
                                        </p:attrNameLst>
                                      </p:cBhvr>
                                      <p:tavLst>
                                        <p:tav tm="0">
                                          <p:val>
                                            <p:strVal val="1+#ppt_h/2"/>
                                          </p:val>
                                        </p:tav>
                                        <p:tav tm="100000">
                                          <p:val>
                                            <p:strVal val="#ppt_y"/>
                                          </p:val>
                                        </p:tav>
                                      </p:tavLst>
                                    </p:anim>
                                  </p:childTnLst>
                                </p:cTn>
                              </p:par>
                              <p:par>
                                <p:cTn id="57" presetID="2" presetClass="entr" presetSubtype="4" decel="100000" fill="hold" grpId="0" nodeType="withEffect">
                                  <p:stCondLst>
                                    <p:cond delay="1000"/>
                                  </p:stCondLst>
                                  <p:childTnLst>
                                    <p:set>
                                      <p:cBhvr>
                                        <p:cTn id="58" dur="1" fill="hold">
                                          <p:stCondLst>
                                            <p:cond delay="0"/>
                                          </p:stCondLst>
                                        </p:cTn>
                                        <p:tgtEl>
                                          <p:spTgt spid="216"/>
                                        </p:tgtEl>
                                        <p:attrNameLst>
                                          <p:attrName>style.visibility</p:attrName>
                                        </p:attrNameLst>
                                      </p:cBhvr>
                                      <p:to>
                                        <p:strVal val="visible"/>
                                      </p:to>
                                    </p:set>
                                    <p:anim calcmode="lin" valueType="num">
                                      <p:cBhvr additive="base">
                                        <p:cTn id="59" dur="1000" fill="hold"/>
                                        <p:tgtEl>
                                          <p:spTgt spid="216"/>
                                        </p:tgtEl>
                                        <p:attrNameLst>
                                          <p:attrName>ppt_x</p:attrName>
                                        </p:attrNameLst>
                                      </p:cBhvr>
                                      <p:tavLst>
                                        <p:tav tm="0">
                                          <p:val>
                                            <p:strVal val="#ppt_x"/>
                                          </p:val>
                                        </p:tav>
                                        <p:tav tm="100000">
                                          <p:val>
                                            <p:strVal val="#ppt_x"/>
                                          </p:val>
                                        </p:tav>
                                      </p:tavLst>
                                    </p:anim>
                                    <p:anim calcmode="lin" valueType="num">
                                      <p:cBhvr additive="base">
                                        <p:cTn id="60" dur="1000" fill="hold"/>
                                        <p:tgtEl>
                                          <p:spTgt spid="216"/>
                                        </p:tgtEl>
                                        <p:attrNameLst>
                                          <p:attrName>ppt_y</p:attrName>
                                        </p:attrNameLst>
                                      </p:cBhvr>
                                      <p:tavLst>
                                        <p:tav tm="0">
                                          <p:val>
                                            <p:strVal val="1+#ppt_h/2"/>
                                          </p:val>
                                        </p:tav>
                                        <p:tav tm="100000">
                                          <p:val>
                                            <p:strVal val="#ppt_y"/>
                                          </p:val>
                                        </p:tav>
                                      </p:tavLst>
                                    </p:anim>
                                  </p:childTnLst>
                                </p:cTn>
                              </p:par>
                              <p:par>
                                <p:cTn id="61" presetID="2" presetClass="entr" presetSubtype="4" decel="100000" fill="hold" grpId="0" nodeType="withEffect">
                                  <p:stCondLst>
                                    <p:cond delay="1250"/>
                                  </p:stCondLst>
                                  <p:childTnLst>
                                    <p:set>
                                      <p:cBhvr>
                                        <p:cTn id="62" dur="1" fill="hold">
                                          <p:stCondLst>
                                            <p:cond delay="0"/>
                                          </p:stCondLst>
                                        </p:cTn>
                                        <p:tgtEl>
                                          <p:spTgt spid="208"/>
                                        </p:tgtEl>
                                        <p:attrNameLst>
                                          <p:attrName>style.visibility</p:attrName>
                                        </p:attrNameLst>
                                      </p:cBhvr>
                                      <p:to>
                                        <p:strVal val="visible"/>
                                      </p:to>
                                    </p:set>
                                    <p:anim calcmode="lin" valueType="num">
                                      <p:cBhvr additive="base">
                                        <p:cTn id="63" dur="1000" fill="hold"/>
                                        <p:tgtEl>
                                          <p:spTgt spid="208"/>
                                        </p:tgtEl>
                                        <p:attrNameLst>
                                          <p:attrName>ppt_x</p:attrName>
                                        </p:attrNameLst>
                                      </p:cBhvr>
                                      <p:tavLst>
                                        <p:tav tm="0">
                                          <p:val>
                                            <p:strVal val="#ppt_x"/>
                                          </p:val>
                                        </p:tav>
                                        <p:tav tm="100000">
                                          <p:val>
                                            <p:strVal val="#ppt_x"/>
                                          </p:val>
                                        </p:tav>
                                      </p:tavLst>
                                    </p:anim>
                                    <p:anim calcmode="lin" valueType="num">
                                      <p:cBhvr additive="base">
                                        <p:cTn id="64" dur="1000" fill="hold"/>
                                        <p:tgtEl>
                                          <p:spTgt spid="208"/>
                                        </p:tgtEl>
                                        <p:attrNameLst>
                                          <p:attrName>ppt_y</p:attrName>
                                        </p:attrNameLst>
                                      </p:cBhvr>
                                      <p:tavLst>
                                        <p:tav tm="0">
                                          <p:val>
                                            <p:strVal val="1+#ppt_h/2"/>
                                          </p:val>
                                        </p:tav>
                                        <p:tav tm="100000">
                                          <p:val>
                                            <p:strVal val="#ppt_y"/>
                                          </p:val>
                                        </p:tav>
                                      </p:tavLst>
                                    </p:anim>
                                  </p:childTnLst>
                                </p:cTn>
                              </p:par>
                              <p:par>
                                <p:cTn id="65" presetID="2" presetClass="entr" presetSubtype="4" decel="100000" fill="hold" grpId="0" nodeType="withEffect">
                                  <p:stCondLst>
                                    <p:cond delay="1250"/>
                                  </p:stCondLst>
                                  <p:childTnLst>
                                    <p:set>
                                      <p:cBhvr>
                                        <p:cTn id="66" dur="1" fill="hold">
                                          <p:stCondLst>
                                            <p:cond delay="0"/>
                                          </p:stCondLst>
                                        </p:cTn>
                                        <p:tgtEl>
                                          <p:spTgt spid="215"/>
                                        </p:tgtEl>
                                        <p:attrNameLst>
                                          <p:attrName>style.visibility</p:attrName>
                                        </p:attrNameLst>
                                      </p:cBhvr>
                                      <p:to>
                                        <p:strVal val="visible"/>
                                      </p:to>
                                    </p:set>
                                    <p:anim calcmode="lin" valueType="num">
                                      <p:cBhvr additive="base">
                                        <p:cTn id="67" dur="1000" fill="hold"/>
                                        <p:tgtEl>
                                          <p:spTgt spid="215"/>
                                        </p:tgtEl>
                                        <p:attrNameLst>
                                          <p:attrName>ppt_x</p:attrName>
                                        </p:attrNameLst>
                                      </p:cBhvr>
                                      <p:tavLst>
                                        <p:tav tm="0">
                                          <p:val>
                                            <p:strVal val="#ppt_x"/>
                                          </p:val>
                                        </p:tav>
                                        <p:tav tm="100000">
                                          <p:val>
                                            <p:strVal val="#ppt_x"/>
                                          </p:val>
                                        </p:tav>
                                      </p:tavLst>
                                    </p:anim>
                                    <p:anim calcmode="lin" valueType="num">
                                      <p:cBhvr additive="base">
                                        <p:cTn id="68" dur="1000" fill="hold"/>
                                        <p:tgtEl>
                                          <p:spTgt spid="215"/>
                                        </p:tgtEl>
                                        <p:attrNameLst>
                                          <p:attrName>ppt_y</p:attrName>
                                        </p:attrNameLst>
                                      </p:cBhvr>
                                      <p:tavLst>
                                        <p:tav tm="0">
                                          <p:val>
                                            <p:strVal val="1+#ppt_h/2"/>
                                          </p:val>
                                        </p:tav>
                                        <p:tav tm="100000">
                                          <p:val>
                                            <p:strVal val="#ppt_y"/>
                                          </p:val>
                                        </p:tav>
                                      </p:tavLst>
                                    </p:anim>
                                  </p:childTnLst>
                                </p:cTn>
                              </p:par>
                              <p:par>
                                <p:cTn id="69" presetID="2" presetClass="entr" presetSubtype="4" decel="100000" fill="hold" grpId="0" nodeType="withEffect">
                                  <p:stCondLst>
                                    <p:cond delay="500"/>
                                  </p:stCondLst>
                                  <p:childTnLst>
                                    <p:set>
                                      <p:cBhvr>
                                        <p:cTn id="70" dur="1" fill="hold">
                                          <p:stCondLst>
                                            <p:cond delay="0"/>
                                          </p:stCondLst>
                                        </p:cTn>
                                        <p:tgtEl>
                                          <p:spTgt spid="206"/>
                                        </p:tgtEl>
                                        <p:attrNameLst>
                                          <p:attrName>style.visibility</p:attrName>
                                        </p:attrNameLst>
                                      </p:cBhvr>
                                      <p:to>
                                        <p:strVal val="visible"/>
                                      </p:to>
                                    </p:set>
                                    <p:anim calcmode="lin" valueType="num">
                                      <p:cBhvr additive="base">
                                        <p:cTn id="71" dur="1000" fill="hold"/>
                                        <p:tgtEl>
                                          <p:spTgt spid="206"/>
                                        </p:tgtEl>
                                        <p:attrNameLst>
                                          <p:attrName>ppt_x</p:attrName>
                                        </p:attrNameLst>
                                      </p:cBhvr>
                                      <p:tavLst>
                                        <p:tav tm="0">
                                          <p:val>
                                            <p:strVal val="#ppt_x"/>
                                          </p:val>
                                        </p:tav>
                                        <p:tav tm="100000">
                                          <p:val>
                                            <p:strVal val="#ppt_x"/>
                                          </p:val>
                                        </p:tav>
                                      </p:tavLst>
                                    </p:anim>
                                    <p:anim calcmode="lin" valueType="num">
                                      <p:cBhvr additive="base">
                                        <p:cTn id="72" dur="1000" fill="hold"/>
                                        <p:tgtEl>
                                          <p:spTgt spid="206"/>
                                        </p:tgtEl>
                                        <p:attrNameLst>
                                          <p:attrName>ppt_y</p:attrName>
                                        </p:attrNameLst>
                                      </p:cBhvr>
                                      <p:tavLst>
                                        <p:tav tm="0">
                                          <p:val>
                                            <p:strVal val="1+#ppt_h/2"/>
                                          </p:val>
                                        </p:tav>
                                        <p:tav tm="100000">
                                          <p:val>
                                            <p:strVal val="#ppt_y"/>
                                          </p:val>
                                        </p:tav>
                                      </p:tavLst>
                                    </p:anim>
                                  </p:childTnLst>
                                </p:cTn>
                              </p:par>
                              <p:par>
                                <p:cTn id="73" presetID="2" presetClass="entr" presetSubtype="4" decel="100000" fill="hold" grpId="0" nodeType="withEffect">
                                  <p:stCondLst>
                                    <p:cond delay="500"/>
                                  </p:stCondLst>
                                  <p:childTnLst>
                                    <p:set>
                                      <p:cBhvr>
                                        <p:cTn id="74" dur="1" fill="hold">
                                          <p:stCondLst>
                                            <p:cond delay="0"/>
                                          </p:stCondLst>
                                        </p:cTn>
                                        <p:tgtEl>
                                          <p:spTgt spid="214"/>
                                        </p:tgtEl>
                                        <p:attrNameLst>
                                          <p:attrName>style.visibility</p:attrName>
                                        </p:attrNameLst>
                                      </p:cBhvr>
                                      <p:to>
                                        <p:strVal val="visible"/>
                                      </p:to>
                                    </p:set>
                                    <p:anim calcmode="lin" valueType="num">
                                      <p:cBhvr additive="base">
                                        <p:cTn id="75" dur="1000" fill="hold"/>
                                        <p:tgtEl>
                                          <p:spTgt spid="214"/>
                                        </p:tgtEl>
                                        <p:attrNameLst>
                                          <p:attrName>ppt_x</p:attrName>
                                        </p:attrNameLst>
                                      </p:cBhvr>
                                      <p:tavLst>
                                        <p:tav tm="0">
                                          <p:val>
                                            <p:strVal val="#ppt_x"/>
                                          </p:val>
                                        </p:tav>
                                        <p:tav tm="100000">
                                          <p:val>
                                            <p:strVal val="#ppt_x"/>
                                          </p:val>
                                        </p:tav>
                                      </p:tavLst>
                                    </p:anim>
                                    <p:anim calcmode="lin" valueType="num">
                                      <p:cBhvr additive="base">
                                        <p:cTn id="76" dur="1000" fill="hold"/>
                                        <p:tgtEl>
                                          <p:spTgt spid="214"/>
                                        </p:tgtEl>
                                        <p:attrNameLst>
                                          <p:attrName>ppt_y</p:attrName>
                                        </p:attrNameLst>
                                      </p:cBhvr>
                                      <p:tavLst>
                                        <p:tav tm="0">
                                          <p:val>
                                            <p:strVal val="1+#ppt_h/2"/>
                                          </p:val>
                                        </p:tav>
                                        <p:tav tm="100000">
                                          <p:val>
                                            <p:strVal val="#ppt_y"/>
                                          </p:val>
                                        </p:tav>
                                      </p:tavLst>
                                    </p:anim>
                                  </p:childTnLst>
                                </p:cTn>
                              </p:par>
                              <p:par>
                                <p:cTn id="77" presetID="2" presetClass="entr" presetSubtype="4" decel="100000" fill="hold" grpId="0" nodeType="withEffect">
                                  <p:stCondLst>
                                    <p:cond delay="750"/>
                                  </p:stCondLst>
                                  <p:childTnLst>
                                    <p:set>
                                      <p:cBhvr>
                                        <p:cTn id="78" dur="1" fill="hold">
                                          <p:stCondLst>
                                            <p:cond delay="0"/>
                                          </p:stCondLst>
                                        </p:cTn>
                                        <p:tgtEl>
                                          <p:spTgt spid="205"/>
                                        </p:tgtEl>
                                        <p:attrNameLst>
                                          <p:attrName>style.visibility</p:attrName>
                                        </p:attrNameLst>
                                      </p:cBhvr>
                                      <p:to>
                                        <p:strVal val="visible"/>
                                      </p:to>
                                    </p:set>
                                    <p:anim calcmode="lin" valueType="num">
                                      <p:cBhvr additive="base">
                                        <p:cTn id="79" dur="1000" fill="hold"/>
                                        <p:tgtEl>
                                          <p:spTgt spid="205"/>
                                        </p:tgtEl>
                                        <p:attrNameLst>
                                          <p:attrName>ppt_x</p:attrName>
                                        </p:attrNameLst>
                                      </p:cBhvr>
                                      <p:tavLst>
                                        <p:tav tm="0">
                                          <p:val>
                                            <p:strVal val="#ppt_x"/>
                                          </p:val>
                                        </p:tav>
                                        <p:tav tm="100000">
                                          <p:val>
                                            <p:strVal val="#ppt_x"/>
                                          </p:val>
                                        </p:tav>
                                      </p:tavLst>
                                    </p:anim>
                                    <p:anim calcmode="lin" valueType="num">
                                      <p:cBhvr additive="base">
                                        <p:cTn id="80" dur="1000" fill="hold"/>
                                        <p:tgtEl>
                                          <p:spTgt spid="205"/>
                                        </p:tgtEl>
                                        <p:attrNameLst>
                                          <p:attrName>ppt_y</p:attrName>
                                        </p:attrNameLst>
                                      </p:cBhvr>
                                      <p:tavLst>
                                        <p:tav tm="0">
                                          <p:val>
                                            <p:strVal val="1+#ppt_h/2"/>
                                          </p:val>
                                        </p:tav>
                                        <p:tav tm="100000">
                                          <p:val>
                                            <p:strVal val="#ppt_y"/>
                                          </p:val>
                                        </p:tav>
                                      </p:tavLst>
                                    </p:anim>
                                  </p:childTnLst>
                                </p:cTn>
                              </p:par>
                              <p:par>
                                <p:cTn id="81" presetID="2" presetClass="entr" presetSubtype="4" decel="100000" fill="hold" grpId="0" nodeType="withEffect">
                                  <p:stCondLst>
                                    <p:cond delay="750"/>
                                  </p:stCondLst>
                                  <p:childTnLst>
                                    <p:set>
                                      <p:cBhvr>
                                        <p:cTn id="82" dur="1" fill="hold">
                                          <p:stCondLst>
                                            <p:cond delay="0"/>
                                          </p:stCondLst>
                                        </p:cTn>
                                        <p:tgtEl>
                                          <p:spTgt spid="213"/>
                                        </p:tgtEl>
                                        <p:attrNameLst>
                                          <p:attrName>style.visibility</p:attrName>
                                        </p:attrNameLst>
                                      </p:cBhvr>
                                      <p:to>
                                        <p:strVal val="visible"/>
                                      </p:to>
                                    </p:set>
                                    <p:anim calcmode="lin" valueType="num">
                                      <p:cBhvr additive="base">
                                        <p:cTn id="83" dur="1000" fill="hold"/>
                                        <p:tgtEl>
                                          <p:spTgt spid="213"/>
                                        </p:tgtEl>
                                        <p:attrNameLst>
                                          <p:attrName>ppt_x</p:attrName>
                                        </p:attrNameLst>
                                      </p:cBhvr>
                                      <p:tavLst>
                                        <p:tav tm="0">
                                          <p:val>
                                            <p:strVal val="#ppt_x"/>
                                          </p:val>
                                        </p:tav>
                                        <p:tav tm="100000">
                                          <p:val>
                                            <p:strVal val="#ppt_x"/>
                                          </p:val>
                                        </p:tav>
                                      </p:tavLst>
                                    </p:anim>
                                    <p:anim calcmode="lin" valueType="num">
                                      <p:cBhvr additive="base">
                                        <p:cTn id="84" dur="1000" fill="hold"/>
                                        <p:tgtEl>
                                          <p:spTgt spid="213"/>
                                        </p:tgtEl>
                                        <p:attrNameLst>
                                          <p:attrName>ppt_y</p:attrName>
                                        </p:attrNameLst>
                                      </p:cBhvr>
                                      <p:tavLst>
                                        <p:tav tm="0">
                                          <p:val>
                                            <p:strVal val="1+#ppt_h/2"/>
                                          </p:val>
                                        </p:tav>
                                        <p:tav tm="100000">
                                          <p:val>
                                            <p:strVal val="#ppt_y"/>
                                          </p:val>
                                        </p:tav>
                                      </p:tavLst>
                                    </p:anim>
                                  </p:childTnLst>
                                </p:cTn>
                              </p:par>
                              <p:par>
                                <p:cTn id="85" presetID="2" presetClass="entr" presetSubtype="4" decel="100000" fill="hold" grpId="0" nodeType="withEffect">
                                  <p:stCondLst>
                                    <p:cond delay="1000"/>
                                  </p:stCondLst>
                                  <p:childTnLst>
                                    <p:set>
                                      <p:cBhvr>
                                        <p:cTn id="86" dur="1" fill="hold">
                                          <p:stCondLst>
                                            <p:cond delay="0"/>
                                          </p:stCondLst>
                                        </p:cTn>
                                        <p:tgtEl>
                                          <p:spTgt spid="204"/>
                                        </p:tgtEl>
                                        <p:attrNameLst>
                                          <p:attrName>style.visibility</p:attrName>
                                        </p:attrNameLst>
                                      </p:cBhvr>
                                      <p:to>
                                        <p:strVal val="visible"/>
                                      </p:to>
                                    </p:set>
                                    <p:anim calcmode="lin" valueType="num">
                                      <p:cBhvr additive="base">
                                        <p:cTn id="87" dur="1000" fill="hold"/>
                                        <p:tgtEl>
                                          <p:spTgt spid="204"/>
                                        </p:tgtEl>
                                        <p:attrNameLst>
                                          <p:attrName>ppt_x</p:attrName>
                                        </p:attrNameLst>
                                      </p:cBhvr>
                                      <p:tavLst>
                                        <p:tav tm="0">
                                          <p:val>
                                            <p:strVal val="#ppt_x"/>
                                          </p:val>
                                        </p:tav>
                                        <p:tav tm="100000">
                                          <p:val>
                                            <p:strVal val="#ppt_x"/>
                                          </p:val>
                                        </p:tav>
                                      </p:tavLst>
                                    </p:anim>
                                    <p:anim calcmode="lin" valueType="num">
                                      <p:cBhvr additive="base">
                                        <p:cTn id="88" dur="1000" fill="hold"/>
                                        <p:tgtEl>
                                          <p:spTgt spid="204"/>
                                        </p:tgtEl>
                                        <p:attrNameLst>
                                          <p:attrName>ppt_y</p:attrName>
                                        </p:attrNameLst>
                                      </p:cBhvr>
                                      <p:tavLst>
                                        <p:tav tm="0">
                                          <p:val>
                                            <p:strVal val="1+#ppt_h/2"/>
                                          </p:val>
                                        </p:tav>
                                        <p:tav tm="100000">
                                          <p:val>
                                            <p:strVal val="#ppt_y"/>
                                          </p:val>
                                        </p:tav>
                                      </p:tavLst>
                                    </p:anim>
                                  </p:childTnLst>
                                </p:cTn>
                              </p:par>
                              <p:par>
                                <p:cTn id="89" presetID="2" presetClass="entr" presetSubtype="4" decel="100000" fill="hold" grpId="0" nodeType="withEffect">
                                  <p:stCondLst>
                                    <p:cond delay="1000"/>
                                  </p:stCondLst>
                                  <p:childTnLst>
                                    <p:set>
                                      <p:cBhvr>
                                        <p:cTn id="90" dur="1" fill="hold">
                                          <p:stCondLst>
                                            <p:cond delay="0"/>
                                          </p:stCondLst>
                                        </p:cTn>
                                        <p:tgtEl>
                                          <p:spTgt spid="212"/>
                                        </p:tgtEl>
                                        <p:attrNameLst>
                                          <p:attrName>style.visibility</p:attrName>
                                        </p:attrNameLst>
                                      </p:cBhvr>
                                      <p:to>
                                        <p:strVal val="visible"/>
                                      </p:to>
                                    </p:set>
                                    <p:anim calcmode="lin" valueType="num">
                                      <p:cBhvr additive="base">
                                        <p:cTn id="91" dur="1000" fill="hold"/>
                                        <p:tgtEl>
                                          <p:spTgt spid="212"/>
                                        </p:tgtEl>
                                        <p:attrNameLst>
                                          <p:attrName>ppt_x</p:attrName>
                                        </p:attrNameLst>
                                      </p:cBhvr>
                                      <p:tavLst>
                                        <p:tav tm="0">
                                          <p:val>
                                            <p:strVal val="#ppt_x"/>
                                          </p:val>
                                        </p:tav>
                                        <p:tav tm="100000">
                                          <p:val>
                                            <p:strVal val="#ppt_x"/>
                                          </p:val>
                                        </p:tav>
                                      </p:tavLst>
                                    </p:anim>
                                    <p:anim calcmode="lin" valueType="num">
                                      <p:cBhvr additive="base">
                                        <p:cTn id="92" dur="1000" fill="hold"/>
                                        <p:tgtEl>
                                          <p:spTgt spid="212"/>
                                        </p:tgtEl>
                                        <p:attrNameLst>
                                          <p:attrName>ppt_y</p:attrName>
                                        </p:attrNameLst>
                                      </p:cBhvr>
                                      <p:tavLst>
                                        <p:tav tm="0">
                                          <p:val>
                                            <p:strVal val="1+#ppt_h/2"/>
                                          </p:val>
                                        </p:tav>
                                        <p:tav tm="100000">
                                          <p:val>
                                            <p:strVal val="#ppt_y"/>
                                          </p:val>
                                        </p:tav>
                                      </p:tavLst>
                                    </p:anim>
                                  </p:childTnLst>
                                </p:cTn>
                              </p:par>
                              <p:par>
                                <p:cTn id="93" presetID="2" presetClass="entr" presetSubtype="4" decel="100000" fill="hold" grpId="0" nodeType="withEffect">
                                  <p:stCondLst>
                                    <p:cond delay="1250"/>
                                  </p:stCondLst>
                                  <p:childTnLst>
                                    <p:set>
                                      <p:cBhvr>
                                        <p:cTn id="94" dur="1" fill="hold">
                                          <p:stCondLst>
                                            <p:cond delay="0"/>
                                          </p:stCondLst>
                                        </p:cTn>
                                        <p:tgtEl>
                                          <p:spTgt spid="207"/>
                                        </p:tgtEl>
                                        <p:attrNameLst>
                                          <p:attrName>style.visibility</p:attrName>
                                        </p:attrNameLst>
                                      </p:cBhvr>
                                      <p:to>
                                        <p:strVal val="visible"/>
                                      </p:to>
                                    </p:set>
                                    <p:anim calcmode="lin" valueType="num">
                                      <p:cBhvr additive="base">
                                        <p:cTn id="95" dur="1000" fill="hold"/>
                                        <p:tgtEl>
                                          <p:spTgt spid="207"/>
                                        </p:tgtEl>
                                        <p:attrNameLst>
                                          <p:attrName>ppt_x</p:attrName>
                                        </p:attrNameLst>
                                      </p:cBhvr>
                                      <p:tavLst>
                                        <p:tav tm="0">
                                          <p:val>
                                            <p:strVal val="#ppt_x"/>
                                          </p:val>
                                        </p:tav>
                                        <p:tav tm="100000">
                                          <p:val>
                                            <p:strVal val="#ppt_x"/>
                                          </p:val>
                                        </p:tav>
                                      </p:tavLst>
                                    </p:anim>
                                    <p:anim calcmode="lin" valueType="num">
                                      <p:cBhvr additive="base">
                                        <p:cTn id="96" dur="1000" fill="hold"/>
                                        <p:tgtEl>
                                          <p:spTgt spid="207"/>
                                        </p:tgtEl>
                                        <p:attrNameLst>
                                          <p:attrName>ppt_y</p:attrName>
                                        </p:attrNameLst>
                                      </p:cBhvr>
                                      <p:tavLst>
                                        <p:tav tm="0">
                                          <p:val>
                                            <p:strVal val="1+#ppt_h/2"/>
                                          </p:val>
                                        </p:tav>
                                        <p:tav tm="100000">
                                          <p:val>
                                            <p:strVal val="#ppt_y"/>
                                          </p:val>
                                        </p:tav>
                                      </p:tavLst>
                                    </p:anim>
                                  </p:childTnLst>
                                </p:cTn>
                              </p:par>
                              <p:par>
                                <p:cTn id="97" presetID="2" presetClass="entr" presetSubtype="4" decel="100000" fill="hold" grpId="0" nodeType="withEffect">
                                  <p:stCondLst>
                                    <p:cond delay="1250"/>
                                  </p:stCondLst>
                                  <p:childTnLst>
                                    <p:set>
                                      <p:cBhvr>
                                        <p:cTn id="98" dur="1" fill="hold">
                                          <p:stCondLst>
                                            <p:cond delay="0"/>
                                          </p:stCondLst>
                                        </p:cTn>
                                        <p:tgtEl>
                                          <p:spTgt spid="211"/>
                                        </p:tgtEl>
                                        <p:attrNameLst>
                                          <p:attrName>style.visibility</p:attrName>
                                        </p:attrNameLst>
                                      </p:cBhvr>
                                      <p:to>
                                        <p:strVal val="visible"/>
                                      </p:to>
                                    </p:set>
                                    <p:anim calcmode="lin" valueType="num">
                                      <p:cBhvr additive="base">
                                        <p:cTn id="99" dur="1000" fill="hold"/>
                                        <p:tgtEl>
                                          <p:spTgt spid="211"/>
                                        </p:tgtEl>
                                        <p:attrNameLst>
                                          <p:attrName>ppt_x</p:attrName>
                                        </p:attrNameLst>
                                      </p:cBhvr>
                                      <p:tavLst>
                                        <p:tav tm="0">
                                          <p:val>
                                            <p:strVal val="#ppt_x"/>
                                          </p:val>
                                        </p:tav>
                                        <p:tav tm="100000">
                                          <p:val>
                                            <p:strVal val="#ppt_x"/>
                                          </p:val>
                                        </p:tav>
                                      </p:tavLst>
                                    </p:anim>
                                    <p:anim calcmode="lin" valueType="num">
                                      <p:cBhvr additive="base">
                                        <p:cTn id="100" dur="1000" fill="hold"/>
                                        <p:tgtEl>
                                          <p:spTgt spid="211"/>
                                        </p:tgtEl>
                                        <p:attrNameLst>
                                          <p:attrName>ppt_y</p:attrName>
                                        </p:attrNameLst>
                                      </p:cBhvr>
                                      <p:tavLst>
                                        <p:tav tm="0">
                                          <p:val>
                                            <p:strVal val="1+#ppt_h/2"/>
                                          </p:val>
                                        </p:tav>
                                        <p:tav tm="100000">
                                          <p:val>
                                            <p:strVal val="#ppt_y"/>
                                          </p:val>
                                        </p:tav>
                                      </p:tavLst>
                                    </p:anim>
                                  </p:childTnLst>
                                </p:cTn>
                              </p:par>
                              <p:par>
                                <p:cTn id="101" presetID="2" presetClass="entr" presetSubtype="4" decel="100000" fill="hold" grpId="0" nodeType="withEffect">
                                  <p:stCondLst>
                                    <p:cond delay="0"/>
                                  </p:stCondLst>
                                  <p:childTnLst>
                                    <p:set>
                                      <p:cBhvr>
                                        <p:cTn id="102" dur="1" fill="hold">
                                          <p:stCondLst>
                                            <p:cond delay="0"/>
                                          </p:stCondLst>
                                        </p:cTn>
                                        <p:tgtEl>
                                          <p:spTgt spid="203"/>
                                        </p:tgtEl>
                                        <p:attrNameLst>
                                          <p:attrName>style.visibility</p:attrName>
                                        </p:attrNameLst>
                                      </p:cBhvr>
                                      <p:to>
                                        <p:strVal val="visible"/>
                                      </p:to>
                                    </p:set>
                                    <p:anim calcmode="lin" valueType="num">
                                      <p:cBhvr additive="base">
                                        <p:cTn id="103" dur="1500" fill="hold"/>
                                        <p:tgtEl>
                                          <p:spTgt spid="203"/>
                                        </p:tgtEl>
                                        <p:attrNameLst>
                                          <p:attrName>ppt_x</p:attrName>
                                        </p:attrNameLst>
                                      </p:cBhvr>
                                      <p:tavLst>
                                        <p:tav tm="0">
                                          <p:val>
                                            <p:strVal val="#ppt_x"/>
                                          </p:val>
                                        </p:tav>
                                        <p:tav tm="100000">
                                          <p:val>
                                            <p:strVal val="#ppt_x"/>
                                          </p:val>
                                        </p:tav>
                                      </p:tavLst>
                                    </p:anim>
                                    <p:anim calcmode="lin" valueType="num">
                                      <p:cBhvr additive="base">
                                        <p:cTn id="104" dur="1500" fill="hold"/>
                                        <p:tgtEl>
                                          <p:spTgt spid="20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3" grpId="0" animBg="1"/>
      <p:bldP spid="211" grpId="0" animBg="1"/>
      <p:bldP spid="207" grpId="0" animBg="1">
        <p:tmplLst>
          <p:tmpl>
            <p:tnLst>
              <p:par>
                <p:cTn presetID="2" presetClass="entr" presetSubtype="4" decel="100000" fill="hold" nodeType="withEffect">
                  <p:stCondLst>
                    <p:cond delay="1250"/>
                  </p:stCondLst>
                  <p:childTnLst>
                    <p:set>
                      <p:cBhvr>
                        <p:cTn dur="1" fill="hold">
                          <p:stCondLst>
                            <p:cond delay="0"/>
                          </p:stCondLst>
                        </p:cTn>
                        <p:tgtEl>
                          <p:spTgt spid="207"/>
                        </p:tgtEl>
                        <p:attrNameLst>
                          <p:attrName>style.visibility</p:attrName>
                        </p:attrNameLst>
                      </p:cBhvr>
                      <p:to>
                        <p:strVal val="visible"/>
                      </p:to>
                    </p:set>
                    <p:anim calcmode="lin" valueType="num">
                      <p:cBhvr additive="base">
                        <p:cTn dur="1000" fill="hold"/>
                        <p:tgtEl>
                          <p:spTgt spid="207"/>
                        </p:tgtEl>
                        <p:attrNameLst>
                          <p:attrName>ppt_x</p:attrName>
                        </p:attrNameLst>
                      </p:cBhvr>
                      <p:tavLst>
                        <p:tav tm="0">
                          <p:val>
                            <p:strVal val="#ppt_x"/>
                          </p:val>
                        </p:tav>
                        <p:tav tm="100000">
                          <p:val>
                            <p:strVal val="#ppt_x"/>
                          </p:val>
                        </p:tav>
                      </p:tavLst>
                    </p:anim>
                    <p:anim calcmode="lin" valueType="num">
                      <p:cBhvr additive="base">
                        <p:cTn dur="1000" fill="hold"/>
                        <p:tgtEl>
                          <p:spTgt spid="207"/>
                        </p:tgtEl>
                        <p:attrNameLst>
                          <p:attrName>ppt_y</p:attrName>
                        </p:attrNameLst>
                      </p:cBhvr>
                      <p:tavLst>
                        <p:tav tm="0">
                          <p:val>
                            <p:strVal val="1+#ppt_h/2"/>
                          </p:val>
                        </p:tav>
                        <p:tav tm="100000">
                          <p:val>
                            <p:strVal val="#ppt_y"/>
                          </p:val>
                        </p:tav>
                      </p:tavLst>
                    </p:anim>
                  </p:childTnLst>
                </p:cTn>
              </p:par>
            </p:tnLst>
          </p:tmpl>
        </p:tmplLst>
      </p:bldP>
      <p:bldP spid="212" grpId="0" animBg="1"/>
      <p:bldP spid="204" grpId="0" animBg="1">
        <p:tmplLst>
          <p:tmpl>
            <p:tnLst>
              <p:par>
                <p:cTn presetID="2" presetClass="entr" presetSubtype="4" decel="100000" fill="hold" nodeType="withEffect">
                  <p:stCondLst>
                    <p:cond delay="1000"/>
                  </p:stCondLst>
                  <p:childTnLst>
                    <p:set>
                      <p:cBhvr>
                        <p:cTn dur="1" fill="hold">
                          <p:stCondLst>
                            <p:cond delay="0"/>
                          </p:stCondLst>
                        </p:cTn>
                        <p:tgtEl>
                          <p:spTgt spid="204"/>
                        </p:tgtEl>
                        <p:attrNameLst>
                          <p:attrName>style.visibility</p:attrName>
                        </p:attrNameLst>
                      </p:cBhvr>
                      <p:to>
                        <p:strVal val="visible"/>
                      </p:to>
                    </p:set>
                    <p:anim calcmode="lin" valueType="num">
                      <p:cBhvr additive="base">
                        <p:cTn dur="1000" fill="hold"/>
                        <p:tgtEl>
                          <p:spTgt spid="204"/>
                        </p:tgtEl>
                        <p:attrNameLst>
                          <p:attrName>ppt_x</p:attrName>
                        </p:attrNameLst>
                      </p:cBhvr>
                      <p:tavLst>
                        <p:tav tm="0">
                          <p:val>
                            <p:strVal val="#ppt_x"/>
                          </p:val>
                        </p:tav>
                        <p:tav tm="100000">
                          <p:val>
                            <p:strVal val="#ppt_x"/>
                          </p:val>
                        </p:tav>
                      </p:tavLst>
                    </p:anim>
                    <p:anim calcmode="lin" valueType="num">
                      <p:cBhvr additive="base">
                        <p:cTn dur="1000" fill="hold"/>
                        <p:tgtEl>
                          <p:spTgt spid="204"/>
                        </p:tgtEl>
                        <p:attrNameLst>
                          <p:attrName>ppt_y</p:attrName>
                        </p:attrNameLst>
                      </p:cBhvr>
                      <p:tavLst>
                        <p:tav tm="0">
                          <p:val>
                            <p:strVal val="1+#ppt_h/2"/>
                          </p:val>
                        </p:tav>
                        <p:tav tm="100000">
                          <p:val>
                            <p:strVal val="#ppt_y"/>
                          </p:val>
                        </p:tav>
                      </p:tavLst>
                    </p:anim>
                  </p:childTnLst>
                </p:cTn>
              </p:par>
            </p:tnLst>
          </p:tmpl>
        </p:tmplLst>
      </p:bldP>
      <p:bldP spid="213" grpId="0" animBg="1"/>
      <p:bldP spid="205" grpId="0" animBg="1">
        <p:tmplLst>
          <p:tmpl>
            <p:tnLst>
              <p:par>
                <p:cTn presetID="2" presetClass="entr" presetSubtype="4" decel="100000" fill="hold" nodeType="withEffect">
                  <p:stCondLst>
                    <p:cond delay="750"/>
                  </p:stCondLst>
                  <p:childTnLst>
                    <p:set>
                      <p:cBhvr>
                        <p:cTn dur="1" fill="hold">
                          <p:stCondLst>
                            <p:cond delay="0"/>
                          </p:stCondLst>
                        </p:cTn>
                        <p:tgtEl>
                          <p:spTgt spid="205"/>
                        </p:tgtEl>
                        <p:attrNameLst>
                          <p:attrName>style.visibility</p:attrName>
                        </p:attrNameLst>
                      </p:cBhvr>
                      <p:to>
                        <p:strVal val="visible"/>
                      </p:to>
                    </p:set>
                    <p:anim calcmode="lin" valueType="num">
                      <p:cBhvr additive="base">
                        <p:cTn dur="1000" fill="hold"/>
                        <p:tgtEl>
                          <p:spTgt spid="205"/>
                        </p:tgtEl>
                        <p:attrNameLst>
                          <p:attrName>ppt_x</p:attrName>
                        </p:attrNameLst>
                      </p:cBhvr>
                      <p:tavLst>
                        <p:tav tm="0">
                          <p:val>
                            <p:strVal val="#ppt_x"/>
                          </p:val>
                        </p:tav>
                        <p:tav tm="100000">
                          <p:val>
                            <p:strVal val="#ppt_x"/>
                          </p:val>
                        </p:tav>
                      </p:tavLst>
                    </p:anim>
                    <p:anim calcmode="lin" valueType="num">
                      <p:cBhvr additive="base">
                        <p:cTn dur="1000" fill="hold"/>
                        <p:tgtEl>
                          <p:spTgt spid="205"/>
                        </p:tgtEl>
                        <p:attrNameLst>
                          <p:attrName>ppt_y</p:attrName>
                        </p:attrNameLst>
                      </p:cBhvr>
                      <p:tavLst>
                        <p:tav tm="0">
                          <p:val>
                            <p:strVal val="1+#ppt_h/2"/>
                          </p:val>
                        </p:tav>
                        <p:tav tm="100000">
                          <p:val>
                            <p:strVal val="#ppt_y"/>
                          </p:val>
                        </p:tav>
                      </p:tavLst>
                    </p:anim>
                  </p:childTnLst>
                </p:cTn>
              </p:par>
            </p:tnLst>
          </p:tmpl>
        </p:tmplLst>
      </p:bldP>
      <p:bldP spid="214" grpId="0" animBg="1"/>
      <p:bldP spid="206" grpId="0" animBg="1">
        <p:tmplLst>
          <p:tmpl>
            <p:tnLst>
              <p:par>
                <p:cTn presetID="2" presetClass="entr" presetSubtype="4" decel="100000" fill="hold" nodeType="withEffect">
                  <p:stCondLst>
                    <p:cond delay="500"/>
                  </p:stCondLst>
                  <p:childTnLst>
                    <p:set>
                      <p:cBhvr>
                        <p:cTn dur="1" fill="hold">
                          <p:stCondLst>
                            <p:cond delay="0"/>
                          </p:stCondLst>
                        </p:cTn>
                        <p:tgtEl>
                          <p:spTgt spid="206"/>
                        </p:tgtEl>
                        <p:attrNameLst>
                          <p:attrName>style.visibility</p:attrName>
                        </p:attrNameLst>
                      </p:cBhvr>
                      <p:to>
                        <p:strVal val="visible"/>
                      </p:to>
                    </p:set>
                    <p:anim calcmode="lin" valueType="num">
                      <p:cBhvr additive="base">
                        <p:cTn dur="1000" fill="hold"/>
                        <p:tgtEl>
                          <p:spTgt spid="206"/>
                        </p:tgtEl>
                        <p:attrNameLst>
                          <p:attrName>ppt_x</p:attrName>
                        </p:attrNameLst>
                      </p:cBhvr>
                      <p:tavLst>
                        <p:tav tm="0">
                          <p:val>
                            <p:strVal val="#ppt_x"/>
                          </p:val>
                        </p:tav>
                        <p:tav tm="100000">
                          <p:val>
                            <p:strVal val="#ppt_x"/>
                          </p:val>
                        </p:tav>
                      </p:tavLst>
                    </p:anim>
                    <p:anim calcmode="lin" valueType="num">
                      <p:cBhvr additive="base">
                        <p:cTn dur="1000" fill="hold"/>
                        <p:tgtEl>
                          <p:spTgt spid="206"/>
                        </p:tgtEl>
                        <p:attrNameLst>
                          <p:attrName>ppt_y</p:attrName>
                        </p:attrNameLst>
                      </p:cBhvr>
                      <p:tavLst>
                        <p:tav tm="0">
                          <p:val>
                            <p:strVal val="1+#ppt_h/2"/>
                          </p:val>
                        </p:tav>
                        <p:tav tm="100000">
                          <p:val>
                            <p:strVal val="#ppt_y"/>
                          </p:val>
                        </p:tav>
                      </p:tavLst>
                    </p:anim>
                  </p:childTnLst>
                </p:cTn>
              </p:par>
            </p:tnLst>
          </p:tmpl>
        </p:tmplLst>
      </p:bldP>
      <p:bldP spid="215" grpId="0" animBg="1"/>
      <p:bldP spid="208" grpId="0" animBg="1">
        <p:tmplLst>
          <p:tmpl>
            <p:tnLst>
              <p:par>
                <p:cTn presetID="2" presetClass="entr" presetSubtype="4" decel="100000" fill="hold" nodeType="withEffect">
                  <p:stCondLst>
                    <p:cond delay="1250"/>
                  </p:stCondLst>
                  <p:childTnLst>
                    <p:set>
                      <p:cBhvr>
                        <p:cTn dur="1" fill="hold">
                          <p:stCondLst>
                            <p:cond delay="0"/>
                          </p:stCondLst>
                        </p:cTn>
                        <p:tgtEl>
                          <p:spTgt spid="208"/>
                        </p:tgtEl>
                        <p:attrNameLst>
                          <p:attrName>style.visibility</p:attrName>
                        </p:attrNameLst>
                      </p:cBhvr>
                      <p:to>
                        <p:strVal val="visible"/>
                      </p:to>
                    </p:set>
                    <p:anim calcmode="lin" valueType="num">
                      <p:cBhvr additive="base">
                        <p:cTn dur="1000" fill="hold"/>
                        <p:tgtEl>
                          <p:spTgt spid="208"/>
                        </p:tgtEl>
                        <p:attrNameLst>
                          <p:attrName>ppt_x</p:attrName>
                        </p:attrNameLst>
                      </p:cBhvr>
                      <p:tavLst>
                        <p:tav tm="0">
                          <p:val>
                            <p:strVal val="#ppt_x"/>
                          </p:val>
                        </p:tav>
                        <p:tav tm="100000">
                          <p:val>
                            <p:strVal val="#ppt_x"/>
                          </p:val>
                        </p:tav>
                      </p:tavLst>
                    </p:anim>
                    <p:anim calcmode="lin" valueType="num">
                      <p:cBhvr additive="base">
                        <p:cTn dur="1000" fill="hold"/>
                        <p:tgtEl>
                          <p:spTgt spid="208"/>
                        </p:tgtEl>
                        <p:attrNameLst>
                          <p:attrName>ppt_y</p:attrName>
                        </p:attrNameLst>
                      </p:cBhvr>
                      <p:tavLst>
                        <p:tav tm="0">
                          <p:val>
                            <p:strVal val="1+#ppt_h/2"/>
                          </p:val>
                        </p:tav>
                        <p:tav tm="100000">
                          <p:val>
                            <p:strVal val="#ppt_y"/>
                          </p:val>
                        </p:tav>
                      </p:tavLst>
                    </p:anim>
                  </p:childTnLst>
                </p:cTn>
              </p:par>
            </p:tnLst>
          </p:tmpl>
        </p:tmplLst>
      </p:bldP>
      <p:bldP spid="216" grpId="0" animBg="1"/>
      <p:bldP spid="36" grpId="0" animBg="1">
        <p:tmplLst>
          <p:tmpl>
            <p:tnLst>
              <p:par>
                <p:cTn presetID="2" presetClass="entr" presetSubtype="4" decel="100000" fill="hold" nodeType="withEffect">
                  <p:stCondLst>
                    <p:cond delay="1000"/>
                  </p:stCondLst>
                  <p:childTnLst>
                    <p:set>
                      <p:cBhvr>
                        <p:cTn dur="1" fill="hold">
                          <p:stCondLst>
                            <p:cond delay="0"/>
                          </p:stCondLst>
                        </p:cTn>
                        <p:tgtEl>
                          <p:spTgt spid="36"/>
                        </p:tgtEl>
                        <p:attrNameLst>
                          <p:attrName>style.visibility</p:attrName>
                        </p:attrNameLst>
                      </p:cBhvr>
                      <p:to>
                        <p:strVal val="visible"/>
                      </p:to>
                    </p:set>
                    <p:anim calcmode="lin" valueType="num">
                      <p:cBhvr additive="base">
                        <p:cTn dur="1000" fill="hold"/>
                        <p:tgtEl>
                          <p:spTgt spid="36"/>
                        </p:tgtEl>
                        <p:attrNameLst>
                          <p:attrName>ppt_x</p:attrName>
                        </p:attrNameLst>
                      </p:cBhvr>
                      <p:tavLst>
                        <p:tav tm="0">
                          <p:val>
                            <p:strVal val="#ppt_x"/>
                          </p:val>
                        </p:tav>
                        <p:tav tm="100000">
                          <p:val>
                            <p:strVal val="#ppt_x"/>
                          </p:val>
                        </p:tav>
                      </p:tavLst>
                    </p:anim>
                    <p:anim calcmode="lin" valueType="num">
                      <p:cBhvr additive="base">
                        <p:cTn dur="1000" fill="hold"/>
                        <p:tgtEl>
                          <p:spTgt spid="36"/>
                        </p:tgtEl>
                        <p:attrNameLst>
                          <p:attrName>ppt_y</p:attrName>
                        </p:attrNameLst>
                      </p:cBhvr>
                      <p:tavLst>
                        <p:tav tm="0">
                          <p:val>
                            <p:strVal val="1+#ppt_h/2"/>
                          </p:val>
                        </p:tav>
                        <p:tav tm="100000">
                          <p:val>
                            <p:strVal val="#ppt_y"/>
                          </p:val>
                        </p:tav>
                      </p:tavLst>
                    </p:anim>
                  </p:childTnLst>
                </p:cTn>
              </p:par>
            </p:tnLst>
          </p:tmpl>
        </p:tmplLst>
      </p:bldP>
      <p:bldP spid="217" grpId="0" animBg="1"/>
      <p:bldP spid="35" grpId="0" animBg="1">
        <p:tmplLst>
          <p:tmpl>
            <p:tnLst>
              <p:par>
                <p:cTn presetID="2" presetClass="entr" presetSubtype="4" decel="100000" fill="hold" nodeType="withEffect">
                  <p:stCondLst>
                    <p:cond delay="750"/>
                  </p:stCondLst>
                  <p:childTnLst>
                    <p:set>
                      <p:cBhvr>
                        <p:cTn dur="1" fill="hold">
                          <p:stCondLst>
                            <p:cond delay="0"/>
                          </p:stCondLst>
                        </p:cTn>
                        <p:tgtEl>
                          <p:spTgt spid="35"/>
                        </p:tgtEl>
                        <p:attrNameLst>
                          <p:attrName>style.visibility</p:attrName>
                        </p:attrNameLst>
                      </p:cBhvr>
                      <p:to>
                        <p:strVal val="visible"/>
                      </p:to>
                    </p:set>
                    <p:anim calcmode="lin" valueType="num">
                      <p:cBhvr additive="base">
                        <p:cTn dur="1000" fill="hold"/>
                        <p:tgtEl>
                          <p:spTgt spid="35"/>
                        </p:tgtEl>
                        <p:attrNameLst>
                          <p:attrName>ppt_x</p:attrName>
                        </p:attrNameLst>
                      </p:cBhvr>
                      <p:tavLst>
                        <p:tav tm="0">
                          <p:val>
                            <p:strVal val="#ppt_x"/>
                          </p:val>
                        </p:tav>
                        <p:tav tm="100000">
                          <p:val>
                            <p:strVal val="#ppt_x"/>
                          </p:val>
                        </p:tav>
                      </p:tavLst>
                    </p:anim>
                    <p:anim calcmode="lin" valueType="num">
                      <p:cBhvr additive="base">
                        <p:cTn dur="1000" fill="hold"/>
                        <p:tgtEl>
                          <p:spTgt spid="35"/>
                        </p:tgtEl>
                        <p:attrNameLst>
                          <p:attrName>ppt_y</p:attrName>
                        </p:attrNameLst>
                      </p:cBhvr>
                      <p:tavLst>
                        <p:tav tm="0">
                          <p:val>
                            <p:strVal val="1+#ppt_h/2"/>
                          </p:val>
                        </p:tav>
                        <p:tav tm="100000">
                          <p:val>
                            <p:strVal val="#ppt_y"/>
                          </p:val>
                        </p:tav>
                      </p:tavLst>
                    </p:anim>
                  </p:childTnLst>
                </p:cTn>
              </p:par>
            </p:tnLst>
          </p:tmpl>
        </p:tmplLst>
      </p:bldP>
      <p:bldP spid="218" grpId="0" animBg="1"/>
      <p:bldP spid="34" grpId="0" animBg="1">
        <p:tmplLst>
          <p:tmpl>
            <p:tnLst>
              <p:par>
                <p:cTn presetID="2" presetClass="entr" presetSubtype="4" decel="100000" fill="hold" nodeType="withEffect">
                  <p:stCondLst>
                    <p:cond delay="500"/>
                  </p:stCondLst>
                  <p:childTnLst>
                    <p:set>
                      <p:cBhvr>
                        <p:cTn dur="1" fill="hold">
                          <p:stCondLst>
                            <p:cond delay="0"/>
                          </p:stCondLst>
                        </p:cTn>
                        <p:tgtEl>
                          <p:spTgt spid="34"/>
                        </p:tgtEl>
                        <p:attrNameLst>
                          <p:attrName>style.visibility</p:attrName>
                        </p:attrNameLst>
                      </p:cBhvr>
                      <p:to>
                        <p:strVal val="visible"/>
                      </p:to>
                    </p:set>
                    <p:anim calcmode="lin" valueType="num">
                      <p:cBhvr additive="base">
                        <p:cTn dur="1000" fill="hold"/>
                        <p:tgtEl>
                          <p:spTgt spid="34"/>
                        </p:tgtEl>
                        <p:attrNameLst>
                          <p:attrName>ppt_x</p:attrName>
                        </p:attrNameLst>
                      </p:cBhvr>
                      <p:tavLst>
                        <p:tav tm="0">
                          <p:val>
                            <p:strVal val="#ppt_x"/>
                          </p:val>
                        </p:tav>
                        <p:tav tm="100000">
                          <p:val>
                            <p:strVal val="#ppt_x"/>
                          </p:val>
                        </p:tav>
                      </p:tavLst>
                    </p:anim>
                    <p:anim calcmode="lin" valueType="num">
                      <p:cBhvr additive="base">
                        <p:cTn dur="1000" fill="hold"/>
                        <p:tgtEl>
                          <p:spTgt spid="34"/>
                        </p:tgtEl>
                        <p:attrNameLst>
                          <p:attrName>ppt_y</p:attrName>
                        </p:attrNameLst>
                      </p:cBhvr>
                      <p:tavLst>
                        <p:tav tm="0">
                          <p:val>
                            <p:strVal val="1+#ppt_h/2"/>
                          </p:val>
                        </p:tav>
                        <p:tav tm="100000">
                          <p:val>
                            <p:strVal val="#ppt_y"/>
                          </p:val>
                        </p:tav>
                      </p:tavLst>
                    </p:anim>
                  </p:childTnLst>
                </p:cTn>
              </p:par>
            </p:tnLst>
          </p:tmpl>
        </p:tmplLst>
      </p:bldP>
      <p:bldP spid="219" grpId="0" animBg="1"/>
      <p:bldP spid="210" grpId="0" animBg="1">
        <p:tmplLst>
          <p:tmpl>
            <p:tnLst>
              <p:par>
                <p:cTn presetID="2" presetClass="entr" presetSubtype="4" decel="100000" fill="hold" nodeType="withEffect">
                  <p:stCondLst>
                    <p:cond delay="1250"/>
                  </p:stCondLst>
                  <p:childTnLst>
                    <p:set>
                      <p:cBhvr>
                        <p:cTn dur="1" fill="hold">
                          <p:stCondLst>
                            <p:cond delay="0"/>
                          </p:stCondLst>
                        </p:cTn>
                        <p:tgtEl>
                          <p:spTgt spid="210"/>
                        </p:tgtEl>
                        <p:attrNameLst>
                          <p:attrName>style.visibility</p:attrName>
                        </p:attrNameLst>
                      </p:cBhvr>
                      <p:to>
                        <p:strVal val="visible"/>
                      </p:to>
                    </p:set>
                    <p:anim calcmode="lin" valueType="num">
                      <p:cBhvr additive="base">
                        <p:cTn dur="1000" fill="hold"/>
                        <p:tgtEl>
                          <p:spTgt spid="210"/>
                        </p:tgtEl>
                        <p:attrNameLst>
                          <p:attrName>ppt_x</p:attrName>
                        </p:attrNameLst>
                      </p:cBhvr>
                      <p:tavLst>
                        <p:tav tm="0">
                          <p:val>
                            <p:strVal val="#ppt_x"/>
                          </p:val>
                        </p:tav>
                        <p:tav tm="100000">
                          <p:val>
                            <p:strVal val="#ppt_x"/>
                          </p:val>
                        </p:tav>
                      </p:tavLst>
                    </p:anim>
                    <p:anim calcmode="lin" valueType="num">
                      <p:cBhvr additive="base">
                        <p:cTn dur="1000" fill="hold"/>
                        <p:tgtEl>
                          <p:spTgt spid="210"/>
                        </p:tgtEl>
                        <p:attrNameLst>
                          <p:attrName>ppt_y</p:attrName>
                        </p:attrNameLst>
                      </p:cBhvr>
                      <p:tavLst>
                        <p:tav tm="0">
                          <p:val>
                            <p:strVal val="1+#ppt_h/2"/>
                          </p:val>
                        </p:tav>
                        <p:tav tm="100000">
                          <p:val>
                            <p:strVal val="#ppt_y"/>
                          </p:val>
                        </p:tav>
                      </p:tavLst>
                    </p:anim>
                  </p:childTnLst>
                </p:cTn>
              </p:par>
            </p:tnLst>
          </p:tmpl>
        </p:tmplLst>
      </p:bldP>
      <p:bldP spid="220" grpId="0" animBg="1"/>
      <p:bldP spid="16" grpId="0" animBg="1">
        <p:tmplLst>
          <p:tmpl>
            <p:tnLst>
              <p:par>
                <p:cTn presetID="2" presetClass="entr" presetSubtype="4" decel="100000" fill="hold" nodeType="withEffect">
                  <p:stCondLst>
                    <p:cond delay="1000"/>
                  </p:stCondLst>
                  <p:childTnLst>
                    <p:set>
                      <p:cBhvr>
                        <p:cTn dur="1" fill="hold">
                          <p:stCondLst>
                            <p:cond delay="0"/>
                          </p:stCondLst>
                        </p:cTn>
                        <p:tgtEl>
                          <p:spTgt spid="16"/>
                        </p:tgtEl>
                        <p:attrNameLst>
                          <p:attrName>style.visibility</p:attrName>
                        </p:attrNameLst>
                      </p:cBhvr>
                      <p:to>
                        <p:strVal val="visible"/>
                      </p:to>
                    </p:set>
                    <p:anim calcmode="lin" valueType="num">
                      <p:cBhvr additive="base">
                        <p:cTn dur="1000" fill="hold"/>
                        <p:tgtEl>
                          <p:spTgt spid="16"/>
                        </p:tgtEl>
                        <p:attrNameLst>
                          <p:attrName>ppt_x</p:attrName>
                        </p:attrNameLst>
                      </p:cBhvr>
                      <p:tavLst>
                        <p:tav tm="0">
                          <p:val>
                            <p:strVal val="#ppt_x"/>
                          </p:val>
                        </p:tav>
                        <p:tav tm="100000">
                          <p:val>
                            <p:strVal val="#ppt_x"/>
                          </p:val>
                        </p:tav>
                      </p:tavLst>
                    </p:anim>
                    <p:anim calcmode="lin" valueType="num">
                      <p:cBhvr additive="base">
                        <p:cTn dur="1000" fill="hold"/>
                        <p:tgtEl>
                          <p:spTgt spid="16"/>
                        </p:tgtEl>
                        <p:attrNameLst>
                          <p:attrName>ppt_y</p:attrName>
                        </p:attrNameLst>
                      </p:cBhvr>
                      <p:tavLst>
                        <p:tav tm="0">
                          <p:val>
                            <p:strVal val="1+#ppt_h/2"/>
                          </p:val>
                        </p:tav>
                        <p:tav tm="100000">
                          <p:val>
                            <p:strVal val="#ppt_y"/>
                          </p:val>
                        </p:tav>
                      </p:tavLst>
                    </p:anim>
                  </p:childTnLst>
                </p:cTn>
              </p:par>
            </p:tnLst>
          </p:tmpl>
        </p:tmplLst>
      </p:bldP>
      <p:bldP spid="221" grpId="0" animBg="1"/>
      <p:bldP spid="15" grpId="0" animBg="1">
        <p:tmplLst>
          <p:tmpl>
            <p:tnLst>
              <p:par>
                <p:cTn presetID="2" presetClass="entr" presetSubtype="4" decel="100000" fill="hold" nodeType="withEffect">
                  <p:stCondLst>
                    <p:cond delay="750"/>
                  </p:stCondLst>
                  <p:childTnLst>
                    <p:set>
                      <p:cBhvr>
                        <p:cTn dur="1" fill="hold">
                          <p:stCondLst>
                            <p:cond delay="0"/>
                          </p:stCondLst>
                        </p:cTn>
                        <p:tgtEl>
                          <p:spTgt spid="15"/>
                        </p:tgtEl>
                        <p:attrNameLst>
                          <p:attrName>style.visibility</p:attrName>
                        </p:attrNameLst>
                      </p:cBhvr>
                      <p:to>
                        <p:strVal val="visible"/>
                      </p:to>
                    </p:set>
                    <p:anim calcmode="lin" valueType="num">
                      <p:cBhvr additive="base">
                        <p:cTn dur="1000" fill="hold"/>
                        <p:tgtEl>
                          <p:spTgt spid="15"/>
                        </p:tgtEl>
                        <p:attrNameLst>
                          <p:attrName>ppt_x</p:attrName>
                        </p:attrNameLst>
                      </p:cBhvr>
                      <p:tavLst>
                        <p:tav tm="0">
                          <p:val>
                            <p:strVal val="#ppt_x"/>
                          </p:val>
                        </p:tav>
                        <p:tav tm="100000">
                          <p:val>
                            <p:strVal val="#ppt_x"/>
                          </p:val>
                        </p:tav>
                      </p:tavLst>
                    </p:anim>
                    <p:anim calcmode="lin" valueType="num">
                      <p:cBhvr additive="base">
                        <p:cTn dur="1000" fill="hold"/>
                        <p:tgtEl>
                          <p:spTgt spid="15"/>
                        </p:tgtEl>
                        <p:attrNameLst>
                          <p:attrName>ppt_y</p:attrName>
                        </p:attrNameLst>
                      </p:cBhvr>
                      <p:tavLst>
                        <p:tav tm="0">
                          <p:val>
                            <p:strVal val="1+#ppt_h/2"/>
                          </p:val>
                        </p:tav>
                        <p:tav tm="100000">
                          <p:val>
                            <p:strVal val="#ppt_y"/>
                          </p:val>
                        </p:tav>
                      </p:tavLst>
                    </p:anim>
                  </p:childTnLst>
                </p:cTn>
              </p:par>
            </p:tnLst>
          </p:tmpl>
        </p:tmplLst>
      </p:bldP>
      <p:bldP spid="222" grpId="0" animBg="1"/>
      <p:bldP spid="14" grpId="0" animBg="1">
        <p:tmplLst>
          <p:tmpl>
            <p:tnLst>
              <p:par>
                <p:cTn presetID="2" presetClass="entr" presetSubtype="4" decel="100000" fill="hold" nodeType="withEffect">
                  <p:stCondLst>
                    <p:cond delay="500"/>
                  </p:stCondLst>
                  <p:childTnLst>
                    <p:set>
                      <p:cBhvr>
                        <p:cTn dur="1" fill="hold">
                          <p:stCondLst>
                            <p:cond delay="0"/>
                          </p:stCondLst>
                        </p:cTn>
                        <p:tgtEl>
                          <p:spTgt spid="14"/>
                        </p:tgtEl>
                        <p:attrNameLst>
                          <p:attrName>style.visibility</p:attrName>
                        </p:attrNameLst>
                      </p:cBhvr>
                      <p:to>
                        <p:strVal val="visible"/>
                      </p:to>
                    </p:set>
                    <p:anim calcmode="lin" valueType="num">
                      <p:cBhvr additive="base">
                        <p:cTn dur="1000" fill="hold"/>
                        <p:tgtEl>
                          <p:spTgt spid="14"/>
                        </p:tgtEl>
                        <p:attrNameLst>
                          <p:attrName>ppt_x</p:attrName>
                        </p:attrNameLst>
                      </p:cBhvr>
                      <p:tavLst>
                        <p:tav tm="0">
                          <p:val>
                            <p:strVal val="#ppt_x"/>
                          </p:val>
                        </p:tav>
                        <p:tav tm="100000">
                          <p:val>
                            <p:strVal val="#ppt_x"/>
                          </p:val>
                        </p:tav>
                      </p:tavLst>
                    </p:anim>
                    <p:anim calcmode="lin" valueType="num">
                      <p:cBhvr additive="base">
                        <p:cTn dur="1000" fill="hold"/>
                        <p:tgtEl>
                          <p:spTgt spid="14"/>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MENU">
    <p:spTree>
      <p:nvGrpSpPr>
        <p:cNvPr id="1" name=""/>
        <p:cNvGrpSpPr/>
        <p:nvPr/>
      </p:nvGrpSpPr>
      <p:grpSpPr>
        <a:xfrm>
          <a:off x="0" y="0"/>
          <a:ext cx="0" cy="0"/>
          <a:chOff x="0" y="0"/>
          <a:chExt cx="0" cy="0"/>
        </a:xfrm>
      </p:grpSpPr>
      <p:sp>
        <p:nvSpPr>
          <p:cNvPr id="72" name="Naam indeling - MENU"/>
          <p:cNvSpPr txBox="1"/>
          <p:nvPr userDrawn="1"/>
        </p:nvSpPr>
        <p:spPr>
          <a:xfrm>
            <a:off x="1" y="-453266"/>
            <a:ext cx="3582333" cy="276999"/>
          </a:xfrm>
          <a:prstGeom prst="rect">
            <a:avLst/>
          </a:prstGeom>
          <a:noFill/>
        </p:spPr>
        <p:txBody>
          <a:bodyPr wrap="square" lIns="0" tIns="0" rIns="0" bIns="0" rtlCol="0">
            <a:spAutoFit/>
          </a:bodyPr>
          <a:lstStyle/>
          <a:p>
            <a:pPr defTabSz="914112"/>
            <a:r>
              <a:rPr lang="nl-NL" dirty="0">
                <a:solidFill>
                  <a:srgbClr val="404040"/>
                </a:solidFill>
                <a:latin typeface="Calibri" panose="020F0502020204030204" pitchFamily="34" charset="0"/>
              </a:rPr>
              <a:t>MENU</a:t>
            </a:r>
            <a:endParaRPr lang="en-GB" dirty="0">
              <a:solidFill>
                <a:srgbClr val="404040"/>
              </a:solidFill>
              <a:latin typeface="Calibri" panose="020F0502020204030204" pitchFamily="34" charset="0"/>
            </a:endParaRPr>
          </a:p>
        </p:txBody>
      </p:sp>
      <p:grpSp>
        <p:nvGrpSpPr>
          <p:cNvPr id="73" name="Instructie - Hyperlink aanmaken"/>
          <p:cNvGrpSpPr/>
          <p:nvPr userDrawn="1"/>
        </p:nvGrpSpPr>
        <p:grpSpPr>
          <a:xfrm>
            <a:off x="12465348" y="4042514"/>
            <a:ext cx="2711112" cy="5221861"/>
            <a:chOff x="12441149" y="14897"/>
            <a:chExt cx="2710406" cy="5221861"/>
          </a:xfrm>
        </p:grpSpPr>
        <p:grpSp>
          <p:nvGrpSpPr>
            <p:cNvPr id="74" name="Groep 73"/>
            <p:cNvGrpSpPr/>
            <p:nvPr userDrawn="1"/>
          </p:nvGrpSpPr>
          <p:grpSpPr>
            <a:xfrm>
              <a:off x="12486425" y="1700551"/>
              <a:ext cx="276600" cy="277539"/>
              <a:chOff x="12486425" y="1700551"/>
              <a:chExt cx="276600" cy="277539"/>
            </a:xfrm>
          </p:grpSpPr>
          <p:sp>
            <p:nvSpPr>
              <p:cNvPr id="87" name="Ovaal 86"/>
              <p:cNvSpPr/>
              <p:nvPr userDrawn="1"/>
            </p:nvSpPr>
            <p:spPr>
              <a:xfrm>
                <a:off x="12491756" y="1700551"/>
                <a:ext cx="211685" cy="213802"/>
              </a:xfrm>
              <a:prstGeom prst="ellipse">
                <a:avLst/>
              </a:prstGeom>
              <a:noFill/>
              <a:ln w="158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88" name="Ovaal 87"/>
              <p:cNvSpPr/>
              <p:nvPr userDrawn="1"/>
            </p:nvSpPr>
            <p:spPr>
              <a:xfrm>
                <a:off x="12552711" y="1700551"/>
                <a:ext cx="89775" cy="213802"/>
              </a:xfrm>
              <a:prstGeom prst="ellipse">
                <a:avLst/>
              </a:prstGeom>
              <a:noFill/>
              <a:ln w="158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cxnSp>
            <p:nvCxnSpPr>
              <p:cNvPr id="89" name="Rechte verbindingslijn 88"/>
              <p:cNvCxnSpPr/>
              <p:nvPr userDrawn="1"/>
            </p:nvCxnSpPr>
            <p:spPr>
              <a:xfrm>
                <a:off x="12491756" y="1814916"/>
                <a:ext cx="211685" cy="0"/>
              </a:xfrm>
              <a:prstGeom prst="line">
                <a:avLst/>
              </a:prstGeom>
              <a:noFill/>
              <a:ln w="158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90" name="Rechte verbindingslijn 89"/>
              <p:cNvCxnSpPr/>
              <p:nvPr userDrawn="1"/>
            </p:nvCxnSpPr>
            <p:spPr>
              <a:xfrm>
                <a:off x="12502330" y="1762664"/>
                <a:ext cx="190536" cy="0"/>
              </a:xfrm>
              <a:prstGeom prst="line">
                <a:avLst/>
              </a:prstGeom>
              <a:noFill/>
              <a:ln w="158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91" name="Rechthoek: afgeronde hoeken 78"/>
              <p:cNvSpPr/>
              <p:nvPr userDrawn="1"/>
            </p:nvSpPr>
            <p:spPr>
              <a:xfrm>
                <a:off x="12486425" y="1844390"/>
                <a:ext cx="276600" cy="133700"/>
              </a:xfrm>
              <a:prstGeom prst="roundRect">
                <a:avLst>
                  <a:gd name="adj" fmla="val 4258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92" name="Vrije vorm: vorm 79"/>
              <p:cNvSpPr/>
              <p:nvPr userDrawn="1"/>
            </p:nvSpPr>
            <p:spPr>
              <a:xfrm>
                <a:off x="12517912" y="1869290"/>
                <a:ext cx="127323" cy="78974"/>
              </a:xfrm>
              <a:custGeom>
                <a:avLst/>
                <a:gdLst>
                  <a:gd name="connsiteX0" fmla="*/ 141826 w 141826"/>
                  <a:gd name="connsiteY0" fmla="*/ 37323 h 93306"/>
                  <a:gd name="connsiteX1" fmla="*/ 108235 w 141826"/>
                  <a:gd name="connsiteY1" fmla="*/ 3732 h 93306"/>
                  <a:gd name="connsiteX2" fmla="*/ 37323 w 141826"/>
                  <a:gd name="connsiteY2" fmla="*/ 0 h 93306"/>
                  <a:gd name="connsiteX3" fmla="*/ 0 w 141826"/>
                  <a:gd name="connsiteY3" fmla="*/ 41055 h 93306"/>
                  <a:gd name="connsiteX4" fmla="*/ 29858 w 141826"/>
                  <a:gd name="connsiteY4" fmla="*/ 93306 h 93306"/>
                  <a:gd name="connsiteX5" fmla="*/ 78378 w 141826"/>
                  <a:gd name="connsiteY5" fmla="*/ 89574 h 93306"/>
                  <a:gd name="connsiteX0" fmla="*/ 141826 w 141826"/>
                  <a:gd name="connsiteY0" fmla="*/ 37666 h 93649"/>
                  <a:gd name="connsiteX1" fmla="*/ 107420 w 141826"/>
                  <a:gd name="connsiteY1" fmla="*/ 0 h 93649"/>
                  <a:gd name="connsiteX2" fmla="*/ 37323 w 141826"/>
                  <a:gd name="connsiteY2" fmla="*/ 343 h 93649"/>
                  <a:gd name="connsiteX3" fmla="*/ 0 w 141826"/>
                  <a:gd name="connsiteY3" fmla="*/ 41398 h 93649"/>
                  <a:gd name="connsiteX4" fmla="*/ 29858 w 141826"/>
                  <a:gd name="connsiteY4" fmla="*/ 93649 h 93649"/>
                  <a:gd name="connsiteX5" fmla="*/ 78378 w 141826"/>
                  <a:gd name="connsiteY5" fmla="*/ 89917 h 93649"/>
                  <a:gd name="connsiteX0" fmla="*/ 141826 w 141826"/>
                  <a:gd name="connsiteY0" fmla="*/ 37666 h 93649"/>
                  <a:gd name="connsiteX1" fmla="*/ 107420 w 141826"/>
                  <a:gd name="connsiteY1" fmla="*/ 0 h 93649"/>
                  <a:gd name="connsiteX2" fmla="*/ 37323 w 141826"/>
                  <a:gd name="connsiteY2" fmla="*/ 343 h 93649"/>
                  <a:gd name="connsiteX3" fmla="*/ 0 w 141826"/>
                  <a:gd name="connsiteY3" fmla="*/ 41398 h 93649"/>
                  <a:gd name="connsiteX4" fmla="*/ 29858 w 141826"/>
                  <a:gd name="connsiteY4" fmla="*/ 93649 h 93649"/>
                  <a:gd name="connsiteX5" fmla="*/ 78378 w 141826"/>
                  <a:gd name="connsiteY5" fmla="*/ 89917 h 93649"/>
                  <a:gd name="connsiteX0" fmla="*/ 141826 w 141826"/>
                  <a:gd name="connsiteY0" fmla="*/ 37666 h 93649"/>
                  <a:gd name="connsiteX1" fmla="*/ 107420 w 141826"/>
                  <a:gd name="connsiteY1" fmla="*/ 0 h 93649"/>
                  <a:gd name="connsiteX2" fmla="*/ 37323 w 141826"/>
                  <a:gd name="connsiteY2" fmla="*/ 343 h 93649"/>
                  <a:gd name="connsiteX3" fmla="*/ 0 w 141826"/>
                  <a:gd name="connsiteY3" fmla="*/ 41398 h 93649"/>
                  <a:gd name="connsiteX4" fmla="*/ 29858 w 141826"/>
                  <a:gd name="connsiteY4" fmla="*/ 93649 h 93649"/>
                  <a:gd name="connsiteX5" fmla="*/ 79193 w 141826"/>
                  <a:gd name="connsiteY5" fmla="*/ 93177 h 93649"/>
                  <a:gd name="connsiteX0" fmla="*/ 141826 w 141826"/>
                  <a:gd name="connsiteY0" fmla="*/ 37666 h 93650"/>
                  <a:gd name="connsiteX1" fmla="*/ 107420 w 141826"/>
                  <a:gd name="connsiteY1" fmla="*/ 0 h 93650"/>
                  <a:gd name="connsiteX2" fmla="*/ 37323 w 141826"/>
                  <a:gd name="connsiteY2" fmla="*/ 343 h 93650"/>
                  <a:gd name="connsiteX3" fmla="*/ 0 w 141826"/>
                  <a:gd name="connsiteY3" fmla="*/ 41398 h 93650"/>
                  <a:gd name="connsiteX4" fmla="*/ 29858 w 141826"/>
                  <a:gd name="connsiteY4" fmla="*/ 93649 h 93650"/>
                  <a:gd name="connsiteX5" fmla="*/ 79193 w 141826"/>
                  <a:gd name="connsiteY5" fmla="*/ 93177 h 93650"/>
                  <a:gd name="connsiteX0" fmla="*/ 141826 w 141826"/>
                  <a:gd name="connsiteY0" fmla="*/ 37666 h 93650"/>
                  <a:gd name="connsiteX1" fmla="*/ 107420 w 141826"/>
                  <a:gd name="connsiteY1" fmla="*/ 0 h 93650"/>
                  <a:gd name="connsiteX2" fmla="*/ 37323 w 141826"/>
                  <a:gd name="connsiteY2" fmla="*/ 343 h 93650"/>
                  <a:gd name="connsiteX3" fmla="*/ 0 w 141826"/>
                  <a:gd name="connsiteY3" fmla="*/ 41398 h 93650"/>
                  <a:gd name="connsiteX4" fmla="*/ 29858 w 141826"/>
                  <a:gd name="connsiteY4" fmla="*/ 93649 h 93650"/>
                  <a:gd name="connsiteX5" fmla="*/ 79193 w 141826"/>
                  <a:gd name="connsiteY5" fmla="*/ 93177 h 93650"/>
                  <a:gd name="connsiteX0" fmla="*/ 141826 w 141826"/>
                  <a:gd name="connsiteY0" fmla="*/ 37666 h 93650"/>
                  <a:gd name="connsiteX1" fmla="*/ 107420 w 141826"/>
                  <a:gd name="connsiteY1" fmla="*/ 0 h 93650"/>
                  <a:gd name="connsiteX2" fmla="*/ 37323 w 141826"/>
                  <a:gd name="connsiteY2" fmla="*/ 343 h 93650"/>
                  <a:gd name="connsiteX3" fmla="*/ 0 w 141826"/>
                  <a:gd name="connsiteY3" fmla="*/ 41398 h 93650"/>
                  <a:gd name="connsiteX4" fmla="*/ 29858 w 141826"/>
                  <a:gd name="connsiteY4" fmla="*/ 93649 h 93650"/>
                  <a:gd name="connsiteX5" fmla="*/ 79193 w 141826"/>
                  <a:gd name="connsiteY5" fmla="*/ 93177 h 93650"/>
                  <a:gd name="connsiteX0" fmla="*/ 141555 w 141555"/>
                  <a:gd name="connsiteY0" fmla="*/ 37666 h 93650"/>
                  <a:gd name="connsiteX1" fmla="*/ 107149 w 141555"/>
                  <a:gd name="connsiteY1" fmla="*/ 0 h 93650"/>
                  <a:gd name="connsiteX2" fmla="*/ 37052 w 141555"/>
                  <a:gd name="connsiteY2" fmla="*/ 343 h 93650"/>
                  <a:gd name="connsiteX3" fmla="*/ 1 w 141555"/>
                  <a:gd name="connsiteY3" fmla="*/ 46832 h 93650"/>
                  <a:gd name="connsiteX4" fmla="*/ 29587 w 141555"/>
                  <a:gd name="connsiteY4" fmla="*/ 93649 h 93650"/>
                  <a:gd name="connsiteX5" fmla="*/ 78922 w 141555"/>
                  <a:gd name="connsiteY5" fmla="*/ 93177 h 93650"/>
                  <a:gd name="connsiteX0" fmla="*/ 142097 w 142097"/>
                  <a:gd name="connsiteY0" fmla="*/ 37666 h 93650"/>
                  <a:gd name="connsiteX1" fmla="*/ 107691 w 142097"/>
                  <a:gd name="connsiteY1" fmla="*/ 0 h 93650"/>
                  <a:gd name="connsiteX2" fmla="*/ 37594 w 142097"/>
                  <a:gd name="connsiteY2" fmla="*/ 343 h 93650"/>
                  <a:gd name="connsiteX3" fmla="*/ 0 w 142097"/>
                  <a:gd name="connsiteY3" fmla="*/ 45745 h 93650"/>
                  <a:gd name="connsiteX4" fmla="*/ 30129 w 142097"/>
                  <a:gd name="connsiteY4" fmla="*/ 93649 h 93650"/>
                  <a:gd name="connsiteX5" fmla="*/ 79464 w 142097"/>
                  <a:gd name="connsiteY5" fmla="*/ 93177 h 93650"/>
                  <a:gd name="connsiteX0" fmla="*/ 142151 w 142151"/>
                  <a:gd name="connsiteY0" fmla="*/ 37666 h 93177"/>
                  <a:gd name="connsiteX1" fmla="*/ 107745 w 142151"/>
                  <a:gd name="connsiteY1" fmla="*/ 0 h 93177"/>
                  <a:gd name="connsiteX2" fmla="*/ 37648 w 142151"/>
                  <a:gd name="connsiteY2" fmla="*/ 343 h 93177"/>
                  <a:gd name="connsiteX3" fmla="*/ 54 w 142151"/>
                  <a:gd name="connsiteY3" fmla="*/ 45745 h 93177"/>
                  <a:gd name="connsiteX4" fmla="*/ 30455 w 142151"/>
                  <a:gd name="connsiteY4" fmla="*/ 92834 h 93177"/>
                  <a:gd name="connsiteX5" fmla="*/ 79518 w 142151"/>
                  <a:gd name="connsiteY5" fmla="*/ 93177 h 93177"/>
                  <a:gd name="connsiteX0" fmla="*/ 142111 w 142111"/>
                  <a:gd name="connsiteY0" fmla="*/ 37666 h 93177"/>
                  <a:gd name="connsiteX1" fmla="*/ 107705 w 142111"/>
                  <a:gd name="connsiteY1" fmla="*/ 0 h 93177"/>
                  <a:gd name="connsiteX2" fmla="*/ 37608 w 142111"/>
                  <a:gd name="connsiteY2" fmla="*/ 343 h 93177"/>
                  <a:gd name="connsiteX3" fmla="*/ 14 w 142111"/>
                  <a:gd name="connsiteY3" fmla="*/ 45745 h 93177"/>
                  <a:gd name="connsiteX4" fmla="*/ 30415 w 142111"/>
                  <a:gd name="connsiteY4" fmla="*/ 92834 h 93177"/>
                  <a:gd name="connsiteX5" fmla="*/ 79478 w 142111"/>
                  <a:gd name="connsiteY5" fmla="*/ 93177 h 93177"/>
                  <a:gd name="connsiteX0" fmla="*/ 142111 w 142111"/>
                  <a:gd name="connsiteY0" fmla="*/ 37666 h 93177"/>
                  <a:gd name="connsiteX1" fmla="*/ 107705 w 142111"/>
                  <a:gd name="connsiteY1" fmla="*/ 0 h 93177"/>
                  <a:gd name="connsiteX2" fmla="*/ 37608 w 142111"/>
                  <a:gd name="connsiteY2" fmla="*/ 343 h 93177"/>
                  <a:gd name="connsiteX3" fmla="*/ 14 w 142111"/>
                  <a:gd name="connsiteY3" fmla="*/ 45745 h 93177"/>
                  <a:gd name="connsiteX4" fmla="*/ 30415 w 142111"/>
                  <a:gd name="connsiteY4" fmla="*/ 92834 h 93177"/>
                  <a:gd name="connsiteX5" fmla="*/ 79478 w 142111"/>
                  <a:gd name="connsiteY5" fmla="*/ 93177 h 9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111" h="93177">
                    <a:moveTo>
                      <a:pt x="142111" y="37666"/>
                    </a:moveTo>
                    <a:cubicBezTo>
                      <a:pt x="132000" y="23209"/>
                      <a:pt x="116185" y="600"/>
                      <a:pt x="107705" y="0"/>
                    </a:cubicBezTo>
                    <a:lnTo>
                      <a:pt x="37608" y="343"/>
                    </a:lnTo>
                    <a:cubicBezTo>
                      <a:pt x="25439" y="715"/>
                      <a:pt x="-689" y="17289"/>
                      <a:pt x="14" y="45745"/>
                    </a:cubicBezTo>
                    <a:cubicBezTo>
                      <a:pt x="717" y="74201"/>
                      <a:pt x="17745" y="93077"/>
                      <a:pt x="30415" y="92834"/>
                    </a:cubicBezTo>
                    <a:lnTo>
                      <a:pt x="79478" y="93177"/>
                    </a:lnTo>
                  </a:path>
                </a:pathLst>
              </a:custGeom>
              <a:noFill/>
              <a:ln w="28575"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93" name="Vrije vorm: vorm 80"/>
              <p:cNvSpPr/>
              <p:nvPr userDrawn="1"/>
            </p:nvSpPr>
            <p:spPr>
              <a:xfrm flipH="1" flipV="1">
                <a:off x="12605887" y="1869290"/>
                <a:ext cx="127323" cy="78974"/>
              </a:xfrm>
              <a:custGeom>
                <a:avLst/>
                <a:gdLst>
                  <a:gd name="connsiteX0" fmla="*/ 141826 w 141826"/>
                  <a:gd name="connsiteY0" fmla="*/ 37323 h 93306"/>
                  <a:gd name="connsiteX1" fmla="*/ 108235 w 141826"/>
                  <a:gd name="connsiteY1" fmla="*/ 3732 h 93306"/>
                  <a:gd name="connsiteX2" fmla="*/ 37323 w 141826"/>
                  <a:gd name="connsiteY2" fmla="*/ 0 h 93306"/>
                  <a:gd name="connsiteX3" fmla="*/ 0 w 141826"/>
                  <a:gd name="connsiteY3" fmla="*/ 41055 h 93306"/>
                  <a:gd name="connsiteX4" fmla="*/ 29858 w 141826"/>
                  <a:gd name="connsiteY4" fmla="*/ 93306 h 93306"/>
                  <a:gd name="connsiteX5" fmla="*/ 78378 w 141826"/>
                  <a:gd name="connsiteY5" fmla="*/ 89574 h 93306"/>
                  <a:gd name="connsiteX0" fmla="*/ 141826 w 141826"/>
                  <a:gd name="connsiteY0" fmla="*/ 37666 h 93649"/>
                  <a:gd name="connsiteX1" fmla="*/ 107420 w 141826"/>
                  <a:gd name="connsiteY1" fmla="*/ 0 h 93649"/>
                  <a:gd name="connsiteX2" fmla="*/ 37323 w 141826"/>
                  <a:gd name="connsiteY2" fmla="*/ 343 h 93649"/>
                  <a:gd name="connsiteX3" fmla="*/ 0 w 141826"/>
                  <a:gd name="connsiteY3" fmla="*/ 41398 h 93649"/>
                  <a:gd name="connsiteX4" fmla="*/ 29858 w 141826"/>
                  <a:gd name="connsiteY4" fmla="*/ 93649 h 93649"/>
                  <a:gd name="connsiteX5" fmla="*/ 78378 w 141826"/>
                  <a:gd name="connsiteY5" fmla="*/ 89917 h 93649"/>
                  <a:gd name="connsiteX0" fmla="*/ 141826 w 141826"/>
                  <a:gd name="connsiteY0" fmla="*/ 37666 h 93649"/>
                  <a:gd name="connsiteX1" fmla="*/ 107420 w 141826"/>
                  <a:gd name="connsiteY1" fmla="*/ 0 h 93649"/>
                  <a:gd name="connsiteX2" fmla="*/ 37323 w 141826"/>
                  <a:gd name="connsiteY2" fmla="*/ 343 h 93649"/>
                  <a:gd name="connsiteX3" fmla="*/ 0 w 141826"/>
                  <a:gd name="connsiteY3" fmla="*/ 41398 h 93649"/>
                  <a:gd name="connsiteX4" fmla="*/ 29858 w 141826"/>
                  <a:gd name="connsiteY4" fmla="*/ 93649 h 93649"/>
                  <a:gd name="connsiteX5" fmla="*/ 78378 w 141826"/>
                  <a:gd name="connsiteY5" fmla="*/ 89917 h 93649"/>
                  <a:gd name="connsiteX0" fmla="*/ 141826 w 141826"/>
                  <a:gd name="connsiteY0" fmla="*/ 37666 h 93649"/>
                  <a:gd name="connsiteX1" fmla="*/ 107420 w 141826"/>
                  <a:gd name="connsiteY1" fmla="*/ 0 h 93649"/>
                  <a:gd name="connsiteX2" fmla="*/ 37323 w 141826"/>
                  <a:gd name="connsiteY2" fmla="*/ 343 h 93649"/>
                  <a:gd name="connsiteX3" fmla="*/ 0 w 141826"/>
                  <a:gd name="connsiteY3" fmla="*/ 41398 h 93649"/>
                  <a:gd name="connsiteX4" fmla="*/ 29858 w 141826"/>
                  <a:gd name="connsiteY4" fmla="*/ 93649 h 93649"/>
                  <a:gd name="connsiteX5" fmla="*/ 79193 w 141826"/>
                  <a:gd name="connsiteY5" fmla="*/ 93177 h 93649"/>
                  <a:gd name="connsiteX0" fmla="*/ 141826 w 141826"/>
                  <a:gd name="connsiteY0" fmla="*/ 37666 h 93650"/>
                  <a:gd name="connsiteX1" fmla="*/ 107420 w 141826"/>
                  <a:gd name="connsiteY1" fmla="*/ 0 h 93650"/>
                  <a:gd name="connsiteX2" fmla="*/ 37323 w 141826"/>
                  <a:gd name="connsiteY2" fmla="*/ 343 h 93650"/>
                  <a:gd name="connsiteX3" fmla="*/ 0 w 141826"/>
                  <a:gd name="connsiteY3" fmla="*/ 41398 h 93650"/>
                  <a:gd name="connsiteX4" fmla="*/ 29858 w 141826"/>
                  <a:gd name="connsiteY4" fmla="*/ 93649 h 93650"/>
                  <a:gd name="connsiteX5" fmla="*/ 79193 w 141826"/>
                  <a:gd name="connsiteY5" fmla="*/ 93177 h 93650"/>
                  <a:gd name="connsiteX0" fmla="*/ 141826 w 141826"/>
                  <a:gd name="connsiteY0" fmla="*/ 37666 h 93650"/>
                  <a:gd name="connsiteX1" fmla="*/ 107420 w 141826"/>
                  <a:gd name="connsiteY1" fmla="*/ 0 h 93650"/>
                  <a:gd name="connsiteX2" fmla="*/ 37323 w 141826"/>
                  <a:gd name="connsiteY2" fmla="*/ 343 h 93650"/>
                  <a:gd name="connsiteX3" fmla="*/ 0 w 141826"/>
                  <a:gd name="connsiteY3" fmla="*/ 41398 h 93650"/>
                  <a:gd name="connsiteX4" fmla="*/ 29858 w 141826"/>
                  <a:gd name="connsiteY4" fmla="*/ 93649 h 93650"/>
                  <a:gd name="connsiteX5" fmla="*/ 79193 w 141826"/>
                  <a:gd name="connsiteY5" fmla="*/ 93177 h 93650"/>
                  <a:gd name="connsiteX0" fmla="*/ 141826 w 141826"/>
                  <a:gd name="connsiteY0" fmla="*/ 37666 h 93650"/>
                  <a:gd name="connsiteX1" fmla="*/ 107420 w 141826"/>
                  <a:gd name="connsiteY1" fmla="*/ 0 h 93650"/>
                  <a:gd name="connsiteX2" fmla="*/ 37323 w 141826"/>
                  <a:gd name="connsiteY2" fmla="*/ 343 h 93650"/>
                  <a:gd name="connsiteX3" fmla="*/ 0 w 141826"/>
                  <a:gd name="connsiteY3" fmla="*/ 41398 h 93650"/>
                  <a:gd name="connsiteX4" fmla="*/ 29858 w 141826"/>
                  <a:gd name="connsiteY4" fmla="*/ 93649 h 93650"/>
                  <a:gd name="connsiteX5" fmla="*/ 79193 w 141826"/>
                  <a:gd name="connsiteY5" fmla="*/ 93177 h 93650"/>
                  <a:gd name="connsiteX0" fmla="*/ 141555 w 141555"/>
                  <a:gd name="connsiteY0" fmla="*/ 37666 h 93650"/>
                  <a:gd name="connsiteX1" fmla="*/ 107149 w 141555"/>
                  <a:gd name="connsiteY1" fmla="*/ 0 h 93650"/>
                  <a:gd name="connsiteX2" fmla="*/ 37052 w 141555"/>
                  <a:gd name="connsiteY2" fmla="*/ 343 h 93650"/>
                  <a:gd name="connsiteX3" fmla="*/ 1 w 141555"/>
                  <a:gd name="connsiteY3" fmla="*/ 46832 h 93650"/>
                  <a:gd name="connsiteX4" fmla="*/ 29587 w 141555"/>
                  <a:gd name="connsiteY4" fmla="*/ 93649 h 93650"/>
                  <a:gd name="connsiteX5" fmla="*/ 78922 w 141555"/>
                  <a:gd name="connsiteY5" fmla="*/ 93177 h 93650"/>
                  <a:gd name="connsiteX0" fmla="*/ 142097 w 142097"/>
                  <a:gd name="connsiteY0" fmla="*/ 37666 h 93650"/>
                  <a:gd name="connsiteX1" fmla="*/ 107691 w 142097"/>
                  <a:gd name="connsiteY1" fmla="*/ 0 h 93650"/>
                  <a:gd name="connsiteX2" fmla="*/ 37594 w 142097"/>
                  <a:gd name="connsiteY2" fmla="*/ 343 h 93650"/>
                  <a:gd name="connsiteX3" fmla="*/ 0 w 142097"/>
                  <a:gd name="connsiteY3" fmla="*/ 45745 h 93650"/>
                  <a:gd name="connsiteX4" fmla="*/ 30129 w 142097"/>
                  <a:gd name="connsiteY4" fmla="*/ 93649 h 93650"/>
                  <a:gd name="connsiteX5" fmla="*/ 79464 w 142097"/>
                  <a:gd name="connsiteY5" fmla="*/ 93177 h 93650"/>
                  <a:gd name="connsiteX0" fmla="*/ 142151 w 142151"/>
                  <a:gd name="connsiteY0" fmla="*/ 37666 h 93177"/>
                  <a:gd name="connsiteX1" fmla="*/ 107745 w 142151"/>
                  <a:gd name="connsiteY1" fmla="*/ 0 h 93177"/>
                  <a:gd name="connsiteX2" fmla="*/ 37648 w 142151"/>
                  <a:gd name="connsiteY2" fmla="*/ 343 h 93177"/>
                  <a:gd name="connsiteX3" fmla="*/ 54 w 142151"/>
                  <a:gd name="connsiteY3" fmla="*/ 45745 h 93177"/>
                  <a:gd name="connsiteX4" fmla="*/ 30455 w 142151"/>
                  <a:gd name="connsiteY4" fmla="*/ 92834 h 93177"/>
                  <a:gd name="connsiteX5" fmla="*/ 79518 w 142151"/>
                  <a:gd name="connsiteY5" fmla="*/ 93177 h 93177"/>
                  <a:gd name="connsiteX0" fmla="*/ 142111 w 142111"/>
                  <a:gd name="connsiteY0" fmla="*/ 37666 h 93177"/>
                  <a:gd name="connsiteX1" fmla="*/ 107705 w 142111"/>
                  <a:gd name="connsiteY1" fmla="*/ 0 h 93177"/>
                  <a:gd name="connsiteX2" fmla="*/ 37608 w 142111"/>
                  <a:gd name="connsiteY2" fmla="*/ 343 h 93177"/>
                  <a:gd name="connsiteX3" fmla="*/ 14 w 142111"/>
                  <a:gd name="connsiteY3" fmla="*/ 45745 h 93177"/>
                  <a:gd name="connsiteX4" fmla="*/ 30415 w 142111"/>
                  <a:gd name="connsiteY4" fmla="*/ 92834 h 93177"/>
                  <a:gd name="connsiteX5" fmla="*/ 79478 w 142111"/>
                  <a:gd name="connsiteY5" fmla="*/ 93177 h 93177"/>
                  <a:gd name="connsiteX0" fmla="*/ 142111 w 142111"/>
                  <a:gd name="connsiteY0" fmla="*/ 37666 h 93177"/>
                  <a:gd name="connsiteX1" fmla="*/ 107705 w 142111"/>
                  <a:gd name="connsiteY1" fmla="*/ 0 h 93177"/>
                  <a:gd name="connsiteX2" fmla="*/ 37608 w 142111"/>
                  <a:gd name="connsiteY2" fmla="*/ 343 h 93177"/>
                  <a:gd name="connsiteX3" fmla="*/ 14 w 142111"/>
                  <a:gd name="connsiteY3" fmla="*/ 45745 h 93177"/>
                  <a:gd name="connsiteX4" fmla="*/ 30415 w 142111"/>
                  <a:gd name="connsiteY4" fmla="*/ 92834 h 93177"/>
                  <a:gd name="connsiteX5" fmla="*/ 79478 w 142111"/>
                  <a:gd name="connsiteY5" fmla="*/ 93177 h 9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111" h="93177">
                    <a:moveTo>
                      <a:pt x="142111" y="37666"/>
                    </a:moveTo>
                    <a:cubicBezTo>
                      <a:pt x="132000" y="23209"/>
                      <a:pt x="116185" y="600"/>
                      <a:pt x="107705" y="0"/>
                    </a:cubicBezTo>
                    <a:lnTo>
                      <a:pt x="37608" y="343"/>
                    </a:lnTo>
                    <a:cubicBezTo>
                      <a:pt x="25439" y="715"/>
                      <a:pt x="-689" y="17289"/>
                      <a:pt x="14" y="45745"/>
                    </a:cubicBezTo>
                    <a:cubicBezTo>
                      <a:pt x="717" y="74201"/>
                      <a:pt x="17745" y="93077"/>
                      <a:pt x="30415" y="92834"/>
                    </a:cubicBezTo>
                    <a:lnTo>
                      <a:pt x="79478" y="93177"/>
                    </a:lnTo>
                  </a:path>
                </a:pathLst>
              </a:custGeom>
              <a:noFill/>
              <a:ln w="28575"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grpSp>
        <p:grpSp>
          <p:nvGrpSpPr>
            <p:cNvPr id="75" name="Groep 74"/>
            <p:cNvGrpSpPr/>
            <p:nvPr userDrawn="1"/>
          </p:nvGrpSpPr>
          <p:grpSpPr>
            <a:xfrm>
              <a:off x="12441149" y="14897"/>
              <a:ext cx="2710406" cy="5221861"/>
              <a:chOff x="12441149" y="14897"/>
              <a:chExt cx="2710406" cy="5221861"/>
            </a:xfrm>
          </p:grpSpPr>
          <p:grpSp>
            <p:nvGrpSpPr>
              <p:cNvPr id="76" name="Groep 75"/>
              <p:cNvGrpSpPr/>
              <p:nvPr userDrawn="1"/>
            </p:nvGrpSpPr>
            <p:grpSpPr>
              <a:xfrm>
                <a:off x="12441149" y="14897"/>
                <a:ext cx="2710406" cy="5221861"/>
                <a:chOff x="12441149" y="14897"/>
                <a:chExt cx="2710406" cy="5221861"/>
              </a:xfrm>
            </p:grpSpPr>
            <p:sp>
              <p:nvSpPr>
                <p:cNvPr id="78" name="Rechthoek 77"/>
                <p:cNvSpPr/>
                <p:nvPr/>
              </p:nvSpPr>
              <p:spPr>
                <a:xfrm>
                  <a:off x="12441150" y="14897"/>
                  <a:ext cx="2696270" cy="161771"/>
                </a:xfrm>
                <a:prstGeom prst="rect">
                  <a:avLst/>
                </a:prstGeom>
                <a:noFill/>
                <a:ln w="25400" cap="flat" cmpd="sng" algn="ctr">
                  <a:noFill/>
                  <a:prstDash val="solid"/>
                </a:ln>
                <a:effectLst/>
              </p:spPr>
              <p:txBody>
                <a:bodyPr lIns="0" tIns="0" rIns="0" bIns="0" rtlCol="0" anchor="t"/>
                <a:lstStyle/>
                <a:p>
                  <a:pPr defTabSz="914112">
                    <a:lnSpc>
                      <a:spcPct val="80000"/>
                    </a:lnSpc>
                  </a:pPr>
                  <a:r>
                    <a:rPr lang="nl-NL" sz="1600" b="1" kern="0" cap="all" dirty="0">
                      <a:solidFill>
                        <a:srgbClr val="ED1A3B"/>
                      </a:solidFill>
                      <a:cs typeface="Segoe UI Light" panose="020B0502040204020203" pitchFamily="34" charset="0"/>
                    </a:rPr>
                    <a:t>Hyperlink aanmaken</a:t>
                  </a:r>
                </a:p>
              </p:txBody>
            </p:sp>
            <p:sp>
              <p:nvSpPr>
                <p:cNvPr id="79" name="Tekstvak 33"/>
                <p:cNvSpPr txBox="1"/>
                <p:nvPr/>
              </p:nvSpPr>
              <p:spPr>
                <a:xfrm>
                  <a:off x="12441149" y="814239"/>
                  <a:ext cx="2710405" cy="719877"/>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Selecteer het ingevoegde icoon of transparante kader en ga met rechtermuisknop naar </a:t>
                  </a:r>
                  <a:r>
                    <a:rPr lang="nl-NL" sz="1200" u="sng" kern="0" dirty="0">
                      <a:solidFill>
                        <a:srgbClr val="000000"/>
                      </a:solidFill>
                      <a:latin typeface="Trebuchet MS"/>
                      <a:cs typeface="Segoe UI Light" panose="020B0502040204020203" pitchFamily="34" charset="0"/>
                    </a:rPr>
                    <a:t>H</a:t>
                  </a:r>
                  <a:r>
                    <a:rPr lang="nl-NL" sz="1200" kern="0" dirty="0">
                      <a:solidFill>
                        <a:srgbClr val="000000"/>
                      </a:solidFill>
                      <a:latin typeface="Trebuchet MS"/>
                      <a:cs typeface="Segoe UI Light" panose="020B0502040204020203" pitchFamily="34" charset="0"/>
                    </a:rPr>
                    <a:t>yperlink…</a:t>
                  </a:r>
                  <a:br>
                    <a:rPr lang="nl-NL" sz="1200" kern="0" dirty="0">
                      <a:solidFill>
                        <a:srgbClr val="000000"/>
                      </a:solidFill>
                      <a:latin typeface="Trebuchet MS"/>
                      <a:cs typeface="Segoe UI Light" panose="020B0502040204020203" pitchFamily="34" charset="0"/>
                    </a:rPr>
                  </a:br>
                  <a:r>
                    <a:rPr lang="nl-NL" sz="1100" i="1" kern="0" dirty="0">
                      <a:solidFill>
                        <a:srgbClr val="000000"/>
                      </a:solidFill>
                      <a:latin typeface="Trebuchet MS"/>
                      <a:cs typeface="Segoe UI Light" panose="020B0502040204020203" pitchFamily="34" charset="0"/>
                    </a:rPr>
                    <a:t>(zie onderstaand voorbeeld).</a:t>
                  </a:r>
                </a:p>
              </p:txBody>
            </p:sp>
            <p:sp>
              <p:nvSpPr>
                <p:cNvPr id="80" name="Tekstvak 33"/>
                <p:cNvSpPr txBox="1"/>
                <p:nvPr/>
              </p:nvSpPr>
              <p:spPr>
                <a:xfrm>
                  <a:off x="12441149" y="2793904"/>
                  <a:ext cx="2710405" cy="395943"/>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Selecteer tab: </a:t>
                  </a:r>
                  <a:r>
                    <a:rPr lang="nl-NL" sz="1200" i="1" kern="0" dirty="0">
                      <a:solidFill>
                        <a:srgbClr val="000000"/>
                      </a:solidFill>
                      <a:latin typeface="Trebuchet MS"/>
                      <a:cs typeface="Segoe UI Light" panose="020B0502040204020203" pitchFamily="34" charset="0"/>
                    </a:rPr>
                    <a:t>‘Plaats in dit document’ </a:t>
                  </a:r>
                  <a:r>
                    <a:rPr lang="nl-NL" sz="1200" kern="0" dirty="0">
                      <a:solidFill>
                        <a:srgbClr val="000000"/>
                      </a:solidFill>
                      <a:latin typeface="Trebuchet MS"/>
                      <a:cs typeface="Segoe UI Light" panose="020B0502040204020203" pitchFamily="34" charset="0"/>
                    </a:rPr>
                    <a:t>en selecteer hierna bij </a:t>
                  </a:r>
                  <a:r>
                    <a:rPr lang="nl-NL" sz="1200" b="1" kern="0" dirty="0">
                      <a:solidFill>
                        <a:srgbClr val="000000"/>
                      </a:solidFill>
                      <a:latin typeface="Trebuchet MS"/>
                      <a:cs typeface="Segoe UI Light" panose="020B0502040204020203" pitchFamily="34" charset="0"/>
                    </a:rPr>
                    <a:t>‘Diatitels’ </a:t>
                  </a:r>
                  <a:r>
                    <a:rPr lang="nl-NL" sz="1200" kern="0" dirty="0">
                      <a:solidFill>
                        <a:srgbClr val="000000"/>
                      </a:solidFill>
                      <a:latin typeface="Trebuchet MS"/>
                      <a:cs typeface="Segoe UI Light" panose="020B0502040204020203" pitchFamily="34" charset="0"/>
                    </a:rPr>
                    <a:t>de slide waar u naar wilt linken. Klik vervolgens  op </a:t>
                  </a:r>
                  <a:r>
                    <a:rPr lang="nl-NL" sz="1200" b="1" kern="0" dirty="0">
                      <a:solidFill>
                        <a:srgbClr val="000000"/>
                      </a:solidFill>
                      <a:latin typeface="Trebuchet MS"/>
                      <a:cs typeface="Segoe UI Light" panose="020B0502040204020203" pitchFamily="34" charset="0"/>
                    </a:rPr>
                    <a:t>‘OK’</a:t>
                  </a:r>
                </a:p>
              </p:txBody>
            </p:sp>
            <p:sp>
              <p:nvSpPr>
                <p:cNvPr id="81" name="Ovaal 80"/>
                <p:cNvSpPr/>
                <p:nvPr/>
              </p:nvSpPr>
              <p:spPr>
                <a:xfrm>
                  <a:off x="12441150" y="379292"/>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1</a:t>
                  </a:r>
                </a:p>
              </p:txBody>
            </p:sp>
            <p:sp>
              <p:nvSpPr>
                <p:cNvPr id="82" name="Ovaal 81"/>
                <p:cNvSpPr/>
                <p:nvPr/>
              </p:nvSpPr>
              <p:spPr>
                <a:xfrm>
                  <a:off x="12441150" y="2337208"/>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2</a:t>
                  </a:r>
                </a:p>
              </p:txBody>
            </p:sp>
            <p:cxnSp>
              <p:nvCxnSpPr>
                <p:cNvPr id="83" name="Rechte verbindingslijn 82"/>
                <p:cNvCxnSpPr/>
                <p:nvPr/>
              </p:nvCxnSpPr>
              <p:spPr>
                <a:xfrm>
                  <a:off x="12441150" y="248176"/>
                  <a:ext cx="2710405" cy="0"/>
                </a:xfrm>
                <a:prstGeom prst="line">
                  <a:avLst/>
                </a:prstGeom>
                <a:noFill/>
                <a:ln w="9525" cap="flat" cmpd="sng" algn="ctr">
                  <a:solidFill>
                    <a:schemeClr val="accent1"/>
                  </a:solidFill>
                  <a:prstDash val="solid"/>
                </a:ln>
                <a:effectLst/>
              </p:spPr>
            </p:cxnSp>
            <p:cxnSp>
              <p:nvCxnSpPr>
                <p:cNvPr id="84" name="Rechte verbindingslijn 83"/>
                <p:cNvCxnSpPr/>
                <p:nvPr/>
              </p:nvCxnSpPr>
              <p:spPr>
                <a:xfrm>
                  <a:off x="12441149" y="2212830"/>
                  <a:ext cx="2710405" cy="0"/>
                </a:xfrm>
                <a:prstGeom prst="line">
                  <a:avLst/>
                </a:prstGeom>
                <a:noFill/>
                <a:ln w="9525" cap="flat" cmpd="sng" algn="ctr">
                  <a:solidFill>
                    <a:schemeClr val="accent1"/>
                  </a:solidFill>
                  <a:prstDash val="solid"/>
                </a:ln>
                <a:effectLst/>
              </p:spPr>
            </p:cxnSp>
            <p:cxnSp>
              <p:nvCxnSpPr>
                <p:cNvPr id="85" name="Rechte verbindingslijn 84"/>
                <p:cNvCxnSpPr/>
                <p:nvPr/>
              </p:nvCxnSpPr>
              <p:spPr>
                <a:xfrm>
                  <a:off x="12444679" y="5236758"/>
                  <a:ext cx="2706875" cy="0"/>
                </a:xfrm>
                <a:prstGeom prst="line">
                  <a:avLst/>
                </a:prstGeom>
                <a:noFill/>
                <a:ln w="9525" cap="flat" cmpd="sng" algn="ctr">
                  <a:solidFill>
                    <a:schemeClr val="accent1"/>
                  </a:solidFill>
                  <a:prstDash val="solid"/>
                </a:ln>
                <a:effectLst/>
              </p:spPr>
            </p:cxnSp>
            <p:sp>
              <p:nvSpPr>
                <p:cNvPr id="86" name="Tekstvak 33"/>
                <p:cNvSpPr txBox="1"/>
                <p:nvPr userDrawn="1"/>
              </p:nvSpPr>
              <p:spPr>
                <a:xfrm>
                  <a:off x="12961946" y="1702639"/>
                  <a:ext cx="1287094" cy="298430"/>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600" u="sng" kern="0" dirty="0">
                      <a:solidFill>
                        <a:srgbClr val="000000"/>
                      </a:solidFill>
                      <a:latin typeface="Trebuchet MS"/>
                      <a:cs typeface="Segoe UI Light" panose="020B0502040204020203" pitchFamily="34" charset="0"/>
                    </a:rPr>
                    <a:t>H</a:t>
                  </a:r>
                  <a:r>
                    <a:rPr lang="nl-NL" sz="1600" kern="0" dirty="0">
                      <a:solidFill>
                        <a:srgbClr val="000000"/>
                      </a:solidFill>
                      <a:latin typeface="Trebuchet MS"/>
                      <a:cs typeface="Segoe UI Light" panose="020B0502040204020203" pitchFamily="34" charset="0"/>
                    </a:rPr>
                    <a:t>yperlink…</a:t>
                  </a:r>
                  <a:endParaRPr lang="nl-NL" sz="1400" i="1" kern="0" dirty="0">
                    <a:solidFill>
                      <a:srgbClr val="000000"/>
                    </a:solidFill>
                    <a:latin typeface="Trebuchet MS"/>
                    <a:cs typeface="Segoe UI Light" panose="020B0502040204020203" pitchFamily="34" charset="0"/>
                  </a:endParaRPr>
                </a:p>
              </p:txBody>
            </p:sp>
          </p:grpSp>
          <p:pic>
            <p:nvPicPr>
              <p:cNvPr id="77" name="Afbeelding 76"/>
              <p:cNvPicPr>
                <a:picLocks noChangeAspect="1"/>
              </p:cNvPicPr>
              <p:nvPr userDrawn="1"/>
            </p:nvPicPr>
            <p:blipFill rotWithShape="1">
              <a:blip r:embed="rId2"/>
              <a:srcRect l="541" t="1090" b="517"/>
              <a:stretch/>
            </p:blipFill>
            <p:spPr>
              <a:xfrm>
                <a:off x="12459242" y="3770920"/>
                <a:ext cx="2678178" cy="1300095"/>
              </a:xfrm>
              <a:prstGeom prst="round2SameRect">
                <a:avLst>
                  <a:gd name="adj1" fmla="val 2077"/>
                  <a:gd name="adj2" fmla="val 0"/>
                </a:avLst>
              </a:prstGeom>
              <a:ln w="3175">
                <a:solidFill>
                  <a:schemeClr val="tx1"/>
                </a:solidFill>
              </a:ln>
            </p:spPr>
          </p:pic>
        </p:grpSp>
      </p:grpSp>
      <p:grpSp>
        <p:nvGrpSpPr>
          <p:cNvPr id="94" name="Instructie - Afbeelding invoegen"/>
          <p:cNvGrpSpPr/>
          <p:nvPr userDrawn="1"/>
        </p:nvGrpSpPr>
        <p:grpSpPr>
          <a:xfrm>
            <a:off x="12437931" y="14898"/>
            <a:ext cx="2717569" cy="3676571"/>
            <a:chOff x="12434693" y="14897"/>
            <a:chExt cx="2716862" cy="3676571"/>
          </a:xfrm>
        </p:grpSpPr>
        <p:sp>
          <p:nvSpPr>
            <p:cNvPr id="95" name="Rechthoek 94"/>
            <p:cNvSpPr/>
            <p:nvPr/>
          </p:nvSpPr>
          <p:spPr>
            <a:xfrm>
              <a:off x="12441150" y="14897"/>
              <a:ext cx="2696270" cy="161771"/>
            </a:xfrm>
            <a:prstGeom prst="rect">
              <a:avLst/>
            </a:prstGeom>
            <a:noFill/>
            <a:ln w="25400" cap="flat" cmpd="sng" algn="ctr">
              <a:noFill/>
              <a:prstDash val="solid"/>
            </a:ln>
            <a:effectLst/>
          </p:spPr>
          <p:txBody>
            <a:bodyPr lIns="0" tIns="0" rIns="0" bIns="0" rtlCol="0" anchor="t"/>
            <a:lstStyle/>
            <a:p>
              <a:pPr defTabSz="914112">
                <a:lnSpc>
                  <a:spcPct val="80000"/>
                </a:lnSpc>
              </a:pPr>
              <a:r>
                <a:rPr lang="nl-NL" sz="1600" b="1" kern="0" cap="all" dirty="0">
                  <a:solidFill>
                    <a:srgbClr val="ED1A3B"/>
                  </a:solidFill>
                  <a:cs typeface="Segoe UI Light" panose="020B0502040204020203" pitchFamily="34" charset="0"/>
                </a:rPr>
                <a:t>AFBEELDING INVOEGEN</a:t>
              </a:r>
            </a:p>
          </p:txBody>
        </p:sp>
        <p:sp>
          <p:nvSpPr>
            <p:cNvPr id="96" name="Tekstvak 33"/>
            <p:cNvSpPr txBox="1"/>
            <p:nvPr/>
          </p:nvSpPr>
          <p:spPr>
            <a:xfrm>
              <a:off x="12441149" y="814239"/>
              <a:ext cx="2710405" cy="719877"/>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Indien nodig, verwijder de bestaande afbeelding. Klik op het pictogram </a:t>
              </a:r>
              <a:br>
                <a:rPr lang="nl-NL" sz="1200" kern="0" dirty="0">
                  <a:solidFill>
                    <a:srgbClr val="000000"/>
                  </a:solidFill>
                  <a:latin typeface="Trebuchet MS"/>
                  <a:cs typeface="Segoe UI Light" panose="020B0502040204020203" pitchFamily="34" charset="0"/>
                </a:rPr>
              </a:br>
              <a:r>
                <a:rPr lang="nl-NL" sz="1200" kern="0" dirty="0">
                  <a:solidFill>
                    <a:srgbClr val="000000"/>
                  </a:solidFill>
                  <a:latin typeface="Trebuchet MS"/>
                  <a:cs typeface="Segoe UI Light" panose="020B0502040204020203" pitchFamily="34" charset="0"/>
                </a:rPr>
                <a:t>om een afbeelding in te voegen</a:t>
              </a:r>
              <a:br>
                <a:rPr lang="nl-NL" sz="1200" kern="0" dirty="0">
                  <a:solidFill>
                    <a:srgbClr val="000000"/>
                  </a:solidFill>
                  <a:latin typeface="Trebuchet MS"/>
                  <a:cs typeface="Segoe UI Light" panose="020B0502040204020203" pitchFamily="34" charset="0"/>
                </a:rPr>
              </a:br>
              <a:r>
                <a:rPr lang="nl-NL" sz="1100" i="1" kern="0" dirty="0">
                  <a:solidFill>
                    <a:srgbClr val="000000"/>
                  </a:solidFill>
                  <a:latin typeface="Trebuchet MS"/>
                  <a:cs typeface="Segoe UI Light" panose="020B0502040204020203" pitchFamily="34" charset="0"/>
                </a:rPr>
                <a:t>(zie onderstaand voorbeeld).</a:t>
              </a:r>
            </a:p>
          </p:txBody>
        </p:sp>
        <p:sp>
          <p:nvSpPr>
            <p:cNvPr id="97" name="Tekstvak 33"/>
            <p:cNvSpPr txBox="1"/>
            <p:nvPr/>
          </p:nvSpPr>
          <p:spPr>
            <a:xfrm>
              <a:off x="12441149" y="2793904"/>
              <a:ext cx="2710405" cy="395943"/>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Selecteer de afbeelding die u wilt invoegen en klik op </a:t>
              </a:r>
              <a:r>
                <a:rPr lang="nl-NL" sz="1200" b="1" kern="0" dirty="0">
                  <a:solidFill>
                    <a:srgbClr val="000000"/>
                  </a:solidFill>
                  <a:latin typeface="Trebuchet MS"/>
                  <a:cs typeface="Segoe UI Light" panose="020B0502040204020203" pitchFamily="34" charset="0"/>
                </a:rPr>
                <a:t>‘Invoegen’</a:t>
              </a:r>
            </a:p>
          </p:txBody>
        </p:sp>
        <p:sp>
          <p:nvSpPr>
            <p:cNvPr id="98" name="Ovaal 97"/>
            <p:cNvSpPr/>
            <p:nvPr/>
          </p:nvSpPr>
          <p:spPr>
            <a:xfrm>
              <a:off x="12441150" y="379292"/>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1</a:t>
              </a:r>
            </a:p>
          </p:txBody>
        </p:sp>
        <p:sp>
          <p:nvSpPr>
            <p:cNvPr id="99" name="Ovaal 98"/>
            <p:cNvSpPr/>
            <p:nvPr/>
          </p:nvSpPr>
          <p:spPr>
            <a:xfrm>
              <a:off x="12441150" y="2337208"/>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2</a:t>
              </a:r>
            </a:p>
          </p:txBody>
        </p:sp>
        <p:cxnSp>
          <p:nvCxnSpPr>
            <p:cNvPr id="100" name="Rechte verbindingslijn 99"/>
            <p:cNvCxnSpPr/>
            <p:nvPr/>
          </p:nvCxnSpPr>
          <p:spPr>
            <a:xfrm>
              <a:off x="12441150" y="248176"/>
              <a:ext cx="2710405" cy="0"/>
            </a:xfrm>
            <a:prstGeom prst="line">
              <a:avLst/>
            </a:prstGeom>
            <a:noFill/>
            <a:ln w="9525" cap="flat" cmpd="sng" algn="ctr">
              <a:solidFill>
                <a:schemeClr val="accent1"/>
              </a:solidFill>
              <a:prstDash val="solid"/>
            </a:ln>
            <a:effectLst/>
          </p:spPr>
        </p:cxnSp>
        <p:cxnSp>
          <p:nvCxnSpPr>
            <p:cNvPr id="101" name="Rechte verbindingslijn 100"/>
            <p:cNvCxnSpPr/>
            <p:nvPr/>
          </p:nvCxnSpPr>
          <p:spPr>
            <a:xfrm>
              <a:off x="12441149" y="2212830"/>
              <a:ext cx="2710405" cy="0"/>
            </a:xfrm>
            <a:prstGeom prst="line">
              <a:avLst/>
            </a:prstGeom>
            <a:noFill/>
            <a:ln w="9525" cap="flat" cmpd="sng" algn="ctr">
              <a:solidFill>
                <a:schemeClr val="accent1"/>
              </a:solidFill>
              <a:prstDash val="solid"/>
            </a:ln>
            <a:effectLst/>
          </p:spPr>
        </p:cxnSp>
        <p:cxnSp>
          <p:nvCxnSpPr>
            <p:cNvPr id="102" name="Rechte verbindingslijn 101"/>
            <p:cNvCxnSpPr/>
            <p:nvPr/>
          </p:nvCxnSpPr>
          <p:spPr>
            <a:xfrm>
              <a:off x="12444679" y="3691468"/>
              <a:ext cx="2706875" cy="0"/>
            </a:xfrm>
            <a:prstGeom prst="line">
              <a:avLst/>
            </a:prstGeom>
            <a:noFill/>
            <a:ln w="9525" cap="flat" cmpd="sng" algn="ctr">
              <a:solidFill>
                <a:schemeClr val="accent1"/>
              </a:solidFill>
              <a:prstDash val="solid"/>
            </a:ln>
            <a:effectLst/>
          </p:spPr>
        </p:cxnSp>
        <p:pic>
          <p:nvPicPr>
            <p:cNvPr id="103" name="Icoontje afbeeldi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434693" y="1677764"/>
              <a:ext cx="403210" cy="403210"/>
            </a:xfrm>
            <a:prstGeom prst="rect">
              <a:avLst/>
            </a:prstGeom>
          </p:spPr>
        </p:pic>
        <p:grpSp>
          <p:nvGrpSpPr>
            <p:cNvPr id="104" name="Groep 103"/>
            <p:cNvGrpSpPr/>
            <p:nvPr/>
          </p:nvGrpSpPr>
          <p:grpSpPr>
            <a:xfrm>
              <a:off x="12450571" y="3301369"/>
              <a:ext cx="1002992" cy="267962"/>
              <a:chOff x="13560784" y="3471416"/>
              <a:chExt cx="1114138" cy="297656"/>
            </a:xfrm>
          </p:grpSpPr>
          <p:sp>
            <p:nvSpPr>
              <p:cNvPr id="105" name="Afgeronde rechthoek 88"/>
              <p:cNvSpPr/>
              <p:nvPr/>
            </p:nvSpPr>
            <p:spPr>
              <a:xfrm>
                <a:off x="13560784" y="3471416"/>
                <a:ext cx="1114138" cy="297656"/>
              </a:xfrm>
              <a:prstGeom prst="roundRect">
                <a:avLst/>
              </a:prstGeom>
              <a:gradFill flip="none" rotWithShape="1">
                <a:gsLst>
                  <a:gs pos="4000">
                    <a:srgbClr val="00B0F0"/>
                  </a:gs>
                  <a:gs pos="0">
                    <a:srgbClr val="0070C0"/>
                  </a:gs>
                  <a:gs pos="100000">
                    <a:srgbClr val="0070C0"/>
                  </a:gs>
                  <a:gs pos="12000">
                    <a:srgbClr val="D1EAFF"/>
                  </a:gs>
                  <a:gs pos="96000">
                    <a:srgbClr val="00B0F0"/>
                  </a:gs>
                  <a:gs pos="89000">
                    <a:srgbClr val="DDF4FF"/>
                  </a:gs>
                  <a:gs pos="43000">
                    <a:srgbClr val="D1EAFF"/>
                  </a:gs>
                  <a:gs pos="51000">
                    <a:srgbClr val="DDF4FF"/>
                  </a:gs>
                </a:gsLst>
                <a:lin ang="16200000" scaled="1"/>
                <a:tileRect/>
              </a:gradFill>
              <a:ln w="63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dirty="0">
                  <a:solidFill>
                    <a:srgbClr val="FFFFFF"/>
                  </a:solidFill>
                </a:endParaRPr>
              </a:p>
            </p:txBody>
          </p:sp>
          <p:sp>
            <p:nvSpPr>
              <p:cNvPr id="106" name="Tekstvak 105"/>
              <p:cNvSpPr txBox="1"/>
              <p:nvPr/>
            </p:nvSpPr>
            <p:spPr>
              <a:xfrm>
                <a:off x="13573594" y="3488254"/>
                <a:ext cx="888311" cy="273506"/>
              </a:xfrm>
              <a:prstGeom prst="rect">
                <a:avLst/>
              </a:prstGeom>
              <a:noFill/>
            </p:spPr>
            <p:txBody>
              <a:bodyPr wrap="square" rtlCol="0" anchor="ctr">
                <a:spAutoFit/>
              </a:bodyPr>
              <a:lstStyle>
                <a:defPPr>
                  <a:defRPr lang="nl-NL"/>
                </a:defPPr>
                <a:lvl1pPr marR="0" lvl="0" indent="0" algn="ctr" fontAlgn="auto">
                  <a:lnSpc>
                    <a:spcPct val="100000"/>
                  </a:lnSpc>
                  <a:spcBef>
                    <a:spcPts val="0"/>
                  </a:spcBef>
                  <a:spcAft>
                    <a:spcPts val="0"/>
                  </a:spcAft>
                  <a:buClrTx/>
                  <a:buSzTx/>
                  <a:buFontTx/>
                  <a:buNone/>
                  <a:tabLst/>
                  <a:defRPr kumimoji="0" sz="900" i="0" u="none" strike="noStrike" kern="0" cap="none" spc="0" normalizeH="0" baseline="0">
                    <a:ln>
                      <a:noFill/>
                    </a:ln>
                    <a:effectLst>
                      <a:outerShdw blurRad="25400" algn="ctr" rotWithShape="0">
                        <a:prstClr val="white"/>
                      </a:outerShdw>
                    </a:effectLst>
                    <a:uLnTx/>
                    <a:uFillTx/>
                    <a:latin typeface="Segoe UI Light" panose="020B0502040204020203" pitchFamily="34" charset="0"/>
                    <a:cs typeface="Segoe UI Light" panose="020B0502040204020203" pitchFamily="34" charset="0"/>
                  </a:defRPr>
                </a:lvl1pPr>
                <a:lvl2pPr fontAlgn="base">
                  <a:spcBef>
                    <a:spcPct val="0"/>
                  </a:spcBef>
                  <a:spcAft>
                    <a:spcPct val="0"/>
                  </a:spcAft>
                  <a:defRPr>
                    <a:latin typeface="Arial" charset="0"/>
                    <a:cs typeface="Arial" charset="0"/>
                  </a:defRPr>
                </a:lvl2pPr>
                <a:lvl3pPr fontAlgn="base">
                  <a:spcBef>
                    <a:spcPct val="0"/>
                  </a:spcBef>
                  <a:spcAft>
                    <a:spcPct val="0"/>
                  </a:spcAft>
                  <a:defRPr>
                    <a:latin typeface="Arial" charset="0"/>
                    <a:cs typeface="Arial" charset="0"/>
                  </a:defRPr>
                </a:lvl3pPr>
                <a:lvl4pPr fontAlgn="base">
                  <a:spcBef>
                    <a:spcPct val="0"/>
                  </a:spcBef>
                  <a:spcAft>
                    <a:spcPct val="0"/>
                  </a:spcAft>
                  <a:defRPr>
                    <a:latin typeface="Arial" charset="0"/>
                    <a:cs typeface="Arial" charset="0"/>
                  </a:defRPr>
                </a:lvl4pPr>
                <a:lvl5pPr fontAlgn="base">
                  <a:spcBef>
                    <a:spcPct val="0"/>
                  </a:spcBef>
                  <a:spcAft>
                    <a:spcPct val="0"/>
                  </a:spcAft>
                  <a:defRPr>
                    <a:latin typeface="Arial" charset="0"/>
                    <a:cs typeface="Arial" charset="0"/>
                  </a:defRPr>
                </a:lvl5pPr>
                <a:lvl6pPr>
                  <a:defRPr>
                    <a:latin typeface="Arial" charset="0"/>
                    <a:cs typeface="Arial" charset="0"/>
                  </a:defRPr>
                </a:lvl6pPr>
                <a:lvl7pPr>
                  <a:defRPr>
                    <a:latin typeface="Arial" charset="0"/>
                    <a:cs typeface="Arial" charset="0"/>
                  </a:defRPr>
                </a:lvl7pPr>
                <a:lvl8pPr>
                  <a:defRPr>
                    <a:latin typeface="Arial" charset="0"/>
                    <a:cs typeface="Arial" charset="0"/>
                  </a:defRPr>
                </a:lvl8pPr>
                <a:lvl9pPr>
                  <a:defRPr>
                    <a:latin typeface="Arial" charset="0"/>
                    <a:cs typeface="Arial" charset="0"/>
                  </a:defRPr>
                </a:lvl9pPr>
              </a:lstStyle>
              <a:p>
                <a:pPr defTabSz="914112"/>
                <a:r>
                  <a:rPr lang="nl-NL" sz="1000" dirty="0">
                    <a:solidFill>
                      <a:srgbClr val="000000"/>
                    </a:solidFill>
                    <a:latin typeface="Trebuchet MS"/>
                  </a:rPr>
                  <a:t>Invoegen</a:t>
                </a:r>
              </a:p>
            </p:txBody>
          </p:sp>
          <p:cxnSp>
            <p:nvCxnSpPr>
              <p:cNvPr id="107" name="Rechte verbindingslijn 106"/>
              <p:cNvCxnSpPr/>
              <p:nvPr/>
            </p:nvCxnSpPr>
            <p:spPr>
              <a:xfrm>
                <a:off x="14461905" y="3507058"/>
                <a:ext cx="0" cy="224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8" name="Gelijkbenige driehoek 107"/>
              <p:cNvSpPr/>
              <p:nvPr/>
            </p:nvSpPr>
            <p:spPr>
              <a:xfrm rot="10800000">
                <a:off x="14518584" y="3600521"/>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112"/>
                <a:endParaRPr lang="nl-NL" dirty="0">
                  <a:solidFill>
                    <a:srgbClr val="FFFFFF"/>
                  </a:solidFill>
                </a:endParaRPr>
              </a:p>
            </p:txBody>
          </p:sp>
        </p:grpSp>
      </p:grpSp>
      <p:grpSp>
        <p:nvGrpSpPr>
          <p:cNvPr id="191" name="Instructie - Tekst niveaus"/>
          <p:cNvGrpSpPr/>
          <p:nvPr userDrawn="1"/>
        </p:nvGrpSpPr>
        <p:grpSpPr>
          <a:xfrm>
            <a:off x="-3117849" y="365"/>
            <a:ext cx="2823358" cy="5254722"/>
            <a:chOff x="-2959433" y="-5444"/>
            <a:chExt cx="2822623" cy="5254722"/>
          </a:xfrm>
        </p:grpSpPr>
        <p:sp>
          <p:nvSpPr>
            <p:cNvPr id="192" name="Rechthoek 191"/>
            <p:cNvSpPr/>
            <p:nvPr userDrawn="1"/>
          </p:nvSpPr>
          <p:spPr>
            <a:xfrm>
              <a:off x="-2959433" y="-5444"/>
              <a:ext cx="2572469" cy="280344"/>
            </a:xfrm>
            <a:prstGeom prst="rect">
              <a:avLst/>
            </a:prstGeom>
            <a:noFill/>
            <a:ln w="25400" cap="flat" cmpd="sng" algn="ctr">
              <a:noFill/>
              <a:prstDash val="solid"/>
            </a:ln>
            <a:effectLst/>
          </p:spPr>
          <p:txBody>
            <a:bodyPr lIns="0" tIns="0" rIns="0" bIns="0" rtlCol="0" anchor="t"/>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nl-NL" sz="1600" b="1" kern="0" dirty="0">
                  <a:solidFill>
                    <a:srgbClr val="ED1A3B"/>
                  </a:solidFill>
                  <a:cs typeface="Segoe UI Light" panose="020B0502040204020203" pitchFamily="34" charset="0"/>
                </a:rPr>
                <a:t>TEKST NIVEAUS</a:t>
              </a:r>
            </a:p>
          </p:txBody>
        </p:sp>
        <p:sp>
          <p:nvSpPr>
            <p:cNvPr id="193" name="Textfield placeholder"/>
            <p:cNvSpPr txBox="1">
              <a:spLocks/>
            </p:cNvSpPr>
            <p:nvPr userDrawn="1"/>
          </p:nvSpPr>
          <p:spPr>
            <a:xfrm>
              <a:off x="-2587337" y="2675411"/>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0" lvl="2"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a:solidFill>
                    <a:srgbClr val="404040"/>
                  </a:solidFill>
                </a:rPr>
                <a:t>Sub-bullets (16 pt.)</a:t>
              </a:r>
            </a:p>
          </p:txBody>
        </p:sp>
        <p:sp>
          <p:nvSpPr>
            <p:cNvPr id="194" name="Ovaal 193"/>
            <p:cNvSpPr/>
            <p:nvPr userDrawn="1"/>
          </p:nvSpPr>
          <p:spPr>
            <a:xfrm>
              <a:off x="-2959433" y="196874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1</a:t>
              </a:r>
            </a:p>
          </p:txBody>
        </p:sp>
        <p:sp>
          <p:nvSpPr>
            <p:cNvPr id="195" name="Ovaal 194"/>
            <p:cNvSpPr/>
            <p:nvPr userDrawn="1"/>
          </p:nvSpPr>
          <p:spPr>
            <a:xfrm>
              <a:off x="-2959433" y="232207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2</a:t>
              </a:r>
            </a:p>
          </p:txBody>
        </p:sp>
        <p:sp>
          <p:nvSpPr>
            <p:cNvPr id="196" name="Ovaal 195"/>
            <p:cNvSpPr/>
            <p:nvPr userDrawn="1"/>
          </p:nvSpPr>
          <p:spPr>
            <a:xfrm>
              <a:off x="-2959433" y="267541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3</a:t>
              </a:r>
            </a:p>
          </p:txBody>
        </p:sp>
        <p:sp>
          <p:nvSpPr>
            <p:cNvPr id="197" name="Ovaal 196"/>
            <p:cNvSpPr/>
            <p:nvPr userDrawn="1"/>
          </p:nvSpPr>
          <p:spPr>
            <a:xfrm>
              <a:off x="-2959433" y="302874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4</a:t>
              </a:r>
            </a:p>
          </p:txBody>
        </p:sp>
        <p:sp>
          <p:nvSpPr>
            <p:cNvPr id="198" name="Textfield placeholder"/>
            <p:cNvSpPr txBox="1">
              <a:spLocks/>
            </p:cNvSpPr>
            <p:nvPr userDrawn="1"/>
          </p:nvSpPr>
          <p:spPr>
            <a:xfrm>
              <a:off x="-2571950" y="1966925"/>
              <a:ext cx="2163709" cy="261500"/>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79388">
                <a:lnSpc>
                  <a:spcPct val="120000"/>
                </a:lnSpc>
                <a:spcBef>
                  <a:spcPts val="0"/>
                </a:spcBef>
                <a:spcAft>
                  <a:spcPts val="900"/>
                </a:spcAft>
                <a:buClr>
                  <a:srgbClr val="000000"/>
                </a:buClr>
                <a:buSzPct val="100000"/>
                <a:buFont typeface="Arial" pitchFamily="34" charset="0"/>
                <a:buNone/>
                <a:defRPr/>
              </a:pPr>
              <a:r>
                <a:rPr lang="nl-NL" sz="1200" dirty="0">
                  <a:solidFill>
                    <a:srgbClr val="535353"/>
                  </a:solidFill>
                </a:rPr>
                <a:t>Leestekst (16 pt.)</a:t>
              </a:r>
            </a:p>
          </p:txBody>
        </p:sp>
        <p:sp>
          <p:nvSpPr>
            <p:cNvPr id="199" name="Textfield placeholder"/>
            <p:cNvSpPr txBox="1">
              <a:spLocks/>
            </p:cNvSpPr>
            <p:nvPr userDrawn="1"/>
          </p:nvSpPr>
          <p:spPr>
            <a:xfrm>
              <a:off x="-2571950" y="2322077"/>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70000" lvl="1"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err="1">
                  <a:solidFill>
                    <a:srgbClr val="535353"/>
                  </a:solidFill>
                </a:rPr>
                <a:t>Bullets</a:t>
              </a:r>
              <a:r>
                <a:rPr lang="nl-NL" sz="1200" dirty="0">
                  <a:solidFill>
                    <a:srgbClr val="535353"/>
                  </a:solidFill>
                </a:rPr>
                <a:t> (16 </a:t>
              </a:r>
              <a:r>
                <a:rPr lang="nl-NL" sz="1200" dirty="0" err="1">
                  <a:solidFill>
                    <a:srgbClr val="535353"/>
                  </a:solidFill>
                </a:rPr>
                <a:t>pt</a:t>
              </a:r>
              <a:r>
                <a:rPr lang="nl-NL" sz="1200" dirty="0">
                  <a:solidFill>
                    <a:srgbClr val="535353"/>
                  </a:solidFill>
                </a:rPr>
                <a:t>.)</a:t>
              </a:r>
            </a:p>
          </p:txBody>
        </p:sp>
        <p:sp>
          <p:nvSpPr>
            <p:cNvPr id="200" name="Textfield placeholder"/>
            <p:cNvSpPr txBox="1">
              <a:spLocks/>
            </p:cNvSpPr>
            <p:nvPr userDrawn="1"/>
          </p:nvSpPr>
          <p:spPr>
            <a:xfrm>
              <a:off x="-2571951" y="3028747"/>
              <a:ext cx="2435141"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10000" lvl="3" indent="-270000" defTabSz="179388">
                <a:lnSpc>
                  <a:spcPct val="120000"/>
                </a:lnSpc>
                <a:spcBef>
                  <a:spcPts val="0"/>
                </a:spcBef>
                <a:spcAft>
                  <a:spcPts val="900"/>
                </a:spcAft>
                <a:buClr>
                  <a:schemeClr val="accent2"/>
                </a:buClr>
                <a:buSzPct val="80000"/>
                <a:buFont typeface="Wingdings 3" panose="05040102010807070707" pitchFamily="18" charset="2"/>
                <a:buChar char=""/>
                <a:defRPr/>
              </a:pPr>
              <a:r>
                <a:rPr lang="nl-NL" sz="1200" b="0" dirty="0">
                  <a:solidFill>
                    <a:srgbClr val="404040"/>
                  </a:solidFill>
                </a:rPr>
                <a:t>Sub-sub-bullets (16 pt.)</a:t>
              </a:r>
            </a:p>
          </p:txBody>
        </p:sp>
        <p:cxnSp>
          <p:nvCxnSpPr>
            <p:cNvPr id="201" name="Rechte verbindingslijn 200"/>
            <p:cNvCxnSpPr/>
            <p:nvPr userDrawn="1"/>
          </p:nvCxnSpPr>
          <p:spPr>
            <a:xfrm>
              <a:off x="-2959100" y="274900"/>
              <a:ext cx="2674470" cy="0"/>
            </a:xfrm>
            <a:prstGeom prst="line">
              <a:avLst/>
            </a:prstGeom>
            <a:noFill/>
            <a:ln w="9525" cap="flat" cmpd="sng" algn="ctr">
              <a:solidFill>
                <a:schemeClr val="accent1"/>
              </a:solidFill>
              <a:prstDash val="solid"/>
            </a:ln>
            <a:effectLst/>
          </p:spPr>
        </p:cxnSp>
        <p:cxnSp>
          <p:nvCxnSpPr>
            <p:cNvPr id="202" name="Rechte verbindingslijn 201"/>
            <p:cNvCxnSpPr/>
            <p:nvPr userDrawn="1"/>
          </p:nvCxnSpPr>
          <p:spPr>
            <a:xfrm>
              <a:off x="-2959100" y="1841989"/>
              <a:ext cx="2661379" cy="0"/>
            </a:xfrm>
            <a:prstGeom prst="line">
              <a:avLst/>
            </a:prstGeom>
            <a:noFill/>
            <a:ln w="9525" cap="flat" cmpd="sng" algn="ctr">
              <a:solidFill>
                <a:schemeClr val="accent1"/>
              </a:solidFill>
              <a:prstDash val="solid"/>
            </a:ln>
            <a:effectLst/>
          </p:spPr>
        </p:cxnSp>
        <p:cxnSp>
          <p:nvCxnSpPr>
            <p:cNvPr id="203" name="Rechte verbindingslijn 202"/>
            <p:cNvCxnSpPr/>
            <p:nvPr userDrawn="1"/>
          </p:nvCxnSpPr>
          <p:spPr>
            <a:xfrm>
              <a:off x="-2959100" y="5249278"/>
              <a:ext cx="2661379" cy="0"/>
            </a:xfrm>
            <a:prstGeom prst="line">
              <a:avLst/>
            </a:prstGeom>
            <a:noFill/>
            <a:ln w="9525" cap="flat" cmpd="sng" algn="ctr">
              <a:solidFill>
                <a:schemeClr val="accent1"/>
              </a:solidFill>
              <a:prstDash val="solid"/>
            </a:ln>
            <a:effectLst/>
          </p:spPr>
        </p:cxnSp>
        <p:grpSp>
          <p:nvGrpSpPr>
            <p:cNvPr id="204" name="Groep 203"/>
            <p:cNvGrpSpPr/>
            <p:nvPr userDrawn="1"/>
          </p:nvGrpSpPr>
          <p:grpSpPr>
            <a:xfrm>
              <a:off x="-1948476" y="816741"/>
              <a:ext cx="409108" cy="427699"/>
              <a:chOff x="-1085063" y="758027"/>
              <a:chExt cx="633799" cy="622540"/>
            </a:xfrm>
          </p:grpSpPr>
          <p:sp>
            <p:nvSpPr>
              <p:cNvPr id="260" name="Afgeronde rechthoek 259"/>
              <p:cNvSpPr/>
              <p:nvPr userDrawn="1"/>
            </p:nvSpPr>
            <p:spPr>
              <a:xfrm>
                <a:off x="-108506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261" name="Groep 260"/>
              <p:cNvGrpSpPr/>
              <p:nvPr userDrawn="1"/>
            </p:nvGrpSpPr>
            <p:grpSpPr>
              <a:xfrm>
                <a:off x="-977739" y="864082"/>
                <a:ext cx="419168" cy="410429"/>
                <a:chOff x="6366933" y="309013"/>
                <a:chExt cx="1901295" cy="1861668"/>
              </a:xfrm>
              <a:solidFill>
                <a:srgbClr val="000000"/>
              </a:solidFill>
            </p:grpSpPr>
            <p:sp>
              <p:nvSpPr>
                <p:cNvPr id="262" name="Rechthoek 261"/>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3" name="Rechthoek 262"/>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4" name="Rechthoek 263"/>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5" name="Rechthoek 264"/>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6" name="Rechthoek 265"/>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7" name="Rechthoek 266"/>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8" name="Rechthoek 267"/>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9" name="Rechthoek 268"/>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0" name="Rechthoek 269"/>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1" name="Rechthoek 270"/>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2" name="Vrije vorm 271"/>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nvGrpSpPr>
            <p:cNvPr id="205" name="Groep 204"/>
            <p:cNvGrpSpPr/>
            <p:nvPr userDrawn="1"/>
          </p:nvGrpSpPr>
          <p:grpSpPr>
            <a:xfrm>
              <a:off x="-2950232" y="1207835"/>
              <a:ext cx="532929" cy="509563"/>
              <a:chOff x="-2880382" y="802341"/>
              <a:chExt cx="532929" cy="509563"/>
            </a:xfrm>
          </p:grpSpPr>
          <p:sp>
            <p:nvSpPr>
              <p:cNvPr id="238" name="Rechthoek 237"/>
              <p:cNvSpPr/>
              <p:nvPr userDrawn="1"/>
            </p:nvSpPr>
            <p:spPr>
              <a:xfrm>
                <a:off x="-2880382" y="802341"/>
                <a:ext cx="532929" cy="509563"/>
              </a:xfrm>
              <a:prstGeom prst="rect">
                <a:avLst/>
              </a:prstGeom>
              <a:solidFill>
                <a:sysClr val="window" lastClr="FFFFFF"/>
              </a:soli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pic>
            <p:nvPicPr>
              <p:cNvPr id="239"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635852" y="822181"/>
                <a:ext cx="226442" cy="208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0" name="Picture 3"/>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2848026" y="822181"/>
                <a:ext cx="207168" cy="213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41" name="Groep 240"/>
              <p:cNvGrpSpPr/>
              <p:nvPr userDrawn="1"/>
            </p:nvGrpSpPr>
            <p:grpSpPr>
              <a:xfrm>
                <a:off x="-2802433" y="1123442"/>
                <a:ext cx="132915" cy="104889"/>
                <a:chOff x="-2796392" y="1123442"/>
                <a:chExt cx="120832" cy="104889"/>
              </a:xfrm>
            </p:grpSpPr>
            <p:sp>
              <p:nvSpPr>
                <p:cNvPr id="255" name="Rechthoek 254"/>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6" name="Rechthoek 255"/>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7" name="Rechthoek 256"/>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8" name="Rechthoek 257"/>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9" name="Rechthoek 258"/>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242" name="Groep 241"/>
              <p:cNvGrpSpPr/>
              <p:nvPr userDrawn="1"/>
            </p:nvGrpSpPr>
            <p:grpSpPr>
              <a:xfrm>
                <a:off x="-2575417" y="1123442"/>
                <a:ext cx="133930" cy="104889"/>
                <a:chOff x="-2556734" y="1123442"/>
                <a:chExt cx="147324" cy="104889"/>
              </a:xfrm>
            </p:grpSpPr>
            <p:grpSp>
              <p:nvGrpSpPr>
                <p:cNvPr id="243" name="Groep 242"/>
                <p:cNvGrpSpPr/>
                <p:nvPr userDrawn="1"/>
              </p:nvGrpSpPr>
              <p:grpSpPr>
                <a:xfrm>
                  <a:off x="-2556734" y="1123442"/>
                  <a:ext cx="68206" cy="104889"/>
                  <a:chOff x="-2796392" y="1123442"/>
                  <a:chExt cx="120832" cy="104889"/>
                </a:xfrm>
              </p:grpSpPr>
              <p:sp>
                <p:nvSpPr>
                  <p:cNvPr id="250" name="Rechthoek 249"/>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1" name="Rechthoek 250"/>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2" name="Rechthoek 251"/>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3" name="Rechthoek 252"/>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4" name="Rechthoek 253"/>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244" name="Groep 243"/>
                <p:cNvGrpSpPr/>
                <p:nvPr userDrawn="1"/>
              </p:nvGrpSpPr>
              <p:grpSpPr>
                <a:xfrm>
                  <a:off x="-2477616" y="1123442"/>
                  <a:ext cx="68206" cy="104889"/>
                  <a:chOff x="-2796392" y="1123442"/>
                  <a:chExt cx="120832" cy="104889"/>
                </a:xfrm>
              </p:grpSpPr>
              <p:sp>
                <p:nvSpPr>
                  <p:cNvPr id="245" name="Rechthoek 244"/>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46" name="Rechthoek 245"/>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47" name="Rechthoek 246"/>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48" name="Rechthoek 247"/>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49" name="Rechthoek 248"/>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grpSp>
          <p:nvGrpSpPr>
            <p:cNvPr id="206" name="Groep 205"/>
            <p:cNvGrpSpPr/>
            <p:nvPr userDrawn="1"/>
          </p:nvGrpSpPr>
          <p:grpSpPr>
            <a:xfrm>
              <a:off x="-1948476" y="1281164"/>
              <a:ext cx="413704" cy="427699"/>
              <a:chOff x="-1845083" y="758027"/>
              <a:chExt cx="633799" cy="622540"/>
            </a:xfrm>
          </p:grpSpPr>
          <p:sp>
            <p:nvSpPr>
              <p:cNvPr id="225" name="Afgeronde rechthoek 224"/>
              <p:cNvSpPr/>
              <p:nvPr userDrawn="1"/>
            </p:nvSpPr>
            <p:spPr>
              <a:xfrm>
                <a:off x="-184508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226" name="Groep 225"/>
              <p:cNvGrpSpPr/>
              <p:nvPr userDrawn="1"/>
            </p:nvGrpSpPr>
            <p:grpSpPr>
              <a:xfrm>
                <a:off x="-1737762" y="864082"/>
                <a:ext cx="419168" cy="410429"/>
                <a:chOff x="3708400" y="309013"/>
                <a:chExt cx="1901295" cy="1861668"/>
              </a:xfrm>
              <a:solidFill>
                <a:srgbClr val="000000"/>
              </a:solidFill>
            </p:grpSpPr>
            <p:sp>
              <p:nvSpPr>
                <p:cNvPr id="227" name="Rechthoek 226"/>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28" name="Rechthoek 227"/>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29" name="Rechthoek 228"/>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30" name="Rechthoek 229"/>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31" name="Rechthoek 230"/>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32" name="Rechthoek 231"/>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33" name="Rechthoek 232"/>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34" name="Rechthoek 233"/>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35" name="Rechthoek 234"/>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36" name="Rechthoek 235"/>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37" name="Vrije vorm 236"/>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cxnSp>
          <p:nvCxnSpPr>
            <p:cNvPr id="207" name="Rechte verbindingslijn 206"/>
            <p:cNvCxnSpPr/>
            <p:nvPr userDrawn="1"/>
          </p:nvCxnSpPr>
          <p:spPr>
            <a:xfrm>
              <a:off x="-2814292" y="1441193"/>
              <a:ext cx="865816" cy="53821"/>
            </a:xfrm>
            <a:prstGeom prst="line">
              <a:avLst/>
            </a:prstGeom>
            <a:noFill/>
            <a:ln w="9525" cap="flat" cmpd="sng" algn="ctr">
              <a:solidFill>
                <a:schemeClr val="accent1"/>
              </a:solidFill>
              <a:prstDash val="solid"/>
              <a:headEnd type="oval"/>
            </a:ln>
            <a:effectLst/>
          </p:spPr>
        </p:cxnSp>
        <p:cxnSp>
          <p:nvCxnSpPr>
            <p:cNvPr id="208" name="Rechte verbindingslijn 207"/>
            <p:cNvCxnSpPr/>
            <p:nvPr userDrawn="1"/>
          </p:nvCxnSpPr>
          <p:spPr>
            <a:xfrm flipV="1">
              <a:off x="-2453902" y="1030591"/>
              <a:ext cx="505426" cy="283623"/>
            </a:xfrm>
            <a:prstGeom prst="line">
              <a:avLst/>
            </a:prstGeom>
            <a:noFill/>
            <a:ln w="9525" cap="flat" cmpd="sng" algn="ctr">
              <a:solidFill>
                <a:schemeClr val="accent1"/>
              </a:solidFill>
              <a:prstDash val="solid"/>
              <a:headEnd type="oval"/>
            </a:ln>
            <a:effectLst/>
          </p:spPr>
        </p:cxnSp>
        <p:sp>
          <p:nvSpPr>
            <p:cNvPr id="209" name="Textfield placeholder"/>
            <p:cNvSpPr txBox="1">
              <a:spLocks/>
            </p:cNvSpPr>
            <p:nvPr userDrawn="1"/>
          </p:nvSpPr>
          <p:spPr>
            <a:xfrm>
              <a:off x="-1341598" y="816743"/>
              <a:ext cx="1056968" cy="427698"/>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hoog</a:t>
              </a:r>
            </a:p>
          </p:txBody>
        </p:sp>
        <p:sp>
          <p:nvSpPr>
            <p:cNvPr id="210" name="Textfield placeholder"/>
            <p:cNvSpPr txBox="1">
              <a:spLocks/>
            </p:cNvSpPr>
            <p:nvPr userDrawn="1"/>
          </p:nvSpPr>
          <p:spPr>
            <a:xfrm>
              <a:off x="-1341599" y="1281164"/>
              <a:ext cx="1070223" cy="427699"/>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laag</a:t>
              </a:r>
            </a:p>
          </p:txBody>
        </p:sp>
        <p:sp>
          <p:nvSpPr>
            <p:cNvPr id="211" name="Ovaal 210"/>
            <p:cNvSpPr/>
            <p:nvPr userDrawn="1"/>
          </p:nvSpPr>
          <p:spPr>
            <a:xfrm>
              <a:off x="-2959433" y="338208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5</a:t>
              </a:r>
            </a:p>
          </p:txBody>
        </p:sp>
        <p:sp>
          <p:nvSpPr>
            <p:cNvPr id="212" name="Textfield placeholder"/>
            <p:cNvSpPr txBox="1">
              <a:spLocks/>
            </p:cNvSpPr>
            <p:nvPr userDrawn="1"/>
          </p:nvSpPr>
          <p:spPr>
            <a:xfrm>
              <a:off x="-2571950" y="3382082"/>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60000" lvl="4" indent="-360000" defTabSz="179388">
                <a:lnSpc>
                  <a:spcPct val="120000"/>
                </a:lnSpc>
                <a:spcBef>
                  <a:spcPts val="0"/>
                </a:spcBef>
                <a:spcAft>
                  <a:spcPts val="900"/>
                </a:spcAft>
                <a:buClr>
                  <a:srgbClr val="ED1A3B"/>
                </a:buClr>
                <a:buFont typeface="+mj-lt"/>
                <a:buAutoNum type="arabicPeriod"/>
                <a:defRPr/>
              </a:pPr>
              <a:r>
                <a:rPr lang="nl-NL" sz="1200" b="0" dirty="0">
                  <a:solidFill>
                    <a:srgbClr val="404040"/>
                  </a:solidFill>
                </a:rPr>
                <a:t>Numeriek (16 pt.)</a:t>
              </a:r>
            </a:p>
          </p:txBody>
        </p:sp>
        <p:grpSp>
          <p:nvGrpSpPr>
            <p:cNvPr id="213" name="Groep 212"/>
            <p:cNvGrpSpPr/>
            <p:nvPr userDrawn="1"/>
          </p:nvGrpSpPr>
          <p:grpSpPr>
            <a:xfrm>
              <a:off x="-2950232" y="816050"/>
              <a:ext cx="528695" cy="344202"/>
              <a:chOff x="-2880382" y="410556"/>
              <a:chExt cx="528695" cy="344202"/>
            </a:xfrm>
          </p:grpSpPr>
          <p:sp>
            <p:nvSpPr>
              <p:cNvPr id="223" name="Afgeronde rechthoek 222"/>
              <p:cNvSpPr/>
              <p:nvPr userDrawn="1"/>
            </p:nvSpPr>
            <p:spPr>
              <a:xfrm>
                <a:off x="-2874214" y="410556"/>
                <a:ext cx="522527" cy="339183"/>
              </a:xfrm>
              <a:prstGeom prst="roundRect">
                <a:avLst>
                  <a:gd name="adj" fmla="val 7565"/>
                </a:avLst>
              </a:prstGeom>
              <a:gradFill>
                <a:gsLst>
                  <a:gs pos="0">
                    <a:srgbClr val="FFEC8F"/>
                  </a:gs>
                  <a:gs pos="100000">
                    <a:srgbClr val="FFFFFF"/>
                  </a:gs>
                </a:gsLst>
                <a:lin ang="5400000" scaled="0"/>
              </a:gra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sp>
            <p:nvSpPr>
              <p:cNvPr id="224" name="Vrije vorm 223"/>
              <p:cNvSpPr/>
              <p:nvPr userDrawn="1"/>
            </p:nvSpPr>
            <p:spPr>
              <a:xfrm>
                <a:off x="-2880382" y="452699"/>
                <a:ext cx="528695" cy="302059"/>
              </a:xfrm>
              <a:custGeom>
                <a:avLst/>
                <a:gdLst>
                  <a:gd name="connsiteX0" fmla="*/ 55524 w 528695"/>
                  <a:gd name="connsiteY0" fmla="*/ 0 h 302059"/>
                  <a:gd name="connsiteX1" fmla="*/ 455496 w 528695"/>
                  <a:gd name="connsiteY1" fmla="*/ 0 h 302059"/>
                  <a:gd name="connsiteX2" fmla="*/ 475205 w 528695"/>
                  <a:gd name="connsiteY2" fmla="*/ 19709 h 302059"/>
                  <a:gd name="connsiteX3" fmla="*/ 475205 w 528695"/>
                  <a:gd name="connsiteY3" fmla="*/ 230056 h 302059"/>
                  <a:gd name="connsiteX4" fmla="*/ 516694 w 528695"/>
                  <a:gd name="connsiteY4" fmla="*/ 230056 h 302059"/>
                  <a:gd name="connsiteX5" fmla="*/ 528695 w 528695"/>
                  <a:gd name="connsiteY5" fmla="*/ 242057 h 302059"/>
                  <a:gd name="connsiteX6" fmla="*/ 528695 w 528695"/>
                  <a:gd name="connsiteY6" fmla="*/ 290058 h 302059"/>
                  <a:gd name="connsiteX7" fmla="*/ 516694 w 528695"/>
                  <a:gd name="connsiteY7" fmla="*/ 302059 h 302059"/>
                  <a:gd name="connsiteX8" fmla="*/ 12001 w 528695"/>
                  <a:gd name="connsiteY8" fmla="*/ 302059 h 302059"/>
                  <a:gd name="connsiteX9" fmla="*/ 0 w 528695"/>
                  <a:gd name="connsiteY9" fmla="*/ 290058 h 302059"/>
                  <a:gd name="connsiteX10" fmla="*/ 0 w 528695"/>
                  <a:gd name="connsiteY10" fmla="*/ 242057 h 302059"/>
                  <a:gd name="connsiteX11" fmla="*/ 12001 w 528695"/>
                  <a:gd name="connsiteY11" fmla="*/ 230056 h 302059"/>
                  <a:gd name="connsiteX12" fmla="*/ 35815 w 528695"/>
                  <a:gd name="connsiteY12" fmla="*/ 230056 h 302059"/>
                  <a:gd name="connsiteX13" fmla="*/ 35815 w 528695"/>
                  <a:gd name="connsiteY13" fmla="*/ 19709 h 302059"/>
                  <a:gd name="connsiteX14" fmla="*/ 55524 w 528695"/>
                  <a:gd name="connsiteY14" fmla="*/ 0 h 3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8695" h="302059">
                    <a:moveTo>
                      <a:pt x="55524" y="0"/>
                    </a:moveTo>
                    <a:lnTo>
                      <a:pt x="455496" y="0"/>
                    </a:lnTo>
                    <a:cubicBezTo>
                      <a:pt x="466381" y="0"/>
                      <a:pt x="475205" y="8824"/>
                      <a:pt x="475205" y="19709"/>
                    </a:cubicBezTo>
                    <a:lnTo>
                      <a:pt x="475205" y="230056"/>
                    </a:lnTo>
                    <a:lnTo>
                      <a:pt x="516694" y="230056"/>
                    </a:lnTo>
                    <a:cubicBezTo>
                      <a:pt x="523322" y="230056"/>
                      <a:pt x="528695" y="235429"/>
                      <a:pt x="528695" y="242057"/>
                    </a:cubicBezTo>
                    <a:lnTo>
                      <a:pt x="528695" y="290058"/>
                    </a:lnTo>
                    <a:cubicBezTo>
                      <a:pt x="528695" y="296686"/>
                      <a:pt x="523322" y="302059"/>
                      <a:pt x="516694" y="302059"/>
                    </a:cubicBezTo>
                    <a:lnTo>
                      <a:pt x="12001" y="302059"/>
                    </a:lnTo>
                    <a:cubicBezTo>
                      <a:pt x="5373" y="302059"/>
                      <a:pt x="0" y="296686"/>
                      <a:pt x="0" y="290058"/>
                    </a:cubicBezTo>
                    <a:lnTo>
                      <a:pt x="0" y="242057"/>
                    </a:lnTo>
                    <a:cubicBezTo>
                      <a:pt x="0" y="235429"/>
                      <a:pt x="5373" y="230056"/>
                      <a:pt x="12001" y="230056"/>
                    </a:cubicBezTo>
                    <a:lnTo>
                      <a:pt x="35815" y="230056"/>
                    </a:lnTo>
                    <a:lnTo>
                      <a:pt x="35815" y="19709"/>
                    </a:lnTo>
                    <a:cubicBezTo>
                      <a:pt x="35815" y="8824"/>
                      <a:pt x="44639" y="0"/>
                      <a:pt x="55524" y="0"/>
                    </a:cubicBezTo>
                    <a:close/>
                  </a:path>
                </a:pathLst>
              </a:custGeom>
              <a:solidFill>
                <a:sysClr val="window" lastClr="FFFFFF">
                  <a:lumMod val="95000"/>
                </a:sysClr>
              </a:solidFill>
              <a:ln w="9525" cap="flat" cmpd="sng" algn="ctr">
                <a:solidFill>
                  <a:srgbClr val="FFFFFF">
                    <a:lumMod val="90000"/>
                  </a:srgbClr>
                </a:solidFill>
                <a:prstDash val="solid"/>
                <a:miter lim="800000"/>
              </a:ln>
              <a:effectLst/>
            </p:spPr>
            <p:txBody>
              <a:bodyPr rot="0" spcFirstLastPara="0" vert="horz" wrap="square" lIns="108000" tIns="36000" rIns="108000" bIns="10800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900" dirty="0">
                    <a:solidFill>
                      <a:prstClr val="black"/>
                    </a:solidFill>
                    <a:latin typeface="Segoe UI Light"/>
                  </a:rPr>
                  <a:t>Start</a:t>
                </a:r>
              </a:p>
            </p:txBody>
          </p:sp>
        </p:grpSp>
        <p:sp>
          <p:nvSpPr>
            <p:cNvPr id="214" name="Tekstvak 65"/>
            <p:cNvSpPr txBox="1"/>
            <p:nvPr userDrawn="1"/>
          </p:nvSpPr>
          <p:spPr>
            <a:xfrm>
              <a:off x="-2959433" y="372104"/>
              <a:ext cx="2679887" cy="453396"/>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nl-NL" sz="1200" kern="0" dirty="0">
                  <a:solidFill>
                    <a:srgbClr val="000000"/>
                  </a:solidFill>
                  <a:latin typeface="Segoe UI Light" panose="020B0502040204020203" pitchFamily="34" charset="0"/>
                  <a:cs typeface="Segoe UI Light" panose="020B0502040204020203" pitchFamily="34" charset="0"/>
                </a:rPr>
                <a:t>Ga naar de tab </a:t>
              </a:r>
              <a:r>
                <a:rPr lang="nl-NL" sz="1200" b="1" kern="0" dirty="0">
                  <a:solidFill>
                    <a:srgbClr val="000000"/>
                  </a:solidFill>
                  <a:latin typeface="Segoe UI Light" panose="020B0502040204020203" pitchFamily="34" charset="0"/>
                  <a:cs typeface="Segoe UI Light" panose="020B0502040204020203" pitchFamily="34" charset="0"/>
                </a:rPr>
                <a:t>Start’ </a:t>
              </a:r>
              <a:r>
                <a:rPr lang="nl-NL" sz="1200" kern="0" dirty="0">
                  <a:solidFill>
                    <a:srgbClr val="000000"/>
                  </a:solidFill>
                  <a:latin typeface="Segoe UI Light" panose="020B0502040204020203" pitchFamily="34" charset="0"/>
                  <a:cs typeface="Segoe UI Light" panose="020B0502040204020203" pitchFamily="34" charset="0"/>
                </a:rPr>
                <a:t>en vind onderstaande knoppen onder </a:t>
              </a:r>
              <a:r>
                <a:rPr lang="nl-NL" sz="1200" b="1" kern="0" dirty="0">
                  <a:solidFill>
                    <a:srgbClr val="000000"/>
                  </a:solidFill>
                  <a:latin typeface="Segoe UI Light" panose="020B0502040204020203" pitchFamily="34" charset="0"/>
                  <a:cs typeface="Segoe UI Light" panose="020B0502040204020203" pitchFamily="34" charset="0"/>
                </a:rPr>
                <a:t>‘Alinea’</a:t>
              </a:r>
            </a:p>
          </p:txBody>
        </p:sp>
        <p:sp>
          <p:nvSpPr>
            <p:cNvPr id="215" name="Ovaal 214"/>
            <p:cNvSpPr/>
            <p:nvPr userDrawn="1"/>
          </p:nvSpPr>
          <p:spPr>
            <a:xfrm>
              <a:off x="-2959433" y="375153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6</a:t>
              </a:r>
            </a:p>
          </p:txBody>
        </p:sp>
        <p:sp>
          <p:nvSpPr>
            <p:cNvPr id="216" name="Textfield placeholder"/>
            <p:cNvSpPr txBox="1">
              <a:spLocks/>
            </p:cNvSpPr>
            <p:nvPr userDrawn="1"/>
          </p:nvSpPr>
          <p:spPr>
            <a:xfrm>
              <a:off x="-2571950" y="3751536"/>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0000" lvl="5" indent="-270000" defTabSz="179388">
                <a:lnSpc>
                  <a:spcPct val="120000"/>
                </a:lnSpc>
                <a:spcAft>
                  <a:spcPts val="900"/>
                </a:spcAft>
                <a:buClr>
                  <a:srgbClr val="ED1A3B"/>
                </a:buClr>
                <a:buSzPct val="80000"/>
                <a:buFont typeface="Wingdings 3" panose="05040102010807070707" pitchFamily="18" charset="2"/>
                <a:buChar char=""/>
                <a:defRPr/>
              </a:pPr>
              <a:r>
                <a:rPr lang="nl-NL" sz="1200" cap="none" dirty="0">
                  <a:solidFill>
                    <a:srgbClr val="535353"/>
                  </a:solidFill>
                </a:rPr>
                <a:t># Bullets (16 pt.)</a:t>
              </a:r>
            </a:p>
          </p:txBody>
        </p:sp>
        <p:sp>
          <p:nvSpPr>
            <p:cNvPr id="217" name="Ovaal 216"/>
            <p:cNvSpPr/>
            <p:nvPr userDrawn="1"/>
          </p:nvSpPr>
          <p:spPr>
            <a:xfrm>
              <a:off x="-2959433" y="414870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7</a:t>
              </a:r>
            </a:p>
          </p:txBody>
        </p:sp>
        <p:sp>
          <p:nvSpPr>
            <p:cNvPr id="218" name="Textfield placeholder"/>
            <p:cNvSpPr txBox="1">
              <a:spLocks/>
            </p:cNvSpPr>
            <p:nvPr userDrawn="1"/>
          </p:nvSpPr>
          <p:spPr>
            <a:xfrm>
              <a:off x="-2571950" y="414870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6" indent="0" defTabSz="179388">
                <a:lnSpc>
                  <a:spcPct val="120000"/>
                </a:lnSpc>
                <a:spcBef>
                  <a:spcPts val="0"/>
                </a:spcBef>
                <a:spcAft>
                  <a:spcPts val="900"/>
                </a:spcAft>
                <a:buClr>
                  <a:srgbClr val="ED1A3B"/>
                </a:buClr>
                <a:buSzPct val="90000"/>
                <a:buFont typeface="+mj-lt"/>
                <a:buNone/>
                <a:defRPr/>
              </a:pPr>
              <a:r>
                <a:rPr lang="nl-NL" sz="1200" i="1" dirty="0">
                  <a:solidFill>
                    <a:srgbClr val="404040"/>
                  </a:solidFill>
                </a:rPr>
                <a:t>Cursief donker (16 pt.)</a:t>
              </a:r>
            </a:p>
          </p:txBody>
        </p:sp>
        <p:sp>
          <p:nvSpPr>
            <p:cNvPr id="219" name="Ovaal 218"/>
            <p:cNvSpPr/>
            <p:nvPr userDrawn="1"/>
          </p:nvSpPr>
          <p:spPr>
            <a:xfrm>
              <a:off x="-2959433" y="454586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8</a:t>
              </a:r>
            </a:p>
          </p:txBody>
        </p:sp>
        <p:sp>
          <p:nvSpPr>
            <p:cNvPr id="220" name="Textfield placeholder"/>
            <p:cNvSpPr txBox="1">
              <a:spLocks/>
            </p:cNvSpPr>
            <p:nvPr userDrawn="1"/>
          </p:nvSpPr>
          <p:spPr>
            <a:xfrm>
              <a:off x="-2571950" y="4545864"/>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7" indent="0" defTabSz="179388">
                <a:lnSpc>
                  <a:spcPct val="80000"/>
                </a:lnSpc>
                <a:spcBef>
                  <a:spcPts val="0"/>
                </a:spcBef>
                <a:spcAft>
                  <a:spcPts val="900"/>
                </a:spcAft>
                <a:buClr>
                  <a:srgbClr val="ED1A3B"/>
                </a:buClr>
                <a:buFont typeface="Arial" pitchFamily="34" charset="0"/>
                <a:buNone/>
                <a:defRPr/>
              </a:pPr>
              <a:r>
                <a:rPr lang="nl-NL" sz="1200" i="1" dirty="0">
                  <a:solidFill>
                    <a:srgbClr val="A3B0C0"/>
                  </a:solidFill>
                </a:rPr>
                <a:t>Cursief Licht (16 pt.)</a:t>
              </a:r>
            </a:p>
          </p:txBody>
        </p:sp>
        <p:sp>
          <p:nvSpPr>
            <p:cNvPr id="221" name="Ovaal 220"/>
            <p:cNvSpPr/>
            <p:nvPr userDrawn="1"/>
          </p:nvSpPr>
          <p:spPr>
            <a:xfrm>
              <a:off x="-2959433" y="488761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9</a:t>
              </a:r>
            </a:p>
          </p:txBody>
        </p:sp>
        <p:sp>
          <p:nvSpPr>
            <p:cNvPr id="222" name="Textfield placeholder"/>
            <p:cNvSpPr txBox="1">
              <a:spLocks/>
            </p:cNvSpPr>
            <p:nvPr userDrawn="1"/>
          </p:nvSpPr>
          <p:spPr>
            <a:xfrm>
              <a:off x="-2571950" y="488761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8" indent="0" defTabSz="179388">
                <a:lnSpc>
                  <a:spcPct val="80000"/>
                </a:lnSpc>
                <a:spcBef>
                  <a:spcPts val="0"/>
                </a:spcBef>
                <a:spcAft>
                  <a:spcPts val="900"/>
                </a:spcAft>
                <a:buClr>
                  <a:srgbClr val="ED1A3B"/>
                </a:buClr>
                <a:buFont typeface="Arial" pitchFamily="34" charset="0"/>
                <a:buNone/>
                <a:defRPr/>
              </a:pPr>
              <a:r>
                <a:rPr lang="nl-NL" sz="1400" b="1" dirty="0">
                  <a:solidFill>
                    <a:srgbClr val="ED1A3B"/>
                  </a:solidFill>
                </a:rPr>
                <a:t>Subtitel (18 pt.)</a:t>
              </a:r>
            </a:p>
          </p:txBody>
        </p:sp>
      </p:grpSp>
      <p:sp>
        <p:nvSpPr>
          <p:cNvPr id="18" name="Grijze achtergrond"/>
          <p:cNvSpPr/>
          <p:nvPr/>
        </p:nvSpPr>
        <p:spPr>
          <a:xfrm>
            <a:off x="-1" y="1511073"/>
            <a:ext cx="12198350" cy="5346928"/>
          </a:xfrm>
          <a:prstGeom prst="rect">
            <a:avLst/>
          </a:prstGeom>
          <a:solidFill>
            <a:srgbClr val="EDE8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70" name="Witte balk"/>
          <p:cNvSpPr/>
          <p:nvPr userDrawn="1"/>
        </p:nvSpPr>
        <p:spPr>
          <a:xfrm>
            <a:off x="1" y="6426169"/>
            <a:ext cx="12198350" cy="4318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71" name="Locator - onder"/>
          <p:cNvSpPr/>
          <p:nvPr userDrawn="1"/>
        </p:nvSpPr>
        <p:spPr>
          <a:xfrm rot="16200000" flipH="1">
            <a:off x="654860" y="6784603"/>
            <a:ext cx="670664" cy="207652"/>
          </a:xfrm>
          <a:custGeom>
            <a:avLst/>
            <a:gdLst>
              <a:gd name="connsiteX0" fmla="*/ 0 w 670664"/>
              <a:gd name="connsiteY0" fmla="*/ 207598 h 207598"/>
              <a:gd name="connsiteX1" fmla="*/ 670664 w 670664"/>
              <a:gd name="connsiteY1" fmla="*/ 207598 h 207598"/>
              <a:gd name="connsiteX2" fmla="*/ 670664 w 670664"/>
              <a:gd name="connsiteY2" fmla="*/ 0 h 207598"/>
              <a:gd name="connsiteX3" fmla="*/ 142329 w 670664"/>
              <a:gd name="connsiteY3" fmla="*/ 0 h 207598"/>
            </a:gdLst>
            <a:ahLst/>
            <a:cxnLst>
              <a:cxn ang="0">
                <a:pos x="connsiteX0" y="connsiteY0"/>
              </a:cxn>
              <a:cxn ang="0">
                <a:pos x="connsiteX1" y="connsiteY1"/>
              </a:cxn>
              <a:cxn ang="0">
                <a:pos x="connsiteX2" y="connsiteY2"/>
              </a:cxn>
              <a:cxn ang="0">
                <a:pos x="connsiteX3" y="connsiteY3"/>
              </a:cxn>
            </a:cxnLst>
            <a:rect l="l" t="t" r="r" b="b"/>
            <a:pathLst>
              <a:path w="670664" h="207598">
                <a:moveTo>
                  <a:pt x="0" y="207598"/>
                </a:moveTo>
                <a:lnTo>
                  <a:pt x="670664" y="207598"/>
                </a:lnTo>
                <a:lnTo>
                  <a:pt x="670664" y="0"/>
                </a:lnTo>
                <a:lnTo>
                  <a:pt x="142329" y="0"/>
                </a:lnTo>
                <a:close/>
              </a:path>
            </a:pathLst>
          </a:custGeom>
          <a:solidFill>
            <a:srgbClr val="EE1A3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112"/>
            <a:endParaRPr lang="nl-NL">
              <a:solidFill>
                <a:srgbClr val="FFFFFF"/>
              </a:solidFill>
            </a:endParaRPr>
          </a:p>
        </p:txBody>
      </p:sp>
      <p:sp>
        <p:nvSpPr>
          <p:cNvPr id="132" name="Tijdelijke aanduiding voor Afbeelding_06 (rechtsonder)"/>
          <p:cNvSpPr>
            <a:spLocks noGrp="1"/>
          </p:cNvSpPr>
          <p:nvPr>
            <p:ph type="pic" idx="40"/>
          </p:nvPr>
        </p:nvSpPr>
        <p:spPr>
          <a:xfrm>
            <a:off x="8136000" y="3960000"/>
            <a:ext cx="4068000" cy="2448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36" name="Tijdelijke aanduiding voor Blok_06 (rechtsonder)"/>
          <p:cNvSpPr>
            <a:spLocks noGrp="1"/>
          </p:cNvSpPr>
          <p:nvPr>
            <p:ph type="body" orient="vert" idx="35" hasCustomPrompt="1"/>
          </p:nvPr>
        </p:nvSpPr>
        <p:spPr>
          <a:xfrm>
            <a:off x="8129291" y="3960000"/>
            <a:ext cx="4069059" cy="2448000"/>
          </a:xfrm>
          <a:solidFill>
            <a:schemeClr val="accent5"/>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600">
                <a:solidFill>
                  <a:schemeClr val="bg1"/>
                </a:solidFill>
              </a:defRPr>
            </a:lvl2pPr>
            <a:lvl3pPr algn="ctr">
              <a:lnSpc>
                <a:spcPct val="80000"/>
              </a:lnSpc>
              <a:spcBef>
                <a:spcPts val="600"/>
              </a:spcBef>
              <a:spcAft>
                <a:spcPts val="600"/>
              </a:spcAft>
              <a:defRPr sz="1400">
                <a:solidFill>
                  <a:schemeClr val="bg1"/>
                </a:solidFill>
              </a:defRPr>
            </a:lvl3pPr>
            <a:lvl4pPr algn="ctr">
              <a:lnSpc>
                <a:spcPct val="80000"/>
              </a:lnSpc>
              <a:spcBef>
                <a:spcPts val="600"/>
              </a:spcBef>
              <a:spcAft>
                <a:spcPts val="600"/>
              </a:spcAft>
              <a:defRPr sz="2000">
                <a:solidFill>
                  <a:schemeClr val="bg1"/>
                </a:solidFill>
              </a:defRPr>
            </a:lvl4pPr>
            <a:lvl5pPr algn="ctr">
              <a:lnSpc>
                <a:spcPct val="80000"/>
              </a:lnSpc>
              <a:spcBef>
                <a:spcPts val="600"/>
              </a:spcBef>
              <a:spcAft>
                <a:spcPts val="600"/>
              </a:spcAft>
              <a:defRPr sz="1800">
                <a:solidFill>
                  <a:schemeClr val="bg1"/>
                </a:solidFill>
              </a:defRPr>
            </a:lvl5pPr>
            <a:lvl6pPr algn="ctr">
              <a:lnSpc>
                <a:spcPct val="80000"/>
              </a:lnSpc>
              <a:spcBef>
                <a:spcPts val="600"/>
              </a:spcBef>
              <a:spcAft>
                <a:spcPts val="600"/>
              </a:spcAft>
              <a:defRPr sz="1800">
                <a:solidFill>
                  <a:schemeClr val="bg1"/>
                </a:solidFill>
              </a:defRPr>
            </a:lvl6pPr>
            <a:lvl7pPr algn="ctr">
              <a:lnSpc>
                <a:spcPct val="80000"/>
              </a:lnSpc>
              <a:spcBef>
                <a:spcPts val="600"/>
              </a:spcBef>
              <a:spcAft>
                <a:spcPts val="600"/>
              </a:spcAft>
              <a:defRPr sz="1800">
                <a:solidFill>
                  <a:schemeClr val="bg1"/>
                </a:solidFill>
              </a:defRPr>
            </a:lvl7pPr>
            <a:lvl8pPr algn="ctr">
              <a:lnSpc>
                <a:spcPct val="80000"/>
              </a:lnSpc>
              <a:spcBef>
                <a:spcPts val="600"/>
              </a:spcBef>
              <a:spcAft>
                <a:spcPts val="600"/>
              </a:spcAft>
              <a:defRPr sz="1800">
                <a:solidFill>
                  <a:schemeClr val="bg1"/>
                </a:solidFill>
              </a:defRPr>
            </a:lvl8pPr>
            <a:lvl9pPr algn="ctr">
              <a:lnSpc>
                <a:spcPct val="80000"/>
              </a:lnSpc>
              <a:spcBef>
                <a:spcPts val="600"/>
              </a:spcBef>
              <a:spcAft>
                <a:spcPts val="600"/>
              </a:spcAft>
              <a:defRPr sz="1600" cap="all" baseline="0">
                <a:solidFill>
                  <a:schemeClr val="bg1"/>
                </a:solidFill>
              </a:defRPr>
            </a:lvl9pPr>
          </a:lstStyle>
          <a:p>
            <a:pPr lvl="0"/>
            <a:r>
              <a:rPr lang="nl-NL" dirty="0"/>
              <a:t>Klik om de modelstijlen te bewerken</a:t>
            </a:r>
          </a:p>
        </p:txBody>
      </p:sp>
      <p:sp>
        <p:nvSpPr>
          <p:cNvPr id="133" name="Tijdelijke aanduiding voor Afbeelding_05 (middenonder)"/>
          <p:cNvSpPr>
            <a:spLocks noGrp="1"/>
          </p:cNvSpPr>
          <p:nvPr>
            <p:ph type="pic" idx="39"/>
          </p:nvPr>
        </p:nvSpPr>
        <p:spPr>
          <a:xfrm>
            <a:off x="4068000" y="3960000"/>
            <a:ext cx="4068000" cy="2448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35" name="Tijdelijke aanduiding voor Blok_05 (middenonder)"/>
          <p:cNvSpPr>
            <a:spLocks noGrp="1"/>
          </p:cNvSpPr>
          <p:nvPr>
            <p:ph type="body" orient="vert" idx="34" hasCustomPrompt="1"/>
          </p:nvPr>
        </p:nvSpPr>
        <p:spPr>
          <a:xfrm>
            <a:off x="4064646" y="3960000"/>
            <a:ext cx="4069059" cy="2448000"/>
          </a:xfrm>
          <a:solidFill>
            <a:schemeClr val="accent3"/>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600">
                <a:solidFill>
                  <a:schemeClr val="bg1"/>
                </a:solidFill>
              </a:defRPr>
            </a:lvl2pPr>
            <a:lvl3pPr algn="ctr">
              <a:lnSpc>
                <a:spcPct val="80000"/>
              </a:lnSpc>
              <a:spcBef>
                <a:spcPts val="600"/>
              </a:spcBef>
              <a:spcAft>
                <a:spcPts val="600"/>
              </a:spcAft>
              <a:defRPr sz="1400">
                <a:solidFill>
                  <a:schemeClr val="bg1"/>
                </a:solidFill>
              </a:defRPr>
            </a:lvl3pPr>
            <a:lvl4pPr algn="ctr">
              <a:lnSpc>
                <a:spcPct val="80000"/>
              </a:lnSpc>
              <a:spcBef>
                <a:spcPts val="600"/>
              </a:spcBef>
              <a:spcAft>
                <a:spcPts val="600"/>
              </a:spcAft>
              <a:defRPr sz="2000">
                <a:solidFill>
                  <a:schemeClr val="bg1"/>
                </a:solidFill>
              </a:defRPr>
            </a:lvl4pPr>
            <a:lvl5pPr algn="ctr">
              <a:lnSpc>
                <a:spcPct val="80000"/>
              </a:lnSpc>
              <a:spcBef>
                <a:spcPts val="600"/>
              </a:spcBef>
              <a:spcAft>
                <a:spcPts val="600"/>
              </a:spcAft>
              <a:defRPr sz="1800">
                <a:solidFill>
                  <a:schemeClr val="bg1"/>
                </a:solidFill>
              </a:defRPr>
            </a:lvl5pPr>
            <a:lvl6pPr algn="ctr">
              <a:lnSpc>
                <a:spcPct val="80000"/>
              </a:lnSpc>
              <a:spcBef>
                <a:spcPts val="600"/>
              </a:spcBef>
              <a:spcAft>
                <a:spcPts val="600"/>
              </a:spcAft>
              <a:defRPr sz="1800">
                <a:solidFill>
                  <a:schemeClr val="bg1"/>
                </a:solidFill>
              </a:defRPr>
            </a:lvl6pPr>
            <a:lvl7pPr algn="ctr">
              <a:lnSpc>
                <a:spcPct val="80000"/>
              </a:lnSpc>
              <a:spcBef>
                <a:spcPts val="600"/>
              </a:spcBef>
              <a:spcAft>
                <a:spcPts val="600"/>
              </a:spcAft>
              <a:defRPr sz="1800">
                <a:solidFill>
                  <a:schemeClr val="bg1"/>
                </a:solidFill>
              </a:defRPr>
            </a:lvl7pPr>
            <a:lvl8pPr algn="ctr">
              <a:lnSpc>
                <a:spcPct val="80000"/>
              </a:lnSpc>
              <a:spcBef>
                <a:spcPts val="600"/>
              </a:spcBef>
              <a:spcAft>
                <a:spcPts val="600"/>
              </a:spcAft>
              <a:defRPr sz="1800">
                <a:solidFill>
                  <a:schemeClr val="bg1"/>
                </a:solidFill>
              </a:defRPr>
            </a:lvl8pPr>
            <a:lvl9pPr algn="ctr">
              <a:lnSpc>
                <a:spcPct val="80000"/>
              </a:lnSpc>
              <a:spcBef>
                <a:spcPts val="600"/>
              </a:spcBef>
              <a:spcAft>
                <a:spcPts val="600"/>
              </a:spcAft>
              <a:defRPr sz="1600" cap="all" baseline="0">
                <a:solidFill>
                  <a:schemeClr val="bg1"/>
                </a:solidFill>
              </a:defRPr>
            </a:lvl9pPr>
          </a:lstStyle>
          <a:p>
            <a:pPr lvl="0"/>
            <a:r>
              <a:rPr lang="nl-NL" dirty="0"/>
              <a:t>Klik om de modelstijlen te bewerken</a:t>
            </a:r>
          </a:p>
        </p:txBody>
      </p:sp>
      <p:sp>
        <p:nvSpPr>
          <p:cNvPr id="134" name="Tijdelijke aanduiding voor Afbeelding_04 (linksonder)"/>
          <p:cNvSpPr>
            <a:spLocks noGrp="1"/>
          </p:cNvSpPr>
          <p:nvPr>
            <p:ph type="pic" idx="38"/>
          </p:nvPr>
        </p:nvSpPr>
        <p:spPr>
          <a:xfrm>
            <a:off x="0" y="3960000"/>
            <a:ext cx="4068000" cy="2448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34" name="Tijdelijke aanduiding voor Blok_04 (linksonder)"/>
          <p:cNvSpPr>
            <a:spLocks noGrp="1"/>
          </p:cNvSpPr>
          <p:nvPr>
            <p:ph type="body" orient="vert" idx="33" hasCustomPrompt="1"/>
          </p:nvPr>
        </p:nvSpPr>
        <p:spPr>
          <a:xfrm>
            <a:off x="0" y="3960000"/>
            <a:ext cx="4069059" cy="2448000"/>
          </a:xfrm>
          <a:solidFill>
            <a:schemeClr val="accent2"/>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600">
                <a:solidFill>
                  <a:schemeClr val="bg1"/>
                </a:solidFill>
              </a:defRPr>
            </a:lvl2pPr>
            <a:lvl3pPr algn="ctr">
              <a:lnSpc>
                <a:spcPct val="80000"/>
              </a:lnSpc>
              <a:spcBef>
                <a:spcPts val="600"/>
              </a:spcBef>
              <a:spcAft>
                <a:spcPts val="600"/>
              </a:spcAft>
              <a:defRPr sz="1400">
                <a:solidFill>
                  <a:schemeClr val="bg1"/>
                </a:solidFill>
              </a:defRPr>
            </a:lvl3pPr>
            <a:lvl4pPr algn="ctr">
              <a:lnSpc>
                <a:spcPct val="80000"/>
              </a:lnSpc>
              <a:spcBef>
                <a:spcPts val="600"/>
              </a:spcBef>
              <a:spcAft>
                <a:spcPts val="600"/>
              </a:spcAft>
              <a:defRPr sz="2000">
                <a:solidFill>
                  <a:schemeClr val="bg1"/>
                </a:solidFill>
              </a:defRPr>
            </a:lvl4pPr>
            <a:lvl5pPr algn="ctr">
              <a:lnSpc>
                <a:spcPct val="80000"/>
              </a:lnSpc>
              <a:spcBef>
                <a:spcPts val="600"/>
              </a:spcBef>
              <a:spcAft>
                <a:spcPts val="600"/>
              </a:spcAft>
              <a:defRPr sz="1800">
                <a:solidFill>
                  <a:schemeClr val="bg1"/>
                </a:solidFill>
              </a:defRPr>
            </a:lvl5pPr>
            <a:lvl6pPr algn="ctr">
              <a:lnSpc>
                <a:spcPct val="80000"/>
              </a:lnSpc>
              <a:spcBef>
                <a:spcPts val="600"/>
              </a:spcBef>
              <a:spcAft>
                <a:spcPts val="600"/>
              </a:spcAft>
              <a:defRPr sz="1800">
                <a:solidFill>
                  <a:schemeClr val="bg1"/>
                </a:solidFill>
              </a:defRPr>
            </a:lvl6pPr>
            <a:lvl7pPr algn="ctr">
              <a:lnSpc>
                <a:spcPct val="80000"/>
              </a:lnSpc>
              <a:spcBef>
                <a:spcPts val="600"/>
              </a:spcBef>
              <a:spcAft>
                <a:spcPts val="600"/>
              </a:spcAft>
              <a:defRPr sz="1800">
                <a:solidFill>
                  <a:schemeClr val="bg1"/>
                </a:solidFill>
              </a:defRPr>
            </a:lvl7pPr>
            <a:lvl8pPr algn="ctr">
              <a:lnSpc>
                <a:spcPct val="80000"/>
              </a:lnSpc>
              <a:spcBef>
                <a:spcPts val="600"/>
              </a:spcBef>
              <a:spcAft>
                <a:spcPts val="600"/>
              </a:spcAft>
              <a:defRPr sz="1800">
                <a:solidFill>
                  <a:schemeClr val="bg1"/>
                </a:solidFill>
              </a:defRPr>
            </a:lvl8pPr>
            <a:lvl9pPr algn="ctr">
              <a:lnSpc>
                <a:spcPct val="80000"/>
              </a:lnSpc>
              <a:spcBef>
                <a:spcPts val="600"/>
              </a:spcBef>
              <a:spcAft>
                <a:spcPts val="600"/>
              </a:spcAft>
              <a:defRPr sz="1600" cap="all" baseline="0">
                <a:solidFill>
                  <a:schemeClr val="bg1"/>
                </a:solidFill>
              </a:defRPr>
            </a:lvl9pPr>
          </a:lstStyle>
          <a:p>
            <a:pPr lvl="0"/>
            <a:r>
              <a:rPr lang="nl-NL" dirty="0"/>
              <a:t>Klik om de modelstijlen te bewerken</a:t>
            </a:r>
          </a:p>
        </p:txBody>
      </p:sp>
      <p:sp>
        <p:nvSpPr>
          <p:cNvPr id="135" name="Tijdelijke aanduiding voor Afbeelding_03 (rechtsboven)"/>
          <p:cNvSpPr>
            <a:spLocks noGrp="1"/>
          </p:cNvSpPr>
          <p:nvPr>
            <p:ph type="pic" idx="37"/>
          </p:nvPr>
        </p:nvSpPr>
        <p:spPr>
          <a:xfrm>
            <a:off x="8136000" y="1512000"/>
            <a:ext cx="4068000" cy="2448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p>
        </p:txBody>
      </p:sp>
      <p:sp>
        <p:nvSpPr>
          <p:cNvPr id="16" name="Tijdelijke aanduiding voor Blok_03 (rechtsboven)"/>
          <p:cNvSpPr>
            <a:spLocks noGrp="1"/>
          </p:cNvSpPr>
          <p:nvPr>
            <p:ph type="body" orient="vert" idx="20" hasCustomPrompt="1"/>
          </p:nvPr>
        </p:nvSpPr>
        <p:spPr>
          <a:xfrm>
            <a:off x="8129291" y="1511073"/>
            <a:ext cx="4069059" cy="2448000"/>
          </a:xfrm>
          <a:solidFill>
            <a:schemeClr val="accent6">
              <a:lumMod val="75000"/>
            </a:schemeClr>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600">
                <a:solidFill>
                  <a:schemeClr val="bg1"/>
                </a:solidFill>
              </a:defRPr>
            </a:lvl2pPr>
            <a:lvl3pPr algn="ctr">
              <a:lnSpc>
                <a:spcPct val="80000"/>
              </a:lnSpc>
              <a:spcBef>
                <a:spcPts val="600"/>
              </a:spcBef>
              <a:spcAft>
                <a:spcPts val="600"/>
              </a:spcAft>
              <a:defRPr sz="1400">
                <a:solidFill>
                  <a:schemeClr val="bg1"/>
                </a:solidFill>
              </a:defRPr>
            </a:lvl3pPr>
            <a:lvl4pPr algn="ctr">
              <a:lnSpc>
                <a:spcPct val="80000"/>
              </a:lnSpc>
              <a:spcBef>
                <a:spcPts val="600"/>
              </a:spcBef>
              <a:spcAft>
                <a:spcPts val="600"/>
              </a:spcAft>
              <a:defRPr sz="2000">
                <a:solidFill>
                  <a:schemeClr val="bg1"/>
                </a:solidFill>
              </a:defRPr>
            </a:lvl4pPr>
            <a:lvl5pPr algn="ctr">
              <a:lnSpc>
                <a:spcPct val="80000"/>
              </a:lnSpc>
              <a:spcBef>
                <a:spcPts val="600"/>
              </a:spcBef>
              <a:spcAft>
                <a:spcPts val="600"/>
              </a:spcAft>
              <a:defRPr sz="1800">
                <a:solidFill>
                  <a:schemeClr val="bg1"/>
                </a:solidFill>
              </a:defRPr>
            </a:lvl5pPr>
            <a:lvl6pPr algn="ctr">
              <a:lnSpc>
                <a:spcPct val="80000"/>
              </a:lnSpc>
              <a:spcBef>
                <a:spcPts val="600"/>
              </a:spcBef>
              <a:spcAft>
                <a:spcPts val="600"/>
              </a:spcAft>
              <a:defRPr sz="1800">
                <a:solidFill>
                  <a:schemeClr val="bg1"/>
                </a:solidFill>
              </a:defRPr>
            </a:lvl6pPr>
            <a:lvl7pPr algn="ctr">
              <a:lnSpc>
                <a:spcPct val="80000"/>
              </a:lnSpc>
              <a:spcBef>
                <a:spcPts val="600"/>
              </a:spcBef>
              <a:spcAft>
                <a:spcPts val="600"/>
              </a:spcAft>
              <a:defRPr sz="1800">
                <a:solidFill>
                  <a:schemeClr val="bg1"/>
                </a:solidFill>
              </a:defRPr>
            </a:lvl7pPr>
            <a:lvl8pPr algn="ctr">
              <a:lnSpc>
                <a:spcPct val="80000"/>
              </a:lnSpc>
              <a:spcBef>
                <a:spcPts val="600"/>
              </a:spcBef>
              <a:spcAft>
                <a:spcPts val="600"/>
              </a:spcAft>
              <a:defRPr sz="1800">
                <a:solidFill>
                  <a:schemeClr val="bg1"/>
                </a:solidFill>
              </a:defRPr>
            </a:lvl8pPr>
            <a:lvl9pPr algn="ctr">
              <a:lnSpc>
                <a:spcPct val="80000"/>
              </a:lnSpc>
              <a:spcBef>
                <a:spcPts val="600"/>
              </a:spcBef>
              <a:spcAft>
                <a:spcPts val="600"/>
              </a:spcAft>
              <a:defRPr sz="1600" cap="all" baseline="0">
                <a:solidFill>
                  <a:schemeClr val="bg1"/>
                </a:solidFill>
              </a:defRPr>
            </a:lvl9pPr>
          </a:lstStyle>
          <a:p>
            <a:pPr lvl="0"/>
            <a:r>
              <a:rPr lang="nl-NL" dirty="0"/>
              <a:t>Klik om de modelstijlen te bewerken</a:t>
            </a:r>
          </a:p>
        </p:txBody>
      </p:sp>
      <p:sp>
        <p:nvSpPr>
          <p:cNvPr id="136" name="Tijdelijke aanduiding voor Afbeelding_02 (middenboven)"/>
          <p:cNvSpPr>
            <a:spLocks noGrp="1"/>
          </p:cNvSpPr>
          <p:nvPr>
            <p:ph type="pic" idx="36"/>
          </p:nvPr>
        </p:nvSpPr>
        <p:spPr>
          <a:xfrm>
            <a:off x="4068000" y="1512000"/>
            <a:ext cx="4068000" cy="2448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p>
        </p:txBody>
      </p:sp>
      <p:sp>
        <p:nvSpPr>
          <p:cNvPr id="15" name="Tijdelijke aanduiding voor Blok_02 (middenboven)"/>
          <p:cNvSpPr>
            <a:spLocks noGrp="1"/>
          </p:cNvSpPr>
          <p:nvPr>
            <p:ph type="body" orient="vert" idx="19" hasCustomPrompt="1"/>
          </p:nvPr>
        </p:nvSpPr>
        <p:spPr>
          <a:xfrm>
            <a:off x="4064646" y="1511073"/>
            <a:ext cx="4069059" cy="2448000"/>
          </a:xfrm>
          <a:solidFill>
            <a:schemeClr val="accent4"/>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600">
                <a:solidFill>
                  <a:schemeClr val="bg1"/>
                </a:solidFill>
              </a:defRPr>
            </a:lvl2pPr>
            <a:lvl3pPr algn="ctr">
              <a:lnSpc>
                <a:spcPct val="80000"/>
              </a:lnSpc>
              <a:spcBef>
                <a:spcPts val="600"/>
              </a:spcBef>
              <a:spcAft>
                <a:spcPts val="600"/>
              </a:spcAft>
              <a:defRPr sz="1400">
                <a:solidFill>
                  <a:schemeClr val="bg1"/>
                </a:solidFill>
              </a:defRPr>
            </a:lvl3pPr>
            <a:lvl4pPr algn="ctr">
              <a:lnSpc>
                <a:spcPct val="80000"/>
              </a:lnSpc>
              <a:spcBef>
                <a:spcPts val="600"/>
              </a:spcBef>
              <a:spcAft>
                <a:spcPts val="600"/>
              </a:spcAft>
              <a:defRPr sz="2000">
                <a:solidFill>
                  <a:schemeClr val="bg1"/>
                </a:solidFill>
              </a:defRPr>
            </a:lvl4pPr>
            <a:lvl5pPr algn="ctr">
              <a:lnSpc>
                <a:spcPct val="80000"/>
              </a:lnSpc>
              <a:spcBef>
                <a:spcPts val="600"/>
              </a:spcBef>
              <a:spcAft>
                <a:spcPts val="600"/>
              </a:spcAft>
              <a:defRPr sz="1800">
                <a:solidFill>
                  <a:schemeClr val="bg1"/>
                </a:solidFill>
              </a:defRPr>
            </a:lvl5pPr>
            <a:lvl6pPr algn="ctr">
              <a:lnSpc>
                <a:spcPct val="80000"/>
              </a:lnSpc>
              <a:spcBef>
                <a:spcPts val="600"/>
              </a:spcBef>
              <a:spcAft>
                <a:spcPts val="600"/>
              </a:spcAft>
              <a:defRPr sz="1800">
                <a:solidFill>
                  <a:schemeClr val="bg1"/>
                </a:solidFill>
              </a:defRPr>
            </a:lvl6pPr>
            <a:lvl7pPr algn="ctr">
              <a:lnSpc>
                <a:spcPct val="80000"/>
              </a:lnSpc>
              <a:spcBef>
                <a:spcPts val="600"/>
              </a:spcBef>
              <a:spcAft>
                <a:spcPts val="600"/>
              </a:spcAft>
              <a:defRPr sz="1800">
                <a:solidFill>
                  <a:schemeClr val="bg1"/>
                </a:solidFill>
              </a:defRPr>
            </a:lvl7pPr>
            <a:lvl8pPr algn="ctr">
              <a:lnSpc>
                <a:spcPct val="80000"/>
              </a:lnSpc>
              <a:spcBef>
                <a:spcPts val="600"/>
              </a:spcBef>
              <a:spcAft>
                <a:spcPts val="600"/>
              </a:spcAft>
              <a:defRPr sz="1800">
                <a:solidFill>
                  <a:schemeClr val="bg1"/>
                </a:solidFill>
              </a:defRPr>
            </a:lvl8pPr>
            <a:lvl9pPr algn="ctr">
              <a:lnSpc>
                <a:spcPct val="80000"/>
              </a:lnSpc>
              <a:spcBef>
                <a:spcPts val="600"/>
              </a:spcBef>
              <a:spcAft>
                <a:spcPts val="600"/>
              </a:spcAft>
              <a:defRPr sz="1600" cap="all" baseline="0">
                <a:solidFill>
                  <a:schemeClr val="bg1"/>
                </a:solidFill>
              </a:defRPr>
            </a:lvl9pPr>
          </a:lstStyle>
          <a:p>
            <a:pPr lvl="0"/>
            <a:r>
              <a:rPr lang="nl-NL" dirty="0"/>
              <a:t>Klik om de modelstijlen te bewerken</a:t>
            </a:r>
          </a:p>
        </p:txBody>
      </p:sp>
      <p:sp>
        <p:nvSpPr>
          <p:cNvPr id="137" name="Tijdelijke aanduiding voor Afbeelding_01 (linksboven)"/>
          <p:cNvSpPr>
            <a:spLocks noGrp="1"/>
          </p:cNvSpPr>
          <p:nvPr>
            <p:ph type="pic" idx="13"/>
          </p:nvPr>
        </p:nvSpPr>
        <p:spPr>
          <a:xfrm>
            <a:off x="0" y="1512000"/>
            <a:ext cx="4068000" cy="2448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p>
        </p:txBody>
      </p:sp>
      <p:sp>
        <p:nvSpPr>
          <p:cNvPr id="14" name="Tijdelijke aanduiding voor Blok_01 (linksboven)"/>
          <p:cNvSpPr>
            <a:spLocks noGrp="1"/>
          </p:cNvSpPr>
          <p:nvPr>
            <p:ph type="body" orient="vert" idx="1" hasCustomPrompt="1"/>
          </p:nvPr>
        </p:nvSpPr>
        <p:spPr>
          <a:xfrm>
            <a:off x="0" y="1511073"/>
            <a:ext cx="4069059" cy="2448000"/>
          </a:xfrm>
          <a:solidFill>
            <a:schemeClr val="accent1"/>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600">
                <a:solidFill>
                  <a:schemeClr val="bg1"/>
                </a:solidFill>
              </a:defRPr>
            </a:lvl2pPr>
            <a:lvl3pPr algn="ctr">
              <a:lnSpc>
                <a:spcPct val="80000"/>
              </a:lnSpc>
              <a:spcBef>
                <a:spcPts val="600"/>
              </a:spcBef>
              <a:spcAft>
                <a:spcPts val="600"/>
              </a:spcAft>
              <a:defRPr sz="1400">
                <a:solidFill>
                  <a:schemeClr val="bg1"/>
                </a:solidFill>
              </a:defRPr>
            </a:lvl3pPr>
            <a:lvl4pPr algn="ctr">
              <a:lnSpc>
                <a:spcPct val="80000"/>
              </a:lnSpc>
              <a:spcBef>
                <a:spcPts val="600"/>
              </a:spcBef>
              <a:spcAft>
                <a:spcPts val="600"/>
              </a:spcAft>
              <a:defRPr sz="2000">
                <a:solidFill>
                  <a:schemeClr val="bg1"/>
                </a:solidFill>
              </a:defRPr>
            </a:lvl4pPr>
            <a:lvl5pPr algn="ctr">
              <a:lnSpc>
                <a:spcPct val="80000"/>
              </a:lnSpc>
              <a:spcBef>
                <a:spcPts val="600"/>
              </a:spcBef>
              <a:spcAft>
                <a:spcPts val="600"/>
              </a:spcAft>
              <a:defRPr sz="1800">
                <a:solidFill>
                  <a:schemeClr val="bg1"/>
                </a:solidFill>
              </a:defRPr>
            </a:lvl5pPr>
            <a:lvl6pPr algn="ctr">
              <a:lnSpc>
                <a:spcPct val="80000"/>
              </a:lnSpc>
              <a:spcBef>
                <a:spcPts val="600"/>
              </a:spcBef>
              <a:spcAft>
                <a:spcPts val="600"/>
              </a:spcAft>
              <a:defRPr sz="1800">
                <a:solidFill>
                  <a:schemeClr val="bg1"/>
                </a:solidFill>
              </a:defRPr>
            </a:lvl6pPr>
            <a:lvl7pPr algn="ctr">
              <a:lnSpc>
                <a:spcPct val="80000"/>
              </a:lnSpc>
              <a:spcBef>
                <a:spcPts val="600"/>
              </a:spcBef>
              <a:spcAft>
                <a:spcPts val="600"/>
              </a:spcAft>
              <a:defRPr sz="1800">
                <a:solidFill>
                  <a:schemeClr val="bg1"/>
                </a:solidFill>
              </a:defRPr>
            </a:lvl7pPr>
            <a:lvl8pPr algn="ctr">
              <a:lnSpc>
                <a:spcPct val="80000"/>
              </a:lnSpc>
              <a:spcBef>
                <a:spcPts val="600"/>
              </a:spcBef>
              <a:spcAft>
                <a:spcPts val="600"/>
              </a:spcAft>
              <a:defRPr sz="1800">
                <a:solidFill>
                  <a:schemeClr val="bg1"/>
                </a:solidFill>
              </a:defRPr>
            </a:lvl8pPr>
            <a:lvl9pPr algn="ctr">
              <a:lnSpc>
                <a:spcPct val="80000"/>
              </a:lnSpc>
              <a:spcBef>
                <a:spcPts val="600"/>
              </a:spcBef>
              <a:spcAft>
                <a:spcPts val="600"/>
              </a:spcAft>
              <a:defRPr sz="1600" cap="all" baseline="0">
                <a:solidFill>
                  <a:schemeClr val="bg1"/>
                </a:solidFill>
              </a:defRPr>
            </a:lvl9pPr>
          </a:lstStyle>
          <a:p>
            <a:pPr lvl="0"/>
            <a:r>
              <a:rPr lang="nl-NL" dirty="0"/>
              <a:t>Klik om de modelstijlen te bewerken</a:t>
            </a:r>
          </a:p>
        </p:txBody>
      </p:sp>
      <p:sp>
        <p:nvSpPr>
          <p:cNvPr id="13" name="Tijdelijke aanduiding voor Subtitel"/>
          <p:cNvSpPr>
            <a:spLocks noGrp="1"/>
          </p:cNvSpPr>
          <p:nvPr>
            <p:ph type="body" idx="14"/>
          </p:nvPr>
        </p:nvSpPr>
        <p:spPr>
          <a:xfrm>
            <a:off x="664109" y="1001348"/>
            <a:ext cx="10870131" cy="317758"/>
          </a:xfrm>
        </p:spPr>
        <p:txBody>
          <a:bodyPr bIns="72000" anchor="t" anchorCtr="0"/>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28" name="Tijdelijke aanduiding voor Titel"/>
          <p:cNvSpPr>
            <a:spLocks noGrp="1"/>
          </p:cNvSpPr>
          <p:nvPr>
            <p:ph type="title"/>
          </p:nvPr>
        </p:nvSpPr>
        <p:spPr>
          <a:xfrm>
            <a:off x="664109" y="464521"/>
            <a:ext cx="10870131" cy="533219"/>
          </a:xfrm>
        </p:spPr>
        <p:txBody>
          <a:bodyPr/>
          <a:lstStyle>
            <a:lvl1pPr>
              <a:defRPr>
                <a:solidFill>
                  <a:schemeClr val="accent1"/>
                </a:solidFill>
              </a:defRPr>
            </a:lvl1pPr>
          </a:lstStyle>
          <a:p>
            <a:r>
              <a:rPr lang="nl-NL"/>
              <a:t>Klik om stijl te bewerken</a:t>
            </a:r>
            <a:endParaRPr lang="nl-NL" dirty="0"/>
          </a:p>
        </p:txBody>
      </p:sp>
    </p:spTree>
    <p:extLst>
      <p:ext uri="{BB962C8B-B14F-4D97-AF65-F5344CB8AC3E}">
        <p14:creationId xmlns:p14="http://schemas.microsoft.com/office/powerpoint/2010/main" val="2776068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00% tekst (inclusief streep onder)">
    <p:spTree>
      <p:nvGrpSpPr>
        <p:cNvPr id="1" name=""/>
        <p:cNvGrpSpPr/>
        <p:nvPr/>
      </p:nvGrpSpPr>
      <p:grpSpPr>
        <a:xfrm>
          <a:off x="0" y="0"/>
          <a:ext cx="0" cy="0"/>
          <a:chOff x="0" y="0"/>
          <a:chExt cx="0" cy="0"/>
        </a:xfrm>
      </p:grpSpPr>
      <p:sp>
        <p:nvSpPr>
          <p:cNvPr id="9" name="Naam indeling - 100% tekst (inclusief streep onder)"/>
          <p:cNvSpPr txBox="1"/>
          <p:nvPr/>
        </p:nvSpPr>
        <p:spPr>
          <a:xfrm>
            <a:off x="0" y="-453266"/>
            <a:ext cx="4506508" cy="276999"/>
          </a:xfrm>
          <a:prstGeom prst="rect">
            <a:avLst/>
          </a:prstGeom>
          <a:noFill/>
        </p:spPr>
        <p:txBody>
          <a:bodyPr wrap="square" lIns="0" tIns="0" rIns="0" bIns="0" rtlCol="0">
            <a:spAutoFit/>
          </a:bodyPr>
          <a:lstStyle/>
          <a:p>
            <a:pPr defTabSz="914112"/>
            <a:r>
              <a:rPr lang="nl-NL" dirty="0">
                <a:solidFill>
                  <a:srgbClr val="404040"/>
                </a:solidFill>
                <a:latin typeface="Calibri" panose="020F0502020204030204" pitchFamily="34" charset="0"/>
              </a:rPr>
              <a:t>100% tekst (inclusief streep onder)</a:t>
            </a:r>
            <a:endParaRPr lang="en-GB" dirty="0">
              <a:solidFill>
                <a:srgbClr val="404040"/>
              </a:solidFill>
              <a:latin typeface="Calibri" panose="020F0502020204030204" pitchFamily="34" charset="0"/>
            </a:endParaRPr>
          </a:p>
        </p:txBody>
      </p:sp>
      <p:grpSp>
        <p:nvGrpSpPr>
          <p:cNvPr id="91" name="Instructie - Tekst niveaus"/>
          <p:cNvGrpSpPr/>
          <p:nvPr userDrawn="1"/>
        </p:nvGrpSpPr>
        <p:grpSpPr>
          <a:xfrm>
            <a:off x="-3117849" y="365"/>
            <a:ext cx="2823358" cy="5254722"/>
            <a:chOff x="-2959433" y="-5444"/>
            <a:chExt cx="2822623" cy="5254722"/>
          </a:xfrm>
        </p:grpSpPr>
        <p:sp>
          <p:nvSpPr>
            <p:cNvPr id="92" name="Rechthoek 91"/>
            <p:cNvSpPr/>
            <p:nvPr userDrawn="1"/>
          </p:nvSpPr>
          <p:spPr>
            <a:xfrm>
              <a:off x="-2959433" y="-5444"/>
              <a:ext cx="2572469" cy="280344"/>
            </a:xfrm>
            <a:prstGeom prst="rect">
              <a:avLst/>
            </a:prstGeom>
            <a:noFill/>
            <a:ln w="25400" cap="flat" cmpd="sng" algn="ctr">
              <a:noFill/>
              <a:prstDash val="solid"/>
            </a:ln>
            <a:effectLst/>
          </p:spPr>
          <p:txBody>
            <a:bodyPr lIns="0" tIns="0" rIns="0" bIns="0" rtlCol="0" anchor="t"/>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nl-NL" sz="1600" b="1" kern="0" dirty="0">
                  <a:solidFill>
                    <a:srgbClr val="ED1A3B"/>
                  </a:solidFill>
                  <a:cs typeface="Segoe UI Light" panose="020B0502040204020203" pitchFamily="34" charset="0"/>
                </a:rPr>
                <a:t>TEKST NIVEAUS</a:t>
              </a:r>
            </a:p>
          </p:txBody>
        </p:sp>
        <p:sp>
          <p:nvSpPr>
            <p:cNvPr id="93" name="Textfield placeholder"/>
            <p:cNvSpPr txBox="1">
              <a:spLocks/>
            </p:cNvSpPr>
            <p:nvPr userDrawn="1"/>
          </p:nvSpPr>
          <p:spPr>
            <a:xfrm>
              <a:off x="-2587337" y="2675411"/>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0" lvl="2"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a:solidFill>
                    <a:srgbClr val="404040"/>
                  </a:solidFill>
                </a:rPr>
                <a:t>Sub-bullets (16 pt.)</a:t>
              </a:r>
            </a:p>
          </p:txBody>
        </p:sp>
        <p:sp>
          <p:nvSpPr>
            <p:cNvPr id="94" name="Ovaal 93"/>
            <p:cNvSpPr/>
            <p:nvPr userDrawn="1"/>
          </p:nvSpPr>
          <p:spPr>
            <a:xfrm>
              <a:off x="-2959433" y="196874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1</a:t>
              </a:r>
            </a:p>
          </p:txBody>
        </p:sp>
        <p:sp>
          <p:nvSpPr>
            <p:cNvPr id="95" name="Ovaal 94"/>
            <p:cNvSpPr/>
            <p:nvPr userDrawn="1"/>
          </p:nvSpPr>
          <p:spPr>
            <a:xfrm>
              <a:off x="-2959433" y="232207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2</a:t>
              </a:r>
            </a:p>
          </p:txBody>
        </p:sp>
        <p:sp>
          <p:nvSpPr>
            <p:cNvPr id="96" name="Ovaal 95"/>
            <p:cNvSpPr/>
            <p:nvPr userDrawn="1"/>
          </p:nvSpPr>
          <p:spPr>
            <a:xfrm>
              <a:off x="-2959433" y="267541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3</a:t>
              </a:r>
            </a:p>
          </p:txBody>
        </p:sp>
        <p:sp>
          <p:nvSpPr>
            <p:cNvPr id="97" name="Ovaal 96"/>
            <p:cNvSpPr/>
            <p:nvPr userDrawn="1"/>
          </p:nvSpPr>
          <p:spPr>
            <a:xfrm>
              <a:off x="-2959433" y="302874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4</a:t>
              </a:r>
            </a:p>
          </p:txBody>
        </p:sp>
        <p:sp>
          <p:nvSpPr>
            <p:cNvPr id="98" name="Textfield placeholder"/>
            <p:cNvSpPr txBox="1">
              <a:spLocks/>
            </p:cNvSpPr>
            <p:nvPr userDrawn="1"/>
          </p:nvSpPr>
          <p:spPr>
            <a:xfrm>
              <a:off x="-2571950" y="1966925"/>
              <a:ext cx="2163709" cy="261500"/>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79388">
                <a:lnSpc>
                  <a:spcPct val="120000"/>
                </a:lnSpc>
                <a:spcBef>
                  <a:spcPts val="0"/>
                </a:spcBef>
                <a:spcAft>
                  <a:spcPts val="900"/>
                </a:spcAft>
                <a:buClr>
                  <a:srgbClr val="000000"/>
                </a:buClr>
                <a:buSzPct val="100000"/>
                <a:buFont typeface="Arial" pitchFamily="34" charset="0"/>
                <a:buNone/>
                <a:defRPr/>
              </a:pPr>
              <a:r>
                <a:rPr lang="nl-NL" sz="1200" dirty="0">
                  <a:solidFill>
                    <a:srgbClr val="535353"/>
                  </a:solidFill>
                </a:rPr>
                <a:t>Leestekst (16 pt.)</a:t>
              </a:r>
            </a:p>
          </p:txBody>
        </p:sp>
        <p:sp>
          <p:nvSpPr>
            <p:cNvPr id="99" name="Textfield placeholder"/>
            <p:cNvSpPr txBox="1">
              <a:spLocks/>
            </p:cNvSpPr>
            <p:nvPr userDrawn="1"/>
          </p:nvSpPr>
          <p:spPr>
            <a:xfrm>
              <a:off x="-2571950" y="2322077"/>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70000" lvl="1"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err="1">
                  <a:solidFill>
                    <a:srgbClr val="535353"/>
                  </a:solidFill>
                </a:rPr>
                <a:t>Bullets</a:t>
              </a:r>
              <a:r>
                <a:rPr lang="nl-NL" sz="1200" dirty="0">
                  <a:solidFill>
                    <a:srgbClr val="535353"/>
                  </a:solidFill>
                </a:rPr>
                <a:t> (16 </a:t>
              </a:r>
              <a:r>
                <a:rPr lang="nl-NL" sz="1200" dirty="0" err="1">
                  <a:solidFill>
                    <a:srgbClr val="535353"/>
                  </a:solidFill>
                </a:rPr>
                <a:t>pt</a:t>
              </a:r>
              <a:r>
                <a:rPr lang="nl-NL" sz="1200" dirty="0">
                  <a:solidFill>
                    <a:srgbClr val="535353"/>
                  </a:solidFill>
                </a:rPr>
                <a:t>.)</a:t>
              </a:r>
            </a:p>
          </p:txBody>
        </p:sp>
        <p:sp>
          <p:nvSpPr>
            <p:cNvPr id="100" name="Textfield placeholder"/>
            <p:cNvSpPr txBox="1">
              <a:spLocks/>
            </p:cNvSpPr>
            <p:nvPr userDrawn="1"/>
          </p:nvSpPr>
          <p:spPr>
            <a:xfrm>
              <a:off x="-2571951" y="3028747"/>
              <a:ext cx="2435141"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10000" lvl="3" indent="-270000" defTabSz="179388">
                <a:lnSpc>
                  <a:spcPct val="120000"/>
                </a:lnSpc>
                <a:spcBef>
                  <a:spcPts val="0"/>
                </a:spcBef>
                <a:spcAft>
                  <a:spcPts val="900"/>
                </a:spcAft>
                <a:buClr>
                  <a:schemeClr val="accent2"/>
                </a:buClr>
                <a:buSzPct val="80000"/>
                <a:buFont typeface="Wingdings 3" panose="05040102010807070707" pitchFamily="18" charset="2"/>
                <a:buChar char=""/>
                <a:defRPr/>
              </a:pPr>
              <a:r>
                <a:rPr lang="nl-NL" sz="1200" b="0" dirty="0">
                  <a:solidFill>
                    <a:srgbClr val="404040"/>
                  </a:solidFill>
                </a:rPr>
                <a:t>Sub-sub-bullets (16 pt.)</a:t>
              </a:r>
            </a:p>
          </p:txBody>
        </p:sp>
        <p:cxnSp>
          <p:nvCxnSpPr>
            <p:cNvPr id="101" name="Rechte verbindingslijn 100"/>
            <p:cNvCxnSpPr/>
            <p:nvPr userDrawn="1"/>
          </p:nvCxnSpPr>
          <p:spPr>
            <a:xfrm>
              <a:off x="-2959100" y="274900"/>
              <a:ext cx="2674470" cy="0"/>
            </a:xfrm>
            <a:prstGeom prst="line">
              <a:avLst/>
            </a:prstGeom>
            <a:noFill/>
            <a:ln w="9525" cap="flat" cmpd="sng" algn="ctr">
              <a:solidFill>
                <a:schemeClr val="accent1"/>
              </a:solidFill>
              <a:prstDash val="solid"/>
            </a:ln>
            <a:effectLst/>
          </p:spPr>
        </p:cxnSp>
        <p:cxnSp>
          <p:nvCxnSpPr>
            <p:cNvPr id="102" name="Rechte verbindingslijn 101"/>
            <p:cNvCxnSpPr/>
            <p:nvPr userDrawn="1"/>
          </p:nvCxnSpPr>
          <p:spPr>
            <a:xfrm>
              <a:off x="-2959100" y="1841989"/>
              <a:ext cx="2661379" cy="0"/>
            </a:xfrm>
            <a:prstGeom prst="line">
              <a:avLst/>
            </a:prstGeom>
            <a:noFill/>
            <a:ln w="9525" cap="flat" cmpd="sng" algn="ctr">
              <a:solidFill>
                <a:schemeClr val="accent1"/>
              </a:solidFill>
              <a:prstDash val="solid"/>
            </a:ln>
            <a:effectLst/>
          </p:spPr>
        </p:cxnSp>
        <p:cxnSp>
          <p:nvCxnSpPr>
            <p:cNvPr id="103" name="Rechte verbindingslijn 102"/>
            <p:cNvCxnSpPr/>
            <p:nvPr userDrawn="1"/>
          </p:nvCxnSpPr>
          <p:spPr>
            <a:xfrm>
              <a:off x="-2959100" y="5249278"/>
              <a:ext cx="2661379" cy="0"/>
            </a:xfrm>
            <a:prstGeom prst="line">
              <a:avLst/>
            </a:prstGeom>
            <a:noFill/>
            <a:ln w="9525" cap="flat" cmpd="sng" algn="ctr">
              <a:solidFill>
                <a:schemeClr val="accent1"/>
              </a:solidFill>
              <a:prstDash val="solid"/>
            </a:ln>
            <a:effectLst/>
          </p:spPr>
        </p:cxnSp>
        <p:grpSp>
          <p:nvGrpSpPr>
            <p:cNvPr id="104" name="Groep 103"/>
            <p:cNvGrpSpPr/>
            <p:nvPr userDrawn="1"/>
          </p:nvGrpSpPr>
          <p:grpSpPr>
            <a:xfrm>
              <a:off x="-1948476" y="816741"/>
              <a:ext cx="409108" cy="427699"/>
              <a:chOff x="-1085063" y="758027"/>
              <a:chExt cx="633799" cy="622540"/>
            </a:xfrm>
          </p:grpSpPr>
          <p:sp>
            <p:nvSpPr>
              <p:cNvPr id="160" name="Afgeronde rechthoek 159"/>
              <p:cNvSpPr/>
              <p:nvPr userDrawn="1"/>
            </p:nvSpPr>
            <p:spPr>
              <a:xfrm>
                <a:off x="-108506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161" name="Groep 160"/>
              <p:cNvGrpSpPr/>
              <p:nvPr userDrawn="1"/>
            </p:nvGrpSpPr>
            <p:grpSpPr>
              <a:xfrm>
                <a:off x="-977739" y="864082"/>
                <a:ext cx="419168" cy="410429"/>
                <a:chOff x="6366933" y="309013"/>
                <a:chExt cx="1901295" cy="1861668"/>
              </a:xfrm>
              <a:solidFill>
                <a:srgbClr val="000000"/>
              </a:solidFill>
            </p:grpSpPr>
            <p:sp>
              <p:nvSpPr>
                <p:cNvPr id="162" name="Rechthoek 161"/>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3" name="Rechthoek 162"/>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4" name="Rechthoek 163"/>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5" name="Rechthoek 164"/>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6" name="Rechthoek 165"/>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7" name="Rechthoek 166"/>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8" name="Rechthoek 167"/>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9" name="Rechthoek 168"/>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70" name="Rechthoek 169"/>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71" name="Rechthoek 170"/>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72" name="Vrije vorm 171"/>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nvGrpSpPr>
            <p:cNvPr id="105" name="Groep 104"/>
            <p:cNvGrpSpPr/>
            <p:nvPr userDrawn="1"/>
          </p:nvGrpSpPr>
          <p:grpSpPr>
            <a:xfrm>
              <a:off x="-2950232" y="1207835"/>
              <a:ext cx="532929" cy="509563"/>
              <a:chOff x="-2880382" y="802341"/>
              <a:chExt cx="532929" cy="509563"/>
            </a:xfrm>
          </p:grpSpPr>
          <p:sp>
            <p:nvSpPr>
              <p:cNvPr id="138" name="Rechthoek 137"/>
              <p:cNvSpPr/>
              <p:nvPr userDrawn="1"/>
            </p:nvSpPr>
            <p:spPr>
              <a:xfrm>
                <a:off x="-2880382" y="802341"/>
                <a:ext cx="532929" cy="509563"/>
              </a:xfrm>
              <a:prstGeom prst="rect">
                <a:avLst/>
              </a:prstGeom>
              <a:solidFill>
                <a:sysClr val="window" lastClr="FFFFFF"/>
              </a:soli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pic>
            <p:nvPicPr>
              <p:cNvPr id="139"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635852" y="822181"/>
                <a:ext cx="226442" cy="208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0"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848026" y="822181"/>
                <a:ext cx="207168" cy="213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41" name="Groep 140"/>
              <p:cNvGrpSpPr/>
              <p:nvPr userDrawn="1"/>
            </p:nvGrpSpPr>
            <p:grpSpPr>
              <a:xfrm>
                <a:off x="-2802433" y="1123442"/>
                <a:ext cx="132915" cy="104889"/>
                <a:chOff x="-2796392" y="1123442"/>
                <a:chExt cx="120832" cy="104889"/>
              </a:xfrm>
            </p:grpSpPr>
            <p:sp>
              <p:nvSpPr>
                <p:cNvPr id="155" name="Rechthoek 154"/>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56" name="Rechthoek 155"/>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57" name="Rechthoek 156"/>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58" name="Rechthoek 157"/>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59" name="Rechthoek 158"/>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142" name="Groep 141"/>
              <p:cNvGrpSpPr/>
              <p:nvPr userDrawn="1"/>
            </p:nvGrpSpPr>
            <p:grpSpPr>
              <a:xfrm>
                <a:off x="-2575417" y="1123442"/>
                <a:ext cx="133930" cy="104889"/>
                <a:chOff x="-2556734" y="1123442"/>
                <a:chExt cx="147324" cy="104889"/>
              </a:xfrm>
            </p:grpSpPr>
            <p:grpSp>
              <p:nvGrpSpPr>
                <p:cNvPr id="143" name="Groep 142"/>
                <p:cNvGrpSpPr/>
                <p:nvPr userDrawn="1"/>
              </p:nvGrpSpPr>
              <p:grpSpPr>
                <a:xfrm>
                  <a:off x="-2556734" y="1123442"/>
                  <a:ext cx="68206" cy="104889"/>
                  <a:chOff x="-2796392" y="1123442"/>
                  <a:chExt cx="120832" cy="104889"/>
                </a:xfrm>
              </p:grpSpPr>
              <p:sp>
                <p:nvSpPr>
                  <p:cNvPr id="150" name="Rechthoek 149"/>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51" name="Rechthoek 150"/>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52" name="Rechthoek 151"/>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53" name="Rechthoek 152"/>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54" name="Rechthoek 153"/>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144" name="Groep 143"/>
                <p:cNvGrpSpPr/>
                <p:nvPr userDrawn="1"/>
              </p:nvGrpSpPr>
              <p:grpSpPr>
                <a:xfrm>
                  <a:off x="-2477616" y="1123442"/>
                  <a:ext cx="68206" cy="104889"/>
                  <a:chOff x="-2796392" y="1123442"/>
                  <a:chExt cx="120832" cy="104889"/>
                </a:xfrm>
              </p:grpSpPr>
              <p:sp>
                <p:nvSpPr>
                  <p:cNvPr id="145" name="Rechthoek 144"/>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46" name="Rechthoek 145"/>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47" name="Rechthoek 146"/>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48" name="Rechthoek 147"/>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49" name="Rechthoek 148"/>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grpSp>
          <p:nvGrpSpPr>
            <p:cNvPr id="106" name="Groep 105"/>
            <p:cNvGrpSpPr/>
            <p:nvPr userDrawn="1"/>
          </p:nvGrpSpPr>
          <p:grpSpPr>
            <a:xfrm>
              <a:off x="-1948476" y="1281164"/>
              <a:ext cx="413704" cy="427699"/>
              <a:chOff x="-1845083" y="758027"/>
              <a:chExt cx="633799" cy="622540"/>
            </a:xfrm>
          </p:grpSpPr>
          <p:sp>
            <p:nvSpPr>
              <p:cNvPr id="125" name="Afgeronde rechthoek 124"/>
              <p:cNvSpPr/>
              <p:nvPr userDrawn="1"/>
            </p:nvSpPr>
            <p:spPr>
              <a:xfrm>
                <a:off x="-184508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126" name="Groep 125"/>
              <p:cNvGrpSpPr/>
              <p:nvPr userDrawn="1"/>
            </p:nvGrpSpPr>
            <p:grpSpPr>
              <a:xfrm>
                <a:off x="-1737762" y="864082"/>
                <a:ext cx="419168" cy="410429"/>
                <a:chOff x="3708400" y="309013"/>
                <a:chExt cx="1901295" cy="1861668"/>
              </a:xfrm>
              <a:solidFill>
                <a:srgbClr val="000000"/>
              </a:solidFill>
            </p:grpSpPr>
            <p:sp>
              <p:nvSpPr>
                <p:cNvPr id="127" name="Rechthoek 126"/>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28" name="Rechthoek 127"/>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29" name="Rechthoek 128"/>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30" name="Rechthoek 129"/>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31" name="Rechthoek 130"/>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32" name="Rechthoek 131"/>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33" name="Rechthoek 132"/>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34" name="Rechthoek 133"/>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35" name="Rechthoek 134"/>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36" name="Rechthoek 135"/>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37" name="Vrije vorm 136"/>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cxnSp>
          <p:nvCxnSpPr>
            <p:cNvPr id="107" name="Rechte verbindingslijn 106"/>
            <p:cNvCxnSpPr/>
            <p:nvPr userDrawn="1"/>
          </p:nvCxnSpPr>
          <p:spPr>
            <a:xfrm>
              <a:off x="-2814292" y="1441193"/>
              <a:ext cx="865816" cy="53821"/>
            </a:xfrm>
            <a:prstGeom prst="line">
              <a:avLst/>
            </a:prstGeom>
            <a:noFill/>
            <a:ln w="9525" cap="flat" cmpd="sng" algn="ctr">
              <a:solidFill>
                <a:schemeClr val="accent1"/>
              </a:solidFill>
              <a:prstDash val="solid"/>
              <a:headEnd type="oval"/>
            </a:ln>
            <a:effectLst/>
          </p:spPr>
        </p:cxnSp>
        <p:cxnSp>
          <p:nvCxnSpPr>
            <p:cNvPr id="108" name="Rechte verbindingslijn 107"/>
            <p:cNvCxnSpPr/>
            <p:nvPr userDrawn="1"/>
          </p:nvCxnSpPr>
          <p:spPr>
            <a:xfrm flipV="1">
              <a:off x="-2453902" y="1030591"/>
              <a:ext cx="505426" cy="283623"/>
            </a:xfrm>
            <a:prstGeom prst="line">
              <a:avLst/>
            </a:prstGeom>
            <a:noFill/>
            <a:ln w="9525" cap="flat" cmpd="sng" algn="ctr">
              <a:solidFill>
                <a:schemeClr val="accent1"/>
              </a:solidFill>
              <a:prstDash val="solid"/>
              <a:headEnd type="oval"/>
            </a:ln>
            <a:effectLst/>
          </p:spPr>
        </p:cxnSp>
        <p:sp>
          <p:nvSpPr>
            <p:cNvPr id="109" name="Textfield placeholder"/>
            <p:cNvSpPr txBox="1">
              <a:spLocks/>
            </p:cNvSpPr>
            <p:nvPr userDrawn="1"/>
          </p:nvSpPr>
          <p:spPr>
            <a:xfrm>
              <a:off x="-1341598" y="816743"/>
              <a:ext cx="1056968" cy="427698"/>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hoog</a:t>
              </a:r>
            </a:p>
          </p:txBody>
        </p:sp>
        <p:sp>
          <p:nvSpPr>
            <p:cNvPr id="110" name="Textfield placeholder"/>
            <p:cNvSpPr txBox="1">
              <a:spLocks/>
            </p:cNvSpPr>
            <p:nvPr userDrawn="1"/>
          </p:nvSpPr>
          <p:spPr>
            <a:xfrm>
              <a:off x="-1341599" y="1281164"/>
              <a:ext cx="1070223" cy="427699"/>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laag</a:t>
              </a:r>
            </a:p>
          </p:txBody>
        </p:sp>
        <p:sp>
          <p:nvSpPr>
            <p:cNvPr id="111" name="Ovaal 110"/>
            <p:cNvSpPr/>
            <p:nvPr userDrawn="1"/>
          </p:nvSpPr>
          <p:spPr>
            <a:xfrm>
              <a:off x="-2959433" y="338208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5</a:t>
              </a:r>
            </a:p>
          </p:txBody>
        </p:sp>
        <p:sp>
          <p:nvSpPr>
            <p:cNvPr id="112" name="Textfield placeholder"/>
            <p:cNvSpPr txBox="1">
              <a:spLocks/>
            </p:cNvSpPr>
            <p:nvPr userDrawn="1"/>
          </p:nvSpPr>
          <p:spPr>
            <a:xfrm>
              <a:off x="-2571950" y="3382082"/>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60000" lvl="4" indent="-360000" defTabSz="179388">
                <a:lnSpc>
                  <a:spcPct val="120000"/>
                </a:lnSpc>
                <a:spcBef>
                  <a:spcPts val="0"/>
                </a:spcBef>
                <a:spcAft>
                  <a:spcPts val="900"/>
                </a:spcAft>
                <a:buClr>
                  <a:srgbClr val="ED1A3B"/>
                </a:buClr>
                <a:buFont typeface="+mj-lt"/>
                <a:buAutoNum type="arabicPeriod"/>
                <a:defRPr/>
              </a:pPr>
              <a:r>
                <a:rPr lang="nl-NL" sz="1200" b="0" dirty="0">
                  <a:solidFill>
                    <a:srgbClr val="404040"/>
                  </a:solidFill>
                </a:rPr>
                <a:t>Numeriek (16 pt.)</a:t>
              </a:r>
            </a:p>
          </p:txBody>
        </p:sp>
        <p:grpSp>
          <p:nvGrpSpPr>
            <p:cNvPr id="113" name="Groep 112"/>
            <p:cNvGrpSpPr/>
            <p:nvPr userDrawn="1"/>
          </p:nvGrpSpPr>
          <p:grpSpPr>
            <a:xfrm>
              <a:off x="-2950232" y="816050"/>
              <a:ext cx="528695" cy="344202"/>
              <a:chOff x="-2880382" y="410556"/>
              <a:chExt cx="528695" cy="344202"/>
            </a:xfrm>
          </p:grpSpPr>
          <p:sp>
            <p:nvSpPr>
              <p:cNvPr id="123" name="Afgeronde rechthoek 122"/>
              <p:cNvSpPr/>
              <p:nvPr userDrawn="1"/>
            </p:nvSpPr>
            <p:spPr>
              <a:xfrm>
                <a:off x="-2874214" y="410556"/>
                <a:ext cx="522527" cy="339183"/>
              </a:xfrm>
              <a:prstGeom prst="roundRect">
                <a:avLst>
                  <a:gd name="adj" fmla="val 7565"/>
                </a:avLst>
              </a:prstGeom>
              <a:gradFill>
                <a:gsLst>
                  <a:gs pos="0">
                    <a:srgbClr val="FFEC8F"/>
                  </a:gs>
                  <a:gs pos="100000">
                    <a:srgbClr val="FFFFFF"/>
                  </a:gs>
                </a:gsLst>
                <a:lin ang="5400000" scaled="0"/>
              </a:gra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sp>
            <p:nvSpPr>
              <p:cNvPr id="124" name="Vrije vorm 123"/>
              <p:cNvSpPr/>
              <p:nvPr userDrawn="1"/>
            </p:nvSpPr>
            <p:spPr>
              <a:xfrm>
                <a:off x="-2880382" y="452699"/>
                <a:ext cx="528695" cy="302059"/>
              </a:xfrm>
              <a:custGeom>
                <a:avLst/>
                <a:gdLst>
                  <a:gd name="connsiteX0" fmla="*/ 55524 w 528695"/>
                  <a:gd name="connsiteY0" fmla="*/ 0 h 302059"/>
                  <a:gd name="connsiteX1" fmla="*/ 455496 w 528695"/>
                  <a:gd name="connsiteY1" fmla="*/ 0 h 302059"/>
                  <a:gd name="connsiteX2" fmla="*/ 475205 w 528695"/>
                  <a:gd name="connsiteY2" fmla="*/ 19709 h 302059"/>
                  <a:gd name="connsiteX3" fmla="*/ 475205 w 528695"/>
                  <a:gd name="connsiteY3" fmla="*/ 230056 h 302059"/>
                  <a:gd name="connsiteX4" fmla="*/ 516694 w 528695"/>
                  <a:gd name="connsiteY4" fmla="*/ 230056 h 302059"/>
                  <a:gd name="connsiteX5" fmla="*/ 528695 w 528695"/>
                  <a:gd name="connsiteY5" fmla="*/ 242057 h 302059"/>
                  <a:gd name="connsiteX6" fmla="*/ 528695 w 528695"/>
                  <a:gd name="connsiteY6" fmla="*/ 290058 h 302059"/>
                  <a:gd name="connsiteX7" fmla="*/ 516694 w 528695"/>
                  <a:gd name="connsiteY7" fmla="*/ 302059 h 302059"/>
                  <a:gd name="connsiteX8" fmla="*/ 12001 w 528695"/>
                  <a:gd name="connsiteY8" fmla="*/ 302059 h 302059"/>
                  <a:gd name="connsiteX9" fmla="*/ 0 w 528695"/>
                  <a:gd name="connsiteY9" fmla="*/ 290058 h 302059"/>
                  <a:gd name="connsiteX10" fmla="*/ 0 w 528695"/>
                  <a:gd name="connsiteY10" fmla="*/ 242057 h 302059"/>
                  <a:gd name="connsiteX11" fmla="*/ 12001 w 528695"/>
                  <a:gd name="connsiteY11" fmla="*/ 230056 h 302059"/>
                  <a:gd name="connsiteX12" fmla="*/ 35815 w 528695"/>
                  <a:gd name="connsiteY12" fmla="*/ 230056 h 302059"/>
                  <a:gd name="connsiteX13" fmla="*/ 35815 w 528695"/>
                  <a:gd name="connsiteY13" fmla="*/ 19709 h 302059"/>
                  <a:gd name="connsiteX14" fmla="*/ 55524 w 528695"/>
                  <a:gd name="connsiteY14" fmla="*/ 0 h 3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8695" h="302059">
                    <a:moveTo>
                      <a:pt x="55524" y="0"/>
                    </a:moveTo>
                    <a:lnTo>
                      <a:pt x="455496" y="0"/>
                    </a:lnTo>
                    <a:cubicBezTo>
                      <a:pt x="466381" y="0"/>
                      <a:pt x="475205" y="8824"/>
                      <a:pt x="475205" y="19709"/>
                    </a:cubicBezTo>
                    <a:lnTo>
                      <a:pt x="475205" y="230056"/>
                    </a:lnTo>
                    <a:lnTo>
                      <a:pt x="516694" y="230056"/>
                    </a:lnTo>
                    <a:cubicBezTo>
                      <a:pt x="523322" y="230056"/>
                      <a:pt x="528695" y="235429"/>
                      <a:pt x="528695" y="242057"/>
                    </a:cubicBezTo>
                    <a:lnTo>
                      <a:pt x="528695" y="290058"/>
                    </a:lnTo>
                    <a:cubicBezTo>
                      <a:pt x="528695" y="296686"/>
                      <a:pt x="523322" y="302059"/>
                      <a:pt x="516694" y="302059"/>
                    </a:cubicBezTo>
                    <a:lnTo>
                      <a:pt x="12001" y="302059"/>
                    </a:lnTo>
                    <a:cubicBezTo>
                      <a:pt x="5373" y="302059"/>
                      <a:pt x="0" y="296686"/>
                      <a:pt x="0" y="290058"/>
                    </a:cubicBezTo>
                    <a:lnTo>
                      <a:pt x="0" y="242057"/>
                    </a:lnTo>
                    <a:cubicBezTo>
                      <a:pt x="0" y="235429"/>
                      <a:pt x="5373" y="230056"/>
                      <a:pt x="12001" y="230056"/>
                    </a:cubicBezTo>
                    <a:lnTo>
                      <a:pt x="35815" y="230056"/>
                    </a:lnTo>
                    <a:lnTo>
                      <a:pt x="35815" y="19709"/>
                    </a:lnTo>
                    <a:cubicBezTo>
                      <a:pt x="35815" y="8824"/>
                      <a:pt x="44639" y="0"/>
                      <a:pt x="55524" y="0"/>
                    </a:cubicBezTo>
                    <a:close/>
                  </a:path>
                </a:pathLst>
              </a:custGeom>
              <a:solidFill>
                <a:sysClr val="window" lastClr="FFFFFF">
                  <a:lumMod val="95000"/>
                </a:sysClr>
              </a:solidFill>
              <a:ln w="9525" cap="flat" cmpd="sng" algn="ctr">
                <a:solidFill>
                  <a:srgbClr val="FFFFFF">
                    <a:lumMod val="90000"/>
                  </a:srgbClr>
                </a:solidFill>
                <a:prstDash val="solid"/>
                <a:miter lim="800000"/>
              </a:ln>
              <a:effectLst/>
            </p:spPr>
            <p:txBody>
              <a:bodyPr rot="0" spcFirstLastPara="0" vert="horz" wrap="square" lIns="108000" tIns="36000" rIns="108000" bIns="10800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900" dirty="0">
                    <a:solidFill>
                      <a:prstClr val="black"/>
                    </a:solidFill>
                    <a:latin typeface="Segoe UI Light"/>
                  </a:rPr>
                  <a:t>Start</a:t>
                </a:r>
              </a:p>
            </p:txBody>
          </p:sp>
        </p:grpSp>
        <p:sp>
          <p:nvSpPr>
            <p:cNvPr id="114" name="Tekstvak 65"/>
            <p:cNvSpPr txBox="1"/>
            <p:nvPr userDrawn="1"/>
          </p:nvSpPr>
          <p:spPr>
            <a:xfrm>
              <a:off x="-2959433" y="372104"/>
              <a:ext cx="2679887" cy="453396"/>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nl-NL" sz="1200" kern="0" dirty="0">
                  <a:solidFill>
                    <a:srgbClr val="000000"/>
                  </a:solidFill>
                  <a:latin typeface="Segoe UI Light" panose="020B0502040204020203" pitchFamily="34" charset="0"/>
                  <a:cs typeface="Segoe UI Light" panose="020B0502040204020203" pitchFamily="34" charset="0"/>
                </a:rPr>
                <a:t>Ga naar de tab </a:t>
              </a:r>
              <a:r>
                <a:rPr lang="nl-NL" sz="1200" b="1" kern="0" dirty="0">
                  <a:solidFill>
                    <a:srgbClr val="000000"/>
                  </a:solidFill>
                  <a:latin typeface="Segoe UI Light" panose="020B0502040204020203" pitchFamily="34" charset="0"/>
                  <a:cs typeface="Segoe UI Light" panose="020B0502040204020203" pitchFamily="34" charset="0"/>
                </a:rPr>
                <a:t>Start’ </a:t>
              </a:r>
              <a:r>
                <a:rPr lang="nl-NL" sz="1200" kern="0" dirty="0">
                  <a:solidFill>
                    <a:srgbClr val="000000"/>
                  </a:solidFill>
                  <a:latin typeface="Segoe UI Light" panose="020B0502040204020203" pitchFamily="34" charset="0"/>
                  <a:cs typeface="Segoe UI Light" panose="020B0502040204020203" pitchFamily="34" charset="0"/>
                </a:rPr>
                <a:t>en vind onderstaande knoppen onder </a:t>
              </a:r>
              <a:r>
                <a:rPr lang="nl-NL" sz="1200" b="1" kern="0" dirty="0">
                  <a:solidFill>
                    <a:srgbClr val="000000"/>
                  </a:solidFill>
                  <a:latin typeface="Segoe UI Light" panose="020B0502040204020203" pitchFamily="34" charset="0"/>
                  <a:cs typeface="Segoe UI Light" panose="020B0502040204020203" pitchFamily="34" charset="0"/>
                </a:rPr>
                <a:t>‘Alinea’</a:t>
              </a:r>
            </a:p>
          </p:txBody>
        </p:sp>
        <p:sp>
          <p:nvSpPr>
            <p:cNvPr id="115" name="Ovaal 114"/>
            <p:cNvSpPr/>
            <p:nvPr userDrawn="1"/>
          </p:nvSpPr>
          <p:spPr>
            <a:xfrm>
              <a:off x="-2959433" y="375153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6</a:t>
              </a:r>
            </a:p>
          </p:txBody>
        </p:sp>
        <p:sp>
          <p:nvSpPr>
            <p:cNvPr id="116" name="Textfield placeholder"/>
            <p:cNvSpPr txBox="1">
              <a:spLocks/>
            </p:cNvSpPr>
            <p:nvPr userDrawn="1"/>
          </p:nvSpPr>
          <p:spPr>
            <a:xfrm>
              <a:off x="-2571950" y="3751536"/>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0000" lvl="5" indent="-270000" defTabSz="179388">
                <a:lnSpc>
                  <a:spcPct val="120000"/>
                </a:lnSpc>
                <a:spcAft>
                  <a:spcPts val="900"/>
                </a:spcAft>
                <a:buClr>
                  <a:srgbClr val="ED1A3B"/>
                </a:buClr>
                <a:buSzPct val="80000"/>
                <a:buFont typeface="Wingdings 3" panose="05040102010807070707" pitchFamily="18" charset="2"/>
                <a:buChar char=""/>
                <a:defRPr/>
              </a:pPr>
              <a:r>
                <a:rPr lang="nl-NL" sz="1200" cap="none" dirty="0">
                  <a:solidFill>
                    <a:srgbClr val="535353"/>
                  </a:solidFill>
                </a:rPr>
                <a:t># Bullets (16 pt.)</a:t>
              </a:r>
            </a:p>
          </p:txBody>
        </p:sp>
        <p:sp>
          <p:nvSpPr>
            <p:cNvPr id="117" name="Ovaal 116"/>
            <p:cNvSpPr/>
            <p:nvPr userDrawn="1"/>
          </p:nvSpPr>
          <p:spPr>
            <a:xfrm>
              <a:off x="-2959433" y="414870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7</a:t>
              </a:r>
            </a:p>
          </p:txBody>
        </p:sp>
        <p:sp>
          <p:nvSpPr>
            <p:cNvPr id="118" name="Textfield placeholder"/>
            <p:cNvSpPr txBox="1">
              <a:spLocks/>
            </p:cNvSpPr>
            <p:nvPr userDrawn="1"/>
          </p:nvSpPr>
          <p:spPr>
            <a:xfrm>
              <a:off x="-2571950" y="414870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6" indent="0" defTabSz="179388">
                <a:lnSpc>
                  <a:spcPct val="120000"/>
                </a:lnSpc>
                <a:spcBef>
                  <a:spcPts val="0"/>
                </a:spcBef>
                <a:spcAft>
                  <a:spcPts val="900"/>
                </a:spcAft>
                <a:buClr>
                  <a:srgbClr val="ED1A3B"/>
                </a:buClr>
                <a:buSzPct val="90000"/>
                <a:buFont typeface="+mj-lt"/>
                <a:buNone/>
                <a:defRPr/>
              </a:pPr>
              <a:r>
                <a:rPr lang="nl-NL" sz="1200" i="1" dirty="0">
                  <a:solidFill>
                    <a:srgbClr val="404040"/>
                  </a:solidFill>
                </a:rPr>
                <a:t>Cursief donker (16 pt.)</a:t>
              </a:r>
            </a:p>
          </p:txBody>
        </p:sp>
        <p:sp>
          <p:nvSpPr>
            <p:cNvPr id="119" name="Ovaal 118"/>
            <p:cNvSpPr/>
            <p:nvPr userDrawn="1"/>
          </p:nvSpPr>
          <p:spPr>
            <a:xfrm>
              <a:off x="-2959433" y="454586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8</a:t>
              </a:r>
            </a:p>
          </p:txBody>
        </p:sp>
        <p:sp>
          <p:nvSpPr>
            <p:cNvPr id="120" name="Textfield placeholder"/>
            <p:cNvSpPr txBox="1">
              <a:spLocks/>
            </p:cNvSpPr>
            <p:nvPr userDrawn="1"/>
          </p:nvSpPr>
          <p:spPr>
            <a:xfrm>
              <a:off x="-2571950" y="4545864"/>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7" indent="0" defTabSz="179388">
                <a:lnSpc>
                  <a:spcPct val="80000"/>
                </a:lnSpc>
                <a:spcBef>
                  <a:spcPts val="0"/>
                </a:spcBef>
                <a:spcAft>
                  <a:spcPts val="900"/>
                </a:spcAft>
                <a:buClr>
                  <a:srgbClr val="ED1A3B"/>
                </a:buClr>
                <a:buFont typeface="Arial" pitchFamily="34" charset="0"/>
                <a:buNone/>
                <a:defRPr/>
              </a:pPr>
              <a:r>
                <a:rPr lang="nl-NL" sz="1200" i="1" dirty="0">
                  <a:solidFill>
                    <a:srgbClr val="A3B0C0"/>
                  </a:solidFill>
                </a:rPr>
                <a:t>Cursief Licht (16 pt.)</a:t>
              </a:r>
            </a:p>
          </p:txBody>
        </p:sp>
        <p:sp>
          <p:nvSpPr>
            <p:cNvPr id="121" name="Ovaal 120"/>
            <p:cNvSpPr/>
            <p:nvPr userDrawn="1"/>
          </p:nvSpPr>
          <p:spPr>
            <a:xfrm>
              <a:off x="-2959433" y="488761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9</a:t>
              </a:r>
            </a:p>
          </p:txBody>
        </p:sp>
        <p:sp>
          <p:nvSpPr>
            <p:cNvPr id="122" name="Textfield placeholder"/>
            <p:cNvSpPr txBox="1">
              <a:spLocks/>
            </p:cNvSpPr>
            <p:nvPr userDrawn="1"/>
          </p:nvSpPr>
          <p:spPr>
            <a:xfrm>
              <a:off x="-2571950" y="488761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8" indent="0" defTabSz="179388">
                <a:lnSpc>
                  <a:spcPct val="80000"/>
                </a:lnSpc>
                <a:spcBef>
                  <a:spcPts val="0"/>
                </a:spcBef>
                <a:spcAft>
                  <a:spcPts val="900"/>
                </a:spcAft>
                <a:buClr>
                  <a:srgbClr val="ED1A3B"/>
                </a:buClr>
                <a:buFont typeface="Arial" pitchFamily="34" charset="0"/>
                <a:buNone/>
                <a:defRPr/>
              </a:pPr>
              <a:r>
                <a:rPr lang="nl-NL" sz="1400" b="1" dirty="0">
                  <a:solidFill>
                    <a:srgbClr val="ED1A3B"/>
                  </a:solidFill>
                </a:rPr>
                <a:t>Subtitel (18 pt.)</a:t>
              </a:r>
            </a:p>
          </p:txBody>
        </p:sp>
      </p:grpSp>
      <p:sp>
        <p:nvSpPr>
          <p:cNvPr id="174" name="Hyperlink - Inhoudsopgave">
            <a:hlinkClick r:id="rId4" action="ppaction://hlinksldjump"/>
          </p:cNvPr>
          <p:cNvSpPr/>
          <p:nvPr userDrawn="1"/>
        </p:nvSpPr>
        <p:spPr>
          <a:xfrm>
            <a:off x="10197856" y="5889801"/>
            <a:ext cx="2000494" cy="968199"/>
          </a:xfrm>
          <a:prstGeom prst="rect">
            <a:avLst/>
          </a:prstGeom>
          <a:solidFill>
            <a:srgbClr val="ED1A3B">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cxnSp>
        <p:nvCxnSpPr>
          <p:cNvPr id="10" name="Grijze lijn - onder"/>
          <p:cNvCxnSpPr/>
          <p:nvPr/>
        </p:nvCxnSpPr>
        <p:spPr>
          <a:xfrm flipH="1">
            <a:off x="664804" y="5776291"/>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 name="Grijze lijn - boven"/>
          <p:cNvCxnSpPr/>
          <p:nvPr/>
        </p:nvCxnSpPr>
        <p:spPr>
          <a:xfrm flipH="1">
            <a:off x="664804" y="1358670"/>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90" name="Tijdelijke aanduiding voor Dianummer"/>
          <p:cNvSpPr>
            <a:spLocks noGrp="1"/>
          </p:cNvSpPr>
          <p:nvPr>
            <p:ph type="sldNum" sz="quarter" idx="4"/>
          </p:nvPr>
        </p:nvSpPr>
        <p:spPr>
          <a:xfrm>
            <a:off x="5770549" y="6295992"/>
            <a:ext cx="657251" cy="365125"/>
          </a:xfrm>
          <a:prstGeom prst="rect">
            <a:avLst/>
          </a:prstGeom>
        </p:spPr>
        <p:txBody>
          <a:bodyPr vert="horz" lIns="91440" tIns="45720" rIns="91440" bIns="45720" rtlCol="0" anchor="ctr"/>
          <a:lstStyle>
            <a:lvl1pPr algn="ctr">
              <a:defRPr sz="800">
                <a:solidFill>
                  <a:schemeClr val="tx1">
                    <a:tint val="75000"/>
                  </a:schemeClr>
                </a:solidFill>
              </a:defRPr>
            </a:lvl1pPr>
          </a:lstStyle>
          <a:p>
            <a:fld id="{1B3FA67A-C720-417A-A072-0CD211FD8662}" type="slidenum">
              <a:rPr lang="nl-NL" smtClean="0">
                <a:solidFill>
                  <a:srgbClr val="000000">
                    <a:tint val="75000"/>
                  </a:srgbClr>
                </a:solidFill>
              </a:rPr>
              <a:pPr/>
              <a:t>‹nr.›</a:t>
            </a:fld>
            <a:endParaRPr lang="nl-NL" dirty="0">
              <a:solidFill>
                <a:srgbClr val="000000">
                  <a:tint val="75000"/>
                </a:srgbClr>
              </a:solidFill>
            </a:endParaRPr>
          </a:p>
        </p:txBody>
      </p:sp>
      <p:sp>
        <p:nvSpPr>
          <p:cNvPr id="3" name="Tijdelijke aanduiding voor Tekst"/>
          <p:cNvSpPr>
            <a:spLocks noGrp="1"/>
          </p:cNvSpPr>
          <p:nvPr>
            <p:ph type="body" orient="vert" idx="1" hasCustomPrompt="1"/>
          </p:nvPr>
        </p:nvSpPr>
        <p:spPr>
          <a:xfrm>
            <a:off x="664109" y="1720867"/>
            <a:ext cx="10870131" cy="3694492"/>
          </a:xfrm>
        </p:spPr>
        <p:txBody>
          <a:bodyPr vert="horz" numCol="1" spcCol="360000"/>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800"/>
            </a:lvl9pPr>
          </a:lstStyle>
          <a:p>
            <a:pPr lvl="0"/>
            <a:r>
              <a:rPr lang="nl-NL" dirty="0"/>
              <a:t>Leestekst</a:t>
            </a:r>
          </a:p>
          <a:p>
            <a:pPr lvl="1"/>
            <a:r>
              <a:rPr lang="nl-NL" dirty="0"/>
              <a:t>Bullets</a:t>
            </a:r>
          </a:p>
          <a:p>
            <a:pPr lvl="2"/>
            <a:r>
              <a:rPr lang="nl-NL" dirty="0"/>
              <a:t>Sub-bullets</a:t>
            </a:r>
          </a:p>
          <a:p>
            <a:pPr lvl="3"/>
            <a:r>
              <a:rPr lang="nl-NL" dirty="0"/>
              <a:t>Sub-sub-bullets</a:t>
            </a:r>
          </a:p>
          <a:p>
            <a:pPr lvl="4"/>
            <a:r>
              <a:rPr lang="nl-NL" dirty="0"/>
              <a:t>Numeriek</a:t>
            </a:r>
          </a:p>
          <a:p>
            <a:pPr lvl="5"/>
            <a:r>
              <a:rPr lang="nl-NL" dirty="0"/>
              <a:t># Bullets</a:t>
            </a:r>
          </a:p>
          <a:p>
            <a:pPr lvl="6"/>
            <a:r>
              <a:rPr lang="nl-NL" dirty="0"/>
              <a:t>Cursief donker</a:t>
            </a:r>
          </a:p>
          <a:p>
            <a:pPr lvl="7"/>
            <a:r>
              <a:rPr lang="nl-NL" dirty="0"/>
              <a:t>Cursief licht</a:t>
            </a:r>
          </a:p>
          <a:p>
            <a:pPr lvl="8"/>
            <a:r>
              <a:rPr lang="nl-NL" dirty="0"/>
              <a:t>Subtitel</a:t>
            </a:r>
          </a:p>
        </p:txBody>
      </p:sp>
      <p:sp>
        <p:nvSpPr>
          <p:cNvPr id="11" name="Tijdelijke aanduiding voor Subtitel"/>
          <p:cNvSpPr>
            <a:spLocks noGrp="1"/>
          </p:cNvSpPr>
          <p:nvPr>
            <p:ph type="body" idx="14"/>
          </p:nvPr>
        </p:nvSpPr>
        <p:spPr>
          <a:xfrm>
            <a:off x="664109" y="1001348"/>
            <a:ext cx="10870131" cy="317758"/>
          </a:xfrm>
        </p:spPr>
        <p:txBody>
          <a:bodyPr bIns="72000" anchor="t" anchorCtr="0"/>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2" name="Tijdelijke aanduiding voor Titel"/>
          <p:cNvSpPr>
            <a:spLocks noGrp="1"/>
          </p:cNvSpPr>
          <p:nvPr>
            <p:ph type="title"/>
          </p:nvPr>
        </p:nvSpPr>
        <p:spPr>
          <a:xfrm>
            <a:off x="664109" y="464521"/>
            <a:ext cx="10870131" cy="533219"/>
          </a:xfrm>
        </p:spPr>
        <p:txBody>
          <a:bodyPr/>
          <a:lstStyle/>
          <a:p>
            <a:r>
              <a:rPr lang="nl-NL"/>
              <a:t>Klik om stijl te bewerken</a:t>
            </a:r>
            <a:endParaRPr lang="nl-NL" dirty="0"/>
          </a:p>
        </p:txBody>
      </p:sp>
    </p:spTree>
    <p:extLst>
      <p:ext uri="{BB962C8B-B14F-4D97-AF65-F5344CB8AC3E}">
        <p14:creationId xmlns:p14="http://schemas.microsoft.com/office/powerpoint/2010/main" val="25028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MENU 9 blokken">
    <p:spTree>
      <p:nvGrpSpPr>
        <p:cNvPr id="1" name=""/>
        <p:cNvGrpSpPr/>
        <p:nvPr/>
      </p:nvGrpSpPr>
      <p:grpSpPr>
        <a:xfrm>
          <a:off x="0" y="0"/>
          <a:ext cx="0" cy="0"/>
          <a:chOff x="0" y="0"/>
          <a:chExt cx="0" cy="0"/>
        </a:xfrm>
      </p:grpSpPr>
      <p:sp>
        <p:nvSpPr>
          <p:cNvPr id="21" name="Naam indeling - MENU 9 blokken"/>
          <p:cNvSpPr txBox="1"/>
          <p:nvPr userDrawn="1"/>
        </p:nvSpPr>
        <p:spPr>
          <a:xfrm>
            <a:off x="1" y="-453266"/>
            <a:ext cx="3582333" cy="276999"/>
          </a:xfrm>
          <a:prstGeom prst="rect">
            <a:avLst/>
          </a:prstGeom>
          <a:noFill/>
        </p:spPr>
        <p:txBody>
          <a:bodyPr wrap="square" lIns="0" tIns="0" rIns="0" bIns="0" rtlCol="0">
            <a:spAutoFit/>
          </a:bodyPr>
          <a:lstStyle/>
          <a:p>
            <a:pPr defTabSz="914112"/>
            <a:r>
              <a:rPr lang="nl-NL" dirty="0">
                <a:solidFill>
                  <a:srgbClr val="404040"/>
                </a:solidFill>
                <a:latin typeface="Calibri" panose="020F0502020204030204" pitchFamily="34" charset="0"/>
              </a:rPr>
              <a:t>MENU 9 blokken</a:t>
            </a:r>
            <a:endParaRPr lang="en-GB" dirty="0">
              <a:solidFill>
                <a:srgbClr val="404040"/>
              </a:solidFill>
              <a:latin typeface="Calibri" panose="020F0502020204030204" pitchFamily="34" charset="0"/>
            </a:endParaRPr>
          </a:p>
        </p:txBody>
      </p:sp>
      <p:grpSp>
        <p:nvGrpSpPr>
          <p:cNvPr id="106" name="Instructie - Hyperlink aanmaken"/>
          <p:cNvGrpSpPr/>
          <p:nvPr userDrawn="1"/>
        </p:nvGrpSpPr>
        <p:grpSpPr>
          <a:xfrm>
            <a:off x="12544468" y="4029638"/>
            <a:ext cx="2711112" cy="5221861"/>
            <a:chOff x="12441149" y="14897"/>
            <a:chExt cx="2710406" cy="5221861"/>
          </a:xfrm>
        </p:grpSpPr>
        <p:grpSp>
          <p:nvGrpSpPr>
            <p:cNvPr id="137" name="Groep 136"/>
            <p:cNvGrpSpPr/>
            <p:nvPr userDrawn="1"/>
          </p:nvGrpSpPr>
          <p:grpSpPr>
            <a:xfrm>
              <a:off x="12486425" y="1700551"/>
              <a:ext cx="276600" cy="277539"/>
              <a:chOff x="12486425" y="1700551"/>
              <a:chExt cx="276600" cy="277539"/>
            </a:xfrm>
          </p:grpSpPr>
          <p:sp>
            <p:nvSpPr>
              <p:cNvPr id="150" name="Ovaal 149"/>
              <p:cNvSpPr/>
              <p:nvPr userDrawn="1"/>
            </p:nvSpPr>
            <p:spPr>
              <a:xfrm>
                <a:off x="12491756" y="1700551"/>
                <a:ext cx="211685" cy="213802"/>
              </a:xfrm>
              <a:prstGeom prst="ellipse">
                <a:avLst/>
              </a:prstGeom>
              <a:noFill/>
              <a:ln w="158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12"/>
                <a:endParaRPr lang="nl-NL">
                  <a:solidFill>
                    <a:srgbClr val="FFFFFF"/>
                  </a:solidFill>
                </a:endParaRPr>
              </a:p>
            </p:txBody>
          </p:sp>
          <p:sp>
            <p:nvSpPr>
              <p:cNvPr id="151" name="Ovaal 150"/>
              <p:cNvSpPr/>
              <p:nvPr userDrawn="1"/>
            </p:nvSpPr>
            <p:spPr>
              <a:xfrm>
                <a:off x="12552711" y="1700551"/>
                <a:ext cx="89775" cy="213802"/>
              </a:xfrm>
              <a:prstGeom prst="ellipse">
                <a:avLst/>
              </a:prstGeom>
              <a:noFill/>
              <a:ln w="158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12"/>
                <a:endParaRPr lang="nl-NL">
                  <a:solidFill>
                    <a:srgbClr val="FFFFFF"/>
                  </a:solidFill>
                </a:endParaRPr>
              </a:p>
            </p:txBody>
          </p:sp>
          <p:cxnSp>
            <p:nvCxnSpPr>
              <p:cNvPr id="152" name="Rechte verbindingslijn 151"/>
              <p:cNvCxnSpPr/>
              <p:nvPr userDrawn="1"/>
            </p:nvCxnSpPr>
            <p:spPr>
              <a:xfrm>
                <a:off x="12491756" y="1814916"/>
                <a:ext cx="211685" cy="0"/>
              </a:xfrm>
              <a:prstGeom prst="line">
                <a:avLst/>
              </a:prstGeom>
              <a:noFill/>
              <a:ln w="158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153" name="Rechte verbindingslijn 152"/>
              <p:cNvCxnSpPr/>
              <p:nvPr userDrawn="1"/>
            </p:nvCxnSpPr>
            <p:spPr>
              <a:xfrm>
                <a:off x="12502330" y="1762664"/>
                <a:ext cx="190536" cy="0"/>
              </a:xfrm>
              <a:prstGeom prst="line">
                <a:avLst/>
              </a:prstGeom>
              <a:noFill/>
              <a:ln w="158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154" name="Rechthoek: afgeronde hoeken 78"/>
              <p:cNvSpPr/>
              <p:nvPr userDrawn="1"/>
            </p:nvSpPr>
            <p:spPr>
              <a:xfrm>
                <a:off x="12486425" y="1844390"/>
                <a:ext cx="276600" cy="133700"/>
              </a:xfrm>
              <a:prstGeom prst="roundRect">
                <a:avLst>
                  <a:gd name="adj" fmla="val 4258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12"/>
                <a:endParaRPr lang="nl-NL">
                  <a:solidFill>
                    <a:srgbClr val="FFFFFF"/>
                  </a:solidFill>
                </a:endParaRPr>
              </a:p>
            </p:txBody>
          </p:sp>
          <p:sp>
            <p:nvSpPr>
              <p:cNvPr id="155" name="Vrije vorm: vorm 79"/>
              <p:cNvSpPr/>
              <p:nvPr userDrawn="1"/>
            </p:nvSpPr>
            <p:spPr>
              <a:xfrm>
                <a:off x="12517912" y="1869290"/>
                <a:ext cx="127323" cy="78974"/>
              </a:xfrm>
              <a:custGeom>
                <a:avLst/>
                <a:gdLst>
                  <a:gd name="connsiteX0" fmla="*/ 141826 w 141826"/>
                  <a:gd name="connsiteY0" fmla="*/ 37323 h 93306"/>
                  <a:gd name="connsiteX1" fmla="*/ 108235 w 141826"/>
                  <a:gd name="connsiteY1" fmla="*/ 3732 h 93306"/>
                  <a:gd name="connsiteX2" fmla="*/ 37323 w 141826"/>
                  <a:gd name="connsiteY2" fmla="*/ 0 h 93306"/>
                  <a:gd name="connsiteX3" fmla="*/ 0 w 141826"/>
                  <a:gd name="connsiteY3" fmla="*/ 41055 h 93306"/>
                  <a:gd name="connsiteX4" fmla="*/ 29858 w 141826"/>
                  <a:gd name="connsiteY4" fmla="*/ 93306 h 93306"/>
                  <a:gd name="connsiteX5" fmla="*/ 78378 w 141826"/>
                  <a:gd name="connsiteY5" fmla="*/ 89574 h 93306"/>
                  <a:gd name="connsiteX0" fmla="*/ 141826 w 141826"/>
                  <a:gd name="connsiteY0" fmla="*/ 37666 h 93649"/>
                  <a:gd name="connsiteX1" fmla="*/ 107420 w 141826"/>
                  <a:gd name="connsiteY1" fmla="*/ 0 h 93649"/>
                  <a:gd name="connsiteX2" fmla="*/ 37323 w 141826"/>
                  <a:gd name="connsiteY2" fmla="*/ 343 h 93649"/>
                  <a:gd name="connsiteX3" fmla="*/ 0 w 141826"/>
                  <a:gd name="connsiteY3" fmla="*/ 41398 h 93649"/>
                  <a:gd name="connsiteX4" fmla="*/ 29858 w 141826"/>
                  <a:gd name="connsiteY4" fmla="*/ 93649 h 93649"/>
                  <a:gd name="connsiteX5" fmla="*/ 78378 w 141826"/>
                  <a:gd name="connsiteY5" fmla="*/ 89917 h 93649"/>
                  <a:gd name="connsiteX0" fmla="*/ 141826 w 141826"/>
                  <a:gd name="connsiteY0" fmla="*/ 37666 h 93649"/>
                  <a:gd name="connsiteX1" fmla="*/ 107420 w 141826"/>
                  <a:gd name="connsiteY1" fmla="*/ 0 h 93649"/>
                  <a:gd name="connsiteX2" fmla="*/ 37323 w 141826"/>
                  <a:gd name="connsiteY2" fmla="*/ 343 h 93649"/>
                  <a:gd name="connsiteX3" fmla="*/ 0 w 141826"/>
                  <a:gd name="connsiteY3" fmla="*/ 41398 h 93649"/>
                  <a:gd name="connsiteX4" fmla="*/ 29858 w 141826"/>
                  <a:gd name="connsiteY4" fmla="*/ 93649 h 93649"/>
                  <a:gd name="connsiteX5" fmla="*/ 78378 w 141826"/>
                  <a:gd name="connsiteY5" fmla="*/ 89917 h 93649"/>
                  <a:gd name="connsiteX0" fmla="*/ 141826 w 141826"/>
                  <a:gd name="connsiteY0" fmla="*/ 37666 h 93649"/>
                  <a:gd name="connsiteX1" fmla="*/ 107420 w 141826"/>
                  <a:gd name="connsiteY1" fmla="*/ 0 h 93649"/>
                  <a:gd name="connsiteX2" fmla="*/ 37323 w 141826"/>
                  <a:gd name="connsiteY2" fmla="*/ 343 h 93649"/>
                  <a:gd name="connsiteX3" fmla="*/ 0 w 141826"/>
                  <a:gd name="connsiteY3" fmla="*/ 41398 h 93649"/>
                  <a:gd name="connsiteX4" fmla="*/ 29858 w 141826"/>
                  <a:gd name="connsiteY4" fmla="*/ 93649 h 93649"/>
                  <a:gd name="connsiteX5" fmla="*/ 79193 w 141826"/>
                  <a:gd name="connsiteY5" fmla="*/ 93177 h 93649"/>
                  <a:gd name="connsiteX0" fmla="*/ 141826 w 141826"/>
                  <a:gd name="connsiteY0" fmla="*/ 37666 h 93650"/>
                  <a:gd name="connsiteX1" fmla="*/ 107420 w 141826"/>
                  <a:gd name="connsiteY1" fmla="*/ 0 h 93650"/>
                  <a:gd name="connsiteX2" fmla="*/ 37323 w 141826"/>
                  <a:gd name="connsiteY2" fmla="*/ 343 h 93650"/>
                  <a:gd name="connsiteX3" fmla="*/ 0 w 141826"/>
                  <a:gd name="connsiteY3" fmla="*/ 41398 h 93650"/>
                  <a:gd name="connsiteX4" fmla="*/ 29858 w 141826"/>
                  <a:gd name="connsiteY4" fmla="*/ 93649 h 93650"/>
                  <a:gd name="connsiteX5" fmla="*/ 79193 w 141826"/>
                  <a:gd name="connsiteY5" fmla="*/ 93177 h 93650"/>
                  <a:gd name="connsiteX0" fmla="*/ 141826 w 141826"/>
                  <a:gd name="connsiteY0" fmla="*/ 37666 h 93650"/>
                  <a:gd name="connsiteX1" fmla="*/ 107420 w 141826"/>
                  <a:gd name="connsiteY1" fmla="*/ 0 h 93650"/>
                  <a:gd name="connsiteX2" fmla="*/ 37323 w 141826"/>
                  <a:gd name="connsiteY2" fmla="*/ 343 h 93650"/>
                  <a:gd name="connsiteX3" fmla="*/ 0 w 141826"/>
                  <a:gd name="connsiteY3" fmla="*/ 41398 h 93650"/>
                  <a:gd name="connsiteX4" fmla="*/ 29858 w 141826"/>
                  <a:gd name="connsiteY4" fmla="*/ 93649 h 93650"/>
                  <a:gd name="connsiteX5" fmla="*/ 79193 w 141826"/>
                  <a:gd name="connsiteY5" fmla="*/ 93177 h 93650"/>
                  <a:gd name="connsiteX0" fmla="*/ 141826 w 141826"/>
                  <a:gd name="connsiteY0" fmla="*/ 37666 h 93650"/>
                  <a:gd name="connsiteX1" fmla="*/ 107420 w 141826"/>
                  <a:gd name="connsiteY1" fmla="*/ 0 h 93650"/>
                  <a:gd name="connsiteX2" fmla="*/ 37323 w 141826"/>
                  <a:gd name="connsiteY2" fmla="*/ 343 h 93650"/>
                  <a:gd name="connsiteX3" fmla="*/ 0 w 141826"/>
                  <a:gd name="connsiteY3" fmla="*/ 41398 h 93650"/>
                  <a:gd name="connsiteX4" fmla="*/ 29858 w 141826"/>
                  <a:gd name="connsiteY4" fmla="*/ 93649 h 93650"/>
                  <a:gd name="connsiteX5" fmla="*/ 79193 w 141826"/>
                  <a:gd name="connsiteY5" fmla="*/ 93177 h 93650"/>
                  <a:gd name="connsiteX0" fmla="*/ 141555 w 141555"/>
                  <a:gd name="connsiteY0" fmla="*/ 37666 h 93650"/>
                  <a:gd name="connsiteX1" fmla="*/ 107149 w 141555"/>
                  <a:gd name="connsiteY1" fmla="*/ 0 h 93650"/>
                  <a:gd name="connsiteX2" fmla="*/ 37052 w 141555"/>
                  <a:gd name="connsiteY2" fmla="*/ 343 h 93650"/>
                  <a:gd name="connsiteX3" fmla="*/ 1 w 141555"/>
                  <a:gd name="connsiteY3" fmla="*/ 46832 h 93650"/>
                  <a:gd name="connsiteX4" fmla="*/ 29587 w 141555"/>
                  <a:gd name="connsiteY4" fmla="*/ 93649 h 93650"/>
                  <a:gd name="connsiteX5" fmla="*/ 78922 w 141555"/>
                  <a:gd name="connsiteY5" fmla="*/ 93177 h 93650"/>
                  <a:gd name="connsiteX0" fmla="*/ 142097 w 142097"/>
                  <a:gd name="connsiteY0" fmla="*/ 37666 h 93650"/>
                  <a:gd name="connsiteX1" fmla="*/ 107691 w 142097"/>
                  <a:gd name="connsiteY1" fmla="*/ 0 h 93650"/>
                  <a:gd name="connsiteX2" fmla="*/ 37594 w 142097"/>
                  <a:gd name="connsiteY2" fmla="*/ 343 h 93650"/>
                  <a:gd name="connsiteX3" fmla="*/ 0 w 142097"/>
                  <a:gd name="connsiteY3" fmla="*/ 45745 h 93650"/>
                  <a:gd name="connsiteX4" fmla="*/ 30129 w 142097"/>
                  <a:gd name="connsiteY4" fmla="*/ 93649 h 93650"/>
                  <a:gd name="connsiteX5" fmla="*/ 79464 w 142097"/>
                  <a:gd name="connsiteY5" fmla="*/ 93177 h 93650"/>
                  <a:gd name="connsiteX0" fmla="*/ 142151 w 142151"/>
                  <a:gd name="connsiteY0" fmla="*/ 37666 h 93177"/>
                  <a:gd name="connsiteX1" fmla="*/ 107745 w 142151"/>
                  <a:gd name="connsiteY1" fmla="*/ 0 h 93177"/>
                  <a:gd name="connsiteX2" fmla="*/ 37648 w 142151"/>
                  <a:gd name="connsiteY2" fmla="*/ 343 h 93177"/>
                  <a:gd name="connsiteX3" fmla="*/ 54 w 142151"/>
                  <a:gd name="connsiteY3" fmla="*/ 45745 h 93177"/>
                  <a:gd name="connsiteX4" fmla="*/ 30455 w 142151"/>
                  <a:gd name="connsiteY4" fmla="*/ 92834 h 93177"/>
                  <a:gd name="connsiteX5" fmla="*/ 79518 w 142151"/>
                  <a:gd name="connsiteY5" fmla="*/ 93177 h 93177"/>
                  <a:gd name="connsiteX0" fmla="*/ 142111 w 142111"/>
                  <a:gd name="connsiteY0" fmla="*/ 37666 h 93177"/>
                  <a:gd name="connsiteX1" fmla="*/ 107705 w 142111"/>
                  <a:gd name="connsiteY1" fmla="*/ 0 h 93177"/>
                  <a:gd name="connsiteX2" fmla="*/ 37608 w 142111"/>
                  <a:gd name="connsiteY2" fmla="*/ 343 h 93177"/>
                  <a:gd name="connsiteX3" fmla="*/ 14 w 142111"/>
                  <a:gd name="connsiteY3" fmla="*/ 45745 h 93177"/>
                  <a:gd name="connsiteX4" fmla="*/ 30415 w 142111"/>
                  <a:gd name="connsiteY4" fmla="*/ 92834 h 93177"/>
                  <a:gd name="connsiteX5" fmla="*/ 79478 w 142111"/>
                  <a:gd name="connsiteY5" fmla="*/ 93177 h 93177"/>
                  <a:gd name="connsiteX0" fmla="*/ 142111 w 142111"/>
                  <a:gd name="connsiteY0" fmla="*/ 37666 h 93177"/>
                  <a:gd name="connsiteX1" fmla="*/ 107705 w 142111"/>
                  <a:gd name="connsiteY1" fmla="*/ 0 h 93177"/>
                  <a:gd name="connsiteX2" fmla="*/ 37608 w 142111"/>
                  <a:gd name="connsiteY2" fmla="*/ 343 h 93177"/>
                  <a:gd name="connsiteX3" fmla="*/ 14 w 142111"/>
                  <a:gd name="connsiteY3" fmla="*/ 45745 h 93177"/>
                  <a:gd name="connsiteX4" fmla="*/ 30415 w 142111"/>
                  <a:gd name="connsiteY4" fmla="*/ 92834 h 93177"/>
                  <a:gd name="connsiteX5" fmla="*/ 79478 w 142111"/>
                  <a:gd name="connsiteY5" fmla="*/ 93177 h 9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111" h="93177">
                    <a:moveTo>
                      <a:pt x="142111" y="37666"/>
                    </a:moveTo>
                    <a:cubicBezTo>
                      <a:pt x="132000" y="23209"/>
                      <a:pt x="116185" y="600"/>
                      <a:pt x="107705" y="0"/>
                    </a:cubicBezTo>
                    <a:lnTo>
                      <a:pt x="37608" y="343"/>
                    </a:lnTo>
                    <a:cubicBezTo>
                      <a:pt x="25439" y="715"/>
                      <a:pt x="-689" y="17289"/>
                      <a:pt x="14" y="45745"/>
                    </a:cubicBezTo>
                    <a:cubicBezTo>
                      <a:pt x="717" y="74201"/>
                      <a:pt x="17745" y="93077"/>
                      <a:pt x="30415" y="92834"/>
                    </a:cubicBezTo>
                    <a:lnTo>
                      <a:pt x="79478" y="93177"/>
                    </a:lnTo>
                  </a:path>
                </a:pathLst>
              </a:custGeom>
              <a:noFill/>
              <a:ln w="28575"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12"/>
                <a:endParaRPr lang="nl-NL">
                  <a:solidFill>
                    <a:srgbClr val="FFFFFF"/>
                  </a:solidFill>
                </a:endParaRPr>
              </a:p>
            </p:txBody>
          </p:sp>
          <p:sp>
            <p:nvSpPr>
              <p:cNvPr id="156" name="Vrije vorm: vorm 80"/>
              <p:cNvSpPr/>
              <p:nvPr userDrawn="1"/>
            </p:nvSpPr>
            <p:spPr>
              <a:xfrm flipH="1" flipV="1">
                <a:off x="12605887" y="1869290"/>
                <a:ext cx="127323" cy="78974"/>
              </a:xfrm>
              <a:custGeom>
                <a:avLst/>
                <a:gdLst>
                  <a:gd name="connsiteX0" fmla="*/ 141826 w 141826"/>
                  <a:gd name="connsiteY0" fmla="*/ 37323 h 93306"/>
                  <a:gd name="connsiteX1" fmla="*/ 108235 w 141826"/>
                  <a:gd name="connsiteY1" fmla="*/ 3732 h 93306"/>
                  <a:gd name="connsiteX2" fmla="*/ 37323 w 141826"/>
                  <a:gd name="connsiteY2" fmla="*/ 0 h 93306"/>
                  <a:gd name="connsiteX3" fmla="*/ 0 w 141826"/>
                  <a:gd name="connsiteY3" fmla="*/ 41055 h 93306"/>
                  <a:gd name="connsiteX4" fmla="*/ 29858 w 141826"/>
                  <a:gd name="connsiteY4" fmla="*/ 93306 h 93306"/>
                  <a:gd name="connsiteX5" fmla="*/ 78378 w 141826"/>
                  <a:gd name="connsiteY5" fmla="*/ 89574 h 93306"/>
                  <a:gd name="connsiteX0" fmla="*/ 141826 w 141826"/>
                  <a:gd name="connsiteY0" fmla="*/ 37666 h 93649"/>
                  <a:gd name="connsiteX1" fmla="*/ 107420 w 141826"/>
                  <a:gd name="connsiteY1" fmla="*/ 0 h 93649"/>
                  <a:gd name="connsiteX2" fmla="*/ 37323 w 141826"/>
                  <a:gd name="connsiteY2" fmla="*/ 343 h 93649"/>
                  <a:gd name="connsiteX3" fmla="*/ 0 w 141826"/>
                  <a:gd name="connsiteY3" fmla="*/ 41398 h 93649"/>
                  <a:gd name="connsiteX4" fmla="*/ 29858 w 141826"/>
                  <a:gd name="connsiteY4" fmla="*/ 93649 h 93649"/>
                  <a:gd name="connsiteX5" fmla="*/ 78378 w 141826"/>
                  <a:gd name="connsiteY5" fmla="*/ 89917 h 93649"/>
                  <a:gd name="connsiteX0" fmla="*/ 141826 w 141826"/>
                  <a:gd name="connsiteY0" fmla="*/ 37666 h 93649"/>
                  <a:gd name="connsiteX1" fmla="*/ 107420 w 141826"/>
                  <a:gd name="connsiteY1" fmla="*/ 0 h 93649"/>
                  <a:gd name="connsiteX2" fmla="*/ 37323 w 141826"/>
                  <a:gd name="connsiteY2" fmla="*/ 343 h 93649"/>
                  <a:gd name="connsiteX3" fmla="*/ 0 w 141826"/>
                  <a:gd name="connsiteY3" fmla="*/ 41398 h 93649"/>
                  <a:gd name="connsiteX4" fmla="*/ 29858 w 141826"/>
                  <a:gd name="connsiteY4" fmla="*/ 93649 h 93649"/>
                  <a:gd name="connsiteX5" fmla="*/ 78378 w 141826"/>
                  <a:gd name="connsiteY5" fmla="*/ 89917 h 93649"/>
                  <a:gd name="connsiteX0" fmla="*/ 141826 w 141826"/>
                  <a:gd name="connsiteY0" fmla="*/ 37666 h 93649"/>
                  <a:gd name="connsiteX1" fmla="*/ 107420 w 141826"/>
                  <a:gd name="connsiteY1" fmla="*/ 0 h 93649"/>
                  <a:gd name="connsiteX2" fmla="*/ 37323 w 141826"/>
                  <a:gd name="connsiteY2" fmla="*/ 343 h 93649"/>
                  <a:gd name="connsiteX3" fmla="*/ 0 w 141826"/>
                  <a:gd name="connsiteY3" fmla="*/ 41398 h 93649"/>
                  <a:gd name="connsiteX4" fmla="*/ 29858 w 141826"/>
                  <a:gd name="connsiteY4" fmla="*/ 93649 h 93649"/>
                  <a:gd name="connsiteX5" fmla="*/ 79193 w 141826"/>
                  <a:gd name="connsiteY5" fmla="*/ 93177 h 93649"/>
                  <a:gd name="connsiteX0" fmla="*/ 141826 w 141826"/>
                  <a:gd name="connsiteY0" fmla="*/ 37666 h 93650"/>
                  <a:gd name="connsiteX1" fmla="*/ 107420 w 141826"/>
                  <a:gd name="connsiteY1" fmla="*/ 0 h 93650"/>
                  <a:gd name="connsiteX2" fmla="*/ 37323 w 141826"/>
                  <a:gd name="connsiteY2" fmla="*/ 343 h 93650"/>
                  <a:gd name="connsiteX3" fmla="*/ 0 w 141826"/>
                  <a:gd name="connsiteY3" fmla="*/ 41398 h 93650"/>
                  <a:gd name="connsiteX4" fmla="*/ 29858 w 141826"/>
                  <a:gd name="connsiteY4" fmla="*/ 93649 h 93650"/>
                  <a:gd name="connsiteX5" fmla="*/ 79193 w 141826"/>
                  <a:gd name="connsiteY5" fmla="*/ 93177 h 93650"/>
                  <a:gd name="connsiteX0" fmla="*/ 141826 w 141826"/>
                  <a:gd name="connsiteY0" fmla="*/ 37666 h 93650"/>
                  <a:gd name="connsiteX1" fmla="*/ 107420 w 141826"/>
                  <a:gd name="connsiteY1" fmla="*/ 0 h 93650"/>
                  <a:gd name="connsiteX2" fmla="*/ 37323 w 141826"/>
                  <a:gd name="connsiteY2" fmla="*/ 343 h 93650"/>
                  <a:gd name="connsiteX3" fmla="*/ 0 w 141826"/>
                  <a:gd name="connsiteY3" fmla="*/ 41398 h 93650"/>
                  <a:gd name="connsiteX4" fmla="*/ 29858 w 141826"/>
                  <a:gd name="connsiteY4" fmla="*/ 93649 h 93650"/>
                  <a:gd name="connsiteX5" fmla="*/ 79193 w 141826"/>
                  <a:gd name="connsiteY5" fmla="*/ 93177 h 93650"/>
                  <a:gd name="connsiteX0" fmla="*/ 141826 w 141826"/>
                  <a:gd name="connsiteY0" fmla="*/ 37666 h 93650"/>
                  <a:gd name="connsiteX1" fmla="*/ 107420 w 141826"/>
                  <a:gd name="connsiteY1" fmla="*/ 0 h 93650"/>
                  <a:gd name="connsiteX2" fmla="*/ 37323 w 141826"/>
                  <a:gd name="connsiteY2" fmla="*/ 343 h 93650"/>
                  <a:gd name="connsiteX3" fmla="*/ 0 w 141826"/>
                  <a:gd name="connsiteY3" fmla="*/ 41398 h 93650"/>
                  <a:gd name="connsiteX4" fmla="*/ 29858 w 141826"/>
                  <a:gd name="connsiteY4" fmla="*/ 93649 h 93650"/>
                  <a:gd name="connsiteX5" fmla="*/ 79193 w 141826"/>
                  <a:gd name="connsiteY5" fmla="*/ 93177 h 93650"/>
                  <a:gd name="connsiteX0" fmla="*/ 141555 w 141555"/>
                  <a:gd name="connsiteY0" fmla="*/ 37666 h 93650"/>
                  <a:gd name="connsiteX1" fmla="*/ 107149 w 141555"/>
                  <a:gd name="connsiteY1" fmla="*/ 0 h 93650"/>
                  <a:gd name="connsiteX2" fmla="*/ 37052 w 141555"/>
                  <a:gd name="connsiteY2" fmla="*/ 343 h 93650"/>
                  <a:gd name="connsiteX3" fmla="*/ 1 w 141555"/>
                  <a:gd name="connsiteY3" fmla="*/ 46832 h 93650"/>
                  <a:gd name="connsiteX4" fmla="*/ 29587 w 141555"/>
                  <a:gd name="connsiteY4" fmla="*/ 93649 h 93650"/>
                  <a:gd name="connsiteX5" fmla="*/ 78922 w 141555"/>
                  <a:gd name="connsiteY5" fmla="*/ 93177 h 93650"/>
                  <a:gd name="connsiteX0" fmla="*/ 142097 w 142097"/>
                  <a:gd name="connsiteY0" fmla="*/ 37666 h 93650"/>
                  <a:gd name="connsiteX1" fmla="*/ 107691 w 142097"/>
                  <a:gd name="connsiteY1" fmla="*/ 0 h 93650"/>
                  <a:gd name="connsiteX2" fmla="*/ 37594 w 142097"/>
                  <a:gd name="connsiteY2" fmla="*/ 343 h 93650"/>
                  <a:gd name="connsiteX3" fmla="*/ 0 w 142097"/>
                  <a:gd name="connsiteY3" fmla="*/ 45745 h 93650"/>
                  <a:gd name="connsiteX4" fmla="*/ 30129 w 142097"/>
                  <a:gd name="connsiteY4" fmla="*/ 93649 h 93650"/>
                  <a:gd name="connsiteX5" fmla="*/ 79464 w 142097"/>
                  <a:gd name="connsiteY5" fmla="*/ 93177 h 93650"/>
                  <a:gd name="connsiteX0" fmla="*/ 142151 w 142151"/>
                  <a:gd name="connsiteY0" fmla="*/ 37666 h 93177"/>
                  <a:gd name="connsiteX1" fmla="*/ 107745 w 142151"/>
                  <a:gd name="connsiteY1" fmla="*/ 0 h 93177"/>
                  <a:gd name="connsiteX2" fmla="*/ 37648 w 142151"/>
                  <a:gd name="connsiteY2" fmla="*/ 343 h 93177"/>
                  <a:gd name="connsiteX3" fmla="*/ 54 w 142151"/>
                  <a:gd name="connsiteY3" fmla="*/ 45745 h 93177"/>
                  <a:gd name="connsiteX4" fmla="*/ 30455 w 142151"/>
                  <a:gd name="connsiteY4" fmla="*/ 92834 h 93177"/>
                  <a:gd name="connsiteX5" fmla="*/ 79518 w 142151"/>
                  <a:gd name="connsiteY5" fmla="*/ 93177 h 93177"/>
                  <a:gd name="connsiteX0" fmla="*/ 142111 w 142111"/>
                  <a:gd name="connsiteY0" fmla="*/ 37666 h 93177"/>
                  <a:gd name="connsiteX1" fmla="*/ 107705 w 142111"/>
                  <a:gd name="connsiteY1" fmla="*/ 0 h 93177"/>
                  <a:gd name="connsiteX2" fmla="*/ 37608 w 142111"/>
                  <a:gd name="connsiteY2" fmla="*/ 343 h 93177"/>
                  <a:gd name="connsiteX3" fmla="*/ 14 w 142111"/>
                  <a:gd name="connsiteY3" fmla="*/ 45745 h 93177"/>
                  <a:gd name="connsiteX4" fmla="*/ 30415 w 142111"/>
                  <a:gd name="connsiteY4" fmla="*/ 92834 h 93177"/>
                  <a:gd name="connsiteX5" fmla="*/ 79478 w 142111"/>
                  <a:gd name="connsiteY5" fmla="*/ 93177 h 93177"/>
                  <a:gd name="connsiteX0" fmla="*/ 142111 w 142111"/>
                  <a:gd name="connsiteY0" fmla="*/ 37666 h 93177"/>
                  <a:gd name="connsiteX1" fmla="*/ 107705 w 142111"/>
                  <a:gd name="connsiteY1" fmla="*/ 0 h 93177"/>
                  <a:gd name="connsiteX2" fmla="*/ 37608 w 142111"/>
                  <a:gd name="connsiteY2" fmla="*/ 343 h 93177"/>
                  <a:gd name="connsiteX3" fmla="*/ 14 w 142111"/>
                  <a:gd name="connsiteY3" fmla="*/ 45745 h 93177"/>
                  <a:gd name="connsiteX4" fmla="*/ 30415 w 142111"/>
                  <a:gd name="connsiteY4" fmla="*/ 92834 h 93177"/>
                  <a:gd name="connsiteX5" fmla="*/ 79478 w 142111"/>
                  <a:gd name="connsiteY5" fmla="*/ 93177 h 9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111" h="93177">
                    <a:moveTo>
                      <a:pt x="142111" y="37666"/>
                    </a:moveTo>
                    <a:cubicBezTo>
                      <a:pt x="132000" y="23209"/>
                      <a:pt x="116185" y="600"/>
                      <a:pt x="107705" y="0"/>
                    </a:cubicBezTo>
                    <a:lnTo>
                      <a:pt x="37608" y="343"/>
                    </a:lnTo>
                    <a:cubicBezTo>
                      <a:pt x="25439" y="715"/>
                      <a:pt x="-689" y="17289"/>
                      <a:pt x="14" y="45745"/>
                    </a:cubicBezTo>
                    <a:cubicBezTo>
                      <a:pt x="717" y="74201"/>
                      <a:pt x="17745" y="93077"/>
                      <a:pt x="30415" y="92834"/>
                    </a:cubicBezTo>
                    <a:lnTo>
                      <a:pt x="79478" y="93177"/>
                    </a:lnTo>
                  </a:path>
                </a:pathLst>
              </a:custGeom>
              <a:noFill/>
              <a:ln w="28575"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12"/>
                <a:endParaRPr lang="nl-NL">
                  <a:solidFill>
                    <a:srgbClr val="FFFFFF"/>
                  </a:solidFill>
                </a:endParaRPr>
              </a:p>
            </p:txBody>
          </p:sp>
        </p:grpSp>
        <p:grpSp>
          <p:nvGrpSpPr>
            <p:cNvPr id="138" name="Groep 137"/>
            <p:cNvGrpSpPr/>
            <p:nvPr userDrawn="1"/>
          </p:nvGrpSpPr>
          <p:grpSpPr>
            <a:xfrm>
              <a:off x="12441149" y="14897"/>
              <a:ext cx="2710406" cy="5221861"/>
              <a:chOff x="12441149" y="14897"/>
              <a:chExt cx="2710406" cy="5221861"/>
            </a:xfrm>
          </p:grpSpPr>
          <p:grpSp>
            <p:nvGrpSpPr>
              <p:cNvPr id="139" name="Groep 138"/>
              <p:cNvGrpSpPr/>
              <p:nvPr userDrawn="1"/>
            </p:nvGrpSpPr>
            <p:grpSpPr>
              <a:xfrm>
                <a:off x="12441149" y="14897"/>
                <a:ext cx="2710406" cy="5221861"/>
                <a:chOff x="12441149" y="14897"/>
                <a:chExt cx="2710406" cy="5221861"/>
              </a:xfrm>
            </p:grpSpPr>
            <p:sp>
              <p:nvSpPr>
                <p:cNvPr id="141" name="Rechthoek 140"/>
                <p:cNvSpPr/>
                <p:nvPr userDrawn="1"/>
              </p:nvSpPr>
              <p:spPr>
                <a:xfrm>
                  <a:off x="12441150" y="14897"/>
                  <a:ext cx="2696270" cy="161771"/>
                </a:xfrm>
                <a:prstGeom prst="rect">
                  <a:avLst/>
                </a:prstGeom>
                <a:noFill/>
                <a:ln w="25400" cap="flat" cmpd="sng" algn="ctr">
                  <a:noFill/>
                  <a:prstDash val="solid"/>
                </a:ln>
                <a:effectLst/>
              </p:spPr>
              <p:txBody>
                <a:bodyPr lIns="0" tIns="0" rIns="0" bIns="0" rtlCol="0" anchor="t"/>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12">
                    <a:lnSpc>
                      <a:spcPct val="80000"/>
                    </a:lnSpc>
                  </a:pPr>
                  <a:r>
                    <a:rPr lang="nl-NL" sz="1600" b="1" kern="0" cap="all" dirty="0">
                      <a:solidFill>
                        <a:srgbClr val="ED1A3B"/>
                      </a:solidFill>
                      <a:cs typeface="Segoe UI Light" panose="020B0502040204020203" pitchFamily="34" charset="0"/>
                    </a:rPr>
                    <a:t>Hyperlink aanmaken</a:t>
                  </a:r>
                </a:p>
              </p:txBody>
            </p:sp>
            <p:sp>
              <p:nvSpPr>
                <p:cNvPr id="142" name="Tekstvak 33"/>
                <p:cNvSpPr txBox="1"/>
                <p:nvPr userDrawn="1"/>
              </p:nvSpPr>
              <p:spPr>
                <a:xfrm>
                  <a:off x="12441149" y="814239"/>
                  <a:ext cx="2710405" cy="719877"/>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Selecteer het ingevoegde icoon of transparante kader en ga met rechtermuisknop naar </a:t>
                  </a:r>
                  <a:r>
                    <a:rPr lang="nl-NL" sz="1200" u="sng" kern="0" dirty="0">
                      <a:solidFill>
                        <a:srgbClr val="000000"/>
                      </a:solidFill>
                      <a:latin typeface="Trebuchet MS"/>
                      <a:cs typeface="Segoe UI Light" panose="020B0502040204020203" pitchFamily="34" charset="0"/>
                    </a:rPr>
                    <a:t>H</a:t>
                  </a:r>
                  <a:r>
                    <a:rPr lang="nl-NL" sz="1200" kern="0" dirty="0">
                      <a:solidFill>
                        <a:srgbClr val="000000"/>
                      </a:solidFill>
                      <a:latin typeface="Trebuchet MS"/>
                      <a:cs typeface="Segoe UI Light" panose="020B0502040204020203" pitchFamily="34" charset="0"/>
                    </a:rPr>
                    <a:t>yperlink…</a:t>
                  </a:r>
                  <a:br>
                    <a:rPr lang="nl-NL" sz="1200" kern="0" dirty="0">
                      <a:solidFill>
                        <a:srgbClr val="000000"/>
                      </a:solidFill>
                      <a:latin typeface="Trebuchet MS"/>
                      <a:cs typeface="Segoe UI Light" panose="020B0502040204020203" pitchFamily="34" charset="0"/>
                    </a:rPr>
                  </a:br>
                  <a:r>
                    <a:rPr lang="nl-NL" sz="1100" i="1" kern="0" dirty="0">
                      <a:solidFill>
                        <a:srgbClr val="000000"/>
                      </a:solidFill>
                      <a:latin typeface="Trebuchet MS"/>
                      <a:cs typeface="Segoe UI Light" panose="020B0502040204020203" pitchFamily="34" charset="0"/>
                    </a:rPr>
                    <a:t>(zie onderstaand voorbeeld).</a:t>
                  </a:r>
                </a:p>
              </p:txBody>
            </p:sp>
            <p:sp>
              <p:nvSpPr>
                <p:cNvPr id="143" name="Tekstvak 33"/>
                <p:cNvSpPr txBox="1"/>
                <p:nvPr userDrawn="1"/>
              </p:nvSpPr>
              <p:spPr>
                <a:xfrm>
                  <a:off x="12441149" y="2793904"/>
                  <a:ext cx="2710405" cy="395943"/>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Selecteer tab: </a:t>
                  </a:r>
                  <a:r>
                    <a:rPr lang="nl-NL" sz="1200" i="1" kern="0" dirty="0">
                      <a:solidFill>
                        <a:srgbClr val="000000"/>
                      </a:solidFill>
                      <a:latin typeface="Trebuchet MS"/>
                      <a:cs typeface="Segoe UI Light" panose="020B0502040204020203" pitchFamily="34" charset="0"/>
                    </a:rPr>
                    <a:t>‘Plaats in dit document’ </a:t>
                  </a:r>
                  <a:r>
                    <a:rPr lang="nl-NL" sz="1200" kern="0" dirty="0">
                      <a:solidFill>
                        <a:srgbClr val="000000"/>
                      </a:solidFill>
                      <a:latin typeface="Trebuchet MS"/>
                      <a:cs typeface="Segoe UI Light" panose="020B0502040204020203" pitchFamily="34" charset="0"/>
                    </a:rPr>
                    <a:t>en selecteer hierna bij </a:t>
                  </a:r>
                  <a:r>
                    <a:rPr lang="nl-NL" sz="1200" b="1" kern="0" dirty="0">
                      <a:solidFill>
                        <a:srgbClr val="000000"/>
                      </a:solidFill>
                      <a:latin typeface="Trebuchet MS"/>
                      <a:cs typeface="Segoe UI Light" panose="020B0502040204020203" pitchFamily="34" charset="0"/>
                    </a:rPr>
                    <a:t>‘Diatitels’ </a:t>
                  </a:r>
                  <a:r>
                    <a:rPr lang="nl-NL" sz="1200" kern="0" dirty="0">
                      <a:solidFill>
                        <a:srgbClr val="000000"/>
                      </a:solidFill>
                      <a:latin typeface="Trebuchet MS"/>
                      <a:cs typeface="Segoe UI Light" panose="020B0502040204020203" pitchFamily="34" charset="0"/>
                    </a:rPr>
                    <a:t>de slide waar u naar wilt linken. Klik vervolgens  op </a:t>
                  </a:r>
                  <a:r>
                    <a:rPr lang="nl-NL" sz="1200" b="1" kern="0" dirty="0">
                      <a:solidFill>
                        <a:srgbClr val="000000"/>
                      </a:solidFill>
                      <a:latin typeface="Trebuchet MS"/>
                      <a:cs typeface="Segoe UI Light" panose="020B0502040204020203" pitchFamily="34" charset="0"/>
                    </a:rPr>
                    <a:t>‘OK’</a:t>
                  </a:r>
                </a:p>
              </p:txBody>
            </p:sp>
            <p:sp>
              <p:nvSpPr>
                <p:cNvPr id="144" name="Ovaal 143"/>
                <p:cNvSpPr/>
                <p:nvPr userDrawn="1"/>
              </p:nvSpPr>
              <p:spPr>
                <a:xfrm>
                  <a:off x="12441150" y="379292"/>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1</a:t>
                  </a:r>
                </a:p>
              </p:txBody>
            </p:sp>
            <p:sp>
              <p:nvSpPr>
                <p:cNvPr id="145" name="Ovaal 144"/>
                <p:cNvSpPr/>
                <p:nvPr userDrawn="1"/>
              </p:nvSpPr>
              <p:spPr>
                <a:xfrm>
                  <a:off x="12441150" y="2337208"/>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2</a:t>
                  </a:r>
                </a:p>
              </p:txBody>
            </p:sp>
            <p:cxnSp>
              <p:nvCxnSpPr>
                <p:cNvPr id="146" name="Rechte verbindingslijn 145"/>
                <p:cNvCxnSpPr/>
                <p:nvPr userDrawn="1"/>
              </p:nvCxnSpPr>
              <p:spPr>
                <a:xfrm>
                  <a:off x="12441150" y="248176"/>
                  <a:ext cx="2710405" cy="0"/>
                </a:xfrm>
                <a:prstGeom prst="line">
                  <a:avLst/>
                </a:prstGeom>
                <a:noFill/>
                <a:ln w="9525" cap="flat" cmpd="sng" algn="ctr">
                  <a:solidFill>
                    <a:schemeClr val="accent1"/>
                  </a:solidFill>
                  <a:prstDash val="solid"/>
                </a:ln>
                <a:effectLst/>
              </p:spPr>
            </p:cxnSp>
            <p:cxnSp>
              <p:nvCxnSpPr>
                <p:cNvPr id="147" name="Rechte verbindingslijn 146"/>
                <p:cNvCxnSpPr/>
                <p:nvPr userDrawn="1"/>
              </p:nvCxnSpPr>
              <p:spPr>
                <a:xfrm>
                  <a:off x="12441149" y="2212830"/>
                  <a:ext cx="2710405" cy="0"/>
                </a:xfrm>
                <a:prstGeom prst="line">
                  <a:avLst/>
                </a:prstGeom>
                <a:noFill/>
                <a:ln w="9525" cap="flat" cmpd="sng" algn="ctr">
                  <a:solidFill>
                    <a:schemeClr val="accent1"/>
                  </a:solidFill>
                  <a:prstDash val="solid"/>
                </a:ln>
                <a:effectLst/>
              </p:spPr>
            </p:cxnSp>
            <p:cxnSp>
              <p:nvCxnSpPr>
                <p:cNvPr id="148" name="Rechte verbindingslijn 147"/>
                <p:cNvCxnSpPr/>
                <p:nvPr userDrawn="1"/>
              </p:nvCxnSpPr>
              <p:spPr>
                <a:xfrm>
                  <a:off x="12444679" y="5236758"/>
                  <a:ext cx="2706875" cy="0"/>
                </a:xfrm>
                <a:prstGeom prst="line">
                  <a:avLst/>
                </a:prstGeom>
                <a:noFill/>
                <a:ln w="9525" cap="flat" cmpd="sng" algn="ctr">
                  <a:solidFill>
                    <a:schemeClr val="accent1"/>
                  </a:solidFill>
                  <a:prstDash val="solid"/>
                </a:ln>
                <a:effectLst/>
              </p:spPr>
            </p:cxnSp>
            <p:sp>
              <p:nvSpPr>
                <p:cNvPr id="149" name="Tekstvak 33"/>
                <p:cNvSpPr txBox="1"/>
                <p:nvPr userDrawn="1"/>
              </p:nvSpPr>
              <p:spPr>
                <a:xfrm>
                  <a:off x="12961946" y="1702639"/>
                  <a:ext cx="1287094" cy="298430"/>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12" fontAlgn="auto">
                    <a:spcBef>
                      <a:spcPts val="0"/>
                    </a:spcBef>
                    <a:spcAft>
                      <a:spcPts val="0"/>
                    </a:spcAft>
                    <a:defRPr/>
                  </a:pPr>
                  <a:r>
                    <a:rPr lang="nl-NL" sz="1600" u="sng" kern="0" dirty="0">
                      <a:solidFill>
                        <a:srgbClr val="000000"/>
                      </a:solidFill>
                      <a:latin typeface="Trebuchet MS"/>
                      <a:cs typeface="Segoe UI Light" panose="020B0502040204020203" pitchFamily="34" charset="0"/>
                    </a:rPr>
                    <a:t>H</a:t>
                  </a:r>
                  <a:r>
                    <a:rPr lang="nl-NL" sz="1600" kern="0" dirty="0">
                      <a:solidFill>
                        <a:srgbClr val="000000"/>
                      </a:solidFill>
                      <a:latin typeface="Trebuchet MS"/>
                      <a:cs typeface="Segoe UI Light" panose="020B0502040204020203" pitchFamily="34" charset="0"/>
                    </a:rPr>
                    <a:t>yperlink…</a:t>
                  </a:r>
                  <a:endParaRPr lang="nl-NL" sz="1400" i="1" kern="0" dirty="0">
                    <a:solidFill>
                      <a:srgbClr val="000000"/>
                    </a:solidFill>
                    <a:latin typeface="Trebuchet MS"/>
                    <a:cs typeface="Segoe UI Light" panose="020B0502040204020203" pitchFamily="34" charset="0"/>
                  </a:endParaRPr>
                </a:p>
              </p:txBody>
            </p:sp>
          </p:grpSp>
          <p:pic>
            <p:nvPicPr>
              <p:cNvPr id="140" name="Afbeelding 139"/>
              <p:cNvPicPr>
                <a:picLocks noChangeAspect="1"/>
              </p:cNvPicPr>
              <p:nvPr userDrawn="1"/>
            </p:nvPicPr>
            <p:blipFill rotWithShape="1">
              <a:blip r:embed="rId2"/>
              <a:srcRect l="541" t="1090" b="517"/>
              <a:stretch/>
            </p:blipFill>
            <p:spPr>
              <a:xfrm>
                <a:off x="12459242" y="3770920"/>
                <a:ext cx="2678178" cy="1300095"/>
              </a:xfrm>
              <a:prstGeom prst="round2SameRect">
                <a:avLst>
                  <a:gd name="adj1" fmla="val 2077"/>
                  <a:gd name="adj2" fmla="val 0"/>
                </a:avLst>
              </a:prstGeom>
              <a:ln w="3175">
                <a:solidFill>
                  <a:schemeClr val="tx1"/>
                </a:solidFill>
              </a:ln>
            </p:spPr>
          </p:pic>
        </p:grpSp>
      </p:grpSp>
      <p:grpSp>
        <p:nvGrpSpPr>
          <p:cNvPr id="107" name="Instructie - Afbeelding invoegen"/>
          <p:cNvGrpSpPr/>
          <p:nvPr userDrawn="1"/>
        </p:nvGrpSpPr>
        <p:grpSpPr>
          <a:xfrm>
            <a:off x="12487712" y="-19834"/>
            <a:ext cx="2717570" cy="3676571"/>
            <a:chOff x="12434693" y="14897"/>
            <a:chExt cx="2716862" cy="3676571"/>
          </a:xfrm>
        </p:grpSpPr>
        <p:sp>
          <p:nvSpPr>
            <p:cNvPr id="123" name="Rechthoek 122"/>
            <p:cNvSpPr/>
            <p:nvPr userDrawn="1"/>
          </p:nvSpPr>
          <p:spPr>
            <a:xfrm>
              <a:off x="12441150" y="14897"/>
              <a:ext cx="2696270" cy="161771"/>
            </a:xfrm>
            <a:prstGeom prst="rect">
              <a:avLst/>
            </a:prstGeom>
            <a:noFill/>
            <a:ln w="25400" cap="flat" cmpd="sng" algn="ctr">
              <a:noFill/>
              <a:prstDash val="solid"/>
            </a:ln>
            <a:effectLst/>
          </p:spPr>
          <p:txBody>
            <a:bodyPr lIns="0" tIns="0" rIns="0" bIns="0" rtlCol="0" anchor="t"/>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12">
                <a:lnSpc>
                  <a:spcPct val="80000"/>
                </a:lnSpc>
              </a:pPr>
              <a:r>
                <a:rPr lang="nl-NL" sz="1600" b="1" kern="0" cap="all" dirty="0">
                  <a:solidFill>
                    <a:srgbClr val="ED1A3B"/>
                  </a:solidFill>
                  <a:cs typeface="Segoe UI Light" panose="020B0502040204020203" pitchFamily="34" charset="0"/>
                </a:rPr>
                <a:t>AFBEELDING INVOEGEN</a:t>
              </a:r>
            </a:p>
          </p:txBody>
        </p:sp>
        <p:sp>
          <p:nvSpPr>
            <p:cNvPr id="124" name="Tekstvak 33"/>
            <p:cNvSpPr txBox="1"/>
            <p:nvPr userDrawn="1"/>
          </p:nvSpPr>
          <p:spPr>
            <a:xfrm>
              <a:off x="12441149" y="814239"/>
              <a:ext cx="2710405" cy="719877"/>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Indien nodig, verwijder de bestaande afbeelding. Klik op het pictogram </a:t>
              </a:r>
              <a:br>
                <a:rPr lang="nl-NL" sz="1200" kern="0" dirty="0">
                  <a:solidFill>
                    <a:srgbClr val="000000"/>
                  </a:solidFill>
                  <a:latin typeface="Trebuchet MS"/>
                  <a:cs typeface="Segoe UI Light" panose="020B0502040204020203" pitchFamily="34" charset="0"/>
                </a:rPr>
              </a:br>
              <a:r>
                <a:rPr lang="nl-NL" sz="1200" kern="0" dirty="0">
                  <a:solidFill>
                    <a:srgbClr val="000000"/>
                  </a:solidFill>
                  <a:latin typeface="Trebuchet MS"/>
                  <a:cs typeface="Segoe UI Light" panose="020B0502040204020203" pitchFamily="34" charset="0"/>
                </a:rPr>
                <a:t>om een afbeelding in te voegen</a:t>
              </a:r>
              <a:br>
                <a:rPr lang="nl-NL" sz="1200" kern="0" dirty="0">
                  <a:solidFill>
                    <a:srgbClr val="000000"/>
                  </a:solidFill>
                  <a:latin typeface="Trebuchet MS"/>
                  <a:cs typeface="Segoe UI Light" panose="020B0502040204020203" pitchFamily="34" charset="0"/>
                </a:rPr>
              </a:br>
              <a:r>
                <a:rPr lang="nl-NL" sz="1100" i="1" kern="0" dirty="0">
                  <a:solidFill>
                    <a:srgbClr val="000000"/>
                  </a:solidFill>
                  <a:latin typeface="Trebuchet MS"/>
                  <a:cs typeface="Segoe UI Light" panose="020B0502040204020203" pitchFamily="34" charset="0"/>
                </a:rPr>
                <a:t>(zie onderstaand voorbeeld).</a:t>
              </a:r>
            </a:p>
          </p:txBody>
        </p:sp>
        <p:sp>
          <p:nvSpPr>
            <p:cNvPr id="125" name="Tekstvak 33"/>
            <p:cNvSpPr txBox="1"/>
            <p:nvPr userDrawn="1"/>
          </p:nvSpPr>
          <p:spPr>
            <a:xfrm>
              <a:off x="12441149" y="2793904"/>
              <a:ext cx="2710405" cy="395943"/>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Selecteer de afbeelding die u wilt invoegen en klik op </a:t>
              </a:r>
              <a:r>
                <a:rPr lang="nl-NL" sz="1200" b="1" kern="0" dirty="0">
                  <a:solidFill>
                    <a:srgbClr val="000000"/>
                  </a:solidFill>
                  <a:latin typeface="Trebuchet MS"/>
                  <a:cs typeface="Segoe UI Light" panose="020B0502040204020203" pitchFamily="34" charset="0"/>
                </a:rPr>
                <a:t>‘Invoegen’</a:t>
              </a:r>
            </a:p>
          </p:txBody>
        </p:sp>
        <p:sp>
          <p:nvSpPr>
            <p:cNvPr id="126" name="Ovaal 125"/>
            <p:cNvSpPr/>
            <p:nvPr userDrawn="1"/>
          </p:nvSpPr>
          <p:spPr>
            <a:xfrm>
              <a:off x="12441150" y="379292"/>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1</a:t>
              </a:r>
            </a:p>
          </p:txBody>
        </p:sp>
        <p:sp>
          <p:nvSpPr>
            <p:cNvPr id="127" name="Ovaal 126"/>
            <p:cNvSpPr/>
            <p:nvPr userDrawn="1"/>
          </p:nvSpPr>
          <p:spPr>
            <a:xfrm>
              <a:off x="12441150" y="2337208"/>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2</a:t>
              </a:r>
            </a:p>
          </p:txBody>
        </p:sp>
        <p:cxnSp>
          <p:nvCxnSpPr>
            <p:cNvPr id="128" name="Rechte verbindingslijn 127"/>
            <p:cNvCxnSpPr/>
            <p:nvPr userDrawn="1"/>
          </p:nvCxnSpPr>
          <p:spPr>
            <a:xfrm>
              <a:off x="12441150" y="248176"/>
              <a:ext cx="2710405" cy="0"/>
            </a:xfrm>
            <a:prstGeom prst="line">
              <a:avLst/>
            </a:prstGeom>
            <a:noFill/>
            <a:ln w="9525" cap="flat" cmpd="sng" algn="ctr">
              <a:solidFill>
                <a:schemeClr val="accent1"/>
              </a:solidFill>
              <a:prstDash val="solid"/>
            </a:ln>
            <a:effectLst/>
          </p:spPr>
        </p:cxnSp>
        <p:cxnSp>
          <p:nvCxnSpPr>
            <p:cNvPr id="129" name="Rechte verbindingslijn 128"/>
            <p:cNvCxnSpPr/>
            <p:nvPr userDrawn="1"/>
          </p:nvCxnSpPr>
          <p:spPr>
            <a:xfrm>
              <a:off x="12441149" y="2212830"/>
              <a:ext cx="2710405" cy="0"/>
            </a:xfrm>
            <a:prstGeom prst="line">
              <a:avLst/>
            </a:prstGeom>
            <a:noFill/>
            <a:ln w="9525" cap="flat" cmpd="sng" algn="ctr">
              <a:solidFill>
                <a:schemeClr val="accent1"/>
              </a:solidFill>
              <a:prstDash val="solid"/>
            </a:ln>
            <a:effectLst/>
          </p:spPr>
        </p:cxnSp>
        <p:cxnSp>
          <p:nvCxnSpPr>
            <p:cNvPr id="130" name="Rechte verbindingslijn 129"/>
            <p:cNvCxnSpPr/>
            <p:nvPr userDrawn="1"/>
          </p:nvCxnSpPr>
          <p:spPr>
            <a:xfrm>
              <a:off x="12444679" y="3691468"/>
              <a:ext cx="2706875" cy="0"/>
            </a:xfrm>
            <a:prstGeom prst="line">
              <a:avLst/>
            </a:prstGeom>
            <a:noFill/>
            <a:ln w="9525" cap="flat" cmpd="sng" algn="ctr">
              <a:solidFill>
                <a:schemeClr val="accent1"/>
              </a:solidFill>
              <a:prstDash val="solid"/>
            </a:ln>
            <a:effectLst/>
          </p:spPr>
        </p:cxnSp>
        <p:pic>
          <p:nvPicPr>
            <p:cNvPr id="131" name="Icoontje afbeeldi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2434693" y="1677764"/>
              <a:ext cx="403210" cy="403210"/>
            </a:xfrm>
            <a:prstGeom prst="rect">
              <a:avLst/>
            </a:prstGeom>
          </p:spPr>
        </p:pic>
        <p:grpSp>
          <p:nvGrpSpPr>
            <p:cNvPr id="132" name="Groep 131"/>
            <p:cNvGrpSpPr/>
            <p:nvPr userDrawn="1"/>
          </p:nvGrpSpPr>
          <p:grpSpPr>
            <a:xfrm>
              <a:off x="12450571" y="3301369"/>
              <a:ext cx="1002992" cy="267962"/>
              <a:chOff x="13560784" y="3471416"/>
              <a:chExt cx="1114138" cy="297656"/>
            </a:xfrm>
          </p:grpSpPr>
          <p:sp>
            <p:nvSpPr>
              <p:cNvPr id="133" name="Afgeronde rechthoek 132"/>
              <p:cNvSpPr/>
              <p:nvPr userDrawn="1"/>
            </p:nvSpPr>
            <p:spPr>
              <a:xfrm>
                <a:off x="13560784" y="3471416"/>
                <a:ext cx="1114138" cy="297656"/>
              </a:xfrm>
              <a:prstGeom prst="roundRect">
                <a:avLst/>
              </a:prstGeom>
              <a:gradFill flip="none" rotWithShape="1">
                <a:gsLst>
                  <a:gs pos="4000">
                    <a:srgbClr val="00B0F0"/>
                  </a:gs>
                  <a:gs pos="0">
                    <a:srgbClr val="0070C0"/>
                  </a:gs>
                  <a:gs pos="100000">
                    <a:srgbClr val="0070C0"/>
                  </a:gs>
                  <a:gs pos="12000">
                    <a:srgbClr val="D1EAFF"/>
                  </a:gs>
                  <a:gs pos="96000">
                    <a:srgbClr val="00B0F0"/>
                  </a:gs>
                  <a:gs pos="89000">
                    <a:srgbClr val="DDF4FF"/>
                  </a:gs>
                  <a:gs pos="43000">
                    <a:srgbClr val="D1EAFF"/>
                  </a:gs>
                  <a:gs pos="51000">
                    <a:srgbClr val="DDF4FF"/>
                  </a:gs>
                </a:gsLst>
                <a:lin ang="16200000" scaled="1"/>
                <a:tileRect/>
              </a:gradFill>
              <a:ln w="63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12"/>
                <a:endParaRPr lang="nl-NL" dirty="0">
                  <a:solidFill>
                    <a:srgbClr val="FFFFFF"/>
                  </a:solidFill>
                </a:endParaRPr>
              </a:p>
            </p:txBody>
          </p:sp>
          <p:sp>
            <p:nvSpPr>
              <p:cNvPr id="134" name="Tekstvak 62"/>
              <p:cNvSpPr txBox="1"/>
              <p:nvPr userDrawn="1"/>
            </p:nvSpPr>
            <p:spPr>
              <a:xfrm>
                <a:off x="13573594" y="3488254"/>
                <a:ext cx="888311" cy="273506"/>
              </a:xfrm>
              <a:prstGeom prst="rect">
                <a:avLst/>
              </a:prstGeom>
              <a:noFill/>
            </p:spPr>
            <p:txBody>
              <a:bodyPr wrap="square" rtlCol="0" anchor="ctr">
                <a:sp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12"/>
                <a:r>
                  <a:rPr lang="nl-NL" sz="1000" dirty="0">
                    <a:solidFill>
                      <a:srgbClr val="000000"/>
                    </a:solidFill>
                    <a:latin typeface="Trebuchet MS"/>
                  </a:rPr>
                  <a:t>Invoegen</a:t>
                </a:r>
              </a:p>
            </p:txBody>
          </p:sp>
          <p:cxnSp>
            <p:nvCxnSpPr>
              <p:cNvPr id="135" name="Rechte verbindingslijn 134"/>
              <p:cNvCxnSpPr/>
              <p:nvPr userDrawn="1"/>
            </p:nvCxnSpPr>
            <p:spPr>
              <a:xfrm>
                <a:off x="14461905" y="3507058"/>
                <a:ext cx="0" cy="224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6" name="Gelijkbenige driehoek 135"/>
              <p:cNvSpPr/>
              <p:nvPr userDrawn="1"/>
            </p:nvSpPr>
            <p:spPr>
              <a:xfrm rot="10800000">
                <a:off x="14518584" y="3600521"/>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12"/>
                <a:endParaRPr lang="nl-NL" dirty="0">
                  <a:solidFill>
                    <a:srgbClr val="FFFFFF"/>
                  </a:solidFill>
                </a:endParaRPr>
              </a:p>
            </p:txBody>
          </p:sp>
        </p:grpSp>
      </p:grpSp>
      <p:grpSp>
        <p:nvGrpSpPr>
          <p:cNvPr id="70" name="Instructie - Tekst niveaus"/>
          <p:cNvGrpSpPr/>
          <p:nvPr userDrawn="1"/>
        </p:nvGrpSpPr>
        <p:grpSpPr>
          <a:xfrm>
            <a:off x="-3117849" y="365"/>
            <a:ext cx="2823358" cy="5254722"/>
            <a:chOff x="-2959433" y="-5444"/>
            <a:chExt cx="2822623" cy="5254722"/>
          </a:xfrm>
        </p:grpSpPr>
        <p:sp>
          <p:nvSpPr>
            <p:cNvPr id="71" name="Rechthoek 70"/>
            <p:cNvSpPr/>
            <p:nvPr userDrawn="1"/>
          </p:nvSpPr>
          <p:spPr>
            <a:xfrm>
              <a:off x="-2959433" y="-5444"/>
              <a:ext cx="2572469" cy="280344"/>
            </a:xfrm>
            <a:prstGeom prst="rect">
              <a:avLst/>
            </a:prstGeom>
            <a:noFill/>
            <a:ln w="25400" cap="flat" cmpd="sng" algn="ctr">
              <a:noFill/>
              <a:prstDash val="solid"/>
            </a:ln>
            <a:effectLst/>
          </p:spPr>
          <p:txBody>
            <a:bodyPr lIns="0" tIns="0" rIns="0" bIns="0" rtlCol="0" anchor="t"/>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nl-NL" sz="1600" b="1" kern="0" dirty="0">
                  <a:solidFill>
                    <a:srgbClr val="ED1A3B"/>
                  </a:solidFill>
                  <a:cs typeface="Segoe UI Light" panose="020B0502040204020203" pitchFamily="34" charset="0"/>
                </a:rPr>
                <a:t>TEKST NIVEAUS</a:t>
              </a:r>
            </a:p>
          </p:txBody>
        </p:sp>
        <p:sp>
          <p:nvSpPr>
            <p:cNvPr id="72" name="Textfield placeholder"/>
            <p:cNvSpPr txBox="1">
              <a:spLocks/>
            </p:cNvSpPr>
            <p:nvPr userDrawn="1"/>
          </p:nvSpPr>
          <p:spPr>
            <a:xfrm>
              <a:off x="-2587337" y="2675411"/>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0" lvl="2"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a:solidFill>
                    <a:srgbClr val="404040"/>
                  </a:solidFill>
                </a:rPr>
                <a:t>Sub-bullets (16 pt.)</a:t>
              </a:r>
            </a:p>
          </p:txBody>
        </p:sp>
        <p:sp>
          <p:nvSpPr>
            <p:cNvPr id="73" name="Ovaal 72"/>
            <p:cNvSpPr/>
            <p:nvPr userDrawn="1"/>
          </p:nvSpPr>
          <p:spPr>
            <a:xfrm>
              <a:off x="-2959433" y="196874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1</a:t>
              </a:r>
            </a:p>
          </p:txBody>
        </p:sp>
        <p:sp>
          <p:nvSpPr>
            <p:cNvPr id="74" name="Ovaal 73"/>
            <p:cNvSpPr/>
            <p:nvPr userDrawn="1"/>
          </p:nvSpPr>
          <p:spPr>
            <a:xfrm>
              <a:off x="-2959433" y="232207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2</a:t>
              </a:r>
            </a:p>
          </p:txBody>
        </p:sp>
        <p:sp>
          <p:nvSpPr>
            <p:cNvPr id="75" name="Ovaal 74"/>
            <p:cNvSpPr/>
            <p:nvPr userDrawn="1"/>
          </p:nvSpPr>
          <p:spPr>
            <a:xfrm>
              <a:off x="-2959433" y="267541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3</a:t>
              </a:r>
            </a:p>
          </p:txBody>
        </p:sp>
        <p:sp>
          <p:nvSpPr>
            <p:cNvPr id="76" name="Ovaal 75"/>
            <p:cNvSpPr/>
            <p:nvPr userDrawn="1"/>
          </p:nvSpPr>
          <p:spPr>
            <a:xfrm>
              <a:off x="-2959433" y="302874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4</a:t>
              </a:r>
            </a:p>
          </p:txBody>
        </p:sp>
        <p:sp>
          <p:nvSpPr>
            <p:cNvPr id="77" name="Textfield placeholder"/>
            <p:cNvSpPr txBox="1">
              <a:spLocks/>
            </p:cNvSpPr>
            <p:nvPr userDrawn="1"/>
          </p:nvSpPr>
          <p:spPr>
            <a:xfrm>
              <a:off x="-2571950" y="1966925"/>
              <a:ext cx="2163709" cy="261500"/>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79388">
                <a:lnSpc>
                  <a:spcPct val="120000"/>
                </a:lnSpc>
                <a:spcBef>
                  <a:spcPts val="0"/>
                </a:spcBef>
                <a:spcAft>
                  <a:spcPts val="900"/>
                </a:spcAft>
                <a:buClr>
                  <a:srgbClr val="000000"/>
                </a:buClr>
                <a:buSzPct val="100000"/>
                <a:buFont typeface="Arial" pitchFamily="34" charset="0"/>
                <a:buNone/>
                <a:defRPr/>
              </a:pPr>
              <a:r>
                <a:rPr lang="nl-NL" sz="1200" dirty="0">
                  <a:solidFill>
                    <a:srgbClr val="535353"/>
                  </a:solidFill>
                </a:rPr>
                <a:t>Leestekst (16 pt.)</a:t>
              </a:r>
            </a:p>
          </p:txBody>
        </p:sp>
        <p:sp>
          <p:nvSpPr>
            <p:cNvPr id="78" name="Textfield placeholder"/>
            <p:cNvSpPr txBox="1">
              <a:spLocks/>
            </p:cNvSpPr>
            <p:nvPr userDrawn="1"/>
          </p:nvSpPr>
          <p:spPr>
            <a:xfrm>
              <a:off x="-2571950" y="2322077"/>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70000" lvl="1"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err="1">
                  <a:solidFill>
                    <a:srgbClr val="535353"/>
                  </a:solidFill>
                </a:rPr>
                <a:t>Bullets</a:t>
              </a:r>
              <a:r>
                <a:rPr lang="nl-NL" sz="1200" dirty="0">
                  <a:solidFill>
                    <a:srgbClr val="535353"/>
                  </a:solidFill>
                </a:rPr>
                <a:t> (16 </a:t>
              </a:r>
              <a:r>
                <a:rPr lang="nl-NL" sz="1200" dirty="0" err="1">
                  <a:solidFill>
                    <a:srgbClr val="535353"/>
                  </a:solidFill>
                </a:rPr>
                <a:t>pt</a:t>
              </a:r>
              <a:r>
                <a:rPr lang="nl-NL" sz="1200" dirty="0">
                  <a:solidFill>
                    <a:srgbClr val="535353"/>
                  </a:solidFill>
                </a:rPr>
                <a:t>.)</a:t>
              </a:r>
            </a:p>
          </p:txBody>
        </p:sp>
        <p:sp>
          <p:nvSpPr>
            <p:cNvPr id="79" name="Textfield placeholder"/>
            <p:cNvSpPr txBox="1">
              <a:spLocks/>
            </p:cNvSpPr>
            <p:nvPr userDrawn="1"/>
          </p:nvSpPr>
          <p:spPr>
            <a:xfrm>
              <a:off x="-2571951" y="3028747"/>
              <a:ext cx="2435141"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10000" lvl="3" indent="-270000" algn="l" defTabSz="179388" rtl="0" eaLnBrk="1" latinLnBrk="0" hangingPunct="1">
                <a:lnSpc>
                  <a:spcPct val="120000"/>
                </a:lnSpc>
                <a:spcBef>
                  <a:spcPts val="0"/>
                </a:spcBef>
                <a:spcAft>
                  <a:spcPts val="900"/>
                </a:spcAft>
                <a:buClr>
                  <a:schemeClr val="accent2"/>
                </a:buClr>
                <a:buSzPct val="80000"/>
                <a:buFont typeface="Wingdings 3" panose="05040102010807070707" pitchFamily="18" charset="2"/>
                <a:buChar char=""/>
                <a:defRPr/>
              </a:pPr>
              <a:r>
                <a:rPr lang="nl-NL" sz="1200" b="0" kern="1200" dirty="0">
                  <a:solidFill>
                    <a:srgbClr val="404040"/>
                  </a:solidFill>
                  <a:latin typeface="+mn-lt"/>
                  <a:ea typeface="+mn-ea"/>
                  <a:cs typeface="+mn-cs"/>
                </a:rPr>
                <a:t>Sub-sub-bullets (16 pt.)</a:t>
              </a:r>
            </a:p>
          </p:txBody>
        </p:sp>
        <p:cxnSp>
          <p:nvCxnSpPr>
            <p:cNvPr id="80" name="Rechte verbindingslijn 79"/>
            <p:cNvCxnSpPr/>
            <p:nvPr userDrawn="1"/>
          </p:nvCxnSpPr>
          <p:spPr>
            <a:xfrm>
              <a:off x="-2959100" y="274900"/>
              <a:ext cx="2674470" cy="0"/>
            </a:xfrm>
            <a:prstGeom prst="line">
              <a:avLst/>
            </a:prstGeom>
            <a:noFill/>
            <a:ln w="9525" cap="flat" cmpd="sng" algn="ctr">
              <a:solidFill>
                <a:schemeClr val="accent1"/>
              </a:solidFill>
              <a:prstDash val="solid"/>
            </a:ln>
            <a:effectLst/>
          </p:spPr>
        </p:cxnSp>
        <p:cxnSp>
          <p:nvCxnSpPr>
            <p:cNvPr id="81" name="Rechte verbindingslijn 80"/>
            <p:cNvCxnSpPr/>
            <p:nvPr userDrawn="1"/>
          </p:nvCxnSpPr>
          <p:spPr>
            <a:xfrm>
              <a:off x="-2959100" y="1841989"/>
              <a:ext cx="2661379" cy="0"/>
            </a:xfrm>
            <a:prstGeom prst="line">
              <a:avLst/>
            </a:prstGeom>
            <a:noFill/>
            <a:ln w="9525" cap="flat" cmpd="sng" algn="ctr">
              <a:solidFill>
                <a:schemeClr val="accent1"/>
              </a:solidFill>
              <a:prstDash val="solid"/>
            </a:ln>
            <a:effectLst/>
          </p:spPr>
        </p:cxnSp>
        <p:cxnSp>
          <p:nvCxnSpPr>
            <p:cNvPr id="82" name="Rechte verbindingslijn 81"/>
            <p:cNvCxnSpPr/>
            <p:nvPr userDrawn="1"/>
          </p:nvCxnSpPr>
          <p:spPr>
            <a:xfrm>
              <a:off x="-2959100" y="5249278"/>
              <a:ext cx="2661379" cy="0"/>
            </a:xfrm>
            <a:prstGeom prst="line">
              <a:avLst/>
            </a:prstGeom>
            <a:noFill/>
            <a:ln w="9525" cap="flat" cmpd="sng" algn="ctr">
              <a:solidFill>
                <a:schemeClr val="accent1"/>
              </a:solidFill>
              <a:prstDash val="solid"/>
            </a:ln>
            <a:effectLst/>
          </p:spPr>
        </p:cxnSp>
        <p:grpSp>
          <p:nvGrpSpPr>
            <p:cNvPr id="83" name="Groep 82"/>
            <p:cNvGrpSpPr/>
            <p:nvPr userDrawn="1"/>
          </p:nvGrpSpPr>
          <p:grpSpPr>
            <a:xfrm>
              <a:off x="-1948476" y="816741"/>
              <a:ext cx="409108" cy="427699"/>
              <a:chOff x="-1085063" y="758027"/>
              <a:chExt cx="633799" cy="622540"/>
            </a:xfrm>
          </p:grpSpPr>
          <p:sp>
            <p:nvSpPr>
              <p:cNvPr id="190" name="Afgeronde rechthoek 189"/>
              <p:cNvSpPr/>
              <p:nvPr userDrawn="1"/>
            </p:nvSpPr>
            <p:spPr>
              <a:xfrm>
                <a:off x="-108506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191" name="Groep 190"/>
              <p:cNvGrpSpPr/>
              <p:nvPr userDrawn="1"/>
            </p:nvGrpSpPr>
            <p:grpSpPr>
              <a:xfrm>
                <a:off x="-977739" y="864082"/>
                <a:ext cx="419168" cy="410429"/>
                <a:chOff x="6366933" y="309013"/>
                <a:chExt cx="1901295" cy="1861668"/>
              </a:xfrm>
              <a:solidFill>
                <a:srgbClr val="000000"/>
              </a:solidFill>
            </p:grpSpPr>
            <p:sp>
              <p:nvSpPr>
                <p:cNvPr id="192" name="Rechthoek 191"/>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93" name="Rechthoek 192"/>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94" name="Rechthoek 193"/>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95" name="Rechthoek 194"/>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96" name="Rechthoek 195"/>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97" name="Rechthoek 196"/>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98" name="Rechthoek 197"/>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99" name="Rechthoek 198"/>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00" name="Rechthoek 199"/>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01" name="Rechthoek 200"/>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02" name="Vrije vorm 201"/>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nvGrpSpPr>
            <p:cNvPr id="84" name="Groep 83"/>
            <p:cNvGrpSpPr/>
            <p:nvPr userDrawn="1"/>
          </p:nvGrpSpPr>
          <p:grpSpPr>
            <a:xfrm>
              <a:off x="-2950232" y="1207835"/>
              <a:ext cx="532929" cy="509563"/>
              <a:chOff x="-2880382" y="802341"/>
              <a:chExt cx="532929" cy="509563"/>
            </a:xfrm>
          </p:grpSpPr>
          <p:sp>
            <p:nvSpPr>
              <p:cNvPr id="168" name="Rechthoek 167"/>
              <p:cNvSpPr/>
              <p:nvPr userDrawn="1"/>
            </p:nvSpPr>
            <p:spPr>
              <a:xfrm>
                <a:off x="-2880382" y="802341"/>
                <a:ext cx="532929" cy="509563"/>
              </a:xfrm>
              <a:prstGeom prst="rect">
                <a:avLst/>
              </a:prstGeom>
              <a:solidFill>
                <a:sysClr val="window" lastClr="FFFFFF"/>
              </a:soli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pic>
            <p:nvPicPr>
              <p:cNvPr id="169"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635852" y="822181"/>
                <a:ext cx="226442" cy="208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0" name="Picture 3"/>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2848026" y="822181"/>
                <a:ext cx="207168" cy="213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71" name="Groep 170"/>
              <p:cNvGrpSpPr/>
              <p:nvPr userDrawn="1"/>
            </p:nvGrpSpPr>
            <p:grpSpPr>
              <a:xfrm>
                <a:off x="-2802433" y="1123442"/>
                <a:ext cx="132915" cy="104889"/>
                <a:chOff x="-2796392" y="1123442"/>
                <a:chExt cx="120832" cy="104889"/>
              </a:xfrm>
            </p:grpSpPr>
            <p:sp>
              <p:nvSpPr>
                <p:cNvPr id="185" name="Rechthoek 184"/>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86" name="Rechthoek 185"/>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87" name="Rechthoek 186"/>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88" name="Rechthoek 187"/>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89" name="Rechthoek 188"/>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172" name="Groep 171"/>
              <p:cNvGrpSpPr/>
              <p:nvPr userDrawn="1"/>
            </p:nvGrpSpPr>
            <p:grpSpPr>
              <a:xfrm>
                <a:off x="-2575417" y="1123442"/>
                <a:ext cx="133930" cy="104889"/>
                <a:chOff x="-2556734" y="1123442"/>
                <a:chExt cx="147324" cy="104889"/>
              </a:xfrm>
            </p:grpSpPr>
            <p:grpSp>
              <p:nvGrpSpPr>
                <p:cNvPr id="173" name="Groep 172"/>
                <p:cNvGrpSpPr/>
                <p:nvPr userDrawn="1"/>
              </p:nvGrpSpPr>
              <p:grpSpPr>
                <a:xfrm>
                  <a:off x="-2556734" y="1123442"/>
                  <a:ext cx="68206" cy="104889"/>
                  <a:chOff x="-2796392" y="1123442"/>
                  <a:chExt cx="120832" cy="104889"/>
                </a:xfrm>
              </p:grpSpPr>
              <p:sp>
                <p:nvSpPr>
                  <p:cNvPr id="180" name="Rechthoek 179"/>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81" name="Rechthoek 180"/>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82" name="Rechthoek 181"/>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83" name="Rechthoek 182"/>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84" name="Rechthoek 183"/>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174" name="Groep 173"/>
                <p:cNvGrpSpPr/>
                <p:nvPr userDrawn="1"/>
              </p:nvGrpSpPr>
              <p:grpSpPr>
                <a:xfrm>
                  <a:off x="-2477616" y="1123442"/>
                  <a:ext cx="68206" cy="104889"/>
                  <a:chOff x="-2796392" y="1123442"/>
                  <a:chExt cx="120832" cy="104889"/>
                </a:xfrm>
              </p:grpSpPr>
              <p:sp>
                <p:nvSpPr>
                  <p:cNvPr id="175" name="Rechthoek 174"/>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76" name="Rechthoek 175"/>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77" name="Rechthoek 176"/>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78" name="Rechthoek 177"/>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79" name="Rechthoek 178"/>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grpSp>
          <p:nvGrpSpPr>
            <p:cNvPr id="85" name="Groep 84"/>
            <p:cNvGrpSpPr/>
            <p:nvPr userDrawn="1"/>
          </p:nvGrpSpPr>
          <p:grpSpPr>
            <a:xfrm>
              <a:off x="-1948476" y="1281164"/>
              <a:ext cx="413704" cy="427699"/>
              <a:chOff x="-1845083" y="758027"/>
              <a:chExt cx="633799" cy="622540"/>
            </a:xfrm>
          </p:grpSpPr>
          <p:sp>
            <p:nvSpPr>
              <p:cNvPr id="104" name="Afgeronde rechthoek 103"/>
              <p:cNvSpPr/>
              <p:nvPr userDrawn="1"/>
            </p:nvSpPr>
            <p:spPr>
              <a:xfrm>
                <a:off x="-184508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105" name="Groep 104"/>
              <p:cNvGrpSpPr/>
              <p:nvPr userDrawn="1"/>
            </p:nvGrpSpPr>
            <p:grpSpPr>
              <a:xfrm>
                <a:off x="-1737762" y="864082"/>
                <a:ext cx="419168" cy="410429"/>
                <a:chOff x="3708400" y="309013"/>
                <a:chExt cx="1901295" cy="1861668"/>
              </a:xfrm>
              <a:solidFill>
                <a:srgbClr val="000000"/>
              </a:solidFill>
            </p:grpSpPr>
            <p:sp>
              <p:nvSpPr>
                <p:cNvPr id="157" name="Rechthoek 156"/>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58" name="Rechthoek 157"/>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59" name="Rechthoek 158"/>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0" name="Rechthoek 159"/>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1" name="Rechthoek 160"/>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2" name="Rechthoek 161"/>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3" name="Rechthoek 162"/>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4" name="Rechthoek 163"/>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5" name="Rechthoek 164"/>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6" name="Rechthoek 165"/>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7" name="Vrije vorm 166"/>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cxnSp>
          <p:nvCxnSpPr>
            <p:cNvPr id="86" name="Rechte verbindingslijn 85"/>
            <p:cNvCxnSpPr/>
            <p:nvPr userDrawn="1"/>
          </p:nvCxnSpPr>
          <p:spPr>
            <a:xfrm>
              <a:off x="-2814292" y="1441193"/>
              <a:ext cx="865816" cy="53821"/>
            </a:xfrm>
            <a:prstGeom prst="line">
              <a:avLst/>
            </a:prstGeom>
            <a:noFill/>
            <a:ln w="9525" cap="flat" cmpd="sng" algn="ctr">
              <a:solidFill>
                <a:schemeClr val="accent1"/>
              </a:solidFill>
              <a:prstDash val="solid"/>
              <a:headEnd type="oval"/>
            </a:ln>
            <a:effectLst/>
          </p:spPr>
        </p:cxnSp>
        <p:cxnSp>
          <p:nvCxnSpPr>
            <p:cNvPr id="87" name="Rechte verbindingslijn 86"/>
            <p:cNvCxnSpPr/>
            <p:nvPr userDrawn="1"/>
          </p:nvCxnSpPr>
          <p:spPr>
            <a:xfrm flipV="1">
              <a:off x="-2453902" y="1030591"/>
              <a:ext cx="505426" cy="283623"/>
            </a:xfrm>
            <a:prstGeom prst="line">
              <a:avLst/>
            </a:prstGeom>
            <a:noFill/>
            <a:ln w="9525" cap="flat" cmpd="sng" algn="ctr">
              <a:solidFill>
                <a:schemeClr val="accent1"/>
              </a:solidFill>
              <a:prstDash val="solid"/>
              <a:headEnd type="oval"/>
            </a:ln>
            <a:effectLst/>
          </p:spPr>
        </p:cxnSp>
        <p:sp>
          <p:nvSpPr>
            <p:cNvPr id="88" name="Textfield placeholder"/>
            <p:cNvSpPr txBox="1">
              <a:spLocks/>
            </p:cNvSpPr>
            <p:nvPr userDrawn="1"/>
          </p:nvSpPr>
          <p:spPr>
            <a:xfrm>
              <a:off x="-1341598" y="816743"/>
              <a:ext cx="1056968" cy="427698"/>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hoog</a:t>
              </a:r>
            </a:p>
          </p:txBody>
        </p:sp>
        <p:sp>
          <p:nvSpPr>
            <p:cNvPr id="89" name="Textfield placeholder"/>
            <p:cNvSpPr txBox="1">
              <a:spLocks/>
            </p:cNvSpPr>
            <p:nvPr userDrawn="1"/>
          </p:nvSpPr>
          <p:spPr>
            <a:xfrm>
              <a:off x="-1341599" y="1281164"/>
              <a:ext cx="1070223" cy="427699"/>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laag</a:t>
              </a:r>
            </a:p>
          </p:txBody>
        </p:sp>
        <p:sp>
          <p:nvSpPr>
            <p:cNvPr id="90" name="Ovaal 89"/>
            <p:cNvSpPr/>
            <p:nvPr userDrawn="1"/>
          </p:nvSpPr>
          <p:spPr>
            <a:xfrm>
              <a:off x="-2959433" y="338208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5</a:t>
              </a:r>
            </a:p>
          </p:txBody>
        </p:sp>
        <p:sp>
          <p:nvSpPr>
            <p:cNvPr id="91" name="Textfield placeholder"/>
            <p:cNvSpPr txBox="1">
              <a:spLocks/>
            </p:cNvSpPr>
            <p:nvPr userDrawn="1"/>
          </p:nvSpPr>
          <p:spPr>
            <a:xfrm>
              <a:off x="-2571950" y="3382082"/>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60000" lvl="4" indent="-360000" defTabSz="179388">
                <a:lnSpc>
                  <a:spcPct val="120000"/>
                </a:lnSpc>
                <a:spcBef>
                  <a:spcPts val="0"/>
                </a:spcBef>
                <a:spcAft>
                  <a:spcPts val="900"/>
                </a:spcAft>
                <a:buClr>
                  <a:srgbClr val="ED1A3B"/>
                </a:buClr>
                <a:buFont typeface="+mj-lt"/>
                <a:buAutoNum type="arabicPeriod"/>
                <a:defRPr/>
              </a:pPr>
              <a:r>
                <a:rPr lang="nl-NL" sz="1200" b="0" dirty="0">
                  <a:solidFill>
                    <a:srgbClr val="404040"/>
                  </a:solidFill>
                </a:rPr>
                <a:t>Numeriek (16 pt.)</a:t>
              </a:r>
            </a:p>
          </p:txBody>
        </p:sp>
        <p:grpSp>
          <p:nvGrpSpPr>
            <p:cNvPr id="92" name="Groep 91"/>
            <p:cNvGrpSpPr/>
            <p:nvPr userDrawn="1"/>
          </p:nvGrpSpPr>
          <p:grpSpPr>
            <a:xfrm>
              <a:off x="-2950232" y="816050"/>
              <a:ext cx="528695" cy="344202"/>
              <a:chOff x="-2880382" y="410556"/>
              <a:chExt cx="528695" cy="344202"/>
            </a:xfrm>
          </p:grpSpPr>
          <p:sp>
            <p:nvSpPr>
              <p:cNvPr id="102" name="Afgeronde rechthoek 101"/>
              <p:cNvSpPr/>
              <p:nvPr userDrawn="1"/>
            </p:nvSpPr>
            <p:spPr>
              <a:xfrm>
                <a:off x="-2874214" y="410556"/>
                <a:ext cx="522527" cy="339183"/>
              </a:xfrm>
              <a:prstGeom prst="roundRect">
                <a:avLst>
                  <a:gd name="adj" fmla="val 7565"/>
                </a:avLst>
              </a:prstGeom>
              <a:gradFill>
                <a:gsLst>
                  <a:gs pos="0">
                    <a:srgbClr val="FFEC8F"/>
                  </a:gs>
                  <a:gs pos="100000">
                    <a:srgbClr val="FFFFFF"/>
                  </a:gs>
                </a:gsLst>
                <a:lin ang="5400000" scaled="0"/>
              </a:gra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sp>
            <p:nvSpPr>
              <p:cNvPr id="103" name="Vrije vorm 102"/>
              <p:cNvSpPr/>
              <p:nvPr userDrawn="1"/>
            </p:nvSpPr>
            <p:spPr>
              <a:xfrm>
                <a:off x="-2880382" y="452699"/>
                <a:ext cx="528695" cy="302059"/>
              </a:xfrm>
              <a:custGeom>
                <a:avLst/>
                <a:gdLst>
                  <a:gd name="connsiteX0" fmla="*/ 55524 w 528695"/>
                  <a:gd name="connsiteY0" fmla="*/ 0 h 302059"/>
                  <a:gd name="connsiteX1" fmla="*/ 455496 w 528695"/>
                  <a:gd name="connsiteY1" fmla="*/ 0 h 302059"/>
                  <a:gd name="connsiteX2" fmla="*/ 475205 w 528695"/>
                  <a:gd name="connsiteY2" fmla="*/ 19709 h 302059"/>
                  <a:gd name="connsiteX3" fmla="*/ 475205 w 528695"/>
                  <a:gd name="connsiteY3" fmla="*/ 230056 h 302059"/>
                  <a:gd name="connsiteX4" fmla="*/ 516694 w 528695"/>
                  <a:gd name="connsiteY4" fmla="*/ 230056 h 302059"/>
                  <a:gd name="connsiteX5" fmla="*/ 528695 w 528695"/>
                  <a:gd name="connsiteY5" fmla="*/ 242057 h 302059"/>
                  <a:gd name="connsiteX6" fmla="*/ 528695 w 528695"/>
                  <a:gd name="connsiteY6" fmla="*/ 290058 h 302059"/>
                  <a:gd name="connsiteX7" fmla="*/ 516694 w 528695"/>
                  <a:gd name="connsiteY7" fmla="*/ 302059 h 302059"/>
                  <a:gd name="connsiteX8" fmla="*/ 12001 w 528695"/>
                  <a:gd name="connsiteY8" fmla="*/ 302059 h 302059"/>
                  <a:gd name="connsiteX9" fmla="*/ 0 w 528695"/>
                  <a:gd name="connsiteY9" fmla="*/ 290058 h 302059"/>
                  <a:gd name="connsiteX10" fmla="*/ 0 w 528695"/>
                  <a:gd name="connsiteY10" fmla="*/ 242057 h 302059"/>
                  <a:gd name="connsiteX11" fmla="*/ 12001 w 528695"/>
                  <a:gd name="connsiteY11" fmla="*/ 230056 h 302059"/>
                  <a:gd name="connsiteX12" fmla="*/ 35815 w 528695"/>
                  <a:gd name="connsiteY12" fmla="*/ 230056 h 302059"/>
                  <a:gd name="connsiteX13" fmla="*/ 35815 w 528695"/>
                  <a:gd name="connsiteY13" fmla="*/ 19709 h 302059"/>
                  <a:gd name="connsiteX14" fmla="*/ 55524 w 528695"/>
                  <a:gd name="connsiteY14" fmla="*/ 0 h 3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8695" h="302059">
                    <a:moveTo>
                      <a:pt x="55524" y="0"/>
                    </a:moveTo>
                    <a:lnTo>
                      <a:pt x="455496" y="0"/>
                    </a:lnTo>
                    <a:cubicBezTo>
                      <a:pt x="466381" y="0"/>
                      <a:pt x="475205" y="8824"/>
                      <a:pt x="475205" y="19709"/>
                    </a:cubicBezTo>
                    <a:lnTo>
                      <a:pt x="475205" y="230056"/>
                    </a:lnTo>
                    <a:lnTo>
                      <a:pt x="516694" y="230056"/>
                    </a:lnTo>
                    <a:cubicBezTo>
                      <a:pt x="523322" y="230056"/>
                      <a:pt x="528695" y="235429"/>
                      <a:pt x="528695" y="242057"/>
                    </a:cubicBezTo>
                    <a:lnTo>
                      <a:pt x="528695" y="290058"/>
                    </a:lnTo>
                    <a:cubicBezTo>
                      <a:pt x="528695" y="296686"/>
                      <a:pt x="523322" y="302059"/>
                      <a:pt x="516694" y="302059"/>
                    </a:cubicBezTo>
                    <a:lnTo>
                      <a:pt x="12001" y="302059"/>
                    </a:lnTo>
                    <a:cubicBezTo>
                      <a:pt x="5373" y="302059"/>
                      <a:pt x="0" y="296686"/>
                      <a:pt x="0" y="290058"/>
                    </a:cubicBezTo>
                    <a:lnTo>
                      <a:pt x="0" y="242057"/>
                    </a:lnTo>
                    <a:cubicBezTo>
                      <a:pt x="0" y="235429"/>
                      <a:pt x="5373" y="230056"/>
                      <a:pt x="12001" y="230056"/>
                    </a:cubicBezTo>
                    <a:lnTo>
                      <a:pt x="35815" y="230056"/>
                    </a:lnTo>
                    <a:lnTo>
                      <a:pt x="35815" y="19709"/>
                    </a:lnTo>
                    <a:cubicBezTo>
                      <a:pt x="35815" y="8824"/>
                      <a:pt x="44639" y="0"/>
                      <a:pt x="55524" y="0"/>
                    </a:cubicBezTo>
                    <a:close/>
                  </a:path>
                </a:pathLst>
              </a:custGeom>
              <a:solidFill>
                <a:sysClr val="window" lastClr="FFFFFF">
                  <a:lumMod val="95000"/>
                </a:sysClr>
              </a:solidFill>
              <a:ln w="9525" cap="flat" cmpd="sng" algn="ctr">
                <a:solidFill>
                  <a:srgbClr val="FFFFFF">
                    <a:lumMod val="90000"/>
                  </a:srgbClr>
                </a:solidFill>
                <a:prstDash val="solid"/>
                <a:miter lim="800000"/>
              </a:ln>
              <a:effectLst/>
            </p:spPr>
            <p:txBody>
              <a:bodyPr rot="0" spcFirstLastPara="0" vert="horz" wrap="square" lIns="108000" tIns="36000" rIns="108000" bIns="10800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900" dirty="0">
                    <a:solidFill>
                      <a:prstClr val="black"/>
                    </a:solidFill>
                    <a:latin typeface="Segoe UI Light"/>
                  </a:rPr>
                  <a:t>Start</a:t>
                </a:r>
              </a:p>
            </p:txBody>
          </p:sp>
        </p:grpSp>
        <p:sp>
          <p:nvSpPr>
            <p:cNvPr id="93" name="Tekstvak 65"/>
            <p:cNvSpPr txBox="1"/>
            <p:nvPr userDrawn="1"/>
          </p:nvSpPr>
          <p:spPr>
            <a:xfrm>
              <a:off x="-2959433" y="372104"/>
              <a:ext cx="2679887" cy="453396"/>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nl-NL" sz="1200" kern="0" dirty="0">
                  <a:solidFill>
                    <a:srgbClr val="000000"/>
                  </a:solidFill>
                  <a:latin typeface="Segoe UI Light" panose="020B0502040204020203" pitchFamily="34" charset="0"/>
                  <a:cs typeface="Segoe UI Light" panose="020B0502040204020203" pitchFamily="34" charset="0"/>
                </a:rPr>
                <a:t>Ga naar de tab </a:t>
              </a:r>
              <a:r>
                <a:rPr lang="nl-NL" sz="1200" b="1" kern="0" dirty="0">
                  <a:solidFill>
                    <a:srgbClr val="000000"/>
                  </a:solidFill>
                  <a:latin typeface="Segoe UI Light" panose="020B0502040204020203" pitchFamily="34" charset="0"/>
                  <a:cs typeface="Segoe UI Light" panose="020B0502040204020203" pitchFamily="34" charset="0"/>
                </a:rPr>
                <a:t>Start’ </a:t>
              </a:r>
              <a:r>
                <a:rPr lang="nl-NL" sz="1200" kern="0" dirty="0">
                  <a:solidFill>
                    <a:srgbClr val="000000"/>
                  </a:solidFill>
                  <a:latin typeface="Segoe UI Light" panose="020B0502040204020203" pitchFamily="34" charset="0"/>
                  <a:cs typeface="Segoe UI Light" panose="020B0502040204020203" pitchFamily="34" charset="0"/>
                </a:rPr>
                <a:t>en vind onderstaande knoppen onder </a:t>
              </a:r>
              <a:r>
                <a:rPr lang="nl-NL" sz="1200" b="1" kern="0" dirty="0">
                  <a:solidFill>
                    <a:srgbClr val="000000"/>
                  </a:solidFill>
                  <a:latin typeface="Segoe UI Light" panose="020B0502040204020203" pitchFamily="34" charset="0"/>
                  <a:cs typeface="Segoe UI Light" panose="020B0502040204020203" pitchFamily="34" charset="0"/>
                </a:rPr>
                <a:t>‘Alinea’</a:t>
              </a:r>
            </a:p>
          </p:txBody>
        </p:sp>
        <p:sp>
          <p:nvSpPr>
            <p:cNvPr id="94" name="Ovaal 93"/>
            <p:cNvSpPr/>
            <p:nvPr userDrawn="1"/>
          </p:nvSpPr>
          <p:spPr>
            <a:xfrm>
              <a:off x="-2959433" y="375153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6</a:t>
              </a:r>
            </a:p>
          </p:txBody>
        </p:sp>
        <p:sp>
          <p:nvSpPr>
            <p:cNvPr id="95" name="Textfield placeholder"/>
            <p:cNvSpPr txBox="1">
              <a:spLocks/>
            </p:cNvSpPr>
            <p:nvPr userDrawn="1"/>
          </p:nvSpPr>
          <p:spPr>
            <a:xfrm>
              <a:off x="-2571950" y="3751536"/>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0000" lvl="5" indent="-270000" defTabSz="179388">
                <a:lnSpc>
                  <a:spcPct val="120000"/>
                </a:lnSpc>
                <a:spcAft>
                  <a:spcPts val="900"/>
                </a:spcAft>
                <a:buClr>
                  <a:srgbClr val="ED1A3B"/>
                </a:buClr>
                <a:buSzPct val="80000"/>
                <a:buFont typeface="Wingdings 3" panose="05040102010807070707" pitchFamily="18" charset="2"/>
                <a:buChar char=""/>
                <a:defRPr/>
              </a:pPr>
              <a:r>
                <a:rPr lang="nl-NL" sz="1200" cap="none" dirty="0">
                  <a:solidFill>
                    <a:srgbClr val="535353"/>
                  </a:solidFill>
                </a:rPr>
                <a:t># Bullets (16 pt.)</a:t>
              </a:r>
            </a:p>
          </p:txBody>
        </p:sp>
        <p:sp>
          <p:nvSpPr>
            <p:cNvPr id="96" name="Ovaal 95"/>
            <p:cNvSpPr/>
            <p:nvPr userDrawn="1"/>
          </p:nvSpPr>
          <p:spPr>
            <a:xfrm>
              <a:off x="-2959433" y="414870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7</a:t>
              </a:r>
            </a:p>
          </p:txBody>
        </p:sp>
        <p:sp>
          <p:nvSpPr>
            <p:cNvPr id="97" name="Textfield placeholder"/>
            <p:cNvSpPr txBox="1">
              <a:spLocks/>
            </p:cNvSpPr>
            <p:nvPr userDrawn="1"/>
          </p:nvSpPr>
          <p:spPr>
            <a:xfrm>
              <a:off x="-2571950" y="414870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6" indent="0" defTabSz="179388">
                <a:lnSpc>
                  <a:spcPct val="120000"/>
                </a:lnSpc>
                <a:spcBef>
                  <a:spcPts val="0"/>
                </a:spcBef>
                <a:spcAft>
                  <a:spcPts val="900"/>
                </a:spcAft>
                <a:buClr>
                  <a:srgbClr val="ED1A3B"/>
                </a:buClr>
                <a:buSzPct val="90000"/>
                <a:buFont typeface="+mj-lt"/>
                <a:buNone/>
                <a:defRPr/>
              </a:pPr>
              <a:r>
                <a:rPr lang="nl-NL" sz="1200" i="1" dirty="0">
                  <a:solidFill>
                    <a:srgbClr val="404040"/>
                  </a:solidFill>
                </a:rPr>
                <a:t>Cursief donker (16 pt.)</a:t>
              </a:r>
            </a:p>
          </p:txBody>
        </p:sp>
        <p:sp>
          <p:nvSpPr>
            <p:cNvPr id="98" name="Ovaal 97"/>
            <p:cNvSpPr/>
            <p:nvPr userDrawn="1"/>
          </p:nvSpPr>
          <p:spPr>
            <a:xfrm>
              <a:off x="-2959433" y="454586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8</a:t>
              </a:r>
            </a:p>
          </p:txBody>
        </p:sp>
        <p:sp>
          <p:nvSpPr>
            <p:cNvPr id="99" name="Textfield placeholder"/>
            <p:cNvSpPr txBox="1">
              <a:spLocks/>
            </p:cNvSpPr>
            <p:nvPr userDrawn="1"/>
          </p:nvSpPr>
          <p:spPr>
            <a:xfrm>
              <a:off x="-2571950" y="4545864"/>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7" indent="0" defTabSz="179388">
                <a:lnSpc>
                  <a:spcPct val="80000"/>
                </a:lnSpc>
                <a:spcBef>
                  <a:spcPts val="0"/>
                </a:spcBef>
                <a:spcAft>
                  <a:spcPts val="900"/>
                </a:spcAft>
                <a:buClr>
                  <a:srgbClr val="ED1A3B"/>
                </a:buClr>
                <a:buFont typeface="Arial" pitchFamily="34" charset="0"/>
                <a:buNone/>
                <a:defRPr/>
              </a:pPr>
              <a:r>
                <a:rPr lang="nl-NL" sz="1200" i="1" dirty="0">
                  <a:solidFill>
                    <a:srgbClr val="A3B0C0"/>
                  </a:solidFill>
                </a:rPr>
                <a:t>Cursief Licht (16 pt.)</a:t>
              </a:r>
            </a:p>
          </p:txBody>
        </p:sp>
        <p:sp>
          <p:nvSpPr>
            <p:cNvPr id="100" name="Ovaal 99"/>
            <p:cNvSpPr/>
            <p:nvPr userDrawn="1"/>
          </p:nvSpPr>
          <p:spPr>
            <a:xfrm>
              <a:off x="-2959433" y="488761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9</a:t>
              </a:r>
            </a:p>
          </p:txBody>
        </p:sp>
        <p:sp>
          <p:nvSpPr>
            <p:cNvPr id="101" name="Textfield placeholder"/>
            <p:cNvSpPr txBox="1">
              <a:spLocks/>
            </p:cNvSpPr>
            <p:nvPr userDrawn="1"/>
          </p:nvSpPr>
          <p:spPr>
            <a:xfrm>
              <a:off x="-2571950" y="488761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8" indent="0" defTabSz="179388">
                <a:lnSpc>
                  <a:spcPct val="80000"/>
                </a:lnSpc>
                <a:spcBef>
                  <a:spcPts val="0"/>
                </a:spcBef>
                <a:spcAft>
                  <a:spcPts val="900"/>
                </a:spcAft>
                <a:buClr>
                  <a:srgbClr val="ED1A3B"/>
                </a:buClr>
                <a:buFont typeface="Arial" pitchFamily="34" charset="0"/>
                <a:buNone/>
                <a:defRPr/>
              </a:pPr>
              <a:r>
                <a:rPr lang="nl-NL" sz="1400" b="1" dirty="0">
                  <a:solidFill>
                    <a:srgbClr val="ED1A3B"/>
                  </a:solidFill>
                </a:rPr>
                <a:t>Subtitel (18 pt.)</a:t>
              </a:r>
            </a:p>
          </p:txBody>
        </p:sp>
      </p:grpSp>
      <p:sp>
        <p:nvSpPr>
          <p:cNvPr id="208" name="Grijze achtergrond"/>
          <p:cNvSpPr/>
          <p:nvPr userDrawn="1"/>
        </p:nvSpPr>
        <p:spPr>
          <a:xfrm>
            <a:off x="0" y="0"/>
            <a:ext cx="12198350" cy="6858000"/>
          </a:xfrm>
          <a:prstGeom prst="rect">
            <a:avLst/>
          </a:prstGeom>
          <a:solidFill>
            <a:srgbClr val="EDE8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203" name="Tijdelijke aanduiding voor Afbeelding_09 (rechtsonder)"/>
          <p:cNvSpPr>
            <a:spLocks noGrp="1"/>
          </p:cNvSpPr>
          <p:nvPr>
            <p:ph type="pic" idx="46"/>
          </p:nvPr>
        </p:nvSpPr>
        <p:spPr>
          <a:xfrm>
            <a:off x="8136000" y="4572000"/>
            <a:ext cx="4068000" cy="2286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204" name="Tijdelijke aanduiding voor Blok_09 (rechtsonder)"/>
          <p:cNvSpPr>
            <a:spLocks noGrp="1"/>
          </p:cNvSpPr>
          <p:nvPr>
            <p:ph type="body" orient="vert" idx="36" hasCustomPrompt="1"/>
          </p:nvPr>
        </p:nvSpPr>
        <p:spPr>
          <a:xfrm>
            <a:off x="8136000" y="4572000"/>
            <a:ext cx="4069059" cy="2286000"/>
          </a:xfrm>
          <a:solidFill>
            <a:srgbClr val="535353"/>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200">
                <a:solidFill>
                  <a:schemeClr val="bg1"/>
                </a:solidFill>
              </a:defRPr>
            </a:lvl2pPr>
            <a:lvl3pPr algn="ctr">
              <a:lnSpc>
                <a:spcPct val="80000"/>
              </a:lnSpc>
              <a:spcBef>
                <a:spcPts val="600"/>
              </a:spcBef>
              <a:spcAft>
                <a:spcPts val="600"/>
              </a:spcAft>
              <a:defRPr sz="1100">
                <a:solidFill>
                  <a:schemeClr val="bg1"/>
                </a:solidFill>
              </a:defRPr>
            </a:lvl3pPr>
            <a:lvl4pPr algn="ctr">
              <a:lnSpc>
                <a:spcPct val="80000"/>
              </a:lnSpc>
              <a:spcBef>
                <a:spcPts val="600"/>
              </a:spcBef>
              <a:spcAft>
                <a:spcPts val="600"/>
              </a:spcAft>
              <a:defRPr sz="1600">
                <a:solidFill>
                  <a:schemeClr val="bg1"/>
                </a:solidFill>
              </a:defRPr>
            </a:lvl4pPr>
            <a:lvl5pPr algn="ctr">
              <a:lnSpc>
                <a:spcPct val="80000"/>
              </a:lnSpc>
              <a:spcBef>
                <a:spcPts val="600"/>
              </a:spcBef>
              <a:spcAft>
                <a:spcPts val="600"/>
              </a:spcAft>
              <a:defRPr sz="1400">
                <a:solidFill>
                  <a:schemeClr val="bg1"/>
                </a:solidFill>
              </a:defRPr>
            </a:lvl5pPr>
            <a:lvl6pPr algn="ctr">
              <a:lnSpc>
                <a:spcPct val="80000"/>
              </a:lnSpc>
              <a:spcBef>
                <a:spcPts val="600"/>
              </a:spcBef>
              <a:spcAft>
                <a:spcPts val="600"/>
              </a:spcAft>
              <a:defRPr sz="1400">
                <a:solidFill>
                  <a:schemeClr val="bg1"/>
                </a:solidFill>
              </a:defRPr>
            </a:lvl6pPr>
            <a:lvl7pPr algn="ctr">
              <a:lnSpc>
                <a:spcPct val="80000"/>
              </a:lnSpc>
              <a:spcBef>
                <a:spcPts val="600"/>
              </a:spcBef>
              <a:spcAft>
                <a:spcPts val="600"/>
              </a:spcAft>
              <a:defRPr sz="1400">
                <a:solidFill>
                  <a:schemeClr val="bg1"/>
                </a:solidFill>
              </a:defRPr>
            </a:lvl7pPr>
            <a:lvl8pPr algn="ctr">
              <a:lnSpc>
                <a:spcPct val="80000"/>
              </a:lnSpc>
              <a:spcBef>
                <a:spcPts val="600"/>
              </a:spcBef>
              <a:spcAft>
                <a:spcPts val="600"/>
              </a:spcAft>
              <a:defRPr sz="1400">
                <a:solidFill>
                  <a:schemeClr val="bg1"/>
                </a:solidFill>
              </a:defRPr>
            </a:lvl8pPr>
            <a:lvl9pPr algn="ctr">
              <a:lnSpc>
                <a:spcPct val="80000"/>
              </a:lnSpc>
              <a:spcBef>
                <a:spcPts val="600"/>
              </a:spcBef>
              <a:spcAft>
                <a:spcPts val="600"/>
              </a:spcAft>
              <a:defRPr sz="1200" cap="all" baseline="0">
                <a:solidFill>
                  <a:schemeClr val="bg1"/>
                </a:solidFill>
              </a:defRPr>
            </a:lvl9pPr>
          </a:lstStyle>
          <a:p>
            <a:pPr lvl="0"/>
            <a:r>
              <a:rPr lang="nl-NL" dirty="0"/>
              <a:t>Klik om de modelstijlen te bewerken</a:t>
            </a:r>
          </a:p>
        </p:txBody>
      </p:sp>
      <p:sp>
        <p:nvSpPr>
          <p:cNvPr id="207" name="Tijdelijke aanduiding voor Afbeelding_08 (middenonder)"/>
          <p:cNvSpPr>
            <a:spLocks noGrp="1"/>
          </p:cNvSpPr>
          <p:nvPr>
            <p:ph type="pic" idx="45"/>
          </p:nvPr>
        </p:nvSpPr>
        <p:spPr>
          <a:xfrm>
            <a:off x="4068000" y="4572000"/>
            <a:ext cx="4068000" cy="2286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205" name="Tijdelijke aanduiding voor Blok_08 (middenonder)"/>
          <p:cNvSpPr>
            <a:spLocks noGrp="1"/>
          </p:cNvSpPr>
          <p:nvPr>
            <p:ph type="body" orient="vert" idx="37" hasCustomPrompt="1"/>
          </p:nvPr>
        </p:nvSpPr>
        <p:spPr>
          <a:xfrm>
            <a:off x="4068000" y="4572000"/>
            <a:ext cx="4069059" cy="2286000"/>
          </a:xfrm>
          <a:solidFill>
            <a:srgbClr val="ED1A3B"/>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200">
                <a:solidFill>
                  <a:schemeClr val="bg1"/>
                </a:solidFill>
              </a:defRPr>
            </a:lvl2pPr>
            <a:lvl3pPr algn="ctr">
              <a:lnSpc>
                <a:spcPct val="80000"/>
              </a:lnSpc>
              <a:spcBef>
                <a:spcPts val="600"/>
              </a:spcBef>
              <a:spcAft>
                <a:spcPts val="600"/>
              </a:spcAft>
              <a:defRPr sz="1100">
                <a:solidFill>
                  <a:schemeClr val="bg1"/>
                </a:solidFill>
              </a:defRPr>
            </a:lvl3pPr>
            <a:lvl4pPr algn="ctr">
              <a:lnSpc>
                <a:spcPct val="80000"/>
              </a:lnSpc>
              <a:spcBef>
                <a:spcPts val="600"/>
              </a:spcBef>
              <a:spcAft>
                <a:spcPts val="600"/>
              </a:spcAft>
              <a:defRPr sz="1600">
                <a:solidFill>
                  <a:schemeClr val="bg1"/>
                </a:solidFill>
              </a:defRPr>
            </a:lvl4pPr>
            <a:lvl5pPr algn="ctr">
              <a:lnSpc>
                <a:spcPct val="80000"/>
              </a:lnSpc>
              <a:spcBef>
                <a:spcPts val="600"/>
              </a:spcBef>
              <a:spcAft>
                <a:spcPts val="600"/>
              </a:spcAft>
              <a:defRPr sz="1400">
                <a:solidFill>
                  <a:schemeClr val="bg1"/>
                </a:solidFill>
              </a:defRPr>
            </a:lvl5pPr>
            <a:lvl6pPr algn="ctr">
              <a:lnSpc>
                <a:spcPct val="80000"/>
              </a:lnSpc>
              <a:spcBef>
                <a:spcPts val="600"/>
              </a:spcBef>
              <a:spcAft>
                <a:spcPts val="600"/>
              </a:spcAft>
              <a:defRPr sz="1400">
                <a:solidFill>
                  <a:schemeClr val="bg1"/>
                </a:solidFill>
              </a:defRPr>
            </a:lvl6pPr>
            <a:lvl7pPr algn="ctr">
              <a:lnSpc>
                <a:spcPct val="80000"/>
              </a:lnSpc>
              <a:spcBef>
                <a:spcPts val="600"/>
              </a:spcBef>
              <a:spcAft>
                <a:spcPts val="600"/>
              </a:spcAft>
              <a:defRPr sz="1400">
                <a:solidFill>
                  <a:schemeClr val="bg1"/>
                </a:solidFill>
              </a:defRPr>
            </a:lvl7pPr>
            <a:lvl8pPr algn="ctr">
              <a:lnSpc>
                <a:spcPct val="80000"/>
              </a:lnSpc>
              <a:spcBef>
                <a:spcPts val="600"/>
              </a:spcBef>
              <a:spcAft>
                <a:spcPts val="600"/>
              </a:spcAft>
              <a:defRPr sz="1400">
                <a:solidFill>
                  <a:schemeClr val="bg1"/>
                </a:solidFill>
              </a:defRPr>
            </a:lvl8pPr>
            <a:lvl9pPr algn="ctr">
              <a:lnSpc>
                <a:spcPct val="80000"/>
              </a:lnSpc>
              <a:spcBef>
                <a:spcPts val="600"/>
              </a:spcBef>
              <a:spcAft>
                <a:spcPts val="600"/>
              </a:spcAft>
              <a:defRPr sz="1200" cap="all" baseline="0">
                <a:solidFill>
                  <a:schemeClr val="bg1"/>
                </a:solidFill>
              </a:defRPr>
            </a:lvl9pPr>
          </a:lstStyle>
          <a:p>
            <a:pPr lvl="0"/>
            <a:r>
              <a:rPr lang="nl-NL" dirty="0"/>
              <a:t>Klik om de modelstijlen te bewerken</a:t>
            </a:r>
          </a:p>
        </p:txBody>
      </p:sp>
      <p:sp>
        <p:nvSpPr>
          <p:cNvPr id="209" name="Tijdelijke aanduiding voor Afbeelding_07 (linksonder)"/>
          <p:cNvSpPr>
            <a:spLocks noGrp="1"/>
          </p:cNvSpPr>
          <p:nvPr>
            <p:ph type="pic" idx="44"/>
          </p:nvPr>
        </p:nvSpPr>
        <p:spPr>
          <a:xfrm>
            <a:off x="0" y="4572000"/>
            <a:ext cx="4068000" cy="2286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206" name="Tijdelijke aanduiding voor Blok_07 (linksonder)"/>
          <p:cNvSpPr>
            <a:spLocks noGrp="1"/>
          </p:cNvSpPr>
          <p:nvPr>
            <p:ph type="body" orient="vert" idx="38" hasCustomPrompt="1"/>
          </p:nvPr>
        </p:nvSpPr>
        <p:spPr>
          <a:xfrm>
            <a:off x="0" y="4572000"/>
            <a:ext cx="4069059" cy="2286000"/>
          </a:xfrm>
          <a:solidFill>
            <a:srgbClr val="535353"/>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200">
                <a:solidFill>
                  <a:schemeClr val="bg1"/>
                </a:solidFill>
              </a:defRPr>
            </a:lvl2pPr>
            <a:lvl3pPr algn="ctr">
              <a:lnSpc>
                <a:spcPct val="80000"/>
              </a:lnSpc>
              <a:spcBef>
                <a:spcPts val="600"/>
              </a:spcBef>
              <a:spcAft>
                <a:spcPts val="600"/>
              </a:spcAft>
              <a:defRPr sz="1100">
                <a:solidFill>
                  <a:schemeClr val="bg1"/>
                </a:solidFill>
              </a:defRPr>
            </a:lvl3pPr>
            <a:lvl4pPr algn="ctr">
              <a:lnSpc>
                <a:spcPct val="80000"/>
              </a:lnSpc>
              <a:spcBef>
                <a:spcPts val="600"/>
              </a:spcBef>
              <a:spcAft>
                <a:spcPts val="600"/>
              </a:spcAft>
              <a:defRPr sz="1600">
                <a:solidFill>
                  <a:schemeClr val="bg1"/>
                </a:solidFill>
              </a:defRPr>
            </a:lvl4pPr>
            <a:lvl5pPr algn="ctr">
              <a:lnSpc>
                <a:spcPct val="80000"/>
              </a:lnSpc>
              <a:spcBef>
                <a:spcPts val="600"/>
              </a:spcBef>
              <a:spcAft>
                <a:spcPts val="600"/>
              </a:spcAft>
              <a:defRPr sz="1400">
                <a:solidFill>
                  <a:schemeClr val="bg1"/>
                </a:solidFill>
              </a:defRPr>
            </a:lvl5pPr>
            <a:lvl6pPr algn="ctr">
              <a:lnSpc>
                <a:spcPct val="80000"/>
              </a:lnSpc>
              <a:spcBef>
                <a:spcPts val="600"/>
              </a:spcBef>
              <a:spcAft>
                <a:spcPts val="600"/>
              </a:spcAft>
              <a:defRPr sz="1400">
                <a:solidFill>
                  <a:schemeClr val="bg1"/>
                </a:solidFill>
              </a:defRPr>
            </a:lvl6pPr>
            <a:lvl7pPr algn="ctr">
              <a:lnSpc>
                <a:spcPct val="80000"/>
              </a:lnSpc>
              <a:spcBef>
                <a:spcPts val="600"/>
              </a:spcBef>
              <a:spcAft>
                <a:spcPts val="600"/>
              </a:spcAft>
              <a:defRPr sz="1400">
                <a:solidFill>
                  <a:schemeClr val="bg1"/>
                </a:solidFill>
              </a:defRPr>
            </a:lvl7pPr>
            <a:lvl8pPr algn="ctr">
              <a:lnSpc>
                <a:spcPct val="80000"/>
              </a:lnSpc>
              <a:spcBef>
                <a:spcPts val="600"/>
              </a:spcBef>
              <a:spcAft>
                <a:spcPts val="600"/>
              </a:spcAft>
              <a:defRPr sz="1400">
                <a:solidFill>
                  <a:schemeClr val="bg1"/>
                </a:solidFill>
              </a:defRPr>
            </a:lvl8pPr>
            <a:lvl9pPr algn="ctr">
              <a:lnSpc>
                <a:spcPct val="80000"/>
              </a:lnSpc>
              <a:spcBef>
                <a:spcPts val="600"/>
              </a:spcBef>
              <a:spcAft>
                <a:spcPts val="600"/>
              </a:spcAft>
              <a:defRPr sz="1200" cap="all" baseline="0">
                <a:solidFill>
                  <a:schemeClr val="bg1"/>
                </a:solidFill>
              </a:defRPr>
            </a:lvl9pPr>
          </a:lstStyle>
          <a:p>
            <a:pPr lvl="0"/>
            <a:r>
              <a:rPr lang="nl-NL" dirty="0"/>
              <a:t>Klik om de modelstijlen te bewerken</a:t>
            </a:r>
          </a:p>
        </p:txBody>
      </p:sp>
      <p:sp>
        <p:nvSpPr>
          <p:cNvPr id="210" name="Tijdelijke aanduiding voor Afbeelding_06 (middenrechts)"/>
          <p:cNvSpPr>
            <a:spLocks noGrp="1"/>
          </p:cNvSpPr>
          <p:nvPr>
            <p:ph type="pic" idx="43"/>
          </p:nvPr>
        </p:nvSpPr>
        <p:spPr>
          <a:xfrm>
            <a:off x="8136000" y="2286000"/>
            <a:ext cx="4068000" cy="2286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36" name="Tijdelijke aanduiding voor Blok_06 (middenrechts)"/>
          <p:cNvSpPr>
            <a:spLocks noGrp="1"/>
          </p:cNvSpPr>
          <p:nvPr>
            <p:ph type="body" orient="vert" idx="35" hasCustomPrompt="1"/>
          </p:nvPr>
        </p:nvSpPr>
        <p:spPr>
          <a:xfrm>
            <a:off x="8136000" y="2286000"/>
            <a:ext cx="4069059" cy="2286000"/>
          </a:xfrm>
          <a:solidFill>
            <a:schemeClr val="accent5"/>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200">
                <a:solidFill>
                  <a:schemeClr val="bg1"/>
                </a:solidFill>
              </a:defRPr>
            </a:lvl2pPr>
            <a:lvl3pPr algn="ctr">
              <a:lnSpc>
                <a:spcPct val="80000"/>
              </a:lnSpc>
              <a:spcBef>
                <a:spcPts val="600"/>
              </a:spcBef>
              <a:spcAft>
                <a:spcPts val="600"/>
              </a:spcAft>
              <a:defRPr sz="1100">
                <a:solidFill>
                  <a:schemeClr val="bg1"/>
                </a:solidFill>
              </a:defRPr>
            </a:lvl3pPr>
            <a:lvl4pPr algn="ctr">
              <a:lnSpc>
                <a:spcPct val="80000"/>
              </a:lnSpc>
              <a:spcBef>
                <a:spcPts val="600"/>
              </a:spcBef>
              <a:spcAft>
                <a:spcPts val="600"/>
              </a:spcAft>
              <a:defRPr sz="1600">
                <a:solidFill>
                  <a:schemeClr val="bg1"/>
                </a:solidFill>
              </a:defRPr>
            </a:lvl4pPr>
            <a:lvl5pPr algn="ctr">
              <a:lnSpc>
                <a:spcPct val="80000"/>
              </a:lnSpc>
              <a:spcBef>
                <a:spcPts val="600"/>
              </a:spcBef>
              <a:spcAft>
                <a:spcPts val="600"/>
              </a:spcAft>
              <a:defRPr sz="1400">
                <a:solidFill>
                  <a:schemeClr val="bg1"/>
                </a:solidFill>
              </a:defRPr>
            </a:lvl5pPr>
            <a:lvl6pPr algn="ctr">
              <a:lnSpc>
                <a:spcPct val="80000"/>
              </a:lnSpc>
              <a:spcBef>
                <a:spcPts val="600"/>
              </a:spcBef>
              <a:spcAft>
                <a:spcPts val="600"/>
              </a:spcAft>
              <a:defRPr sz="1400">
                <a:solidFill>
                  <a:schemeClr val="bg1"/>
                </a:solidFill>
              </a:defRPr>
            </a:lvl6pPr>
            <a:lvl7pPr algn="ctr">
              <a:lnSpc>
                <a:spcPct val="80000"/>
              </a:lnSpc>
              <a:spcBef>
                <a:spcPts val="600"/>
              </a:spcBef>
              <a:spcAft>
                <a:spcPts val="600"/>
              </a:spcAft>
              <a:defRPr sz="1400">
                <a:solidFill>
                  <a:schemeClr val="bg1"/>
                </a:solidFill>
              </a:defRPr>
            </a:lvl7pPr>
            <a:lvl8pPr algn="ctr">
              <a:lnSpc>
                <a:spcPct val="80000"/>
              </a:lnSpc>
              <a:spcBef>
                <a:spcPts val="600"/>
              </a:spcBef>
              <a:spcAft>
                <a:spcPts val="600"/>
              </a:spcAft>
              <a:defRPr sz="1400">
                <a:solidFill>
                  <a:schemeClr val="bg1"/>
                </a:solidFill>
              </a:defRPr>
            </a:lvl8pPr>
            <a:lvl9pPr algn="ctr">
              <a:lnSpc>
                <a:spcPct val="80000"/>
              </a:lnSpc>
              <a:spcBef>
                <a:spcPts val="600"/>
              </a:spcBef>
              <a:spcAft>
                <a:spcPts val="600"/>
              </a:spcAft>
              <a:defRPr sz="1200" cap="all" baseline="0">
                <a:solidFill>
                  <a:schemeClr val="bg1"/>
                </a:solidFill>
              </a:defRPr>
            </a:lvl9pPr>
          </a:lstStyle>
          <a:p>
            <a:pPr lvl="0"/>
            <a:r>
              <a:rPr lang="nl-NL" dirty="0"/>
              <a:t>Klik om de modelstijlen te bewerken</a:t>
            </a:r>
          </a:p>
        </p:txBody>
      </p:sp>
      <p:sp>
        <p:nvSpPr>
          <p:cNvPr id="211" name="Tijdelijke aanduiding voor Afbeelding_05 (midden)"/>
          <p:cNvSpPr>
            <a:spLocks noGrp="1"/>
          </p:cNvSpPr>
          <p:nvPr>
            <p:ph type="pic" idx="42"/>
          </p:nvPr>
        </p:nvSpPr>
        <p:spPr>
          <a:xfrm>
            <a:off x="4068000" y="2286000"/>
            <a:ext cx="4068000" cy="2286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35" name="Tijdelijke aanduiding voor Blok_05 (midden)"/>
          <p:cNvSpPr>
            <a:spLocks noGrp="1"/>
          </p:cNvSpPr>
          <p:nvPr>
            <p:ph type="body" orient="vert" idx="34" hasCustomPrompt="1"/>
          </p:nvPr>
        </p:nvSpPr>
        <p:spPr>
          <a:xfrm>
            <a:off x="4068000" y="2286000"/>
            <a:ext cx="4069059" cy="2286000"/>
          </a:xfrm>
          <a:solidFill>
            <a:schemeClr val="accent3"/>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200">
                <a:solidFill>
                  <a:schemeClr val="bg1"/>
                </a:solidFill>
              </a:defRPr>
            </a:lvl2pPr>
            <a:lvl3pPr algn="ctr">
              <a:lnSpc>
                <a:spcPct val="80000"/>
              </a:lnSpc>
              <a:spcBef>
                <a:spcPts val="600"/>
              </a:spcBef>
              <a:spcAft>
                <a:spcPts val="600"/>
              </a:spcAft>
              <a:defRPr sz="1100">
                <a:solidFill>
                  <a:schemeClr val="bg1"/>
                </a:solidFill>
              </a:defRPr>
            </a:lvl3pPr>
            <a:lvl4pPr algn="ctr">
              <a:lnSpc>
                <a:spcPct val="80000"/>
              </a:lnSpc>
              <a:spcBef>
                <a:spcPts val="600"/>
              </a:spcBef>
              <a:spcAft>
                <a:spcPts val="600"/>
              </a:spcAft>
              <a:defRPr sz="1600">
                <a:solidFill>
                  <a:schemeClr val="bg1"/>
                </a:solidFill>
              </a:defRPr>
            </a:lvl4pPr>
            <a:lvl5pPr algn="ctr">
              <a:lnSpc>
                <a:spcPct val="80000"/>
              </a:lnSpc>
              <a:spcBef>
                <a:spcPts val="600"/>
              </a:spcBef>
              <a:spcAft>
                <a:spcPts val="600"/>
              </a:spcAft>
              <a:defRPr sz="1400">
                <a:solidFill>
                  <a:schemeClr val="bg1"/>
                </a:solidFill>
              </a:defRPr>
            </a:lvl5pPr>
            <a:lvl6pPr algn="ctr">
              <a:lnSpc>
                <a:spcPct val="80000"/>
              </a:lnSpc>
              <a:spcBef>
                <a:spcPts val="600"/>
              </a:spcBef>
              <a:spcAft>
                <a:spcPts val="600"/>
              </a:spcAft>
              <a:defRPr sz="1400">
                <a:solidFill>
                  <a:schemeClr val="bg1"/>
                </a:solidFill>
              </a:defRPr>
            </a:lvl6pPr>
            <a:lvl7pPr algn="ctr">
              <a:lnSpc>
                <a:spcPct val="80000"/>
              </a:lnSpc>
              <a:spcBef>
                <a:spcPts val="600"/>
              </a:spcBef>
              <a:spcAft>
                <a:spcPts val="600"/>
              </a:spcAft>
              <a:defRPr sz="1400">
                <a:solidFill>
                  <a:schemeClr val="bg1"/>
                </a:solidFill>
              </a:defRPr>
            </a:lvl7pPr>
            <a:lvl8pPr algn="ctr">
              <a:lnSpc>
                <a:spcPct val="80000"/>
              </a:lnSpc>
              <a:spcBef>
                <a:spcPts val="600"/>
              </a:spcBef>
              <a:spcAft>
                <a:spcPts val="600"/>
              </a:spcAft>
              <a:defRPr sz="1400">
                <a:solidFill>
                  <a:schemeClr val="bg1"/>
                </a:solidFill>
              </a:defRPr>
            </a:lvl8pPr>
            <a:lvl9pPr algn="ctr">
              <a:lnSpc>
                <a:spcPct val="80000"/>
              </a:lnSpc>
              <a:spcBef>
                <a:spcPts val="600"/>
              </a:spcBef>
              <a:spcAft>
                <a:spcPts val="600"/>
              </a:spcAft>
              <a:defRPr sz="1200" cap="all" baseline="0">
                <a:solidFill>
                  <a:schemeClr val="bg1"/>
                </a:solidFill>
              </a:defRPr>
            </a:lvl9pPr>
          </a:lstStyle>
          <a:p>
            <a:pPr lvl="0"/>
            <a:r>
              <a:rPr lang="nl-NL" dirty="0"/>
              <a:t>Klik om de modelstijlen te bewerken</a:t>
            </a:r>
          </a:p>
        </p:txBody>
      </p:sp>
      <p:sp>
        <p:nvSpPr>
          <p:cNvPr id="212" name="Tijdelijke aanduiding voor Afbeelding_04 (middenlinks)"/>
          <p:cNvSpPr>
            <a:spLocks noGrp="1"/>
          </p:cNvSpPr>
          <p:nvPr>
            <p:ph type="pic" idx="41"/>
          </p:nvPr>
        </p:nvSpPr>
        <p:spPr>
          <a:xfrm>
            <a:off x="0" y="2286000"/>
            <a:ext cx="4068000" cy="2286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34" name="Tijdelijke aanduiding voor Blok_04 (middenlinks)"/>
          <p:cNvSpPr>
            <a:spLocks noGrp="1"/>
          </p:cNvSpPr>
          <p:nvPr>
            <p:ph type="body" orient="vert" idx="33" hasCustomPrompt="1"/>
          </p:nvPr>
        </p:nvSpPr>
        <p:spPr>
          <a:xfrm>
            <a:off x="0" y="2286000"/>
            <a:ext cx="4069059" cy="2286000"/>
          </a:xfrm>
          <a:solidFill>
            <a:schemeClr val="accent2"/>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200">
                <a:solidFill>
                  <a:schemeClr val="bg1"/>
                </a:solidFill>
              </a:defRPr>
            </a:lvl2pPr>
            <a:lvl3pPr algn="ctr">
              <a:lnSpc>
                <a:spcPct val="80000"/>
              </a:lnSpc>
              <a:spcBef>
                <a:spcPts val="600"/>
              </a:spcBef>
              <a:spcAft>
                <a:spcPts val="600"/>
              </a:spcAft>
              <a:defRPr sz="1100">
                <a:solidFill>
                  <a:schemeClr val="bg1"/>
                </a:solidFill>
              </a:defRPr>
            </a:lvl3pPr>
            <a:lvl4pPr algn="ctr">
              <a:lnSpc>
                <a:spcPct val="80000"/>
              </a:lnSpc>
              <a:spcBef>
                <a:spcPts val="600"/>
              </a:spcBef>
              <a:spcAft>
                <a:spcPts val="600"/>
              </a:spcAft>
              <a:defRPr sz="1600">
                <a:solidFill>
                  <a:schemeClr val="bg1"/>
                </a:solidFill>
              </a:defRPr>
            </a:lvl4pPr>
            <a:lvl5pPr algn="ctr">
              <a:lnSpc>
                <a:spcPct val="80000"/>
              </a:lnSpc>
              <a:spcBef>
                <a:spcPts val="600"/>
              </a:spcBef>
              <a:spcAft>
                <a:spcPts val="600"/>
              </a:spcAft>
              <a:defRPr sz="1400">
                <a:solidFill>
                  <a:schemeClr val="bg1"/>
                </a:solidFill>
              </a:defRPr>
            </a:lvl5pPr>
            <a:lvl6pPr algn="ctr">
              <a:lnSpc>
                <a:spcPct val="80000"/>
              </a:lnSpc>
              <a:spcBef>
                <a:spcPts val="600"/>
              </a:spcBef>
              <a:spcAft>
                <a:spcPts val="600"/>
              </a:spcAft>
              <a:defRPr sz="1400">
                <a:solidFill>
                  <a:schemeClr val="bg1"/>
                </a:solidFill>
              </a:defRPr>
            </a:lvl6pPr>
            <a:lvl7pPr algn="ctr">
              <a:lnSpc>
                <a:spcPct val="80000"/>
              </a:lnSpc>
              <a:spcBef>
                <a:spcPts val="600"/>
              </a:spcBef>
              <a:spcAft>
                <a:spcPts val="600"/>
              </a:spcAft>
              <a:defRPr sz="1400">
                <a:solidFill>
                  <a:schemeClr val="bg1"/>
                </a:solidFill>
              </a:defRPr>
            </a:lvl7pPr>
            <a:lvl8pPr algn="ctr">
              <a:lnSpc>
                <a:spcPct val="80000"/>
              </a:lnSpc>
              <a:spcBef>
                <a:spcPts val="600"/>
              </a:spcBef>
              <a:spcAft>
                <a:spcPts val="600"/>
              </a:spcAft>
              <a:defRPr sz="1400">
                <a:solidFill>
                  <a:schemeClr val="bg1"/>
                </a:solidFill>
              </a:defRPr>
            </a:lvl8pPr>
            <a:lvl9pPr algn="ctr">
              <a:lnSpc>
                <a:spcPct val="80000"/>
              </a:lnSpc>
              <a:spcBef>
                <a:spcPts val="600"/>
              </a:spcBef>
              <a:spcAft>
                <a:spcPts val="600"/>
              </a:spcAft>
              <a:defRPr sz="1200" cap="all" baseline="0">
                <a:solidFill>
                  <a:schemeClr val="bg1"/>
                </a:solidFill>
              </a:defRPr>
            </a:lvl9pPr>
          </a:lstStyle>
          <a:p>
            <a:pPr lvl="0"/>
            <a:r>
              <a:rPr lang="nl-NL" dirty="0"/>
              <a:t>Klik om de modelstijlen te bewerken</a:t>
            </a:r>
          </a:p>
        </p:txBody>
      </p:sp>
      <p:sp>
        <p:nvSpPr>
          <p:cNvPr id="213" name="Tijdelijke aanduiding voor Afbeelding_03 (rechtsboven)"/>
          <p:cNvSpPr>
            <a:spLocks noGrp="1"/>
          </p:cNvSpPr>
          <p:nvPr>
            <p:ph type="pic" idx="40"/>
          </p:nvPr>
        </p:nvSpPr>
        <p:spPr>
          <a:xfrm>
            <a:off x="8136000" y="0"/>
            <a:ext cx="4068000" cy="2286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p>
        </p:txBody>
      </p:sp>
      <p:sp>
        <p:nvSpPr>
          <p:cNvPr id="16" name="Tijdelijke aanduiding voor Blok_03 (rechtsboven)"/>
          <p:cNvSpPr>
            <a:spLocks noGrp="1"/>
          </p:cNvSpPr>
          <p:nvPr>
            <p:ph type="body" orient="vert" idx="20" hasCustomPrompt="1"/>
          </p:nvPr>
        </p:nvSpPr>
        <p:spPr>
          <a:xfrm>
            <a:off x="8136000" y="0"/>
            <a:ext cx="4069059" cy="2286000"/>
          </a:xfrm>
          <a:solidFill>
            <a:schemeClr val="accent6">
              <a:lumMod val="75000"/>
            </a:schemeClr>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200">
                <a:solidFill>
                  <a:schemeClr val="bg1"/>
                </a:solidFill>
              </a:defRPr>
            </a:lvl2pPr>
            <a:lvl3pPr algn="ctr">
              <a:lnSpc>
                <a:spcPct val="80000"/>
              </a:lnSpc>
              <a:spcBef>
                <a:spcPts val="600"/>
              </a:spcBef>
              <a:spcAft>
                <a:spcPts val="600"/>
              </a:spcAft>
              <a:defRPr sz="1100">
                <a:solidFill>
                  <a:schemeClr val="bg1"/>
                </a:solidFill>
              </a:defRPr>
            </a:lvl3pPr>
            <a:lvl4pPr algn="ctr">
              <a:lnSpc>
                <a:spcPct val="80000"/>
              </a:lnSpc>
              <a:spcBef>
                <a:spcPts val="600"/>
              </a:spcBef>
              <a:spcAft>
                <a:spcPts val="600"/>
              </a:spcAft>
              <a:defRPr sz="1600">
                <a:solidFill>
                  <a:schemeClr val="bg1"/>
                </a:solidFill>
              </a:defRPr>
            </a:lvl4pPr>
            <a:lvl5pPr algn="ctr">
              <a:lnSpc>
                <a:spcPct val="80000"/>
              </a:lnSpc>
              <a:spcBef>
                <a:spcPts val="600"/>
              </a:spcBef>
              <a:spcAft>
                <a:spcPts val="600"/>
              </a:spcAft>
              <a:defRPr sz="1400">
                <a:solidFill>
                  <a:schemeClr val="bg1"/>
                </a:solidFill>
              </a:defRPr>
            </a:lvl5pPr>
            <a:lvl6pPr algn="ctr">
              <a:lnSpc>
                <a:spcPct val="80000"/>
              </a:lnSpc>
              <a:spcBef>
                <a:spcPts val="600"/>
              </a:spcBef>
              <a:spcAft>
                <a:spcPts val="600"/>
              </a:spcAft>
              <a:defRPr sz="1400">
                <a:solidFill>
                  <a:schemeClr val="bg1"/>
                </a:solidFill>
              </a:defRPr>
            </a:lvl6pPr>
            <a:lvl7pPr algn="ctr">
              <a:lnSpc>
                <a:spcPct val="80000"/>
              </a:lnSpc>
              <a:spcBef>
                <a:spcPts val="600"/>
              </a:spcBef>
              <a:spcAft>
                <a:spcPts val="600"/>
              </a:spcAft>
              <a:defRPr sz="1400">
                <a:solidFill>
                  <a:schemeClr val="bg1"/>
                </a:solidFill>
              </a:defRPr>
            </a:lvl7pPr>
            <a:lvl8pPr algn="ctr">
              <a:lnSpc>
                <a:spcPct val="80000"/>
              </a:lnSpc>
              <a:spcBef>
                <a:spcPts val="600"/>
              </a:spcBef>
              <a:spcAft>
                <a:spcPts val="600"/>
              </a:spcAft>
              <a:defRPr sz="1400">
                <a:solidFill>
                  <a:schemeClr val="bg1"/>
                </a:solidFill>
              </a:defRPr>
            </a:lvl8pPr>
            <a:lvl9pPr algn="ctr">
              <a:lnSpc>
                <a:spcPct val="80000"/>
              </a:lnSpc>
              <a:spcBef>
                <a:spcPts val="600"/>
              </a:spcBef>
              <a:spcAft>
                <a:spcPts val="600"/>
              </a:spcAft>
              <a:defRPr sz="1200" cap="all" baseline="0">
                <a:solidFill>
                  <a:schemeClr val="bg1"/>
                </a:solidFill>
              </a:defRPr>
            </a:lvl9pPr>
          </a:lstStyle>
          <a:p>
            <a:pPr lvl="0"/>
            <a:r>
              <a:rPr lang="nl-NL" dirty="0"/>
              <a:t>Klik om de modelstijlen te bewerken</a:t>
            </a:r>
          </a:p>
        </p:txBody>
      </p:sp>
      <p:sp>
        <p:nvSpPr>
          <p:cNvPr id="214" name="Tijdelijke aanduiding voor Afbeelding_02 (middenboven)"/>
          <p:cNvSpPr>
            <a:spLocks noGrp="1"/>
          </p:cNvSpPr>
          <p:nvPr>
            <p:ph type="pic" idx="39"/>
          </p:nvPr>
        </p:nvSpPr>
        <p:spPr>
          <a:xfrm>
            <a:off x="4068000" y="0"/>
            <a:ext cx="4068000" cy="2286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p>
        </p:txBody>
      </p:sp>
      <p:sp>
        <p:nvSpPr>
          <p:cNvPr id="15" name="Tijdelijke aanduiding voor Blok_02 (middenboven)"/>
          <p:cNvSpPr>
            <a:spLocks noGrp="1"/>
          </p:cNvSpPr>
          <p:nvPr>
            <p:ph type="body" orient="vert" idx="19" hasCustomPrompt="1"/>
          </p:nvPr>
        </p:nvSpPr>
        <p:spPr>
          <a:xfrm>
            <a:off x="4067999" y="0"/>
            <a:ext cx="4068000" cy="2286000"/>
          </a:xfrm>
          <a:solidFill>
            <a:schemeClr val="accent4"/>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200">
                <a:solidFill>
                  <a:schemeClr val="bg1"/>
                </a:solidFill>
              </a:defRPr>
            </a:lvl2pPr>
            <a:lvl3pPr algn="ctr">
              <a:lnSpc>
                <a:spcPct val="80000"/>
              </a:lnSpc>
              <a:spcBef>
                <a:spcPts val="600"/>
              </a:spcBef>
              <a:spcAft>
                <a:spcPts val="600"/>
              </a:spcAft>
              <a:defRPr sz="1100">
                <a:solidFill>
                  <a:schemeClr val="bg1"/>
                </a:solidFill>
              </a:defRPr>
            </a:lvl3pPr>
            <a:lvl4pPr algn="ctr">
              <a:lnSpc>
                <a:spcPct val="80000"/>
              </a:lnSpc>
              <a:spcBef>
                <a:spcPts val="600"/>
              </a:spcBef>
              <a:spcAft>
                <a:spcPts val="600"/>
              </a:spcAft>
              <a:defRPr sz="1600">
                <a:solidFill>
                  <a:schemeClr val="bg1"/>
                </a:solidFill>
              </a:defRPr>
            </a:lvl4pPr>
            <a:lvl5pPr algn="ctr">
              <a:lnSpc>
                <a:spcPct val="80000"/>
              </a:lnSpc>
              <a:spcBef>
                <a:spcPts val="600"/>
              </a:spcBef>
              <a:spcAft>
                <a:spcPts val="600"/>
              </a:spcAft>
              <a:defRPr sz="1400">
                <a:solidFill>
                  <a:schemeClr val="bg1"/>
                </a:solidFill>
              </a:defRPr>
            </a:lvl5pPr>
            <a:lvl6pPr algn="ctr">
              <a:lnSpc>
                <a:spcPct val="80000"/>
              </a:lnSpc>
              <a:spcBef>
                <a:spcPts val="600"/>
              </a:spcBef>
              <a:spcAft>
                <a:spcPts val="600"/>
              </a:spcAft>
              <a:defRPr sz="1400">
                <a:solidFill>
                  <a:schemeClr val="bg1"/>
                </a:solidFill>
              </a:defRPr>
            </a:lvl6pPr>
            <a:lvl7pPr algn="ctr">
              <a:lnSpc>
                <a:spcPct val="80000"/>
              </a:lnSpc>
              <a:spcBef>
                <a:spcPts val="600"/>
              </a:spcBef>
              <a:spcAft>
                <a:spcPts val="600"/>
              </a:spcAft>
              <a:defRPr sz="1400">
                <a:solidFill>
                  <a:schemeClr val="bg1"/>
                </a:solidFill>
              </a:defRPr>
            </a:lvl7pPr>
            <a:lvl8pPr algn="ctr">
              <a:lnSpc>
                <a:spcPct val="80000"/>
              </a:lnSpc>
              <a:spcBef>
                <a:spcPts val="600"/>
              </a:spcBef>
              <a:spcAft>
                <a:spcPts val="600"/>
              </a:spcAft>
              <a:defRPr sz="1400">
                <a:solidFill>
                  <a:schemeClr val="bg1"/>
                </a:solidFill>
              </a:defRPr>
            </a:lvl8pPr>
            <a:lvl9pPr algn="ctr">
              <a:lnSpc>
                <a:spcPct val="80000"/>
              </a:lnSpc>
              <a:spcBef>
                <a:spcPts val="600"/>
              </a:spcBef>
              <a:spcAft>
                <a:spcPts val="600"/>
              </a:spcAft>
              <a:defRPr sz="1200" cap="all" baseline="0">
                <a:solidFill>
                  <a:schemeClr val="bg1"/>
                </a:solidFill>
              </a:defRPr>
            </a:lvl9pPr>
          </a:lstStyle>
          <a:p>
            <a:pPr lvl="0"/>
            <a:r>
              <a:rPr lang="nl-NL" dirty="0"/>
              <a:t>Klik om de modelstijlen te bewerken</a:t>
            </a:r>
          </a:p>
        </p:txBody>
      </p:sp>
      <p:sp>
        <p:nvSpPr>
          <p:cNvPr id="215" name="Tijdelijke aanduiding voor Afbeelding_01 (linksboven)"/>
          <p:cNvSpPr>
            <a:spLocks noGrp="1"/>
          </p:cNvSpPr>
          <p:nvPr>
            <p:ph type="pic" idx="13"/>
          </p:nvPr>
        </p:nvSpPr>
        <p:spPr>
          <a:xfrm>
            <a:off x="0" y="0"/>
            <a:ext cx="4068000" cy="2286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p>
        </p:txBody>
      </p:sp>
      <p:sp>
        <p:nvSpPr>
          <p:cNvPr id="14" name="Tijdelijke aanduiding voor Blok_01 (linksboven)"/>
          <p:cNvSpPr>
            <a:spLocks noGrp="1"/>
          </p:cNvSpPr>
          <p:nvPr>
            <p:ph type="body" orient="vert" idx="1" hasCustomPrompt="1"/>
          </p:nvPr>
        </p:nvSpPr>
        <p:spPr>
          <a:xfrm>
            <a:off x="0" y="0"/>
            <a:ext cx="4068000" cy="2286000"/>
          </a:xfrm>
          <a:solidFill>
            <a:schemeClr val="accent1"/>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200">
                <a:solidFill>
                  <a:schemeClr val="bg1"/>
                </a:solidFill>
              </a:defRPr>
            </a:lvl2pPr>
            <a:lvl3pPr algn="ctr">
              <a:lnSpc>
                <a:spcPct val="80000"/>
              </a:lnSpc>
              <a:spcBef>
                <a:spcPts val="600"/>
              </a:spcBef>
              <a:spcAft>
                <a:spcPts val="600"/>
              </a:spcAft>
              <a:defRPr sz="1100">
                <a:solidFill>
                  <a:schemeClr val="bg1"/>
                </a:solidFill>
              </a:defRPr>
            </a:lvl3pPr>
            <a:lvl4pPr algn="ctr">
              <a:lnSpc>
                <a:spcPct val="80000"/>
              </a:lnSpc>
              <a:spcBef>
                <a:spcPts val="600"/>
              </a:spcBef>
              <a:spcAft>
                <a:spcPts val="600"/>
              </a:spcAft>
              <a:defRPr sz="1600">
                <a:solidFill>
                  <a:schemeClr val="bg1"/>
                </a:solidFill>
              </a:defRPr>
            </a:lvl4pPr>
            <a:lvl5pPr algn="ctr">
              <a:lnSpc>
                <a:spcPct val="80000"/>
              </a:lnSpc>
              <a:spcBef>
                <a:spcPts val="600"/>
              </a:spcBef>
              <a:spcAft>
                <a:spcPts val="600"/>
              </a:spcAft>
              <a:defRPr sz="1400">
                <a:solidFill>
                  <a:schemeClr val="bg1"/>
                </a:solidFill>
              </a:defRPr>
            </a:lvl5pPr>
            <a:lvl6pPr algn="ctr">
              <a:lnSpc>
                <a:spcPct val="80000"/>
              </a:lnSpc>
              <a:spcBef>
                <a:spcPts val="600"/>
              </a:spcBef>
              <a:spcAft>
                <a:spcPts val="600"/>
              </a:spcAft>
              <a:defRPr sz="1400">
                <a:solidFill>
                  <a:schemeClr val="bg1"/>
                </a:solidFill>
              </a:defRPr>
            </a:lvl6pPr>
            <a:lvl7pPr algn="ctr">
              <a:lnSpc>
                <a:spcPct val="80000"/>
              </a:lnSpc>
              <a:spcBef>
                <a:spcPts val="600"/>
              </a:spcBef>
              <a:spcAft>
                <a:spcPts val="600"/>
              </a:spcAft>
              <a:defRPr sz="1400">
                <a:solidFill>
                  <a:schemeClr val="bg1"/>
                </a:solidFill>
              </a:defRPr>
            </a:lvl7pPr>
            <a:lvl8pPr algn="ctr">
              <a:lnSpc>
                <a:spcPct val="80000"/>
              </a:lnSpc>
              <a:spcBef>
                <a:spcPts val="600"/>
              </a:spcBef>
              <a:spcAft>
                <a:spcPts val="600"/>
              </a:spcAft>
              <a:defRPr sz="1400">
                <a:solidFill>
                  <a:schemeClr val="bg1"/>
                </a:solidFill>
              </a:defRPr>
            </a:lvl8pPr>
            <a:lvl9pPr algn="ctr">
              <a:lnSpc>
                <a:spcPct val="80000"/>
              </a:lnSpc>
              <a:spcBef>
                <a:spcPts val="600"/>
              </a:spcBef>
              <a:spcAft>
                <a:spcPts val="600"/>
              </a:spcAft>
              <a:defRPr sz="1200" cap="all" baseline="0">
                <a:solidFill>
                  <a:schemeClr val="bg1"/>
                </a:solidFill>
              </a:defRPr>
            </a:lvl9pPr>
          </a:lstStyle>
          <a:p>
            <a:pPr lvl="0"/>
            <a:r>
              <a:rPr lang="nl-NL" dirty="0"/>
              <a:t>Klik om de modelstijlen te bewerken</a:t>
            </a:r>
          </a:p>
        </p:txBody>
      </p:sp>
    </p:spTree>
    <p:extLst>
      <p:ext uri="{BB962C8B-B14F-4D97-AF65-F5344CB8AC3E}">
        <p14:creationId xmlns:p14="http://schemas.microsoft.com/office/powerpoint/2010/main" val="1452266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MENU 12 blokken">
    <p:spTree>
      <p:nvGrpSpPr>
        <p:cNvPr id="1" name=""/>
        <p:cNvGrpSpPr/>
        <p:nvPr/>
      </p:nvGrpSpPr>
      <p:grpSpPr>
        <a:xfrm>
          <a:off x="0" y="0"/>
          <a:ext cx="0" cy="0"/>
          <a:chOff x="0" y="0"/>
          <a:chExt cx="0" cy="0"/>
        </a:xfrm>
      </p:grpSpPr>
      <p:sp>
        <p:nvSpPr>
          <p:cNvPr id="21" name="Naam indeling - MENU 12 blokken"/>
          <p:cNvSpPr txBox="1"/>
          <p:nvPr/>
        </p:nvSpPr>
        <p:spPr>
          <a:xfrm>
            <a:off x="1" y="-453266"/>
            <a:ext cx="3582333" cy="276999"/>
          </a:xfrm>
          <a:prstGeom prst="rect">
            <a:avLst/>
          </a:prstGeom>
          <a:noFill/>
        </p:spPr>
        <p:txBody>
          <a:bodyPr wrap="square" lIns="0" tIns="0" rIns="0" bIns="0" rtlCol="0">
            <a:spAutoFit/>
          </a:bodyPr>
          <a:lstStyle/>
          <a:p>
            <a:pPr defTabSz="914112"/>
            <a:r>
              <a:rPr lang="nl-NL" dirty="0">
                <a:solidFill>
                  <a:srgbClr val="404040"/>
                </a:solidFill>
                <a:latin typeface="Calibri" panose="020F0502020204030204" pitchFamily="34" charset="0"/>
              </a:rPr>
              <a:t>MENU 12 blokken</a:t>
            </a:r>
            <a:endParaRPr lang="en-GB" dirty="0">
              <a:solidFill>
                <a:srgbClr val="404040"/>
              </a:solidFill>
              <a:latin typeface="Calibri" panose="020F0502020204030204" pitchFamily="34" charset="0"/>
            </a:endParaRPr>
          </a:p>
        </p:txBody>
      </p:sp>
      <p:grpSp>
        <p:nvGrpSpPr>
          <p:cNvPr id="106" name="Instructie - Hyperlink aanmaken"/>
          <p:cNvGrpSpPr/>
          <p:nvPr userDrawn="1"/>
        </p:nvGrpSpPr>
        <p:grpSpPr>
          <a:xfrm>
            <a:off x="12544468" y="4029638"/>
            <a:ext cx="2711112" cy="5221861"/>
            <a:chOff x="12441149" y="14897"/>
            <a:chExt cx="2710406" cy="5221861"/>
          </a:xfrm>
        </p:grpSpPr>
        <p:grpSp>
          <p:nvGrpSpPr>
            <p:cNvPr id="137" name="Groep 136"/>
            <p:cNvGrpSpPr/>
            <p:nvPr userDrawn="1"/>
          </p:nvGrpSpPr>
          <p:grpSpPr>
            <a:xfrm>
              <a:off x="12486425" y="1700551"/>
              <a:ext cx="276600" cy="277539"/>
              <a:chOff x="12486425" y="1700551"/>
              <a:chExt cx="276600" cy="277539"/>
            </a:xfrm>
          </p:grpSpPr>
          <p:sp>
            <p:nvSpPr>
              <p:cNvPr id="150" name="Ovaal 149"/>
              <p:cNvSpPr/>
              <p:nvPr userDrawn="1"/>
            </p:nvSpPr>
            <p:spPr>
              <a:xfrm>
                <a:off x="12491756" y="1700551"/>
                <a:ext cx="211685" cy="213802"/>
              </a:xfrm>
              <a:prstGeom prst="ellipse">
                <a:avLst/>
              </a:prstGeom>
              <a:noFill/>
              <a:ln w="158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12"/>
                <a:endParaRPr lang="nl-NL">
                  <a:solidFill>
                    <a:srgbClr val="FFFFFF"/>
                  </a:solidFill>
                </a:endParaRPr>
              </a:p>
            </p:txBody>
          </p:sp>
          <p:sp>
            <p:nvSpPr>
              <p:cNvPr id="151" name="Ovaal 150"/>
              <p:cNvSpPr/>
              <p:nvPr userDrawn="1"/>
            </p:nvSpPr>
            <p:spPr>
              <a:xfrm>
                <a:off x="12552711" y="1700551"/>
                <a:ext cx="89775" cy="213802"/>
              </a:xfrm>
              <a:prstGeom prst="ellipse">
                <a:avLst/>
              </a:prstGeom>
              <a:noFill/>
              <a:ln w="158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12"/>
                <a:endParaRPr lang="nl-NL">
                  <a:solidFill>
                    <a:srgbClr val="FFFFFF"/>
                  </a:solidFill>
                </a:endParaRPr>
              </a:p>
            </p:txBody>
          </p:sp>
          <p:cxnSp>
            <p:nvCxnSpPr>
              <p:cNvPr id="152" name="Rechte verbindingslijn 151"/>
              <p:cNvCxnSpPr/>
              <p:nvPr userDrawn="1"/>
            </p:nvCxnSpPr>
            <p:spPr>
              <a:xfrm>
                <a:off x="12491756" y="1814916"/>
                <a:ext cx="211685" cy="0"/>
              </a:xfrm>
              <a:prstGeom prst="line">
                <a:avLst/>
              </a:prstGeom>
              <a:noFill/>
              <a:ln w="158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153" name="Rechte verbindingslijn 152"/>
              <p:cNvCxnSpPr/>
              <p:nvPr userDrawn="1"/>
            </p:nvCxnSpPr>
            <p:spPr>
              <a:xfrm>
                <a:off x="12502330" y="1762664"/>
                <a:ext cx="190536" cy="0"/>
              </a:xfrm>
              <a:prstGeom prst="line">
                <a:avLst/>
              </a:prstGeom>
              <a:noFill/>
              <a:ln w="158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154" name="Rechthoek: afgeronde hoeken 78"/>
              <p:cNvSpPr/>
              <p:nvPr userDrawn="1"/>
            </p:nvSpPr>
            <p:spPr>
              <a:xfrm>
                <a:off x="12486425" y="1844390"/>
                <a:ext cx="276600" cy="133700"/>
              </a:xfrm>
              <a:prstGeom prst="roundRect">
                <a:avLst>
                  <a:gd name="adj" fmla="val 4258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12"/>
                <a:endParaRPr lang="nl-NL">
                  <a:solidFill>
                    <a:srgbClr val="FFFFFF"/>
                  </a:solidFill>
                </a:endParaRPr>
              </a:p>
            </p:txBody>
          </p:sp>
          <p:sp>
            <p:nvSpPr>
              <p:cNvPr id="155" name="Vrije vorm: vorm 79"/>
              <p:cNvSpPr/>
              <p:nvPr userDrawn="1"/>
            </p:nvSpPr>
            <p:spPr>
              <a:xfrm>
                <a:off x="12517912" y="1869290"/>
                <a:ext cx="127323" cy="78974"/>
              </a:xfrm>
              <a:custGeom>
                <a:avLst/>
                <a:gdLst>
                  <a:gd name="connsiteX0" fmla="*/ 141826 w 141826"/>
                  <a:gd name="connsiteY0" fmla="*/ 37323 h 93306"/>
                  <a:gd name="connsiteX1" fmla="*/ 108235 w 141826"/>
                  <a:gd name="connsiteY1" fmla="*/ 3732 h 93306"/>
                  <a:gd name="connsiteX2" fmla="*/ 37323 w 141826"/>
                  <a:gd name="connsiteY2" fmla="*/ 0 h 93306"/>
                  <a:gd name="connsiteX3" fmla="*/ 0 w 141826"/>
                  <a:gd name="connsiteY3" fmla="*/ 41055 h 93306"/>
                  <a:gd name="connsiteX4" fmla="*/ 29858 w 141826"/>
                  <a:gd name="connsiteY4" fmla="*/ 93306 h 93306"/>
                  <a:gd name="connsiteX5" fmla="*/ 78378 w 141826"/>
                  <a:gd name="connsiteY5" fmla="*/ 89574 h 93306"/>
                  <a:gd name="connsiteX0" fmla="*/ 141826 w 141826"/>
                  <a:gd name="connsiteY0" fmla="*/ 37666 h 93649"/>
                  <a:gd name="connsiteX1" fmla="*/ 107420 w 141826"/>
                  <a:gd name="connsiteY1" fmla="*/ 0 h 93649"/>
                  <a:gd name="connsiteX2" fmla="*/ 37323 w 141826"/>
                  <a:gd name="connsiteY2" fmla="*/ 343 h 93649"/>
                  <a:gd name="connsiteX3" fmla="*/ 0 w 141826"/>
                  <a:gd name="connsiteY3" fmla="*/ 41398 h 93649"/>
                  <a:gd name="connsiteX4" fmla="*/ 29858 w 141826"/>
                  <a:gd name="connsiteY4" fmla="*/ 93649 h 93649"/>
                  <a:gd name="connsiteX5" fmla="*/ 78378 w 141826"/>
                  <a:gd name="connsiteY5" fmla="*/ 89917 h 93649"/>
                  <a:gd name="connsiteX0" fmla="*/ 141826 w 141826"/>
                  <a:gd name="connsiteY0" fmla="*/ 37666 h 93649"/>
                  <a:gd name="connsiteX1" fmla="*/ 107420 w 141826"/>
                  <a:gd name="connsiteY1" fmla="*/ 0 h 93649"/>
                  <a:gd name="connsiteX2" fmla="*/ 37323 w 141826"/>
                  <a:gd name="connsiteY2" fmla="*/ 343 h 93649"/>
                  <a:gd name="connsiteX3" fmla="*/ 0 w 141826"/>
                  <a:gd name="connsiteY3" fmla="*/ 41398 h 93649"/>
                  <a:gd name="connsiteX4" fmla="*/ 29858 w 141826"/>
                  <a:gd name="connsiteY4" fmla="*/ 93649 h 93649"/>
                  <a:gd name="connsiteX5" fmla="*/ 78378 w 141826"/>
                  <a:gd name="connsiteY5" fmla="*/ 89917 h 93649"/>
                  <a:gd name="connsiteX0" fmla="*/ 141826 w 141826"/>
                  <a:gd name="connsiteY0" fmla="*/ 37666 h 93649"/>
                  <a:gd name="connsiteX1" fmla="*/ 107420 w 141826"/>
                  <a:gd name="connsiteY1" fmla="*/ 0 h 93649"/>
                  <a:gd name="connsiteX2" fmla="*/ 37323 w 141826"/>
                  <a:gd name="connsiteY2" fmla="*/ 343 h 93649"/>
                  <a:gd name="connsiteX3" fmla="*/ 0 w 141826"/>
                  <a:gd name="connsiteY3" fmla="*/ 41398 h 93649"/>
                  <a:gd name="connsiteX4" fmla="*/ 29858 w 141826"/>
                  <a:gd name="connsiteY4" fmla="*/ 93649 h 93649"/>
                  <a:gd name="connsiteX5" fmla="*/ 79193 w 141826"/>
                  <a:gd name="connsiteY5" fmla="*/ 93177 h 93649"/>
                  <a:gd name="connsiteX0" fmla="*/ 141826 w 141826"/>
                  <a:gd name="connsiteY0" fmla="*/ 37666 h 93650"/>
                  <a:gd name="connsiteX1" fmla="*/ 107420 w 141826"/>
                  <a:gd name="connsiteY1" fmla="*/ 0 h 93650"/>
                  <a:gd name="connsiteX2" fmla="*/ 37323 w 141826"/>
                  <a:gd name="connsiteY2" fmla="*/ 343 h 93650"/>
                  <a:gd name="connsiteX3" fmla="*/ 0 w 141826"/>
                  <a:gd name="connsiteY3" fmla="*/ 41398 h 93650"/>
                  <a:gd name="connsiteX4" fmla="*/ 29858 w 141826"/>
                  <a:gd name="connsiteY4" fmla="*/ 93649 h 93650"/>
                  <a:gd name="connsiteX5" fmla="*/ 79193 w 141826"/>
                  <a:gd name="connsiteY5" fmla="*/ 93177 h 93650"/>
                  <a:gd name="connsiteX0" fmla="*/ 141826 w 141826"/>
                  <a:gd name="connsiteY0" fmla="*/ 37666 h 93650"/>
                  <a:gd name="connsiteX1" fmla="*/ 107420 w 141826"/>
                  <a:gd name="connsiteY1" fmla="*/ 0 h 93650"/>
                  <a:gd name="connsiteX2" fmla="*/ 37323 w 141826"/>
                  <a:gd name="connsiteY2" fmla="*/ 343 h 93650"/>
                  <a:gd name="connsiteX3" fmla="*/ 0 w 141826"/>
                  <a:gd name="connsiteY3" fmla="*/ 41398 h 93650"/>
                  <a:gd name="connsiteX4" fmla="*/ 29858 w 141826"/>
                  <a:gd name="connsiteY4" fmla="*/ 93649 h 93650"/>
                  <a:gd name="connsiteX5" fmla="*/ 79193 w 141826"/>
                  <a:gd name="connsiteY5" fmla="*/ 93177 h 93650"/>
                  <a:gd name="connsiteX0" fmla="*/ 141826 w 141826"/>
                  <a:gd name="connsiteY0" fmla="*/ 37666 h 93650"/>
                  <a:gd name="connsiteX1" fmla="*/ 107420 w 141826"/>
                  <a:gd name="connsiteY1" fmla="*/ 0 h 93650"/>
                  <a:gd name="connsiteX2" fmla="*/ 37323 w 141826"/>
                  <a:gd name="connsiteY2" fmla="*/ 343 h 93650"/>
                  <a:gd name="connsiteX3" fmla="*/ 0 w 141826"/>
                  <a:gd name="connsiteY3" fmla="*/ 41398 h 93650"/>
                  <a:gd name="connsiteX4" fmla="*/ 29858 w 141826"/>
                  <a:gd name="connsiteY4" fmla="*/ 93649 h 93650"/>
                  <a:gd name="connsiteX5" fmla="*/ 79193 w 141826"/>
                  <a:gd name="connsiteY5" fmla="*/ 93177 h 93650"/>
                  <a:gd name="connsiteX0" fmla="*/ 141555 w 141555"/>
                  <a:gd name="connsiteY0" fmla="*/ 37666 h 93650"/>
                  <a:gd name="connsiteX1" fmla="*/ 107149 w 141555"/>
                  <a:gd name="connsiteY1" fmla="*/ 0 h 93650"/>
                  <a:gd name="connsiteX2" fmla="*/ 37052 w 141555"/>
                  <a:gd name="connsiteY2" fmla="*/ 343 h 93650"/>
                  <a:gd name="connsiteX3" fmla="*/ 1 w 141555"/>
                  <a:gd name="connsiteY3" fmla="*/ 46832 h 93650"/>
                  <a:gd name="connsiteX4" fmla="*/ 29587 w 141555"/>
                  <a:gd name="connsiteY4" fmla="*/ 93649 h 93650"/>
                  <a:gd name="connsiteX5" fmla="*/ 78922 w 141555"/>
                  <a:gd name="connsiteY5" fmla="*/ 93177 h 93650"/>
                  <a:gd name="connsiteX0" fmla="*/ 142097 w 142097"/>
                  <a:gd name="connsiteY0" fmla="*/ 37666 h 93650"/>
                  <a:gd name="connsiteX1" fmla="*/ 107691 w 142097"/>
                  <a:gd name="connsiteY1" fmla="*/ 0 h 93650"/>
                  <a:gd name="connsiteX2" fmla="*/ 37594 w 142097"/>
                  <a:gd name="connsiteY2" fmla="*/ 343 h 93650"/>
                  <a:gd name="connsiteX3" fmla="*/ 0 w 142097"/>
                  <a:gd name="connsiteY3" fmla="*/ 45745 h 93650"/>
                  <a:gd name="connsiteX4" fmla="*/ 30129 w 142097"/>
                  <a:gd name="connsiteY4" fmla="*/ 93649 h 93650"/>
                  <a:gd name="connsiteX5" fmla="*/ 79464 w 142097"/>
                  <a:gd name="connsiteY5" fmla="*/ 93177 h 93650"/>
                  <a:gd name="connsiteX0" fmla="*/ 142151 w 142151"/>
                  <a:gd name="connsiteY0" fmla="*/ 37666 h 93177"/>
                  <a:gd name="connsiteX1" fmla="*/ 107745 w 142151"/>
                  <a:gd name="connsiteY1" fmla="*/ 0 h 93177"/>
                  <a:gd name="connsiteX2" fmla="*/ 37648 w 142151"/>
                  <a:gd name="connsiteY2" fmla="*/ 343 h 93177"/>
                  <a:gd name="connsiteX3" fmla="*/ 54 w 142151"/>
                  <a:gd name="connsiteY3" fmla="*/ 45745 h 93177"/>
                  <a:gd name="connsiteX4" fmla="*/ 30455 w 142151"/>
                  <a:gd name="connsiteY4" fmla="*/ 92834 h 93177"/>
                  <a:gd name="connsiteX5" fmla="*/ 79518 w 142151"/>
                  <a:gd name="connsiteY5" fmla="*/ 93177 h 93177"/>
                  <a:gd name="connsiteX0" fmla="*/ 142111 w 142111"/>
                  <a:gd name="connsiteY0" fmla="*/ 37666 h 93177"/>
                  <a:gd name="connsiteX1" fmla="*/ 107705 w 142111"/>
                  <a:gd name="connsiteY1" fmla="*/ 0 h 93177"/>
                  <a:gd name="connsiteX2" fmla="*/ 37608 w 142111"/>
                  <a:gd name="connsiteY2" fmla="*/ 343 h 93177"/>
                  <a:gd name="connsiteX3" fmla="*/ 14 w 142111"/>
                  <a:gd name="connsiteY3" fmla="*/ 45745 h 93177"/>
                  <a:gd name="connsiteX4" fmla="*/ 30415 w 142111"/>
                  <a:gd name="connsiteY4" fmla="*/ 92834 h 93177"/>
                  <a:gd name="connsiteX5" fmla="*/ 79478 w 142111"/>
                  <a:gd name="connsiteY5" fmla="*/ 93177 h 93177"/>
                  <a:gd name="connsiteX0" fmla="*/ 142111 w 142111"/>
                  <a:gd name="connsiteY0" fmla="*/ 37666 h 93177"/>
                  <a:gd name="connsiteX1" fmla="*/ 107705 w 142111"/>
                  <a:gd name="connsiteY1" fmla="*/ 0 h 93177"/>
                  <a:gd name="connsiteX2" fmla="*/ 37608 w 142111"/>
                  <a:gd name="connsiteY2" fmla="*/ 343 h 93177"/>
                  <a:gd name="connsiteX3" fmla="*/ 14 w 142111"/>
                  <a:gd name="connsiteY3" fmla="*/ 45745 h 93177"/>
                  <a:gd name="connsiteX4" fmla="*/ 30415 w 142111"/>
                  <a:gd name="connsiteY4" fmla="*/ 92834 h 93177"/>
                  <a:gd name="connsiteX5" fmla="*/ 79478 w 142111"/>
                  <a:gd name="connsiteY5" fmla="*/ 93177 h 9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111" h="93177">
                    <a:moveTo>
                      <a:pt x="142111" y="37666"/>
                    </a:moveTo>
                    <a:cubicBezTo>
                      <a:pt x="132000" y="23209"/>
                      <a:pt x="116185" y="600"/>
                      <a:pt x="107705" y="0"/>
                    </a:cubicBezTo>
                    <a:lnTo>
                      <a:pt x="37608" y="343"/>
                    </a:lnTo>
                    <a:cubicBezTo>
                      <a:pt x="25439" y="715"/>
                      <a:pt x="-689" y="17289"/>
                      <a:pt x="14" y="45745"/>
                    </a:cubicBezTo>
                    <a:cubicBezTo>
                      <a:pt x="717" y="74201"/>
                      <a:pt x="17745" y="93077"/>
                      <a:pt x="30415" y="92834"/>
                    </a:cubicBezTo>
                    <a:lnTo>
                      <a:pt x="79478" y="93177"/>
                    </a:lnTo>
                  </a:path>
                </a:pathLst>
              </a:custGeom>
              <a:noFill/>
              <a:ln w="28575"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12"/>
                <a:endParaRPr lang="nl-NL">
                  <a:solidFill>
                    <a:srgbClr val="FFFFFF"/>
                  </a:solidFill>
                </a:endParaRPr>
              </a:p>
            </p:txBody>
          </p:sp>
          <p:sp>
            <p:nvSpPr>
              <p:cNvPr id="156" name="Vrije vorm: vorm 80"/>
              <p:cNvSpPr/>
              <p:nvPr userDrawn="1"/>
            </p:nvSpPr>
            <p:spPr>
              <a:xfrm flipH="1" flipV="1">
                <a:off x="12605887" y="1869290"/>
                <a:ext cx="127323" cy="78974"/>
              </a:xfrm>
              <a:custGeom>
                <a:avLst/>
                <a:gdLst>
                  <a:gd name="connsiteX0" fmla="*/ 141826 w 141826"/>
                  <a:gd name="connsiteY0" fmla="*/ 37323 h 93306"/>
                  <a:gd name="connsiteX1" fmla="*/ 108235 w 141826"/>
                  <a:gd name="connsiteY1" fmla="*/ 3732 h 93306"/>
                  <a:gd name="connsiteX2" fmla="*/ 37323 w 141826"/>
                  <a:gd name="connsiteY2" fmla="*/ 0 h 93306"/>
                  <a:gd name="connsiteX3" fmla="*/ 0 w 141826"/>
                  <a:gd name="connsiteY3" fmla="*/ 41055 h 93306"/>
                  <a:gd name="connsiteX4" fmla="*/ 29858 w 141826"/>
                  <a:gd name="connsiteY4" fmla="*/ 93306 h 93306"/>
                  <a:gd name="connsiteX5" fmla="*/ 78378 w 141826"/>
                  <a:gd name="connsiteY5" fmla="*/ 89574 h 93306"/>
                  <a:gd name="connsiteX0" fmla="*/ 141826 w 141826"/>
                  <a:gd name="connsiteY0" fmla="*/ 37666 h 93649"/>
                  <a:gd name="connsiteX1" fmla="*/ 107420 w 141826"/>
                  <a:gd name="connsiteY1" fmla="*/ 0 h 93649"/>
                  <a:gd name="connsiteX2" fmla="*/ 37323 w 141826"/>
                  <a:gd name="connsiteY2" fmla="*/ 343 h 93649"/>
                  <a:gd name="connsiteX3" fmla="*/ 0 w 141826"/>
                  <a:gd name="connsiteY3" fmla="*/ 41398 h 93649"/>
                  <a:gd name="connsiteX4" fmla="*/ 29858 w 141826"/>
                  <a:gd name="connsiteY4" fmla="*/ 93649 h 93649"/>
                  <a:gd name="connsiteX5" fmla="*/ 78378 w 141826"/>
                  <a:gd name="connsiteY5" fmla="*/ 89917 h 93649"/>
                  <a:gd name="connsiteX0" fmla="*/ 141826 w 141826"/>
                  <a:gd name="connsiteY0" fmla="*/ 37666 h 93649"/>
                  <a:gd name="connsiteX1" fmla="*/ 107420 w 141826"/>
                  <a:gd name="connsiteY1" fmla="*/ 0 h 93649"/>
                  <a:gd name="connsiteX2" fmla="*/ 37323 w 141826"/>
                  <a:gd name="connsiteY2" fmla="*/ 343 h 93649"/>
                  <a:gd name="connsiteX3" fmla="*/ 0 w 141826"/>
                  <a:gd name="connsiteY3" fmla="*/ 41398 h 93649"/>
                  <a:gd name="connsiteX4" fmla="*/ 29858 w 141826"/>
                  <a:gd name="connsiteY4" fmla="*/ 93649 h 93649"/>
                  <a:gd name="connsiteX5" fmla="*/ 78378 w 141826"/>
                  <a:gd name="connsiteY5" fmla="*/ 89917 h 93649"/>
                  <a:gd name="connsiteX0" fmla="*/ 141826 w 141826"/>
                  <a:gd name="connsiteY0" fmla="*/ 37666 h 93649"/>
                  <a:gd name="connsiteX1" fmla="*/ 107420 w 141826"/>
                  <a:gd name="connsiteY1" fmla="*/ 0 h 93649"/>
                  <a:gd name="connsiteX2" fmla="*/ 37323 w 141826"/>
                  <a:gd name="connsiteY2" fmla="*/ 343 h 93649"/>
                  <a:gd name="connsiteX3" fmla="*/ 0 w 141826"/>
                  <a:gd name="connsiteY3" fmla="*/ 41398 h 93649"/>
                  <a:gd name="connsiteX4" fmla="*/ 29858 w 141826"/>
                  <a:gd name="connsiteY4" fmla="*/ 93649 h 93649"/>
                  <a:gd name="connsiteX5" fmla="*/ 79193 w 141826"/>
                  <a:gd name="connsiteY5" fmla="*/ 93177 h 93649"/>
                  <a:gd name="connsiteX0" fmla="*/ 141826 w 141826"/>
                  <a:gd name="connsiteY0" fmla="*/ 37666 h 93650"/>
                  <a:gd name="connsiteX1" fmla="*/ 107420 w 141826"/>
                  <a:gd name="connsiteY1" fmla="*/ 0 h 93650"/>
                  <a:gd name="connsiteX2" fmla="*/ 37323 w 141826"/>
                  <a:gd name="connsiteY2" fmla="*/ 343 h 93650"/>
                  <a:gd name="connsiteX3" fmla="*/ 0 w 141826"/>
                  <a:gd name="connsiteY3" fmla="*/ 41398 h 93650"/>
                  <a:gd name="connsiteX4" fmla="*/ 29858 w 141826"/>
                  <a:gd name="connsiteY4" fmla="*/ 93649 h 93650"/>
                  <a:gd name="connsiteX5" fmla="*/ 79193 w 141826"/>
                  <a:gd name="connsiteY5" fmla="*/ 93177 h 93650"/>
                  <a:gd name="connsiteX0" fmla="*/ 141826 w 141826"/>
                  <a:gd name="connsiteY0" fmla="*/ 37666 h 93650"/>
                  <a:gd name="connsiteX1" fmla="*/ 107420 w 141826"/>
                  <a:gd name="connsiteY1" fmla="*/ 0 h 93650"/>
                  <a:gd name="connsiteX2" fmla="*/ 37323 w 141826"/>
                  <a:gd name="connsiteY2" fmla="*/ 343 h 93650"/>
                  <a:gd name="connsiteX3" fmla="*/ 0 w 141826"/>
                  <a:gd name="connsiteY3" fmla="*/ 41398 h 93650"/>
                  <a:gd name="connsiteX4" fmla="*/ 29858 w 141826"/>
                  <a:gd name="connsiteY4" fmla="*/ 93649 h 93650"/>
                  <a:gd name="connsiteX5" fmla="*/ 79193 w 141826"/>
                  <a:gd name="connsiteY5" fmla="*/ 93177 h 93650"/>
                  <a:gd name="connsiteX0" fmla="*/ 141826 w 141826"/>
                  <a:gd name="connsiteY0" fmla="*/ 37666 h 93650"/>
                  <a:gd name="connsiteX1" fmla="*/ 107420 w 141826"/>
                  <a:gd name="connsiteY1" fmla="*/ 0 h 93650"/>
                  <a:gd name="connsiteX2" fmla="*/ 37323 w 141826"/>
                  <a:gd name="connsiteY2" fmla="*/ 343 h 93650"/>
                  <a:gd name="connsiteX3" fmla="*/ 0 w 141826"/>
                  <a:gd name="connsiteY3" fmla="*/ 41398 h 93650"/>
                  <a:gd name="connsiteX4" fmla="*/ 29858 w 141826"/>
                  <a:gd name="connsiteY4" fmla="*/ 93649 h 93650"/>
                  <a:gd name="connsiteX5" fmla="*/ 79193 w 141826"/>
                  <a:gd name="connsiteY5" fmla="*/ 93177 h 93650"/>
                  <a:gd name="connsiteX0" fmla="*/ 141555 w 141555"/>
                  <a:gd name="connsiteY0" fmla="*/ 37666 h 93650"/>
                  <a:gd name="connsiteX1" fmla="*/ 107149 w 141555"/>
                  <a:gd name="connsiteY1" fmla="*/ 0 h 93650"/>
                  <a:gd name="connsiteX2" fmla="*/ 37052 w 141555"/>
                  <a:gd name="connsiteY2" fmla="*/ 343 h 93650"/>
                  <a:gd name="connsiteX3" fmla="*/ 1 w 141555"/>
                  <a:gd name="connsiteY3" fmla="*/ 46832 h 93650"/>
                  <a:gd name="connsiteX4" fmla="*/ 29587 w 141555"/>
                  <a:gd name="connsiteY4" fmla="*/ 93649 h 93650"/>
                  <a:gd name="connsiteX5" fmla="*/ 78922 w 141555"/>
                  <a:gd name="connsiteY5" fmla="*/ 93177 h 93650"/>
                  <a:gd name="connsiteX0" fmla="*/ 142097 w 142097"/>
                  <a:gd name="connsiteY0" fmla="*/ 37666 h 93650"/>
                  <a:gd name="connsiteX1" fmla="*/ 107691 w 142097"/>
                  <a:gd name="connsiteY1" fmla="*/ 0 h 93650"/>
                  <a:gd name="connsiteX2" fmla="*/ 37594 w 142097"/>
                  <a:gd name="connsiteY2" fmla="*/ 343 h 93650"/>
                  <a:gd name="connsiteX3" fmla="*/ 0 w 142097"/>
                  <a:gd name="connsiteY3" fmla="*/ 45745 h 93650"/>
                  <a:gd name="connsiteX4" fmla="*/ 30129 w 142097"/>
                  <a:gd name="connsiteY4" fmla="*/ 93649 h 93650"/>
                  <a:gd name="connsiteX5" fmla="*/ 79464 w 142097"/>
                  <a:gd name="connsiteY5" fmla="*/ 93177 h 93650"/>
                  <a:gd name="connsiteX0" fmla="*/ 142151 w 142151"/>
                  <a:gd name="connsiteY0" fmla="*/ 37666 h 93177"/>
                  <a:gd name="connsiteX1" fmla="*/ 107745 w 142151"/>
                  <a:gd name="connsiteY1" fmla="*/ 0 h 93177"/>
                  <a:gd name="connsiteX2" fmla="*/ 37648 w 142151"/>
                  <a:gd name="connsiteY2" fmla="*/ 343 h 93177"/>
                  <a:gd name="connsiteX3" fmla="*/ 54 w 142151"/>
                  <a:gd name="connsiteY3" fmla="*/ 45745 h 93177"/>
                  <a:gd name="connsiteX4" fmla="*/ 30455 w 142151"/>
                  <a:gd name="connsiteY4" fmla="*/ 92834 h 93177"/>
                  <a:gd name="connsiteX5" fmla="*/ 79518 w 142151"/>
                  <a:gd name="connsiteY5" fmla="*/ 93177 h 93177"/>
                  <a:gd name="connsiteX0" fmla="*/ 142111 w 142111"/>
                  <a:gd name="connsiteY0" fmla="*/ 37666 h 93177"/>
                  <a:gd name="connsiteX1" fmla="*/ 107705 w 142111"/>
                  <a:gd name="connsiteY1" fmla="*/ 0 h 93177"/>
                  <a:gd name="connsiteX2" fmla="*/ 37608 w 142111"/>
                  <a:gd name="connsiteY2" fmla="*/ 343 h 93177"/>
                  <a:gd name="connsiteX3" fmla="*/ 14 w 142111"/>
                  <a:gd name="connsiteY3" fmla="*/ 45745 h 93177"/>
                  <a:gd name="connsiteX4" fmla="*/ 30415 w 142111"/>
                  <a:gd name="connsiteY4" fmla="*/ 92834 h 93177"/>
                  <a:gd name="connsiteX5" fmla="*/ 79478 w 142111"/>
                  <a:gd name="connsiteY5" fmla="*/ 93177 h 93177"/>
                  <a:gd name="connsiteX0" fmla="*/ 142111 w 142111"/>
                  <a:gd name="connsiteY0" fmla="*/ 37666 h 93177"/>
                  <a:gd name="connsiteX1" fmla="*/ 107705 w 142111"/>
                  <a:gd name="connsiteY1" fmla="*/ 0 h 93177"/>
                  <a:gd name="connsiteX2" fmla="*/ 37608 w 142111"/>
                  <a:gd name="connsiteY2" fmla="*/ 343 h 93177"/>
                  <a:gd name="connsiteX3" fmla="*/ 14 w 142111"/>
                  <a:gd name="connsiteY3" fmla="*/ 45745 h 93177"/>
                  <a:gd name="connsiteX4" fmla="*/ 30415 w 142111"/>
                  <a:gd name="connsiteY4" fmla="*/ 92834 h 93177"/>
                  <a:gd name="connsiteX5" fmla="*/ 79478 w 142111"/>
                  <a:gd name="connsiteY5" fmla="*/ 93177 h 9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111" h="93177">
                    <a:moveTo>
                      <a:pt x="142111" y="37666"/>
                    </a:moveTo>
                    <a:cubicBezTo>
                      <a:pt x="132000" y="23209"/>
                      <a:pt x="116185" y="600"/>
                      <a:pt x="107705" y="0"/>
                    </a:cubicBezTo>
                    <a:lnTo>
                      <a:pt x="37608" y="343"/>
                    </a:lnTo>
                    <a:cubicBezTo>
                      <a:pt x="25439" y="715"/>
                      <a:pt x="-689" y="17289"/>
                      <a:pt x="14" y="45745"/>
                    </a:cubicBezTo>
                    <a:cubicBezTo>
                      <a:pt x="717" y="74201"/>
                      <a:pt x="17745" y="93077"/>
                      <a:pt x="30415" y="92834"/>
                    </a:cubicBezTo>
                    <a:lnTo>
                      <a:pt x="79478" y="93177"/>
                    </a:lnTo>
                  </a:path>
                </a:pathLst>
              </a:custGeom>
              <a:noFill/>
              <a:ln w="28575"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12"/>
                <a:endParaRPr lang="nl-NL">
                  <a:solidFill>
                    <a:srgbClr val="FFFFFF"/>
                  </a:solidFill>
                </a:endParaRPr>
              </a:p>
            </p:txBody>
          </p:sp>
        </p:grpSp>
        <p:grpSp>
          <p:nvGrpSpPr>
            <p:cNvPr id="138" name="Groep 137"/>
            <p:cNvGrpSpPr/>
            <p:nvPr userDrawn="1"/>
          </p:nvGrpSpPr>
          <p:grpSpPr>
            <a:xfrm>
              <a:off x="12441149" y="14897"/>
              <a:ext cx="2710406" cy="5221861"/>
              <a:chOff x="12441149" y="14897"/>
              <a:chExt cx="2710406" cy="5221861"/>
            </a:xfrm>
          </p:grpSpPr>
          <p:grpSp>
            <p:nvGrpSpPr>
              <p:cNvPr id="139" name="Groep 138"/>
              <p:cNvGrpSpPr/>
              <p:nvPr userDrawn="1"/>
            </p:nvGrpSpPr>
            <p:grpSpPr>
              <a:xfrm>
                <a:off x="12441149" y="14897"/>
                <a:ext cx="2710406" cy="5221861"/>
                <a:chOff x="12441149" y="14897"/>
                <a:chExt cx="2710406" cy="5221861"/>
              </a:xfrm>
            </p:grpSpPr>
            <p:sp>
              <p:nvSpPr>
                <p:cNvPr id="141" name="Rechthoek 140"/>
                <p:cNvSpPr/>
                <p:nvPr userDrawn="1"/>
              </p:nvSpPr>
              <p:spPr>
                <a:xfrm>
                  <a:off x="12441150" y="14897"/>
                  <a:ext cx="2696270" cy="161771"/>
                </a:xfrm>
                <a:prstGeom prst="rect">
                  <a:avLst/>
                </a:prstGeom>
                <a:noFill/>
                <a:ln w="25400" cap="flat" cmpd="sng" algn="ctr">
                  <a:noFill/>
                  <a:prstDash val="solid"/>
                </a:ln>
                <a:effectLst/>
              </p:spPr>
              <p:txBody>
                <a:bodyPr lIns="0" tIns="0" rIns="0" bIns="0" rtlCol="0" anchor="t"/>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12">
                    <a:lnSpc>
                      <a:spcPct val="80000"/>
                    </a:lnSpc>
                  </a:pPr>
                  <a:r>
                    <a:rPr lang="nl-NL" sz="1600" b="1" kern="0" cap="all" dirty="0">
                      <a:solidFill>
                        <a:srgbClr val="ED1A3B"/>
                      </a:solidFill>
                      <a:cs typeface="Segoe UI Light" panose="020B0502040204020203" pitchFamily="34" charset="0"/>
                    </a:rPr>
                    <a:t>Hyperlink aanmaken</a:t>
                  </a:r>
                </a:p>
              </p:txBody>
            </p:sp>
            <p:sp>
              <p:nvSpPr>
                <p:cNvPr id="142" name="Tekstvak 33"/>
                <p:cNvSpPr txBox="1"/>
                <p:nvPr userDrawn="1"/>
              </p:nvSpPr>
              <p:spPr>
                <a:xfrm>
                  <a:off x="12441149" y="814239"/>
                  <a:ext cx="2710405" cy="719877"/>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Selecteer het ingevoegde icoon of transparante kader en ga met rechtermuisknop naar </a:t>
                  </a:r>
                  <a:r>
                    <a:rPr lang="nl-NL" sz="1200" u="sng" kern="0" dirty="0">
                      <a:solidFill>
                        <a:srgbClr val="000000"/>
                      </a:solidFill>
                      <a:latin typeface="Trebuchet MS"/>
                      <a:cs typeface="Segoe UI Light" panose="020B0502040204020203" pitchFamily="34" charset="0"/>
                    </a:rPr>
                    <a:t>H</a:t>
                  </a:r>
                  <a:r>
                    <a:rPr lang="nl-NL" sz="1200" kern="0" dirty="0">
                      <a:solidFill>
                        <a:srgbClr val="000000"/>
                      </a:solidFill>
                      <a:latin typeface="Trebuchet MS"/>
                      <a:cs typeface="Segoe UI Light" panose="020B0502040204020203" pitchFamily="34" charset="0"/>
                    </a:rPr>
                    <a:t>yperlink…</a:t>
                  </a:r>
                  <a:br>
                    <a:rPr lang="nl-NL" sz="1200" kern="0" dirty="0">
                      <a:solidFill>
                        <a:srgbClr val="000000"/>
                      </a:solidFill>
                      <a:latin typeface="Trebuchet MS"/>
                      <a:cs typeface="Segoe UI Light" panose="020B0502040204020203" pitchFamily="34" charset="0"/>
                    </a:rPr>
                  </a:br>
                  <a:r>
                    <a:rPr lang="nl-NL" sz="1100" i="1" kern="0" dirty="0">
                      <a:solidFill>
                        <a:srgbClr val="000000"/>
                      </a:solidFill>
                      <a:latin typeface="Trebuchet MS"/>
                      <a:cs typeface="Segoe UI Light" panose="020B0502040204020203" pitchFamily="34" charset="0"/>
                    </a:rPr>
                    <a:t>(zie onderstaand voorbeeld).</a:t>
                  </a:r>
                </a:p>
              </p:txBody>
            </p:sp>
            <p:sp>
              <p:nvSpPr>
                <p:cNvPr id="143" name="Tekstvak 33"/>
                <p:cNvSpPr txBox="1"/>
                <p:nvPr userDrawn="1"/>
              </p:nvSpPr>
              <p:spPr>
                <a:xfrm>
                  <a:off x="12441149" y="2793904"/>
                  <a:ext cx="2710405" cy="395943"/>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Selecteer tab: </a:t>
                  </a:r>
                  <a:r>
                    <a:rPr lang="nl-NL" sz="1200" i="1" kern="0" dirty="0">
                      <a:solidFill>
                        <a:srgbClr val="000000"/>
                      </a:solidFill>
                      <a:latin typeface="Trebuchet MS"/>
                      <a:cs typeface="Segoe UI Light" panose="020B0502040204020203" pitchFamily="34" charset="0"/>
                    </a:rPr>
                    <a:t>‘Plaats in dit document’ </a:t>
                  </a:r>
                  <a:r>
                    <a:rPr lang="nl-NL" sz="1200" kern="0" dirty="0">
                      <a:solidFill>
                        <a:srgbClr val="000000"/>
                      </a:solidFill>
                      <a:latin typeface="Trebuchet MS"/>
                      <a:cs typeface="Segoe UI Light" panose="020B0502040204020203" pitchFamily="34" charset="0"/>
                    </a:rPr>
                    <a:t>en selecteer hierna bij </a:t>
                  </a:r>
                  <a:r>
                    <a:rPr lang="nl-NL" sz="1200" b="1" kern="0" dirty="0">
                      <a:solidFill>
                        <a:srgbClr val="000000"/>
                      </a:solidFill>
                      <a:latin typeface="Trebuchet MS"/>
                      <a:cs typeface="Segoe UI Light" panose="020B0502040204020203" pitchFamily="34" charset="0"/>
                    </a:rPr>
                    <a:t>‘Diatitels’ </a:t>
                  </a:r>
                  <a:r>
                    <a:rPr lang="nl-NL" sz="1200" kern="0" dirty="0">
                      <a:solidFill>
                        <a:srgbClr val="000000"/>
                      </a:solidFill>
                      <a:latin typeface="Trebuchet MS"/>
                      <a:cs typeface="Segoe UI Light" panose="020B0502040204020203" pitchFamily="34" charset="0"/>
                    </a:rPr>
                    <a:t>de slide waar u naar wilt linken. Klik vervolgens  op </a:t>
                  </a:r>
                  <a:r>
                    <a:rPr lang="nl-NL" sz="1200" b="1" kern="0" dirty="0">
                      <a:solidFill>
                        <a:srgbClr val="000000"/>
                      </a:solidFill>
                      <a:latin typeface="Trebuchet MS"/>
                      <a:cs typeface="Segoe UI Light" panose="020B0502040204020203" pitchFamily="34" charset="0"/>
                    </a:rPr>
                    <a:t>‘OK’</a:t>
                  </a:r>
                </a:p>
              </p:txBody>
            </p:sp>
            <p:sp>
              <p:nvSpPr>
                <p:cNvPr id="144" name="Ovaal 143"/>
                <p:cNvSpPr/>
                <p:nvPr userDrawn="1"/>
              </p:nvSpPr>
              <p:spPr>
                <a:xfrm>
                  <a:off x="12441150" y="379292"/>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1</a:t>
                  </a:r>
                </a:p>
              </p:txBody>
            </p:sp>
            <p:sp>
              <p:nvSpPr>
                <p:cNvPr id="145" name="Ovaal 144"/>
                <p:cNvSpPr/>
                <p:nvPr userDrawn="1"/>
              </p:nvSpPr>
              <p:spPr>
                <a:xfrm>
                  <a:off x="12441150" y="2337208"/>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2</a:t>
                  </a:r>
                </a:p>
              </p:txBody>
            </p:sp>
            <p:cxnSp>
              <p:nvCxnSpPr>
                <p:cNvPr id="146" name="Rechte verbindingslijn 145"/>
                <p:cNvCxnSpPr/>
                <p:nvPr userDrawn="1"/>
              </p:nvCxnSpPr>
              <p:spPr>
                <a:xfrm>
                  <a:off x="12441150" y="248176"/>
                  <a:ext cx="2710405" cy="0"/>
                </a:xfrm>
                <a:prstGeom prst="line">
                  <a:avLst/>
                </a:prstGeom>
                <a:noFill/>
                <a:ln w="9525" cap="flat" cmpd="sng" algn="ctr">
                  <a:solidFill>
                    <a:schemeClr val="accent1"/>
                  </a:solidFill>
                  <a:prstDash val="solid"/>
                </a:ln>
                <a:effectLst/>
              </p:spPr>
            </p:cxnSp>
            <p:cxnSp>
              <p:nvCxnSpPr>
                <p:cNvPr id="147" name="Rechte verbindingslijn 146"/>
                <p:cNvCxnSpPr/>
                <p:nvPr userDrawn="1"/>
              </p:nvCxnSpPr>
              <p:spPr>
                <a:xfrm>
                  <a:off x="12441149" y="2212830"/>
                  <a:ext cx="2710405" cy="0"/>
                </a:xfrm>
                <a:prstGeom prst="line">
                  <a:avLst/>
                </a:prstGeom>
                <a:noFill/>
                <a:ln w="9525" cap="flat" cmpd="sng" algn="ctr">
                  <a:solidFill>
                    <a:schemeClr val="accent1"/>
                  </a:solidFill>
                  <a:prstDash val="solid"/>
                </a:ln>
                <a:effectLst/>
              </p:spPr>
            </p:cxnSp>
            <p:cxnSp>
              <p:nvCxnSpPr>
                <p:cNvPr id="148" name="Rechte verbindingslijn 147"/>
                <p:cNvCxnSpPr/>
                <p:nvPr userDrawn="1"/>
              </p:nvCxnSpPr>
              <p:spPr>
                <a:xfrm>
                  <a:off x="12444679" y="5236758"/>
                  <a:ext cx="2706875" cy="0"/>
                </a:xfrm>
                <a:prstGeom prst="line">
                  <a:avLst/>
                </a:prstGeom>
                <a:noFill/>
                <a:ln w="9525" cap="flat" cmpd="sng" algn="ctr">
                  <a:solidFill>
                    <a:schemeClr val="accent1"/>
                  </a:solidFill>
                  <a:prstDash val="solid"/>
                </a:ln>
                <a:effectLst/>
              </p:spPr>
            </p:cxnSp>
            <p:sp>
              <p:nvSpPr>
                <p:cNvPr id="149" name="Tekstvak 33"/>
                <p:cNvSpPr txBox="1"/>
                <p:nvPr userDrawn="1"/>
              </p:nvSpPr>
              <p:spPr>
                <a:xfrm>
                  <a:off x="12961946" y="1702639"/>
                  <a:ext cx="1287094" cy="298430"/>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12" fontAlgn="auto">
                    <a:spcBef>
                      <a:spcPts val="0"/>
                    </a:spcBef>
                    <a:spcAft>
                      <a:spcPts val="0"/>
                    </a:spcAft>
                    <a:defRPr/>
                  </a:pPr>
                  <a:r>
                    <a:rPr lang="nl-NL" sz="1600" u="sng" kern="0" dirty="0">
                      <a:solidFill>
                        <a:srgbClr val="000000"/>
                      </a:solidFill>
                      <a:latin typeface="Trebuchet MS"/>
                      <a:cs typeface="Segoe UI Light" panose="020B0502040204020203" pitchFamily="34" charset="0"/>
                    </a:rPr>
                    <a:t>H</a:t>
                  </a:r>
                  <a:r>
                    <a:rPr lang="nl-NL" sz="1600" kern="0" dirty="0">
                      <a:solidFill>
                        <a:srgbClr val="000000"/>
                      </a:solidFill>
                      <a:latin typeface="Trebuchet MS"/>
                      <a:cs typeface="Segoe UI Light" panose="020B0502040204020203" pitchFamily="34" charset="0"/>
                    </a:rPr>
                    <a:t>yperlink…</a:t>
                  </a:r>
                  <a:endParaRPr lang="nl-NL" sz="1400" i="1" kern="0" dirty="0">
                    <a:solidFill>
                      <a:srgbClr val="000000"/>
                    </a:solidFill>
                    <a:latin typeface="Trebuchet MS"/>
                    <a:cs typeface="Segoe UI Light" panose="020B0502040204020203" pitchFamily="34" charset="0"/>
                  </a:endParaRPr>
                </a:p>
              </p:txBody>
            </p:sp>
          </p:grpSp>
          <p:pic>
            <p:nvPicPr>
              <p:cNvPr id="140" name="Afbeelding 139"/>
              <p:cNvPicPr>
                <a:picLocks noChangeAspect="1"/>
              </p:cNvPicPr>
              <p:nvPr userDrawn="1"/>
            </p:nvPicPr>
            <p:blipFill rotWithShape="1">
              <a:blip r:embed="rId2"/>
              <a:srcRect l="541" t="1090" b="517"/>
              <a:stretch/>
            </p:blipFill>
            <p:spPr>
              <a:xfrm>
                <a:off x="12459242" y="3770920"/>
                <a:ext cx="2678178" cy="1300095"/>
              </a:xfrm>
              <a:prstGeom prst="round2SameRect">
                <a:avLst>
                  <a:gd name="adj1" fmla="val 2077"/>
                  <a:gd name="adj2" fmla="val 0"/>
                </a:avLst>
              </a:prstGeom>
              <a:ln w="3175">
                <a:solidFill>
                  <a:schemeClr val="tx1"/>
                </a:solidFill>
              </a:ln>
            </p:spPr>
          </p:pic>
        </p:grpSp>
      </p:grpSp>
      <p:grpSp>
        <p:nvGrpSpPr>
          <p:cNvPr id="107" name="Instructie - Afbeelding invoegen"/>
          <p:cNvGrpSpPr/>
          <p:nvPr userDrawn="1"/>
        </p:nvGrpSpPr>
        <p:grpSpPr>
          <a:xfrm>
            <a:off x="12487712" y="-19834"/>
            <a:ext cx="2717570" cy="3676571"/>
            <a:chOff x="12434693" y="14897"/>
            <a:chExt cx="2716862" cy="3676571"/>
          </a:xfrm>
        </p:grpSpPr>
        <p:sp>
          <p:nvSpPr>
            <p:cNvPr id="123" name="Rechthoek 122"/>
            <p:cNvSpPr/>
            <p:nvPr userDrawn="1"/>
          </p:nvSpPr>
          <p:spPr>
            <a:xfrm>
              <a:off x="12441150" y="14897"/>
              <a:ext cx="2696270" cy="161771"/>
            </a:xfrm>
            <a:prstGeom prst="rect">
              <a:avLst/>
            </a:prstGeom>
            <a:noFill/>
            <a:ln w="25400" cap="flat" cmpd="sng" algn="ctr">
              <a:noFill/>
              <a:prstDash val="solid"/>
            </a:ln>
            <a:effectLst/>
          </p:spPr>
          <p:txBody>
            <a:bodyPr lIns="0" tIns="0" rIns="0" bIns="0" rtlCol="0" anchor="t"/>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12">
                <a:lnSpc>
                  <a:spcPct val="80000"/>
                </a:lnSpc>
              </a:pPr>
              <a:r>
                <a:rPr lang="nl-NL" sz="1600" b="1" kern="0" cap="all" dirty="0">
                  <a:solidFill>
                    <a:srgbClr val="ED1A3B"/>
                  </a:solidFill>
                  <a:cs typeface="Segoe UI Light" panose="020B0502040204020203" pitchFamily="34" charset="0"/>
                </a:rPr>
                <a:t>AFBEELDING INVOEGEN</a:t>
              </a:r>
            </a:p>
          </p:txBody>
        </p:sp>
        <p:sp>
          <p:nvSpPr>
            <p:cNvPr id="124" name="Tekstvak 33"/>
            <p:cNvSpPr txBox="1"/>
            <p:nvPr userDrawn="1"/>
          </p:nvSpPr>
          <p:spPr>
            <a:xfrm>
              <a:off x="12441149" y="814239"/>
              <a:ext cx="2710405" cy="719877"/>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Indien nodig, verwijder de bestaande afbeelding. Klik op het pictogram </a:t>
              </a:r>
              <a:br>
                <a:rPr lang="nl-NL" sz="1200" kern="0" dirty="0">
                  <a:solidFill>
                    <a:srgbClr val="000000"/>
                  </a:solidFill>
                  <a:latin typeface="Trebuchet MS"/>
                  <a:cs typeface="Segoe UI Light" panose="020B0502040204020203" pitchFamily="34" charset="0"/>
                </a:rPr>
              </a:br>
              <a:r>
                <a:rPr lang="nl-NL" sz="1200" kern="0" dirty="0">
                  <a:solidFill>
                    <a:srgbClr val="000000"/>
                  </a:solidFill>
                  <a:latin typeface="Trebuchet MS"/>
                  <a:cs typeface="Segoe UI Light" panose="020B0502040204020203" pitchFamily="34" charset="0"/>
                </a:rPr>
                <a:t>om een afbeelding in te voegen</a:t>
              </a:r>
              <a:br>
                <a:rPr lang="nl-NL" sz="1200" kern="0" dirty="0">
                  <a:solidFill>
                    <a:srgbClr val="000000"/>
                  </a:solidFill>
                  <a:latin typeface="Trebuchet MS"/>
                  <a:cs typeface="Segoe UI Light" panose="020B0502040204020203" pitchFamily="34" charset="0"/>
                </a:rPr>
              </a:br>
              <a:r>
                <a:rPr lang="nl-NL" sz="1100" i="1" kern="0" dirty="0">
                  <a:solidFill>
                    <a:srgbClr val="000000"/>
                  </a:solidFill>
                  <a:latin typeface="Trebuchet MS"/>
                  <a:cs typeface="Segoe UI Light" panose="020B0502040204020203" pitchFamily="34" charset="0"/>
                </a:rPr>
                <a:t>(zie onderstaand voorbeeld).</a:t>
              </a:r>
            </a:p>
          </p:txBody>
        </p:sp>
        <p:sp>
          <p:nvSpPr>
            <p:cNvPr id="125" name="Tekstvak 33"/>
            <p:cNvSpPr txBox="1"/>
            <p:nvPr userDrawn="1"/>
          </p:nvSpPr>
          <p:spPr>
            <a:xfrm>
              <a:off x="12441149" y="2793904"/>
              <a:ext cx="2710405" cy="395943"/>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Selecteer de afbeelding die u wilt invoegen en klik op </a:t>
              </a:r>
              <a:r>
                <a:rPr lang="nl-NL" sz="1200" b="1" kern="0" dirty="0">
                  <a:solidFill>
                    <a:srgbClr val="000000"/>
                  </a:solidFill>
                  <a:latin typeface="Trebuchet MS"/>
                  <a:cs typeface="Segoe UI Light" panose="020B0502040204020203" pitchFamily="34" charset="0"/>
                </a:rPr>
                <a:t>‘Invoegen’</a:t>
              </a:r>
            </a:p>
          </p:txBody>
        </p:sp>
        <p:sp>
          <p:nvSpPr>
            <p:cNvPr id="126" name="Ovaal 125"/>
            <p:cNvSpPr/>
            <p:nvPr userDrawn="1"/>
          </p:nvSpPr>
          <p:spPr>
            <a:xfrm>
              <a:off x="12441150" y="379292"/>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1</a:t>
              </a:r>
            </a:p>
          </p:txBody>
        </p:sp>
        <p:sp>
          <p:nvSpPr>
            <p:cNvPr id="127" name="Ovaal 126"/>
            <p:cNvSpPr/>
            <p:nvPr userDrawn="1"/>
          </p:nvSpPr>
          <p:spPr>
            <a:xfrm>
              <a:off x="12441150" y="2337208"/>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2</a:t>
              </a:r>
            </a:p>
          </p:txBody>
        </p:sp>
        <p:cxnSp>
          <p:nvCxnSpPr>
            <p:cNvPr id="128" name="Rechte verbindingslijn 127"/>
            <p:cNvCxnSpPr/>
            <p:nvPr userDrawn="1"/>
          </p:nvCxnSpPr>
          <p:spPr>
            <a:xfrm>
              <a:off x="12441150" y="248176"/>
              <a:ext cx="2710405" cy="0"/>
            </a:xfrm>
            <a:prstGeom prst="line">
              <a:avLst/>
            </a:prstGeom>
            <a:noFill/>
            <a:ln w="9525" cap="flat" cmpd="sng" algn="ctr">
              <a:solidFill>
                <a:schemeClr val="accent1"/>
              </a:solidFill>
              <a:prstDash val="solid"/>
            </a:ln>
            <a:effectLst/>
          </p:spPr>
        </p:cxnSp>
        <p:cxnSp>
          <p:nvCxnSpPr>
            <p:cNvPr id="129" name="Rechte verbindingslijn 128"/>
            <p:cNvCxnSpPr/>
            <p:nvPr userDrawn="1"/>
          </p:nvCxnSpPr>
          <p:spPr>
            <a:xfrm>
              <a:off x="12441149" y="2212830"/>
              <a:ext cx="2710405" cy="0"/>
            </a:xfrm>
            <a:prstGeom prst="line">
              <a:avLst/>
            </a:prstGeom>
            <a:noFill/>
            <a:ln w="9525" cap="flat" cmpd="sng" algn="ctr">
              <a:solidFill>
                <a:schemeClr val="accent1"/>
              </a:solidFill>
              <a:prstDash val="solid"/>
            </a:ln>
            <a:effectLst/>
          </p:spPr>
        </p:cxnSp>
        <p:cxnSp>
          <p:nvCxnSpPr>
            <p:cNvPr id="130" name="Rechte verbindingslijn 129"/>
            <p:cNvCxnSpPr/>
            <p:nvPr userDrawn="1"/>
          </p:nvCxnSpPr>
          <p:spPr>
            <a:xfrm>
              <a:off x="12444679" y="3691468"/>
              <a:ext cx="2706875" cy="0"/>
            </a:xfrm>
            <a:prstGeom prst="line">
              <a:avLst/>
            </a:prstGeom>
            <a:noFill/>
            <a:ln w="9525" cap="flat" cmpd="sng" algn="ctr">
              <a:solidFill>
                <a:schemeClr val="accent1"/>
              </a:solidFill>
              <a:prstDash val="solid"/>
            </a:ln>
            <a:effectLst/>
          </p:spPr>
        </p:cxnSp>
        <p:pic>
          <p:nvPicPr>
            <p:cNvPr id="131" name="Icoontje afbeeldi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2434693" y="1677764"/>
              <a:ext cx="403210" cy="403210"/>
            </a:xfrm>
            <a:prstGeom prst="rect">
              <a:avLst/>
            </a:prstGeom>
          </p:spPr>
        </p:pic>
        <p:grpSp>
          <p:nvGrpSpPr>
            <p:cNvPr id="132" name="Groep 131"/>
            <p:cNvGrpSpPr/>
            <p:nvPr userDrawn="1"/>
          </p:nvGrpSpPr>
          <p:grpSpPr>
            <a:xfrm>
              <a:off x="12450571" y="3301369"/>
              <a:ext cx="1002992" cy="267962"/>
              <a:chOff x="13560784" y="3471416"/>
              <a:chExt cx="1114138" cy="297656"/>
            </a:xfrm>
          </p:grpSpPr>
          <p:sp>
            <p:nvSpPr>
              <p:cNvPr id="133" name="Afgeronde rechthoek 132"/>
              <p:cNvSpPr/>
              <p:nvPr userDrawn="1"/>
            </p:nvSpPr>
            <p:spPr>
              <a:xfrm>
                <a:off x="13560784" y="3471416"/>
                <a:ext cx="1114138" cy="297656"/>
              </a:xfrm>
              <a:prstGeom prst="roundRect">
                <a:avLst/>
              </a:prstGeom>
              <a:gradFill flip="none" rotWithShape="1">
                <a:gsLst>
                  <a:gs pos="4000">
                    <a:srgbClr val="00B0F0"/>
                  </a:gs>
                  <a:gs pos="0">
                    <a:srgbClr val="0070C0"/>
                  </a:gs>
                  <a:gs pos="100000">
                    <a:srgbClr val="0070C0"/>
                  </a:gs>
                  <a:gs pos="12000">
                    <a:srgbClr val="D1EAFF"/>
                  </a:gs>
                  <a:gs pos="96000">
                    <a:srgbClr val="00B0F0"/>
                  </a:gs>
                  <a:gs pos="89000">
                    <a:srgbClr val="DDF4FF"/>
                  </a:gs>
                  <a:gs pos="43000">
                    <a:srgbClr val="D1EAFF"/>
                  </a:gs>
                  <a:gs pos="51000">
                    <a:srgbClr val="DDF4FF"/>
                  </a:gs>
                </a:gsLst>
                <a:lin ang="16200000" scaled="1"/>
                <a:tileRect/>
              </a:gradFill>
              <a:ln w="63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12"/>
                <a:endParaRPr lang="nl-NL" dirty="0">
                  <a:solidFill>
                    <a:srgbClr val="FFFFFF"/>
                  </a:solidFill>
                </a:endParaRPr>
              </a:p>
            </p:txBody>
          </p:sp>
          <p:sp>
            <p:nvSpPr>
              <p:cNvPr id="134" name="Tekstvak 62"/>
              <p:cNvSpPr txBox="1"/>
              <p:nvPr userDrawn="1"/>
            </p:nvSpPr>
            <p:spPr>
              <a:xfrm>
                <a:off x="13573594" y="3488254"/>
                <a:ext cx="888311" cy="273506"/>
              </a:xfrm>
              <a:prstGeom prst="rect">
                <a:avLst/>
              </a:prstGeom>
              <a:noFill/>
            </p:spPr>
            <p:txBody>
              <a:bodyPr wrap="square" rtlCol="0" anchor="ctr">
                <a:sp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12"/>
                <a:r>
                  <a:rPr lang="nl-NL" sz="1000" dirty="0">
                    <a:solidFill>
                      <a:srgbClr val="000000"/>
                    </a:solidFill>
                    <a:latin typeface="Trebuchet MS"/>
                  </a:rPr>
                  <a:t>Invoegen</a:t>
                </a:r>
              </a:p>
            </p:txBody>
          </p:sp>
          <p:cxnSp>
            <p:nvCxnSpPr>
              <p:cNvPr id="135" name="Rechte verbindingslijn 134"/>
              <p:cNvCxnSpPr/>
              <p:nvPr userDrawn="1"/>
            </p:nvCxnSpPr>
            <p:spPr>
              <a:xfrm>
                <a:off x="14461905" y="3507058"/>
                <a:ext cx="0" cy="224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6" name="Gelijkbenige driehoek 135"/>
              <p:cNvSpPr/>
              <p:nvPr userDrawn="1"/>
            </p:nvSpPr>
            <p:spPr>
              <a:xfrm rot="10800000">
                <a:off x="14518584" y="3600521"/>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12"/>
                <a:endParaRPr lang="nl-NL" dirty="0">
                  <a:solidFill>
                    <a:srgbClr val="FFFFFF"/>
                  </a:solidFill>
                </a:endParaRPr>
              </a:p>
            </p:txBody>
          </p:sp>
        </p:grpSp>
      </p:grpSp>
      <p:grpSp>
        <p:nvGrpSpPr>
          <p:cNvPr id="70" name="Instructie - Tekst niveaus"/>
          <p:cNvGrpSpPr/>
          <p:nvPr userDrawn="1"/>
        </p:nvGrpSpPr>
        <p:grpSpPr>
          <a:xfrm>
            <a:off x="-3117849" y="365"/>
            <a:ext cx="2823358" cy="5254722"/>
            <a:chOff x="-2959433" y="-5444"/>
            <a:chExt cx="2822623" cy="5254722"/>
          </a:xfrm>
        </p:grpSpPr>
        <p:sp>
          <p:nvSpPr>
            <p:cNvPr id="71" name="Rechthoek 70"/>
            <p:cNvSpPr/>
            <p:nvPr userDrawn="1"/>
          </p:nvSpPr>
          <p:spPr>
            <a:xfrm>
              <a:off x="-2959433" y="-5444"/>
              <a:ext cx="2572469" cy="280344"/>
            </a:xfrm>
            <a:prstGeom prst="rect">
              <a:avLst/>
            </a:prstGeom>
            <a:noFill/>
            <a:ln w="25400" cap="flat" cmpd="sng" algn="ctr">
              <a:noFill/>
              <a:prstDash val="solid"/>
            </a:ln>
            <a:effectLst/>
          </p:spPr>
          <p:txBody>
            <a:bodyPr lIns="0" tIns="0" rIns="0" bIns="0" rtlCol="0" anchor="t"/>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nl-NL" sz="1600" b="1" kern="0" dirty="0">
                  <a:solidFill>
                    <a:srgbClr val="ED1A3B"/>
                  </a:solidFill>
                  <a:cs typeface="Segoe UI Light" panose="020B0502040204020203" pitchFamily="34" charset="0"/>
                </a:rPr>
                <a:t>TEKST NIVEAUS</a:t>
              </a:r>
            </a:p>
          </p:txBody>
        </p:sp>
        <p:sp>
          <p:nvSpPr>
            <p:cNvPr id="72" name="Textfield placeholder"/>
            <p:cNvSpPr txBox="1">
              <a:spLocks/>
            </p:cNvSpPr>
            <p:nvPr userDrawn="1"/>
          </p:nvSpPr>
          <p:spPr>
            <a:xfrm>
              <a:off x="-2587337" y="2675411"/>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0" lvl="2"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a:solidFill>
                    <a:srgbClr val="404040"/>
                  </a:solidFill>
                </a:rPr>
                <a:t>Sub-bullets (16 pt.)</a:t>
              </a:r>
            </a:p>
          </p:txBody>
        </p:sp>
        <p:sp>
          <p:nvSpPr>
            <p:cNvPr id="73" name="Ovaal 72"/>
            <p:cNvSpPr/>
            <p:nvPr userDrawn="1"/>
          </p:nvSpPr>
          <p:spPr>
            <a:xfrm>
              <a:off x="-2959433" y="196874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1</a:t>
              </a:r>
            </a:p>
          </p:txBody>
        </p:sp>
        <p:sp>
          <p:nvSpPr>
            <p:cNvPr id="74" name="Ovaal 73"/>
            <p:cNvSpPr/>
            <p:nvPr userDrawn="1"/>
          </p:nvSpPr>
          <p:spPr>
            <a:xfrm>
              <a:off x="-2959433" y="232207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2</a:t>
              </a:r>
            </a:p>
          </p:txBody>
        </p:sp>
        <p:sp>
          <p:nvSpPr>
            <p:cNvPr id="75" name="Ovaal 74"/>
            <p:cNvSpPr/>
            <p:nvPr userDrawn="1"/>
          </p:nvSpPr>
          <p:spPr>
            <a:xfrm>
              <a:off x="-2959433" y="267541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3</a:t>
              </a:r>
            </a:p>
          </p:txBody>
        </p:sp>
        <p:sp>
          <p:nvSpPr>
            <p:cNvPr id="76" name="Ovaal 75"/>
            <p:cNvSpPr/>
            <p:nvPr userDrawn="1"/>
          </p:nvSpPr>
          <p:spPr>
            <a:xfrm>
              <a:off x="-2959433" y="302874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4</a:t>
              </a:r>
            </a:p>
          </p:txBody>
        </p:sp>
        <p:sp>
          <p:nvSpPr>
            <p:cNvPr id="77" name="Textfield placeholder"/>
            <p:cNvSpPr txBox="1">
              <a:spLocks/>
            </p:cNvSpPr>
            <p:nvPr userDrawn="1"/>
          </p:nvSpPr>
          <p:spPr>
            <a:xfrm>
              <a:off x="-2571950" y="1966925"/>
              <a:ext cx="2163709" cy="261500"/>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79388">
                <a:lnSpc>
                  <a:spcPct val="120000"/>
                </a:lnSpc>
                <a:spcBef>
                  <a:spcPts val="0"/>
                </a:spcBef>
                <a:spcAft>
                  <a:spcPts val="900"/>
                </a:spcAft>
                <a:buClr>
                  <a:srgbClr val="000000"/>
                </a:buClr>
                <a:buSzPct val="100000"/>
                <a:buFont typeface="Arial" pitchFamily="34" charset="0"/>
                <a:buNone/>
                <a:defRPr/>
              </a:pPr>
              <a:r>
                <a:rPr lang="nl-NL" sz="1200" dirty="0">
                  <a:solidFill>
                    <a:srgbClr val="535353"/>
                  </a:solidFill>
                </a:rPr>
                <a:t>Leestekst (16 pt.)</a:t>
              </a:r>
            </a:p>
          </p:txBody>
        </p:sp>
        <p:sp>
          <p:nvSpPr>
            <p:cNvPr id="78" name="Textfield placeholder"/>
            <p:cNvSpPr txBox="1">
              <a:spLocks/>
            </p:cNvSpPr>
            <p:nvPr userDrawn="1"/>
          </p:nvSpPr>
          <p:spPr>
            <a:xfrm>
              <a:off x="-2571950" y="2322077"/>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70000" lvl="1"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err="1">
                  <a:solidFill>
                    <a:srgbClr val="535353"/>
                  </a:solidFill>
                </a:rPr>
                <a:t>Bullets</a:t>
              </a:r>
              <a:r>
                <a:rPr lang="nl-NL" sz="1200" dirty="0">
                  <a:solidFill>
                    <a:srgbClr val="535353"/>
                  </a:solidFill>
                </a:rPr>
                <a:t> (16 </a:t>
              </a:r>
              <a:r>
                <a:rPr lang="nl-NL" sz="1200" dirty="0" err="1">
                  <a:solidFill>
                    <a:srgbClr val="535353"/>
                  </a:solidFill>
                </a:rPr>
                <a:t>pt</a:t>
              </a:r>
              <a:r>
                <a:rPr lang="nl-NL" sz="1200" dirty="0">
                  <a:solidFill>
                    <a:srgbClr val="535353"/>
                  </a:solidFill>
                </a:rPr>
                <a:t>.)</a:t>
              </a:r>
            </a:p>
          </p:txBody>
        </p:sp>
        <p:sp>
          <p:nvSpPr>
            <p:cNvPr id="79" name="Textfield placeholder"/>
            <p:cNvSpPr txBox="1">
              <a:spLocks/>
            </p:cNvSpPr>
            <p:nvPr userDrawn="1"/>
          </p:nvSpPr>
          <p:spPr>
            <a:xfrm>
              <a:off x="-2571951" y="3028747"/>
              <a:ext cx="2435141"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10000" lvl="3" indent="-270000" algn="l" defTabSz="179388" rtl="0" eaLnBrk="1" latinLnBrk="0" hangingPunct="1">
                <a:lnSpc>
                  <a:spcPct val="120000"/>
                </a:lnSpc>
                <a:spcBef>
                  <a:spcPts val="0"/>
                </a:spcBef>
                <a:spcAft>
                  <a:spcPts val="900"/>
                </a:spcAft>
                <a:buClr>
                  <a:schemeClr val="accent2"/>
                </a:buClr>
                <a:buSzPct val="80000"/>
                <a:buFont typeface="Wingdings 3" panose="05040102010807070707" pitchFamily="18" charset="2"/>
                <a:buChar char=""/>
                <a:defRPr/>
              </a:pPr>
              <a:r>
                <a:rPr lang="nl-NL" sz="1200" b="0" kern="1200" dirty="0">
                  <a:solidFill>
                    <a:srgbClr val="404040"/>
                  </a:solidFill>
                  <a:latin typeface="+mn-lt"/>
                  <a:ea typeface="+mn-ea"/>
                  <a:cs typeface="+mn-cs"/>
                </a:rPr>
                <a:t>Sub-sub-bullets (16 pt.)</a:t>
              </a:r>
            </a:p>
          </p:txBody>
        </p:sp>
        <p:cxnSp>
          <p:nvCxnSpPr>
            <p:cNvPr id="80" name="Rechte verbindingslijn 79"/>
            <p:cNvCxnSpPr/>
            <p:nvPr userDrawn="1"/>
          </p:nvCxnSpPr>
          <p:spPr>
            <a:xfrm>
              <a:off x="-2959100" y="274900"/>
              <a:ext cx="2674470" cy="0"/>
            </a:xfrm>
            <a:prstGeom prst="line">
              <a:avLst/>
            </a:prstGeom>
            <a:noFill/>
            <a:ln w="9525" cap="flat" cmpd="sng" algn="ctr">
              <a:solidFill>
                <a:schemeClr val="accent1"/>
              </a:solidFill>
              <a:prstDash val="solid"/>
            </a:ln>
            <a:effectLst/>
          </p:spPr>
        </p:cxnSp>
        <p:cxnSp>
          <p:nvCxnSpPr>
            <p:cNvPr id="81" name="Rechte verbindingslijn 80"/>
            <p:cNvCxnSpPr/>
            <p:nvPr userDrawn="1"/>
          </p:nvCxnSpPr>
          <p:spPr>
            <a:xfrm>
              <a:off x="-2959100" y="1841989"/>
              <a:ext cx="2661379" cy="0"/>
            </a:xfrm>
            <a:prstGeom prst="line">
              <a:avLst/>
            </a:prstGeom>
            <a:noFill/>
            <a:ln w="9525" cap="flat" cmpd="sng" algn="ctr">
              <a:solidFill>
                <a:schemeClr val="accent1"/>
              </a:solidFill>
              <a:prstDash val="solid"/>
            </a:ln>
            <a:effectLst/>
          </p:spPr>
        </p:cxnSp>
        <p:cxnSp>
          <p:nvCxnSpPr>
            <p:cNvPr id="82" name="Rechte verbindingslijn 81"/>
            <p:cNvCxnSpPr/>
            <p:nvPr userDrawn="1"/>
          </p:nvCxnSpPr>
          <p:spPr>
            <a:xfrm>
              <a:off x="-2959100" y="5249278"/>
              <a:ext cx="2661379" cy="0"/>
            </a:xfrm>
            <a:prstGeom prst="line">
              <a:avLst/>
            </a:prstGeom>
            <a:noFill/>
            <a:ln w="9525" cap="flat" cmpd="sng" algn="ctr">
              <a:solidFill>
                <a:schemeClr val="accent1"/>
              </a:solidFill>
              <a:prstDash val="solid"/>
            </a:ln>
            <a:effectLst/>
          </p:spPr>
        </p:cxnSp>
        <p:grpSp>
          <p:nvGrpSpPr>
            <p:cNvPr id="83" name="Groep 82"/>
            <p:cNvGrpSpPr/>
            <p:nvPr userDrawn="1"/>
          </p:nvGrpSpPr>
          <p:grpSpPr>
            <a:xfrm>
              <a:off x="-1948476" y="816741"/>
              <a:ext cx="409108" cy="427699"/>
              <a:chOff x="-1085063" y="758027"/>
              <a:chExt cx="633799" cy="622540"/>
            </a:xfrm>
          </p:grpSpPr>
          <p:sp>
            <p:nvSpPr>
              <p:cNvPr id="190" name="Afgeronde rechthoek 189"/>
              <p:cNvSpPr/>
              <p:nvPr userDrawn="1"/>
            </p:nvSpPr>
            <p:spPr>
              <a:xfrm>
                <a:off x="-108506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191" name="Groep 190"/>
              <p:cNvGrpSpPr/>
              <p:nvPr userDrawn="1"/>
            </p:nvGrpSpPr>
            <p:grpSpPr>
              <a:xfrm>
                <a:off x="-977739" y="864082"/>
                <a:ext cx="419168" cy="410429"/>
                <a:chOff x="6366933" y="309013"/>
                <a:chExt cx="1901295" cy="1861668"/>
              </a:xfrm>
              <a:solidFill>
                <a:srgbClr val="000000"/>
              </a:solidFill>
            </p:grpSpPr>
            <p:sp>
              <p:nvSpPr>
                <p:cNvPr id="192" name="Rechthoek 191"/>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93" name="Rechthoek 192"/>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94" name="Rechthoek 193"/>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95" name="Rechthoek 194"/>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96" name="Rechthoek 195"/>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97" name="Rechthoek 196"/>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98" name="Rechthoek 197"/>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99" name="Rechthoek 198"/>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00" name="Rechthoek 199"/>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01" name="Rechthoek 200"/>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02" name="Vrije vorm 201"/>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nvGrpSpPr>
            <p:cNvPr id="84" name="Groep 83"/>
            <p:cNvGrpSpPr/>
            <p:nvPr userDrawn="1"/>
          </p:nvGrpSpPr>
          <p:grpSpPr>
            <a:xfrm>
              <a:off x="-2950232" y="1207835"/>
              <a:ext cx="532929" cy="509563"/>
              <a:chOff x="-2880382" y="802341"/>
              <a:chExt cx="532929" cy="509563"/>
            </a:xfrm>
          </p:grpSpPr>
          <p:sp>
            <p:nvSpPr>
              <p:cNvPr id="168" name="Rechthoek 167"/>
              <p:cNvSpPr/>
              <p:nvPr userDrawn="1"/>
            </p:nvSpPr>
            <p:spPr>
              <a:xfrm>
                <a:off x="-2880382" y="802341"/>
                <a:ext cx="532929" cy="509563"/>
              </a:xfrm>
              <a:prstGeom prst="rect">
                <a:avLst/>
              </a:prstGeom>
              <a:solidFill>
                <a:sysClr val="window" lastClr="FFFFFF"/>
              </a:soli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pic>
            <p:nvPicPr>
              <p:cNvPr id="169"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635852" y="822181"/>
                <a:ext cx="226442" cy="208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0" name="Picture 3"/>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2848026" y="822181"/>
                <a:ext cx="207168" cy="213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71" name="Groep 170"/>
              <p:cNvGrpSpPr/>
              <p:nvPr userDrawn="1"/>
            </p:nvGrpSpPr>
            <p:grpSpPr>
              <a:xfrm>
                <a:off x="-2802433" y="1123442"/>
                <a:ext cx="132915" cy="104889"/>
                <a:chOff x="-2796392" y="1123442"/>
                <a:chExt cx="120832" cy="104889"/>
              </a:xfrm>
            </p:grpSpPr>
            <p:sp>
              <p:nvSpPr>
                <p:cNvPr id="185" name="Rechthoek 184"/>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86" name="Rechthoek 185"/>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87" name="Rechthoek 186"/>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88" name="Rechthoek 187"/>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89" name="Rechthoek 188"/>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172" name="Groep 171"/>
              <p:cNvGrpSpPr/>
              <p:nvPr userDrawn="1"/>
            </p:nvGrpSpPr>
            <p:grpSpPr>
              <a:xfrm>
                <a:off x="-2575417" y="1123442"/>
                <a:ext cx="133930" cy="104889"/>
                <a:chOff x="-2556734" y="1123442"/>
                <a:chExt cx="147324" cy="104889"/>
              </a:xfrm>
            </p:grpSpPr>
            <p:grpSp>
              <p:nvGrpSpPr>
                <p:cNvPr id="173" name="Groep 172"/>
                <p:cNvGrpSpPr/>
                <p:nvPr userDrawn="1"/>
              </p:nvGrpSpPr>
              <p:grpSpPr>
                <a:xfrm>
                  <a:off x="-2556734" y="1123442"/>
                  <a:ext cx="68206" cy="104889"/>
                  <a:chOff x="-2796392" y="1123442"/>
                  <a:chExt cx="120832" cy="104889"/>
                </a:xfrm>
              </p:grpSpPr>
              <p:sp>
                <p:nvSpPr>
                  <p:cNvPr id="180" name="Rechthoek 179"/>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81" name="Rechthoek 180"/>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82" name="Rechthoek 181"/>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83" name="Rechthoek 182"/>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84" name="Rechthoek 183"/>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174" name="Groep 173"/>
                <p:cNvGrpSpPr/>
                <p:nvPr userDrawn="1"/>
              </p:nvGrpSpPr>
              <p:grpSpPr>
                <a:xfrm>
                  <a:off x="-2477616" y="1123442"/>
                  <a:ext cx="68206" cy="104889"/>
                  <a:chOff x="-2796392" y="1123442"/>
                  <a:chExt cx="120832" cy="104889"/>
                </a:xfrm>
              </p:grpSpPr>
              <p:sp>
                <p:nvSpPr>
                  <p:cNvPr id="175" name="Rechthoek 174"/>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76" name="Rechthoek 175"/>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77" name="Rechthoek 176"/>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78" name="Rechthoek 177"/>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79" name="Rechthoek 178"/>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grpSp>
          <p:nvGrpSpPr>
            <p:cNvPr id="85" name="Groep 84"/>
            <p:cNvGrpSpPr/>
            <p:nvPr userDrawn="1"/>
          </p:nvGrpSpPr>
          <p:grpSpPr>
            <a:xfrm>
              <a:off x="-1948476" y="1281164"/>
              <a:ext cx="413704" cy="427699"/>
              <a:chOff x="-1845083" y="758027"/>
              <a:chExt cx="633799" cy="622540"/>
            </a:xfrm>
          </p:grpSpPr>
          <p:sp>
            <p:nvSpPr>
              <p:cNvPr id="104" name="Afgeronde rechthoek 103"/>
              <p:cNvSpPr/>
              <p:nvPr userDrawn="1"/>
            </p:nvSpPr>
            <p:spPr>
              <a:xfrm>
                <a:off x="-184508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105" name="Groep 104"/>
              <p:cNvGrpSpPr/>
              <p:nvPr userDrawn="1"/>
            </p:nvGrpSpPr>
            <p:grpSpPr>
              <a:xfrm>
                <a:off x="-1737762" y="864082"/>
                <a:ext cx="419168" cy="410429"/>
                <a:chOff x="3708400" y="309013"/>
                <a:chExt cx="1901295" cy="1861668"/>
              </a:xfrm>
              <a:solidFill>
                <a:srgbClr val="000000"/>
              </a:solidFill>
            </p:grpSpPr>
            <p:sp>
              <p:nvSpPr>
                <p:cNvPr id="157" name="Rechthoek 156"/>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58" name="Rechthoek 157"/>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59" name="Rechthoek 158"/>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0" name="Rechthoek 159"/>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1" name="Rechthoek 160"/>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2" name="Rechthoek 161"/>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3" name="Rechthoek 162"/>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4" name="Rechthoek 163"/>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5" name="Rechthoek 164"/>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6" name="Rechthoek 165"/>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7" name="Vrije vorm 166"/>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cxnSp>
          <p:nvCxnSpPr>
            <p:cNvPr id="86" name="Rechte verbindingslijn 85"/>
            <p:cNvCxnSpPr/>
            <p:nvPr userDrawn="1"/>
          </p:nvCxnSpPr>
          <p:spPr>
            <a:xfrm>
              <a:off x="-2814292" y="1441193"/>
              <a:ext cx="865816" cy="53821"/>
            </a:xfrm>
            <a:prstGeom prst="line">
              <a:avLst/>
            </a:prstGeom>
            <a:noFill/>
            <a:ln w="9525" cap="flat" cmpd="sng" algn="ctr">
              <a:solidFill>
                <a:schemeClr val="accent1"/>
              </a:solidFill>
              <a:prstDash val="solid"/>
              <a:headEnd type="oval"/>
            </a:ln>
            <a:effectLst/>
          </p:spPr>
        </p:cxnSp>
        <p:cxnSp>
          <p:nvCxnSpPr>
            <p:cNvPr id="87" name="Rechte verbindingslijn 86"/>
            <p:cNvCxnSpPr/>
            <p:nvPr userDrawn="1"/>
          </p:nvCxnSpPr>
          <p:spPr>
            <a:xfrm flipV="1">
              <a:off x="-2453902" y="1030591"/>
              <a:ext cx="505426" cy="283623"/>
            </a:xfrm>
            <a:prstGeom prst="line">
              <a:avLst/>
            </a:prstGeom>
            <a:noFill/>
            <a:ln w="9525" cap="flat" cmpd="sng" algn="ctr">
              <a:solidFill>
                <a:schemeClr val="accent1"/>
              </a:solidFill>
              <a:prstDash val="solid"/>
              <a:headEnd type="oval"/>
            </a:ln>
            <a:effectLst/>
          </p:spPr>
        </p:cxnSp>
        <p:sp>
          <p:nvSpPr>
            <p:cNvPr id="88" name="Textfield placeholder"/>
            <p:cNvSpPr txBox="1">
              <a:spLocks/>
            </p:cNvSpPr>
            <p:nvPr userDrawn="1"/>
          </p:nvSpPr>
          <p:spPr>
            <a:xfrm>
              <a:off x="-1341598" y="816743"/>
              <a:ext cx="1056968" cy="427698"/>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hoog</a:t>
              </a:r>
            </a:p>
          </p:txBody>
        </p:sp>
        <p:sp>
          <p:nvSpPr>
            <p:cNvPr id="89" name="Textfield placeholder"/>
            <p:cNvSpPr txBox="1">
              <a:spLocks/>
            </p:cNvSpPr>
            <p:nvPr userDrawn="1"/>
          </p:nvSpPr>
          <p:spPr>
            <a:xfrm>
              <a:off x="-1341599" y="1281164"/>
              <a:ext cx="1070223" cy="427699"/>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laag</a:t>
              </a:r>
            </a:p>
          </p:txBody>
        </p:sp>
        <p:sp>
          <p:nvSpPr>
            <p:cNvPr id="90" name="Ovaal 89"/>
            <p:cNvSpPr/>
            <p:nvPr userDrawn="1"/>
          </p:nvSpPr>
          <p:spPr>
            <a:xfrm>
              <a:off x="-2959433" y="338208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5</a:t>
              </a:r>
            </a:p>
          </p:txBody>
        </p:sp>
        <p:sp>
          <p:nvSpPr>
            <p:cNvPr id="91" name="Textfield placeholder"/>
            <p:cNvSpPr txBox="1">
              <a:spLocks/>
            </p:cNvSpPr>
            <p:nvPr userDrawn="1"/>
          </p:nvSpPr>
          <p:spPr>
            <a:xfrm>
              <a:off x="-2571950" y="3382082"/>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60000" lvl="4" indent="-360000" defTabSz="179388">
                <a:lnSpc>
                  <a:spcPct val="120000"/>
                </a:lnSpc>
                <a:spcBef>
                  <a:spcPts val="0"/>
                </a:spcBef>
                <a:spcAft>
                  <a:spcPts val="900"/>
                </a:spcAft>
                <a:buClr>
                  <a:srgbClr val="ED1A3B"/>
                </a:buClr>
                <a:buFont typeface="+mj-lt"/>
                <a:buAutoNum type="arabicPeriod"/>
                <a:defRPr/>
              </a:pPr>
              <a:r>
                <a:rPr lang="nl-NL" sz="1200" b="0" dirty="0">
                  <a:solidFill>
                    <a:srgbClr val="404040"/>
                  </a:solidFill>
                </a:rPr>
                <a:t>Numeriek (16 pt.)</a:t>
              </a:r>
            </a:p>
          </p:txBody>
        </p:sp>
        <p:grpSp>
          <p:nvGrpSpPr>
            <p:cNvPr id="92" name="Groep 91"/>
            <p:cNvGrpSpPr/>
            <p:nvPr userDrawn="1"/>
          </p:nvGrpSpPr>
          <p:grpSpPr>
            <a:xfrm>
              <a:off x="-2950232" y="816050"/>
              <a:ext cx="528695" cy="344202"/>
              <a:chOff x="-2880382" y="410556"/>
              <a:chExt cx="528695" cy="344202"/>
            </a:xfrm>
          </p:grpSpPr>
          <p:sp>
            <p:nvSpPr>
              <p:cNvPr id="102" name="Afgeronde rechthoek 101"/>
              <p:cNvSpPr/>
              <p:nvPr userDrawn="1"/>
            </p:nvSpPr>
            <p:spPr>
              <a:xfrm>
                <a:off x="-2874214" y="410556"/>
                <a:ext cx="522527" cy="339183"/>
              </a:xfrm>
              <a:prstGeom prst="roundRect">
                <a:avLst>
                  <a:gd name="adj" fmla="val 7565"/>
                </a:avLst>
              </a:prstGeom>
              <a:gradFill>
                <a:gsLst>
                  <a:gs pos="0">
                    <a:srgbClr val="FFEC8F"/>
                  </a:gs>
                  <a:gs pos="100000">
                    <a:srgbClr val="FFFFFF"/>
                  </a:gs>
                </a:gsLst>
                <a:lin ang="5400000" scaled="0"/>
              </a:gra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sp>
            <p:nvSpPr>
              <p:cNvPr id="103" name="Vrije vorm 102"/>
              <p:cNvSpPr/>
              <p:nvPr userDrawn="1"/>
            </p:nvSpPr>
            <p:spPr>
              <a:xfrm>
                <a:off x="-2880382" y="452699"/>
                <a:ext cx="528695" cy="302059"/>
              </a:xfrm>
              <a:custGeom>
                <a:avLst/>
                <a:gdLst>
                  <a:gd name="connsiteX0" fmla="*/ 55524 w 528695"/>
                  <a:gd name="connsiteY0" fmla="*/ 0 h 302059"/>
                  <a:gd name="connsiteX1" fmla="*/ 455496 w 528695"/>
                  <a:gd name="connsiteY1" fmla="*/ 0 h 302059"/>
                  <a:gd name="connsiteX2" fmla="*/ 475205 w 528695"/>
                  <a:gd name="connsiteY2" fmla="*/ 19709 h 302059"/>
                  <a:gd name="connsiteX3" fmla="*/ 475205 w 528695"/>
                  <a:gd name="connsiteY3" fmla="*/ 230056 h 302059"/>
                  <a:gd name="connsiteX4" fmla="*/ 516694 w 528695"/>
                  <a:gd name="connsiteY4" fmla="*/ 230056 h 302059"/>
                  <a:gd name="connsiteX5" fmla="*/ 528695 w 528695"/>
                  <a:gd name="connsiteY5" fmla="*/ 242057 h 302059"/>
                  <a:gd name="connsiteX6" fmla="*/ 528695 w 528695"/>
                  <a:gd name="connsiteY6" fmla="*/ 290058 h 302059"/>
                  <a:gd name="connsiteX7" fmla="*/ 516694 w 528695"/>
                  <a:gd name="connsiteY7" fmla="*/ 302059 h 302059"/>
                  <a:gd name="connsiteX8" fmla="*/ 12001 w 528695"/>
                  <a:gd name="connsiteY8" fmla="*/ 302059 h 302059"/>
                  <a:gd name="connsiteX9" fmla="*/ 0 w 528695"/>
                  <a:gd name="connsiteY9" fmla="*/ 290058 h 302059"/>
                  <a:gd name="connsiteX10" fmla="*/ 0 w 528695"/>
                  <a:gd name="connsiteY10" fmla="*/ 242057 h 302059"/>
                  <a:gd name="connsiteX11" fmla="*/ 12001 w 528695"/>
                  <a:gd name="connsiteY11" fmla="*/ 230056 h 302059"/>
                  <a:gd name="connsiteX12" fmla="*/ 35815 w 528695"/>
                  <a:gd name="connsiteY12" fmla="*/ 230056 h 302059"/>
                  <a:gd name="connsiteX13" fmla="*/ 35815 w 528695"/>
                  <a:gd name="connsiteY13" fmla="*/ 19709 h 302059"/>
                  <a:gd name="connsiteX14" fmla="*/ 55524 w 528695"/>
                  <a:gd name="connsiteY14" fmla="*/ 0 h 3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8695" h="302059">
                    <a:moveTo>
                      <a:pt x="55524" y="0"/>
                    </a:moveTo>
                    <a:lnTo>
                      <a:pt x="455496" y="0"/>
                    </a:lnTo>
                    <a:cubicBezTo>
                      <a:pt x="466381" y="0"/>
                      <a:pt x="475205" y="8824"/>
                      <a:pt x="475205" y="19709"/>
                    </a:cubicBezTo>
                    <a:lnTo>
                      <a:pt x="475205" y="230056"/>
                    </a:lnTo>
                    <a:lnTo>
                      <a:pt x="516694" y="230056"/>
                    </a:lnTo>
                    <a:cubicBezTo>
                      <a:pt x="523322" y="230056"/>
                      <a:pt x="528695" y="235429"/>
                      <a:pt x="528695" y="242057"/>
                    </a:cubicBezTo>
                    <a:lnTo>
                      <a:pt x="528695" y="290058"/>
                    </a:lnTo>
                    <a:cubicBezTo>
                      <a:pt x="528695" y="296686"/>
                      <a:pt x="523322" y="302059"/>
                      <a:pt x="516694" y="302059"/>
                    </a:cubicBezTo>
                    <a:lnTo>
                      <a:pt x="12001" y="302059"/>
                    </a:lnTo>
                    <a:cubicBezTo>
                      <a:pt x="5373" y="302059"/>
                      <a:pt x="0" y="296686"/>
                      <a:pt x="0" y="290058"/>
                    </a:cubicBezTo>
                    <a:lnTo>
                      <a:pt x="0" y="242057"/>
                    </a:lnTo>
                    <a:cubicBezTo>
                      <a:pt x="0" y="235429"/>
                      <a:pt x="5373" y="230056"/>
                      <a:pt x="12001" y="230056"/>
                    </a:cubicBezTo>
                    <a:lnTo>
                      <a:pt x="35815" y="230056"/>
                    </a:lnTo>
                    <a:lnTo>
                      <a:pt x="35815" y="19709"/>
                    </a:lnTo>
                    <a:cubicBezTo>
                      <a:pt x="35815" y="8824"/>
                      <a:pt x="44639" y="0"/>
                      <a:pt x="55524" y="0"/>
                    </a:cubicBezTo>
                    <a:close/>
                  </a:path>
                </a:pathLst>
              </a:custGeom>
              <a:solidFill>
                <a:sysClr val="window" lastClr="FFFFFF">
                  <a:lumMod val="95000"/>
                </a:sysClr>
              </a:solidFill>
              <a:ln w="9525" cap="flat" cmpd="sng" algn="ctr">
                <a:solidFill>
                  <a:srgbClr val="FFFFFF">
                    <a:lumMod val="90000"/>
                  </a:srgbClr>
                </a:solidFill>
                <a:prstDash val="solid"/>
                <a:miter lim="800000"/>
              </a:ln>
              <a:effectLst/>
            </p:spPr>
            <p:txBody>
              <a:bodyPr rot="0" spcFirstLastPara="0" vert="horz" wrap="square" lIns="108000" tIns="36000" rIns="108000" bIns="10800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900" dirty="0">
                    <a:solidFill>
                      <a:prstClr val="black"/>
                    </a:solidFill>
                    <a:latin typeface="Segoe UI Light"/>
                  </a:rPr>
                  <a:t>Start</a:t>
                </a:r>
              </a:p>
            </p:txBody>
          </p:sp>
        </p:grpSp>
        <p:sp>
          <p:nvSpPr>
            <p:cNvPr id="93" name="Tekstvak 65"/>
            <p:cNvSpPr txBox="1"/>
            <p:nvPr userDrawn="1"/>
          </p:nvSpPr>
          <p:spPr>
            <a:xfrm>
              <a:off x="-2959433" y="372104"/>
              <a:ext cx="2679887" cy="453396"/>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nl-NL" sz="1200" kern="0" dirty="0">
                  <a:solidFill>
                    <a:srgbClr val="000000"/>
                  </a:solidFill>
                  <a:latin typeface="Segoe UI Light" panose="020B0502040204020203" pitchFamily="34" charset="0"/>
                  <a:cs typeface="Segoe UI Light" panose="020B0502040204020203" pitchFamily="34" charset="0"/>
                </a:rPr>
                <a:t>Ga naar de tab </a:t>
              </a:r>
              <a:r>
                <a:rPr lang="nl-NL" sz="1200" b="1" kern="0" dirty="0">
                  <a:solidFill>
                    <a:srgbClr val="000000"/>
                  </a:solidFill>
                  <a:latin typeface="Segoe UI Light" panose="020B0502040204020203" pitchFamily="34" charset="0"/>
                  <a:cs typeface="Segoe UI Light" panose="020B0502040204020203" pitchFamily="34" charset="0"/>
                </a:rPr>
                <a:t>Start’ </a:t>
              </a:r>
              <a:r>
                <a:rPr lang="nl-NL" sz="1200" kern="0" dirty="0">
                  <a:solidFill>
                    <a:srgbClr val="000000"/>
                  </a:solidFill>
                  <a:latin typeface="Segoe UI Light" panose="020B0502040204020203" pitchFamily="34" charset="0"/>
                  <a:cs typeface="Segoe UI Light" panose="020B0502040204020203" pitchFamily="34" charset="0"/>
                </a:rPr>
                <a:t>en vind onderstaande knoppen onder </a:t>
              </a:r>
              <a:r>
                <a:rPr lang="nl-NL" sz="1200" b="1" kern="0" dirty="0">
                  <a:solidFill>
                    <a:srgbClr val="000000"/>
                  </a:solidFill>
                  <a:latin typeface="Segoe UI Light" panose="020B0502040204020203" pitchFamily="34" charset="0"/>
                  <a:cs typeface="Segoe UI Light" panose="020B0502040204020203" pitchFamily="34" charset="0"/>
                </a:rPr>
                <a:t>‘Alinea’</a:t>
              </a:r>
            </a:p>
          </p:txBody>
        </p:sp>
        <p:sp>
          <p:nvSpPr>
            <p:cNvPr id="94" name="Ovaal 93"/>
            <p:cNvSpPr/>
            <p:nvPr userDrawn="1"/>
          </p:nvSpPr>
          <p:spPr>
            <a:xfrm>
              <a:off x="-2959433" y="375153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6</a:t>
              </a:r>
            </a:p>
          </p:txBody>
        </p:sp>
        <p:sp>
          <p:nvSpPr>
            <p:cNvPr id="95" name="Textfield placeholder"/>
            <p:cNvSpPr txBox="1">
              <a:spLocks/>
            </p:cNvSpPr>
            <p:nvPr userDrawn="1"/>
          </p:nvSpPr>
          <p:spPr>
            <a:xfrm>
              <a:off x="-2571950" y="3751536"/>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0000" lvl="5" indent="-270000" defTabSz="179388">
                <a:lnSpc>
                  <a:spcPct val="120000"/>
                </a:lnSpc>
                <a:spcAft>
                  <a:spcPts val="900"/>
                </a:spcAft>
                <a:buClr>
                  <a:srgbClr val="ED1A3B"/>
                </a:buClr>
                <a:buSzPct val="80000"/>
                <a:buFont typeface="Wingdings 3" panose="05040102010807070707" pitchFamily="18" charset="2"/>
                <a:buChar char=""/>
                <a:defRPr/>
              </a:pPr>
              <a:r>
                <a:rPr lang="nl-NL" sz="1200" cap="none" dirty="0">
                  <a:solidFill>
                    <a:srgbClr val="535353"/>
                  </a:solidFill>
                </a:rPr>
                <a:t># Bullets (16 pt.)</a:t>
              </a:r>
            </a:p>
          </p:txBody>
        </p:sp>
        <p:sp>
          <p:nvSpPr>
            <p:cNvPr id="96" name="Ovaal 95"/>
            <p:cNvSpPr/>
            <p:nvPr userDrawn="1"/>
          </p:nvSpPr>
          <p:spPr>
            <a:xfrm>
              <a:off x="-2959433" y="414870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7</a:t>
              </a:r>
            </a:p>
          </p:txBody>
        </p:sp>
        <p:sp>
          <p:nvSpPr>
            <p:cNvPr id="97" name="Textfield placeholder"/>
            <p:cNvSpPr txBox="1">
              <a:spLocks/>
            </p:cNvSpPr>
            <p:nvPr userDrawn="1"/>
          </p:nvSpPr>
          <p:spPr>
            <a:xfrm>
              <a:off x="-2571950" y="414870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6" indent="0" defTabSz="179388">
                <a:lnSpc>
                  <a:spcPct val="120000"/>
                </a:lnSpc>
                <a:spcBef>
                  <a:spcPts val="0"/>
                </a:spcBef>
                <a:spcAft>
                  <a:spcPts val="900"/>
                </a:spcAft>
                <a:buClr>
                  <a:srgbClr val="ED1A3B"/>
                </a:buClr>
                <a:buSzPct val="90000"/>
                <a:buFont typeface="+mj-lt"/>
                <a:buNone/>
                <a:defRPr/>
              </a:pPr>
              <a:r>
                <a:rPr lang="nl-NL" sz="1200" i="1" dirty="0">
                  <a:solidFill>
                    <a:srgbClr val="404040"/>
                  </a:solidFill>
                </a:rPr>
                <a:t>Cursief donker (16 pt.)</a:t>
              </a:r>
            </a:p>
          </p:txBody>
        </p:sp>
        <p:sp>
          <p:nvSpPr>
            <p:cNvPr id="98" name="Ovaal 97"/>
            <p:cNvSpPr/>
            <p:nvPr userDrawn="1"/>
          </p:nvSpPr>
          <p:spPr>
            <a:xfrm>
              <a:off x="-2959433" y="454586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8</a:t>
              </a:r>
            </a:p>
          </p:txBody>
        </p:sp>
        <p:sp>
          <p:nvSpPr>
            <p:cNvPr id="99" name="Textfield placeholder"/>
            <p:cNvSpPr txBox="1">
              <a:spLocks/>
            </p:cNvSpPr>
            <p:nvPr userDrawn="1"/>
          </p:nvSpPr>
          <p:spPr>
            <a:xfrm>
              <a:off x="-2571950" y="4545864"/>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7" indent="0" defTabSz="179388">
                <a:lnSpc>
                  <a:spcPct val="80000"/>
                </a:lnSpc>
                <a:spcBef>
                  <a:spcPts val="0"/>
                </a:spcBef>
                <a:spcAft>
                  <a:spcPts val="900"/>
                </a:spcAft>
                <a:buClr>
                  <a:srgbClr val="ED1A3B"/>
                </a:buClr>
                <a:buFont typeface="Arial" pitchFamily="34" charset="0"/>
                <a:buNone/>
                <a:defRPr/>
              </a:pPr>
              <a:r>
                <a:rPr lang="nl-NL" sz="1200" i="1" dirty="0">
                  <a:solidFill>
                    <a:srgbClr val="A3B0C0"/>
                  </a:solidFill>
                </a:rPr>
                <a:t>Cursief Licht (16 pt.)</a:t>
              </a:r>
            </a:p>
          </p:txBody>
        </p:sp>
        <p:sp>
          <p:nvSpPr>
            <p:cNvPr id="100" name="Ovaal 99"/>
            <p:cNvSpPr/>
            <p:nvPr userDrawn="1"/>
          </p:nvSpPr>
          <p:spPr>
            <a:xfrm>
              <a:off x="-2959433" y="488761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9</a:t>
              </a:r>
            </a:p>
          </p:txBody>
        </p:sp>
        <p:sp>
          <p:nvSpPr>
            <p:cNvPr id="101" name="Textfield placeholder"/>
            <p:cNvSpPr txBox="1">
              <a:spLocks/>
            </p:cNvSpPr>
            <p:nvPr userDrawn="1"/>
          </p:nvSpPr>
          <p:spPr>
            <a:xfrm>
              <a:off x="-2571950" y="488761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8" indent="0" defTabSz="179388">
                <a:lnSpc>
                  <a:spcPct val="80000"/>
                </a:lnSpc>
                <a:spcBef>
                  <a:spcPts val="0"/>
                </a:spcBef>
                <a:spcAft>
                  <a:spcPts val="900"/>
                </a:spcAft>
                <a:buClr>
                  <a:srgbClr val="ED1A3B"/>
                </a:buClr>
                <a:buFont typeface="Arial" pitchFamily="34" charset="0"/>
                <a:buNone/>
                <a:defRPr/>
              </a:pPr>
              <a:r>
                <a:rPr lang="nl-NL" sz="1400" b="1" dirty="0">
                  <a:solidFill>
                    <a:srgbClr val="ED1A3B"/>
                  </a:solidFill>
                </a:rPr>
                <a:t>Subtitel (18 pt.)</a:t>
              </a:r>
            </a:p>
          </p:txBody>
        </p:sp>
      </p:grpSp>
      <p:sp>
        <p:nvSpPr>
          <p:cNvPr id="203" name="Grijze achtergrond"/>
          <p:cNvSpPr/>
          <p:nvPr userDrawn="1"/>
        </p:nvSpPr>
        <p:spPr>
          <a:xfrm>
            <a:off x="-1" y="0"/>
            <a:ext cx="12198350" cy="6858001"/>
          </a:xfrm>
          <a:prstGeom prst="rect">
            <a:avLst/>
          </a:prstGeom>
          <a:solidFill>
            <a:srgbClr val="EDE8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209" name="Tijdelijke aanduiding voor Afbeelding_12 (rechtsonder)"/>
          <p:cNvSpPr>
            <a:spLocks noGrp="1"/>
          </p:cNvSpPr>
          <p:nvPr>
            <p:ph type="pic" idx="52"/>
          </p:nvPr>
        </p:nvSpPr>
        <p:spPr>
          <a:xfrm>
            <a:off x="9147600" y="4572000"/>
            <a:ext cx="3049200" cy="2286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207" name="Tijdelijke aanduiding voor Blok_12 (rechtsonder)"/>
          <p:cNvSpPr>
            <a:spLocks noGrp="1"/>
          </p:cNvSpPr>
          <p:nvPr>
            <p:ph type="body" orient="vert" idx="39" hasCustomPrompt="1"/>
          </p:nvPr>
        </p:nvSpPr>
        <p:spPr>
          <a:xfrm>
            <a:off x="9147600" y="4572000"/>
            <a:ext cx="3049200" cy="2286000"/>
          </a:xfrm>
          <a:solidFill>
            <a:srgbClr val="8596A8"/>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200">
                <a:solidFill>
                  <a:schemeClr val="bg1"/>
                </a:solidFill>
              </a:defRPr>
            </a:lvl2pPr>
            <a:lvl3pPr algn="ctr">
              <a:lnSpc>
                <a:spcPct val="80000"/>
              </a:lnSpc>
              <a:spcBef>
                <a:spcPts val="600"/>
              </a:spcBef>
              <a:spcAft>
                <a:spcPts val="600"/>
              </a:spcAft>
              <a:defRPr sz="1100">
                <a:solidFill>
                  <a:schemeClr val="bg1"/>
                </a:solidFill>
              </a:defRPr>
            </a:lvl3pPr>
            <a:lvl4pPr algn="ctr">
              <a:lnSpc>
                <a:spcPct val="80000"/>
              </a:lnSpc>
              <a:spcBef>
                <a:spcPts val="600"/>
              </a:spcBef>
              <a:spcAft>
                <a:spcPts val="600"/>
              </a:spcAft>
              <a:defRPr sz="1600">
                <a:solidFill>
                  <a:schemeClr val="bg1"/>
                </a:solidFill>
              </a:defRPr>
            </a:lvl4pPr>
            <a:lvl5pPr algn="ctr">
              <a:lnSpc>
                <a:spcPct val="80000"/>
              </a:lnSpc>
              <a:spcBef>
                <a:spcPts val="600"/>
              </a:spcBef>
              <a:spcAft>
                <a:spcPts val="600"/>
              </a:spcAft>
              <a:defRPr sz="1400">
                <a:solidFill>
                  <a:schemeClr val="bg1"/>
                </a:solidFill>
              </a:defRPr>
            </a:lvl5pPr>
            <a:lvl6pPr algn="ctr">
              <a:lnSpc>
                <a:spcPct val="80000"/>
              </a:lnSpc>
              <a:spcBef>
                <a:spcPts val="600"/>
              </a:spcBef>
              <a:spcAft>
                <a:spcPts val="600"/>
              </a:spcAft>
              <a:defRPr sz="1400">
                <a:solidFill>
                  <a:schemeClr val="bg1"/>
                </a:solidFill>
              </a:defRPr>
            </a:lvl6pPr>
            <a:lvl7pPr algn="ctr">
              <a:lnSpc>
                <a:spcPct val="80000"/>
              </a:lnSpc>
              <a:spcBef>
                <a:spcPts val="600"/>
              </a:spcBef>
              <a:spcAft>
                <a:spcPts val="600"/>
              </a:spcAft>
              <a:defRPr sz="1400">
                <a:solidFill>
                  <a:schemeClr val="bg1"/>
                </a:solidFill>
              </a:defRPr>
            </a:lvl7pPr>
            <a:lvl8pPr algn="ctr">
              <a:lnSpc>
                <a:spcPct val="80000"/>
              </a:lnSpc>
              <a:spcBef>
                <a:spcPts val="600"/>
              </a:spcBef>
              <a:spcAft>
                <a:spcPts val="600"/>
              </a:spcAft>
              <a:defRPr sz="1400">
                <a:solidFill>
                  <a:schemeClr val="bg1"/>
                </a:solidFill>
              </a:defRPr>
            </a:lvl8pPr>
            <a:lvl9pPr algn="ctr">
              <a:lnSpc>
                <a:spcPct val="80000"/>
              </a:lnSpc>
              <a:spcBef>
                <a:spcPts val="600"/>
              </a:spcBef>
              <a:spcAft>
                <a:spcPts val="600"/>
              </a:spcAft>
              <a:defRPr sz="1200" cap="all" baseline="0">
                <a:solidFill>
                  <a:schemeClr val="bg1"/>
                </a:solidFill>
              </a:defRPr>
            </a:lvl9pPr>
          </a:lstStyle>
          <a:p>
            <a:pPr lvl="0"/>
            <a:r>
              <a:rPr lang="nl-NL" dirty="0"/>
              <a:t>Klik om de modelstijlen</a:t>
            </a:r>
            <a:br>
              <a:rPr lang="nl-NL" dirty="0"/>
            </a:br>
            <a:r>
              <a:rPr lang="nl-NL" dirty="0"/>
              <a:t>te bewerken</a:t>
            </a:r>
          </a:p>
        </p:txBody>
      </p:sp>
      <p:sp>
        <p:nvSpPr>
          <p:cNvPr id="211" name="Tijdelijke aanduiding voor Afbeelding_11 (rechtsonder)"/>
          <p:cNvSpPr>
            <a:spLocks noGrp="1"/>
          </p:cNvSpPr>
          <p:nvPr>
            <p:ph type="pic" idx="51"/>
          </p:nvPr>
        </p:nvSpPr>
        <p:spPr>
          <a:xfrm>
            <a:off x="6098400" y="4572000"/>
            <a:ext cx="3049200" cy="2286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204" name="Tijdelijke aanduiding voor Blok_11 (rechtsonder)"/>
          <p:cNvSpPr>
            <a:spLocks noGrp="1"/>
          </p:cNvSpPr>
          <p:nvPr>
            <p:ph type="body" orient="vert" idx="36" hasCustomPrompt="1"/>
          </p:nvPr>
        </p:nvSpPr>
        <p:spPr>
          <a:xfrm>
            <a:off x="6098400" y="4572000"/>
            <a:ext cx="3049200" cy="2286000"/>
          </a:xfrm>
          <a:solidFill>
            <a:srgbClr val="535353"/>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200">
                <a:solidFill>
                  <a:schemeClr val="bg1"/>
                </a:solidFill>
              </a:defRPr>
            </a:lvl2pPr>
            <a:lvl3pPr algn="ctr">
              <a:lnSpc>
                <a:spcPct val="80000"/>
              </a:lnSpc>
              <a:spcBef>
                <a:spcPts val="600"/>
              </a:spcBef>
              <a:spcAft>
                <a:spcPts val="600"/>
              </a:spcAft>
              <a:defRPr sz="1100">
                <a:solidFill>
                  <a:schemeClr val="bg1"/>
                </a:solidFill>
              </a:defRPr>
            </a:lvl3pPr>
            <a:lvl4pPr algn="ctr">
              <a:lnSpc>
                <a:spcPct val="80000"/>
              </a:lnSpc>
              <a:spcBef>
                <a:spcPts val="600"/>
              </a:spcBef>
              <a:spcAft>
                <a:spcPts val="600"/>
              </a:spcAft>
              <a:defRPr sz="1600">
                <a:solidFill>
                  <a:schemeClr val="bg1"/>
                </a:solidFill>
              </a:defRPr>
            </a:lvl4pPr>
            <a:lvl5pPr algn="ctr">
              <a:lnSpc>
                <a:spcPct val="80000"/>
              </a:lnSpc>
              <a:spcBef>
                <a:spcPts val="600"/>
              </a:spcBef>
              <a:spcAft>
                <a:spcPts val="600"/>
              </a:spcAft>
              <a:defRPr sz="1400">
                <a:solidFill>
                  <a:schemeClr val="bg1"/>
                </a:solidFill>
              </a:defRPr>
            </a:lvl5pPr>
            <a:lvl6pPr algn="ctr">
              <a:lnSpc>
                <a:spcPct val="80000"/>
              </a:lnSpc>
              <a:spcBef>
                <a:spcPts val="600"/>
              </a:spcBef>
              <a:spcAft>
                <a:spcPts val="600"/>
              </a:spcAft>
              <a:defRPr sz="1400">
                <a:solidFill>
                  <a:schemeClr val="bg1"/>
                </a:solidFill>
              </a:defRPr>
            </a:lvl6pPr>
            <a:lvl7pPr algn="ctr">
              <a:lnSpc>
                <a:spcPct val="80000"/>
              </a:lnSpc>
              <a:spcBef>
                <a:spcPts val="600"/>
              </a:spcBef>
              <a:spcAft>
                <a:spcPts val="600"/>
              </a:spcAft>
              <a:defRPr sz="1400">
                <a:solidFill>
                  <a:schemeClr val="bg1"/>
                </a:solidFill>
              </a:defRPr>
            </a:lvl7pPr>
            <a:lvl8pPr algn="ctr">
              <a:lnSpc>
                <a:spcPct val="80000"/>
              </a:lnSpc>
              <a:spcBef>
                <a:spcPts val="600"/>
              </a:spcBef>
              <a:spcAft>
                <a:spcPts val="600"/>
              </a:spcAft>
              <a:defRPr sz="1400">
                <a:solidFill>
                  <a:schemeClr val="bg1"/>
                </a:solidFill>
              </a:defRPr>
            </a:lvl8pPr>
            <a:lvl9pPr algn="ctr">
              <a:lnSpc>
                <a:spcPct val="80000"/>
              </a:lnSpc>
              <a:spcBef>
                <a:spcPts val="600"/>
              </a:spcBef>
              <a:spcAft>
                <a:spcPts val="600"/>
              </a:spcAft>
              <a:defRPr sz="1200" cap="all" baseline="0">
                <a:solidFill>
                  <a:schemeClr val="bg1"/>
                </a:solidFill>
              </a:defRPr>
            </a:lvl9pPr>
          </a:lstStyle>
          <a:p>
            <a:pPr lvl="0"/>
            <a:r>
              <a:rPr lang="nl-NL" dirty="0"/>
              <a:t>Klik om de modelstijlen</a:t>
            </a:r>
            <a:br>
              <a:rPr lang="nl-NL" dirty="0"/>
            </a:br>
            <a:r>
              <a:rPr lang="nl-NL" dirty="0"/>
              <a:t>te bewerken</a:t>
            </a:r>
          </a:p>
        </p:txBody>
      </p:sp>
      <p:sp>
        <p:nvSpPr>
          <p:cNvPr id="212" name="Tijdelijke aanduiding voor Afbeelding_10 (linksonder)"/>
          <p:cNvSpPr>
            <a:spLocks noGrp="1"/>
          </p:cNvSpPr>
          <p:nvPr>
            <p:ph type="pic" idx="50"/>
          </p:nvPr>
        </p:nvSpPr>
        <p:spPr>
          <a:xfrm>
            <a:off x="3049200" y="4572000"/>
            <a:ext cx="3049200" cy="2286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205" name="Tijdelijke aanduiding voor Blok_10 (linksonder)"/>
          <p:cNvSpPr>
            <a:spLocks noGrp="1"/>
          </p:cNvSpPr>
          <p:nvPr>
            <p:ph type="body" orient="vert" idx="37" hasCustomPrompt="1"/>
          </p:nvPr>
        </p:nvSpPr>
        <p:spPr>
          <a:xfrm>
            <a:off x="3049200" y="4572000"/>
            <a:ext cx="3049200" cy="2286000"/>
          </a:xfrm>
          <a:solidFill>
            <a:srgbClr val="ED1A3B"/>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200">
                <a:solidFill>
                  <a:schemeClr val="bg1"/>
                </a:solidFill>
              </a:defRPr>
            </a:lvl2pPr>
            <a:lvl3pPr algn="ctr">
              <a:lnSpc>
                <a:spcPct val="80000"/>
              </a:lnSpc>
              <a:spcBef>
                <a:spcPts val="600"/>
              </a:spcBef>
              <a:spcAft>
                <a:spcPts val="600"/>
              </a:spcAft>
              <a:defRPr sz="1100">
                <a:solidFill>
                  <a:schemeClr val="bg1"/>
                </a:solidFill>
              </a:defRPr>
            </a:lvl3pPr>
            <a:lvl4pPr algn="ctr">
              <a:lnSpc>
                <a:spcPct val="80000"/>
              </a:lnSpc>
              <a:spcBef>
                <a:spcPts val="600"/>
              </a:spcBef>
              <a:spcAft>
                <a:spcPts val="600"/>
              </a:spcAft>
              <a:defRPr sz="1600">
                <a:solidFill>
                  <a:schemeClr val="bg1"/>
                </a:solidFill>
              </a:defRPr>
            </a:lvl4pPr>
            <a:lvl5pPr algn="ctr">
              <a:lnSpc>
                <a:spcPct val="80000"/>
              </a:lnSpc>
              <a:spcBef>
                <a:spcPts val="600"/>
              </a:spcBef>
              <a:spcAft>
                <a:spcPts val="600"/>
              </a:spcAft>
              <a:defRPr sz="1400">
                <a:solidFill>
                  <a:schemeClr val="bg1"/>
                </a:solidFill>
              </a:defRPr>
            </a:lvl5pPr>
            <a:lvl6pPr algn="ctr">
              <a:lnSpc>
                <a:spcPct val="80000"/>
              </a:lnSpc>
              <a:spcBef>
                <a:spcPts val="600"/>
              </a:spcBef>
              <a:spcAft>
                <a:spcPts val="600"/>
              </a:spcAft>
              <a:defRPr sz="1400">
                <a:solidFill>
                  <a:schemeClr val="bg1"/>
                </a:solidFill>
              </a:defRPr>
            </a:lvl6pPr>
            <a:lvl7pPr algn="ctr">
              <a:lnSpc>
                <a:spcPct val="80000"/>
              </a:lnSpc>
              <a:spcBef>
                <a:spcPts val="600"/>
              </a:spcBef>
              <a:spcAft>
                <a:spcPts val="600"/>
              </a:spcAft>
              <a:defRPr sz="1400">
                <a:solidFill>
                  <a:schemeClr val="bg1"/>
                </a:solidFill>
              </a:defRPr>
            </a:lvl7pPr>
            <a:lvl8pPr algn="ctr">
              <a:lnSpc>
                <a:spcPct val="80000"/>
              </a:lnSpc>
              <a:spcBef>
                <a:spcPts val="600"/>
              </a:spcBef>
              <a:spcAft>
                <a:spcPts val="600"/>
              </a:spcAft>
              <a:defRPr sz="1400">
                <a:solidFill>
                  <a:schemeClr val="bg1"/>
                </a:solidFill>
              </a:defRPr>
            </a:lvl8pPr>
            <a:lvl9pPr algn="ctr">
              <a:lnSpc>
                <a:spcPct val="80000"/>
              </a:lnSpc>
              <a:spcBef>
                <a:spcPts val="600"/>
              </a:spcBef>
              <a:spcAft>
                <a:spcPts val="600"/>
              </a:spcAft>
              <a:defRPr sz="1200" cap="all" baseline="0">
                <a:solidFill>
                  <a:schemeClr val="bg1"/>
                </a:solidFill>
              </a:defRPr>
            </a:lvl9pPr>
          </a:lstStyle>
          <a:p>
            <a:pPr lvl="0"/>
            <a:r>
              <a:rPr lang="nl-NL" dirty="0"/>
              <a:t>Klik om de modelstijlen</a:t>
            </a:r>
            <a:br>
              <a:rPr lang="nl-NL" dirty="0"/>
            </a:br>
            <a:r>
              <a:rPr lang="nl-NL" dirty="0"/>
              <a:t>te bewerken</a:t>
            </a:r>
          </a:p>
        </p:txBody>
      </p:sp>
      <p:sp>
        <p:nvSpPr>
          <p:cNvPr id="213" name="Tijdelijke aanduiding voor Afbeelding_09 (linksonder)"/>
          <p:cNvSpPr>
            <a:spLocks noGrp="1"/>
          </p:cNvSpPr>
          <p:nvPr>
            <p:ph type="pic" idx="49"/>
          </p:nvPr>
        </p:nvSpPr>
        <p:spPr>
          <a:xfrm>
            <a:off x="0" y="4572000"/>
            <a:ext cx="3049200" cy="2286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206" name="Tijdelijke aanduiding voor Blok_09 (linksonder)"/>
          <p:cNvSpPr>
            <a:spLocks noGrp="1"/>
          </p:cNvSpPr>
          <p:nvPr>
            <p:ph type="body" orient="vert" idx="38" hasCustomPrompt="1"/>
          </p:nvPr>
        </p:nvSpPr>
        <p:spPr>
          <a:xfrm>
            <a:off x="0" y="4572000"/>
            <a:ext cx="3049200" cy="2286000"/>
          </a:xfrm>
          <a:solidFill>
            <a:srgbClr val="535353"/>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200">
                <a:solidFill>
                  <a:schemeClr val="bg1"/>
                </a:solidFill>
              </a:defRPr>
            </a:lvl2pPr>
            <a:lvl3pPr algn="ctr">
              <a:lnSpc>
                <a:spcPct val="80000"/>
              </a:lnSpc>
              <a:spcBef>
                <a:spcPts val="600"/>
              </a:spcBef>
              <a:spcAft>
                <a:spcPts val="600"/>
              </a:spcAft>
              <a:defRPr sz="1100">
                <a:solidFill>
                  <a:schemeClr val="bg1"/>
                </a:solidFill>
              </a:defRPr>
            </a:lvl3pPr>
            <a:lvl4pPr algn="ctr">
              <a:lnSpc>
                <a:spcPct val="80000"/>
              </a:lnSpc>
              <a:spcBef>
                <a:spcPts val="600"/>
              </a:spcBef>
              <a:spcAft>
                <a:spcPts val="600"/>
              </a:spcAft>
              <a:defRPr sz="1600">
                <a:solidFill>
                  <a:schemeClr val="bg1"/>
                </a:solidFill>
              </a:defRPr>
            </a:lvl4pPr>
            <a:lvl5pPr algn="ctr">
              <a:lnSpc>
                <a:spcPct val="80000"/>
              </a:lnSpc>
              <a:spcBef>
                <a:spcPts val="600"/>
              </a:spcBef>
              <a:spcAft>
                <a:spcPts val="600"/>
              </a:spcAft>
              <a:defRPr sz="1400">
                <a:solidFill>
                  <a:schemeClr val="bg1"/>
                </a:solidFill>
              </a:defRPr>
            </a:lvl5pPr>
            <a:lvl6pPr algn="ctr">
              <a:lnSpc>
                <a:spcPct val="80000"/>
              </a:lnSpc>
              <a:spcBef>
                <a:spcPts val="600"/>
              </a:spcBef>
              <a:spcAft>
                <a:spcPts val="600"/>
              </a:spcAft>
              <a:defRPr sz="1400">
                <a:solidFill>
                  <a:schemeClr val="bg1"/>
                </a:solidFill>
              </a:defRPr>
            </a:lvl6pPr>
            <a:lvl7pPr algn="ctr">
              <a:lnSpc>
                <a:spcPct val="80000"/>
              </a:lnSpc>
              <a:spcBef>
                <a:spcPts val="600"/>
              </a:spcBef>
              <a:spcAft>
                <a:spcPts val="600"/>
              </a:spcAft>
              <a:defRPr sz="1400">
                <a:solidFill>
                  <a:schemeClr val="bg1"/>
                </a:solidFill>
              </a:defRPr>
            </a:lvl7pPr>
            <a:lvl8pPr algn="ctr">
              <a:lnSpc>
                <a:spcPct val="80000"/>
              </a:lnSpc>
              <a:spcBef>
                <a:spcPts val="600"/>
              </a:spcBef>
              <a:spcAft>
                <a:spcPts val="600"/>
              </a:spcAft>
              <a:defRPr sz="1400">
                <a:solidFill>
                  <a:schemeClr val="bg1"/>
                </a:solidFill>
              </a:defRPr>
            </a:lvl8pPr>
            <a:lvl9pPr algn="ctr">
              <a:lnSpc>
                <a:spcPct val="80000"/>
              </a:lnSpc>
              <a:spcBef>
                <a:spcPts val="600"/>
              </a:spcBef>
              <a:spcAft>
                <a:spcPts val="600"/>
              </a:spcAft>
              <a:defRPr sz="1200" cap="all" baseline="0">
                <a:solidFill>
                  <a:schemeClr val="bg1"/>
                </a:solidFill>
              </a:defRPr>
            </a:lvl9pPr>
          </a:lstStyle>
          <a:p>
            <a:pPr lvl="0"/>
            <a:r>
              <a:rPr lang="nl-NL" dirty="0"/>
              <a:t>Klik om de modelstijlen</a:t>
            </a:r>
            <a:br>
              <a:rPr lang="nl-NL" dirty="0"/>
            </a:br>
            <a:r>
              <a:rPr lang="nl-NL" dirty="0"/>
              <a:t>te bewerken</a:t>
            </a:r>
          </a:p>
        </p:txBody>
      </p:sp>
      <p:sp>
        <p:nvSpPr>
          <p:cNvPr id="214" name="Tijdelijke aanduiding voor Afbeelding_08 (middenrechts)"/>
          <p:cNvSpPr>
            <a:spLocks noGrp="1"/>
          </p:cNvSpPr>
          <p:nvPr>
            <p:ph type="pic" idx="48"/>
          </p:nvPr>
        </p:nvSpPr>
        <p:spPr>
          <a:xfrm>
            <a:off x="9147600" y="2286000"/>
            <a:ext cx="3049200" cy="2286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208" name="Tijdelijke aanduiding voor Blok_08 (middenrechts)"/>
          <p:cNvSpPr>
            <a:spLocks noGrp="1"/>
          </p:cNvSpPr>
          <p:nvPr>
            <p:ph type="body" orient="vert" idx="40" hasCustomPrompt="1"/>
          </p:nvPr>
        </p:nvSpPr>
        <p:spPr>
          <a:xfrm>
            <a:off x="9147600" y="2286000"/>
            <a:ext cx="3049200" cy="2286000"/>
          </a:xfrm>
          <a:solidFill>
            <a:srgbClr val="ED1A3B"/>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200">
                <a:solidFill>
                  <a:schemeClr val="bg1"/>
                </a:solidFill>
              </a:defRPr>
            </a:lvl2pPr>
            <a:lvl3pPr algn="ctr">
              <a:lnSpc>
                <a:spcPct val="80000"/>
              </a:lnSpc>
              <a:spcBef>
                <a:spcPts val="600"/>
              </a:spcBef>
              <a:spcAft>
                <a:spcPts val="600"/>
              </a:spcAft>
              <a:defRPr sz="1100">
                <a:solidFill>
                  <a:schemeClr val="bg1"/>
                </a:solidFill>
              </a:defRPr>
            </a:lvl3pPr>
            <a:lvl4pPr algn="ctr">
              <a:lnSpc>
                <a:spcPct val="80000"/>
              </a:lnSpc>
              <a:spcBef>
                <a:spcPts val="600"/>
              </a:spcBef>
              <a:spcAft>
                <a:spcPts val="600"/>
              </a:spcAft>
              <a:defRPr sz="1600">
                <a:solidFill>
                  <a:schemeClr val="bg1"/>
                </a:solidFill>
              </a:defRPr>
            </a:lvl4pPr>
            <a:lvl5pPr algn="ctr">
              <a:lnSpc>
                <a:spcPct val="80000"/>
              </a:lnSpc>
              <a:spcBef>
                <a:spcPts val="600"/>
              </a:spcBef>
              <a:spcAft>
                <a:spcPts val="600"/>
              </a:spcAft>
              <a:defRPr sz="1400">
                <a:solidFill>
                  <a:schemeClr val="bg1"/>
                </a:solidFill>
              </a:defRPr>
            </a:lvl5pPr>
            <a:lvl6pPr algn="ctr">
              <a:lnSpc>
                <a:spcPct val="80000"/>
              </a:lnSpc>
              <a:spcBef>
                <a:spcPts val="600"/>
              </a:spcBef>
              <a:spcAft>
                <a:spcPts val="600"/>
              </a:spcAft>
              <a:defRPr sz="1400">
                <a:solidFill>
                  <a:schemeClr val="bg1"/>
                </a:solidFill>
              </a:defRPr>
            </a:lvl6pPr>
            <a:lvl7pPr algn="ctr">
              <a:lnSpc>
                <a:spcPct val="80000"/>
              </a:lnSpc>
              <a:spcBef>
                <a:spcPts val="600"/>
              </a:spcBef>
              <a:spcAft>
                <a:spcPts val="600"/>
              </a:spcAft>
              <a:defRPr sz="1400">
                <a:solidFill>
                  <a:schemeClr val="bg1"/>
                </a:solidFill>
              </a:defRPr>
            </a:lvl7pPr>
            <a:lvl8pPr algn="ctr">
              <a:lnSpc>
                <a:spcPct val="80000"/>
              </a:lnSpc>
              <a:spcBef>
                <a:spcPts val="600"/>
              </a:spcBef>
              <a:spcAft>
                <a:spcPts val="600"/>
              </a:spcAft>
              <a:defRPr sz="1400">
                <a:solidFill>
                  <a:schemeClr val="bg1"/>
                </a:solidFill>
              </a:defRPr>
            </a:lvl8pPr>
            <a:lvl9pPr algn="ctr">
              <a:lnSpc>
                <a:spcPct val="80000"/>
              </a:lnSpc>
              <a:spcBef>
                <a:spcPts val="600"/>
              </a:spcBef>
              <a:spcAft>
                <a:spcPts val="600"/>
              </a:spcAft>
              <a:defRPr sz="1200" cap="all" baseline="0">
                <a:solidFill>
                  <a:schemeClr val="bg1"/>
                </a:solidFill>
              </a:defRPr>
            </a:lvl9pPr>
          </a:lstStyle>
          <a:p>
            <a:pPr lvl="0"/>
            <a:r>
              <a:rPr lang="nl-NL" dirty="0"/>
              <a:t>Klik om de modelstijlen</a:t>
            </a:r>
            <a:br>
              <a:rPr lang="nl-NL" dirty="0"/>
            </a:br>
            <a:r>
              <a:rPr lang="nl-NL" dirty="0"/>
              <a:t>te bewerken</a:t>
            </a:r>
          </a:p>
        </p:txBody>
      </p:sp>
      <p:sp>
        <p:nvSpPr>
          <p:cNvPr id="215" name="Tijdelijke aanduiding voor Afbeelding_07 (middenrechts)"/>
          <p:cNvSpPr>
            <a:spLocks noGrp="1"/>
          </p:cNvSpPr>
          <p:nvPr>
            <p:ph type="pic" idx="47"/>
          </p:nvPr>
        </p:nvSpPr>
        <p:spPr>
          <a:xfrm>
            <a:off x="6098400" y="2286000"/>
            <a:ext cx="3049200" cy="2286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36" name="Tijdelijke aanduiding voor Blok_07 (middenrechts)"/>
          <p:cNvSpPr>
            <a:spLocks noGrp="1"/>
          </p:cNvSpPr>
          <p:nvPr>
            <p:ph type="body" orient="vert" idx="35" hasCustomPrompt="1"/>
          </p:nvPr>
        </p:nvSpPr>
        <p:spPr>
          <a:xfrm>
            <a:off x="6098400" y="2286000"/>
            <a:ext cx="3049200" cy="2286000"/>
          </a:xfrm>
          <a:solidFill>
            <a:schemeClr val="accent5"/>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200">
                <a:solidFill>
                  <a:schemeClr val="bg1"/>
                </a:solidFill>
              </a:defRPr>
            </a:lvl2pPr>
            <a:lvl3pPr algn="ctr">
              <a:lnSpc>
                <a:spcPct val="80000"/>
              </a:lnSpc>
              <a:spcBef>
                <a:spcPts val="600"/>
              </a:spcBef>
              <a:spcAft>
                <a:spcPts val="600"/>
              </a:spcAft>
              <a:defRPr sz="1100">
                <a:solidFill>
                  <a:schemeClr val="bg1"/>
                </a:solidFill>
              </a:defRPr>
            </a:lvl3pPr>
            <a:lvl4pPr algn="ctr">
              <a:lnSpc>
                <a:spcPct val="80000"/>
              </a:lnSpc>
              <a:spcBef>
                <a:spcPts val="600"/>
              </a:spcBef>
              <a:spcAft>
                <a:spcPts val="600"/>
              </a:spcAft>
              <a:defRPr sz="1600">
                <a:solidFill>
                  <a:schemeClr val="bg1"/>
                </a:solidFill>
              </a:defRPr>
            </a:lvl4pPr>
            <a:lvl5pPr algn="ctr">
              <a:lnSpc>
                <a:spcPct val="80000"/>
              </a:lnSpc>
              <a:spcBef>
                <a:spcPts val="600"/>
              </a:spcBef>
              <a:spcAft>
                <a:spcPts val="600"/>
              </a:spcAft>
              <a:defRPr sz="1400">
                <a:solidFill>
                  <a:schemeClr val="bg1"/>
                </a:solidFill>
              </a:defRPr>
            </a:lvl5pPr>
            <a:lvl6pPr algn="ctr">
              <a:lnSpc>
                <a:spcPct val="80000"/>
              </a:lnSpc>
              <a:spcBef>
                <a:spcPts val="600"/>
              </a:spcBef>
              <a:spcAft>
                <a:spcPts val="600"/>
              </a:spcAft>
              <a:defRPr sz="1400">
                <a:solidFill>
                  <a:schemeClr val="bg1"/>
                </a:solidFill>
              </a:defRPr>
            </a:lvl6pPr>
            <a:lvl7pPr algn="ctr">
              <a:lnSpc>
                <a:spcPct val="80000"/>
              </a:lnSpc>
              <a:spcBef>
                <a:spcPts val="600"/>
              </a:spcBef>
              <a:spcAft>
                <a:spcPts val="600"/>
              </a:spcAft>
              <a:defRPr sz="1400">
                <a:solidFill>
                  <a:schemeClr val="bg1"/>
                </a:solidFill>
              </a:defRPr>
            </a:lvl7pPr>
            <a:lvl8pPr algn="ctr">
              <a:lnSpc>
                <a:spcPct val="80000"/>
              </a:lnSpc>
              <a:spcBef>
                <a:spcPts val="600"/>
              </a:spcBef>
              <a:spcAft>
                <a:spcPts val="600"/>
              </a:spcAft>
              <a:defRPr sz="1400">
                <a:solidFill>
                  <a:schemeClr val="bg1"/>
                </a:solidFill>
              </a:defRPr>
            </a:lvl8pPr>
            <a:lvl9pPr algn="ctr">
              <a:lnSpc>
                <a:spcPct val="80000"/>
              </a:lnSpc>
              <a:spcBef>
                <a:spcPts val="600"/>
              </a:spcBef>
              <a:spcAft>
                <a:spcPts val="600"/>
              </a:spcAft>
              <a:defRPr sz="1200" cap="all" baseline="0">
                <a:solidFill>
                  <a:schemeClr val="bg1"/>
                </a:solidFill>
              </a:defRPr>
            </a:lvl9pPr>
          </a:lstStyle>
          <a:p>
            <a:pPr lvl="0"/>
            <a:r>
              <a:rPr lang="nl-NL" dirty="0"/>
              <a:t>Klik om de modelstijlen</a:t>
            </a:r>
            <a:br>
              <a:rPr lang="nl-NL" dirty="0"/>
            </a:br>
            <a:r>
              <a:rPr lang="nl-NL" dirty="0"/>
              <a:t>te bewerken</a:t>
            </a:r>
          </a:p>
        </p:txBody>
      </p:sp>
      <p:sp>
        <p:nvSpPr>
          <p:cNvPr id="216" name="Tijdelijke aanduiding voor Afbeelding_06 (middenlinks)"/>
          <p:cNvSpPr>
            <a:spLocks noGrp="1"/>
          </p:cNvSpPr>
          <p:nvPr>
            <p:ph type="pic" idx="46"/>
          </p:nvPr>
        </p:nvSpPr>
        <p:spPr>
          <a:xfrm>
            <a:off x="3049200" y="2286000"/>
            <a:ext cx="3049200" cy="2286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35" name="Tijdelijke aanduiding voor Blok_06 (middenlinks)"/>
          <p:cNvSpPr>
            <a:spLocks noGrp="1"/>
          </p:cNvSpPr>
          <p:nvPr>
            <p:ph type="body" orient="vert" idx="34" hasCustomPrompt="1"/>
          </p:nvPr>
        </p:nvSpPr>
        <p:spPr>
          <a:xfrm>
            <a:off x="3049200" y="2286000"/>
            <a:ext cx="3049200" cy="2286000"/>
          </a:xfrm>
          <a:solidFill>
            <a:schemeClr val="accent3"/>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200">
                <a:solidFill>
                  <a:schemeClr val="bg1"/>
                </a:solidFill>
              </a:defRPr>
            </a:lvl2pPr>
            <a:lvl3pPr algn="ctr">
              <a:lnSpc>
                <a:spcPct val="80000"/>
              </a:lnSpc>
              <a:spcBef>
                <a:spcPts val="600"/>
              </a:spcBef>
              <a:spcAft>
                <a:spcPts val="600"/>
              </a:spcAft>
              <a:defRPr sz="1100">
                <a:solidFill>
                  <a:schemeClr val="bg1"/>
                </a:solidFill>
              </a:defRPr>
            </a:lvl3pPr>
            <a:lvl4pPr algn="ctr">
              <a:lnSpc>
                <a:spcPct val="80000"/>
              </a:lnSpc>
              <a:spcBef>
                <a:spcPts val="600"/>
              </a:spcBef>
              <a:spcAft>
                <a:spcPts val="600"/>
              </a:spcAft>
              <a:defRPr sz="1600">
                <a:solidFill>
                  <a:schemeClr val="bg1"/>
                </a:solidFill>
              </a:defRPr>
            </a:lvl4pPr>
            <a:lvl5pPr algn="ctr">
              <a:lnSpc>
                <a:spcPct val="80000"/>
              </a:lnSpc>
              <a:spcBef>
                <a:spcPts val="600"/>
              </a:spcBef>
              <a:spcAft>
                <a:spcPts val="600"/>
              </a:spcAft>
              <a:defRPr sz="1400">
                <a:solidFill>
                  <a:schemeClr val="bg1"/>
                </a:solidFill>
              </a:defRPr>
            </a:lvl5pPr>
            <a:lvl6pPr algn="ctr">
              <a:lnSpc>
                <a:spcPct val="80000"/>
              </a:lnSpc>
              <a:spcBef>
                <a:spcPts val="600"/>
              </a:spcBef>
              <a:spcAft>
                <a:spcPts val="600"/>
              </a:spcAft>
              <a:defRPr sz="1400">
                <a:solidFill>
                  <a:schemeClr val="bg1"/>
                </a:solidFill>
              </a:defRPr>
            </a:lvl6pPr>
            <a:lvl7pPr algn="ctr">
              <a:lnSpc>
                <a:spcPct val="80000"/>
              </a:lnSpc>
              <a:spcBef>
                <a:spcPts val="600"/>
              </a:spcBef>
              <a:spcAft>
                <a:spcPts val="600"/>
              </a:spcAft>
              <a:defRPr sz="1400">
                <a:solidFill>
                  <a:schemeClr val="bg1"/>
                </a:solidFill>
              </a:defRPr>
            </a:lvl7pPr>
            <a:lvl8pPr algn="ctr">
              <a:lnSpc>
                <a:spcPct val="80000"/>
              </a:lnSpc>
              <a:spcBef>
                <a:spcPts val="600"/>
              </a:spcBef>
              <a:spcAft>
                <a:spcPts val="600"/>
              </a:spcAft>
              <a:defRPr sz="1400">
                <a:solidFill>
                  <a:schemeClr val="bg1"/>
                </a:solidFill>
              </a:defRPr>
            </a:lvl8pPr>
            <a:lvl9pPr algn="ctr">
              <a:lnSpc>
                <a:spcPct val="80000"/>
              </a:lnSpc>
              <a:spcBef>
                <a:spcPts val="600"/>
              </a:spcBef>
              <a:spcAft>
                <a:spcPts val="600"/>
              </a:spcAft>
              <a:defRPr sz="1200" cap="all" baseline="0">
                <a:solidFill>
                  <a:schemeClr val="bg1"/>
                </a:solidFill>
              </a:defRPr>
            </a:lvl9pPr>
          </a:lstStyle>
          <a:p>
            <a:pPr lvl="0"/>
            <a:r>
              <a:rPr lang="nl-NL" dirty="0"/>
              <a:t>Klik om de modelstijlen</a:t>
            </a:r>
            <a:br>
              <a:rPr lang="nl-NL" dirty="0"/>
            </a:br>
            <a:r>
              <a:rPr lang="nl-NL" dirty="0"/>
              <a:t>te bewerken</a:t>
            </a:r>
          </a:p>
        </p:txBody>
      </p:sp>
      <p:sp>
        <p:nvSpPr>
          <p:cNvPr id="217" name="Tijdelijke aanduiding voor Afbeelding_05 (middenlinks)"/>
          <p:cNvSpPr>
            <a:spLocks noGrp="1"/>
          </p:cNvSpPr>
          <p:nvPr>
            <p:ph type="pic" idx="45"/>
          </p:nvPr>
        </p:nvSpPr>
        <p:spPr>
          <a:xfrm>
            <a:off x="0" y="2286000"/>
            <a:ext cx="3049200" cy="2286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34" name="Tijdelijke aanduiding voor Blok_05 (middenlinks)"/>
          <p:cNvSpPr>
            <a:spLocks noGrp="1"/>
          </p:cNvSpPr>
          <p:nvPr>
            <p:ph type="body" orient="vert" idx="33" hasCustomPrompt="1"/>
          </p:nvPr>
        </p:nvSpPr>
        <p:spPr>
          <a:xfrm>
            <a:off x="0" y="2286000"/>
            <a:ext cx="3049200" cy="2286000"/>
          </a:xfrm>
          <a:solidFill>
            <a:schemeClr val="accent2"/>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200">
                <a:solidFill>
                  <a:schemeClr val="bg1"/>
                </a:solidFill>
              </a:defRPr>
            </a:lvl2pPr>
            <a:lvl3pPr algn="ctr">
              <a:lnSpc>
                <a:spcPct val="80000"/>
              </a:lnSpc>
              <a:spcBef>
                <a:spcPts val="600"/>
              </a:spcBef>
              <a:spcAft>
                <a:spcPts val="600"/>
              </a:spcAft>
              <a:defRPr sz="1100">
                <a:solidFill>
                  <a:schemeClr val="bg1"/>
                </a:solidFill>
              </a:defRPr>
            </a:lvl3pPr>
            <a:lvl4pPr algn="ctr">
              <a:lnSpc>
                <a:spcPct val="80000"/>
              </a:lnSpc>
              <a:spcBef>
                <a:spcPts val="600"/>
              </a:spcBef>
              <a:spcAft>
                <a:spcPts val="600"/>
              </a:spcAft>
              <a:defRPr sz="1600">
                <a:solidFill>
                  <a:schemeClr val="bg1"/>
                </a:solidFill>
              </a:defRPr>
            </a:lvl4pPr>
            <a:lvl5pPr algn="ctr">
              <a:lnSpc>
                <a:spcPct val="80000"/>
              </a:lnSpc>
              <a:spcBef>
                <a:spcPts val="600"/>
              </a:spcBef>
              <a:spcAft>
                <a:spcPts val="600"/>
              </a:spcAft>
              <a:defRPr sz="1400">
                <a:solidFill>
                  <a:schemeClr val="bg1"/>
                </a:solidFill>
              </a:defRPr>
            </a:lvl5pPr>
            <a:lvl6pPr algn="ctr">
              <a:lnSpc>
                <a:spcPct val="80000"/>
              </a:lnSpc>
              <a:spcBef>
                <a:spcPts val="600"/>
              </a:spcBef>
              <a:spcAft>
                <a:spcPts val="600"/>
              </a:spcAft>
              <a:defRPr sz="1400">
                <a:solidFill>
                  <a:schemeClr val="bg1"/>
                </a:solidFill>
              </a:defRPr>
            </a:lvl6pPr>
            <a:lvl7pPr algn="ctr">
              <a:lnSpc>
                <a:spcPct val="80000"/>
              </a:lnSpc>
              <a:spcBef>
                <a:spcPts val="600"/>
              </a:spcBef>
              <a:spcAft>
                <a:spcPts val="600"/>
              </a:spcAft>
              <a:defRPr sz="1400">
                <a:solidFill>
                  <a:schemeClr val="bg1"/>
                </a:solidFill>
              </a:defRPr>
            </a:lvl7pPr>
            <a:lvl8pPr algn="ctr">
              <a:lnSpc>
                <a:spcPct val="80000"/>
              </a:lnSpc>
              <a:spcBef>
                <a:spcPts val="600"/>
              </a:spcBef>
              <a:spcAft>
                <a:spcPts val="600"/>
              </a:spcAft>
              <a:defRPr sz="1400">
                <a:solidFill>
                  <a:schemeClr val="bg1"/>
                </a:solidFill>
              </a:defRPr>
            </a:lvl8pPr>
            <a:lvl9pPr algn="ctr">
              <a:lnSpc>
                <a:spcPct val="80000"/>
              </a:lnSpc>
              <a:spcBef>
                <a:spcPts val="600"/>
              </a:spcBef>
              <a:spcAft>
                <a:spcPts val="600"/>
              </a:spcAft>
              <a:defRPr sz="1200" cap="all" baseline="0">
                <a:solidFill>
                  <a:schemeClr val="bg1"/>
                </a:solidFill>
              </a:defRPr>
            </a:lvl9pPr>
          </a:lstStyle>
          <a:p>
            <a:pPr lvl="0"/>
            <a:r>
              <a:rPr lang="nl-NL" dirty="0"/>
              <a:t>Klik om de modelstijlen</a:t>
            </a:r>
            <a:br>
              <a:rPr lang="nl-NL" dirty="0"/>
            </a:br>
            <a:r>
              <a:rPr lang="nl-NL" dirty="0"/>
              <a:t>te bewerken</a:t>
            </a:r>
          </a:p>
        </p:txBody>
      </p:sp>
      <p:sp>
        <p:nvSpPr>
          <p:cNvPr id="218" name="Tijdelijke aanduiding voor Afbeelding_04 (rechtsboven)"/>
          <p:cNvSpPr>
            <a:spLocks noGrp="1"/>
          </p:cNvSpPr>
          <p:nvPr>
            <p:ph type="pic" idx="44"/>
          </p:nvPr>
        </p:nvSpPr>
        <p:spPr>
          <a:xfrm>
            <a:off x="9147600" y="0"/>
            <a:ext cx="3049200" cy="2286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210" name="Tijdelijke aanduiding voor Blok_04 (rechtsboven)"/>
          <p:cNvSpPr>
            <a:spLocks noGrp="1"/>
          </p:cNvSpPr>
          <p:nvPr>
            <p:ph type="body" orient="vert" idx="41" hasCustomPrompt="1"/>
          </p:nvPr>
        </p:nvSpPr>
        <p:spPr>
          <a:xfrm>
            <a:off x="9147600" y="0"/>
            <a:ext cx="3049200" cy="2286000"/>
          </a:xfrm>
          <a:solidFill>
            <a:srgbClr val="98002E"/>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200">
                <a:solidFill>
                  <a:schemeClr val="bg1"/>
                </a:solidFill>
              </a:defRPr>
            </a:lvl2pPr>
            <a:lvl3pPr algn="ctr">
              <a:lnSpc>
                <a:spcPct val="80000"/>
              </a:lnSpc>
              <a:spcBef>
                <a:spcPts val="600"/>
              </a:spcBef>
              <a:spcAft>
                <a:spcPts val="600"/>
              </a:spcAft>
              <a:defRPr sz="1100">
                <a:solidFill>
                  <a:schemeClr val="bg1"/>
                </a:solidFill>
              </a:defRPr>
            </a:lvl3pPr>
            <a:lvl4pPr algn="ctr">
              <a:lnSpc>
                <a:spcPct val="80000"/>
              </a:lnSpc>
              <a:spcBef>
                <a:spcPts val="600"/>
              </a:spcBef>
              <a:spcAft>
                <a:spcPts val="600"/>
              </a:spcAft>
              <a:defRPr sz="1600">
                <a:solidFill>
                  <a:schemeClr val="bg1"/>
                </a:solidFill>
              </a:defRPr>
            </a:lvl4pPr>
            <a:lvl5pPr algn="ctr">
              <a:lnSpc>
                <a:spcPct val="80000"/>
              </a:lnSpc>
              <a:spcBef>
                <a:spcPts val="600"/>
              </a:spcBef>
              <a:spcAft>
                <a:spcPts val="600"/>
              </a:spcAft>
              <a:defRPr sz="1400">
                <a:solidFill>
                  <a:schemeClr val="bg1"/>
                </a:solidFill>
              </a:defRPr>
            </a:lvl5pPr>
            <a:lvl6pPr algn="ctr">
              <a:lnSpc>
                <a:spcPct val="80000"/>
              </a:lnSpc>
              <a:spcBef>
                <a:spcPts val="600"/>
              </a:spcBef>
              <a:spcAft>
                <a:spcPts val="600"/>
              </a:spcAft>
              <a:defRPr sz="1400">
                <a:solidFill>
                  <a:schemeClr val="bg1"/>
                </a:solidFill>
              </a:defRPr>
            </a:lvl6pPr>
            <a:lvl7pPr algn="ctr">
              <a:lnSpc>
                <a:spcPct val="80000"/>
              </a:lnSpc>
              <a:spcBef>
                <a:spcPts val="600"/>
              </a:spcBef>
              <a:spcAft>
                <a:spcPts val="600"/>
              </a:spcAft>
              <a:defRPr sz="1400">
                <a:solidFill>
                  <a:schemeClr val="bg1"/>
                </a:solidFill>
              </a:defRPr>
            </a:lvl7pPr>
            <a:lvl8pPr algn="ctr">
              <a:lnSpc>
                <a:spcPct val="80000"/>
              </a:lnSpc>
              <a:spcBef>
                <a:spcPts val="600"/>
              </a:spcBef>
              <a:spcAft>
                <a:spcPts val="600"/>
              </a:spcAft>
              <a:defRPr sz="1400">
                <a:solidFill>
                  <a:schemeClr val="bg1"/>
                </a:solidFill>
              </a:defRPr>
            </a:lvl8pPr>
            <a:lvl9pPr algn="ctr">
              <a:lnSpc>
                <a:spcPct val="80000"/>
              </a:lnSpc>
              <a:spcBef>
                <a:spcPts val="600"/>
              </a:spcBef>
              <a:spcAft>
                <a:spcPts val="600"/>
              </a:spcAft>
              <a:defRPr sz="1200" cap="all" baseline="0">
                <a:solidFill>
                  <a:schemeClr val="bg1"/>
                </a:solidFill>
              </a:defRPr>
            </a:lvl9pPr>
          </a:lstStyle>
          <a:p>
            <a:pPr lvl="0"/>
            <a:r>
              <a:rPr lang="nl-NL" dirty="0"/>
              <a:t>Klik om de modelstijlen</a:t>
            </a:r>
            <a:br>
              <a:rPr lang="nl-NL" dirty="0"/>
            </a:br>
            <a:r>
              <a:rPr lang="nl-NL" dirty="0"/>
              <a:t>te bewerken</a:t>
            </a:r>
          </a:p>
        </p:txBody>
      </p:sp>
      <p:sp>
        <p:nvSpPr>
          <p:cNvPr id="219" name="Tijdelijke aanduiding voor Afbeelding_03 (rechtsboven)"/>
          <p:cNvSpPr>
            <a:spLocks noGrp="1"/>
          </p:cNvSpPr>
          <p:nvPr>
            <p:ph type="pic" idx="43"/>
          </p:nvPr>
        </p:nvSpPr>
        <p:spPr>
          <a:xfrm>
            <a:off x="6098400" y="0"/>
            <a:ext cx="3049200" cy="2286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16" name="Tijdelijke aanduiding voor Blok_03 (rechtsboven)"/>
          <p:cNvSpPr>
            <a:spLocks noGrp="1"/>
          </p:cNvSpPr>
          <p:nvPr>
            <p:ph type="body" orient="vert" idx="20" hasCustomPrompt="1"/>
          </p:nvPr>
        </p:nvSpPr>
        <p:spPr>
          <a:xfrm>
            <a:off x="6098400" y="0"/>
            <a:ext cx="3049200" cy="2286000"/>
          </a:xfrm>
          <a:solidFill>
            <a:schemeClr val="accent6">
              <a:lumMod val="75000"/>
            </a:schemeClr>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200">
                <a:solidFill>
                  <a:schemeClr val="bg1"/>
                </a:solidFill>
              </a:defRPr>
            </a:lvl2pPr>
            <a:lvl3pPr algn="ctr">
              <a:lnSpc>
                <a:spcPct val="80000"/>
              </a:lnSpc>
              <a:spcBef>
                <a:spcPts val="600"/>
              </a:spcBef>
              <a:spcAft>
                <a:spcPts val="600"/>
              </a:spcAft>
              <a:defRPr sz="1100">
                <a:solidFill>
                  <a:schemeClr val="bg1"/>
                </a:solidFill>
              </a:defRPr>
            </a:lvl3pPr>
            <a:lvl4pPr algn="ctr">
              <a:lnSpc>
                <a:spcPct val="80000"/>
              </a:lnSpc>
              <a:spcBef>
                <a:spcPts val="600"/>
              </a:spcBef>
              <a:spcAft>
                <a:spcPts val="600"/>
              </a:spcAft>
              <a:defRPr sz="1600">
                <a:solidFill>
                  <a:schemeClr val="bg1"/>
                </a:solidFill>
              </a:defRPr>
            </a:lvl4pPr>
            <a:lvl5pPr algn="ctr">
              <a:lnSpc>
                <a:spcPct val="80000"/>
              </a:lnSpc>
              <a:spcBef>
                <a:spcPts val="600"/>
              </a:spcBef>
              <a:spcAft>
                <a:spcPts val="600"/>
              </a:spcAft>
              <a:defRPr sz="1400">
                <a:solidFill>
                  <a:schemeClr val="bg1"/>
                </a:solidFill>
              </a:defRPr>
            </a:lvl5pPr>
            <a:lvl6pPr algn="ctr">
              <a:lnSpc>
                <a:spcPct val="80000"/>
              </a:lnSpc>
              <a:spcBef>
                <a:spcPts val="600"/>
              </a:spcBef>
              <a:spcAft>
                <a:spcPts val="600"/>
              </a:spcAft>
              <a:defRPr sz="1400">
                <a:solidFill>
                  <a:schemeClr val="bg1"/>
                </a:solidFill>
              </a:defRPr>
            </a:lvl6pPr>
            <a:lvl7pPr algn="ctr">
              <a:lnSpc>
                <a:spcPct val="80000"/>
              </a:lnSpc>
              <a:spcBef>
                <a:spcPts val="600"/>
              </a:spcBef>
              <a:spcAft>
                <a:spcPts val="600"/>
              </a:spcAft>
              <a:defRPr sz="1400">
                <a:solidFill>
                  <a:schemeClr val="bg1"/>
                </a:solidFill>
              </a:defRPr>
            </a:lvl7pPr>
            <a:lvl8pPr algn="ctr">
              <a:lnSpc>
                <a:spcPct val="80000"/>
              </a:lnSpc>
              <a:spcBef>
                <a:spcPts val="600"/>
              </a:spcBef>
              <a:spcAft>
                <a:spcPts val="600"/>
              </a:spcAft>
              <a:defRPr sz="1400">
                <a:solidFill>
                  <a:schemeClr val="bg1"/>
                </a:solidFill>
              </a:defRPr>
            </a:lvl8pPr>
            <a:lvl9pPr algn="ctr">
              <a:lnSpc>
                <a:spcPct val="80000"/>
              </a:lnSpc>
              <a:spcBef>
                <a:spcPts val="600"/>
              </a:spcBef>
              <a:spcAft>
                <a:spcPts val="600"/>
              </a:spcAft>
              <a:defRPr sz="1200" cap="all" baseline="0">
                <a:solidFill>
                  <a:schemeClr val="bg1"/>
                </a:solidFill>
              </a:defRPr>
            </a:lvl9pPr>
          </a:lstStyle>
          <a:p>
            <a:pPr lvl="0"/>
            <a:r>
              <a:rPr lang="nl-NL" dirty="0"/>
              <a:t>Klik om de modelstijlen</a:t>
            </a:r>
            <a:br>
              <a:rPr lang="nl-NL" dirty="0"/>
            </a:br>
            <a:r>
              <a:rPr lang="nl-NL" dirty="0"/>
              <a:t>te bewerken</a:t>
            </a:r>
          </a:p>
        </p:txBody>
      </p:sp>
      <p:sp>
        <p:nvSpPr>
          <p:cNvPr id="220" name="Tijdelijke aanduiding voor Afbeelding_02 (linksboven)"/>
          <p:cNvSpPr>
            <a:spLocks noGrp="1"/>
          </p:cNvSpPr>
          <p:nvPr>
            <p:ph type="pic" idx="42"/>
          </p:nvPr>
        </p:nvSpPr>
        <p:spPr>
          <a:xfrm>
            <a:off x="3049200" y="0"/>
            <a:ext cx="3049200" cy="2286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15" name="Tijdelijke aanduiding voor Blok_02 (linksboven)"/>
          <p:cNvSpPr>
            <a:spLocks noGrp="1"/>
          </p:cNvSpPr>
          <p:nvPr>
            <p:ph type="body" orient="vert" idx="19" hasCustomPrompt="1"/>
          </p:nvPr>
        </p:nvSpPr>
        <p:spPr>
          <a:xfrm>
            <a:off x="3049200" y="0"/>
            <a:ext cx="3049200" cy="2286000"/>
          </a:xfrm>
          <a:solidFill>
            <a:schemeClr val="accent4"/>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200">
                <a:solidFill>
                  <a:schemeClr val="bg1"/>
                </a:solidFill>
              </a:defRPr>
            </a:lvl2pPr>
            <a:lvl3pPr algn="ctr">
              <a:lnSpc>
                <a:spcPct val="80000"/>
              </a:lnSpc>
              <a:spcBef>
                <a:spcPts val="600"/>
              </a:spcBef>
              <a:spcAft>
                <a:spcPts val="600"/>
              </a:spcAft>
              <a:defRPr sz="1100">
                <a:solidFill>
                  <a:schemeClr val="bg1"/>
                </a:solidFill>
              </a:defRPr>
            </a:lvl3pPr>
            <a:lvl4pPr algn="ctr">
              <a:lnSpc>
                <a:spcPct val="80000"/>
              </a:lnSpc>
              <a:spcBef>
                <a:spcPts val="600"/>
              </a:spcBef>
              <a:spcAft>
                <a:spcPts val="600"/>
              </a:spcAft>
              <a:defRPr sz="1600">
                <a:solidFill>
                  <a:schemeClr val="bg1"/>
                </a:solidFill>
              </a:defRPr>
            </a:lvl4pPr>
            <a:lvl5pPr algn="ctr">
              <a:lnSpc>
                <a:spcPct val="80000"/>
              </a:lnSpc>
              <a:spcBef>
                <a:spcPts val="600"/>
              </a:spcBef>
              <a:spcAft>
                <a:spcPts val="600"/>
              </a:spcAft>
              <a:defRPr sz="1400">
                <a:solidFill>
                  <a:schemeClr val="bg1"/>
                </a:solidFill>
              </a:defRPr>
            </a:lvl5pPr>
            <a:lvl6pPr algn="ctr">
              <a:lnSpc>
                <a:spcPct val="80000"/>
              </a:lnSpc>
              <a:spcBef>
                <a:spcPts val="600"/>
              </a:spcBef>
              <a:spcAft>
                <a:spcPts val="600"/>
              </a:spcAft>
              <a:defRPr sz="1400">
                <a:solidFill>
                  <a:schemeClr val="bg1"/>
                </a:solidFill>
              </a:defRPr>
            </a:lvl6pPr>
            <a:lvl7pPr algn="ctr">
              <a:lnSpc>
                <a:spcPct val="80000"/>
              </a:lnSpc>
              <a:spcBef>
                <a:spcPts val="600"/>
              </a:spcBef>
              <a:spcAft>
                <a:spcPts val="600"/>
              </a:spcAft>
              <a:defRPr sz="1400">
                <a:solidFill>
                  <a:schemeClr val="bg1"/>
                </a:solidFill>
              </a:defRPr>
            </a:lvl7pPr>
            <a:lvl8pPr algn="ctr">
              <a:lnSpc>
                <a:spcPct val="80000"/>
              </a:lnSpc>
              <a:spcBef>
                <a:spcPts val="600"/>
              </a:spcBef>
              <a:spcAft>
                <a:spcPts val="600"/>
              </a:spcAft>
              <a:defRPr sz="1400">
                <a:solidFill>
                  <a:schemeClr val="bg1"/>
                </a:solidFill>
              </a:defRPr>
            </a:lvl8pPr>
            <a:lvl9pPr algn="ctr">
              <a:lnSpc>
                <a:spcPct val="80000"/>
              </a:lnSpc>
              <a:spcBef>
                <a:spcPts val="600"/>
              </a:spcBef>
              <a:spcAft>
                <a:spcPts val="600"/>
              </a:spcAft>
              <a:defRPr sz="1200" cap="all" baseline="0">
                <a:solidFill>
                  <a:schemeClr val="bg1"/>
                </a:solidFill>
              </a:defRPr>
            </a:lvl9pPr>
          </a:lstStyle>
          <a:p>
            <a:pPr lvl="0"/>
            <a:r>
              <a:rPr lang="nl-NL" dirty="0"/>
              <a:t>Klik om de modelstijlen</a:t>
            </a:r>
            <a:br>
              <a:rPr lang="nl-NL" dirty="0"/>
            </a:br>
            <a:r>
              <a:rPr lang="nl-NL" dirty="0"/>
              <a:t>te bewerken</a:t>
            </a:r>
          </a:p>
        </p:txBody>
      </p:sp>
      <p:sp>
        <p:nvSpPr>
          <p:cNvPr id="221" name="Tijdelijke aanduiding voor Afbeelding_01 (linksboven)"/>
          <p:cNvSpPr>
            <a:spLocks noGrp="1"/>
          </p:cNvSpPr>
          <p:nvPr>
            <p:ph type="pic" idx="13"/>
          </p:nvPr>
        </p:nvSpPr>
        <p:spPr>
          <a:xfrm>
            <a:off x="0" y="0"/>
            <a:ext cx="3049200" cy="2286000"/>
          </a:xfrm>
          <a:solidFill>
            <a:srgbClr val="EDE8E5"/>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14" name="Tijdelijke aanduiding voor Blok_01 (linksboven)"/>
          <p:cNvSpPr>
            <a:spLocks noGrp="1"/>
          </p:cNvSpPr>
          <p:nvPr>
            <p:ph type="body" orient="vert" idx="1" hasCustomPrompt="1"/>
          </p:nvPr>
        </p:nvSpPr>
        <p:spPr>
          <a:xfrm>
            <a:off x="0" y="0"/>
            <a:ext cx="3049200" cy="2286000"/>
          </a:xfrm>
          <a:solidFill>
            <a:schemeClr val="accent1"/>
          </a:solidFill>
        </p:spPr>
        <p:txBody>
          <a:bodyPr vert="horz" lIns="180000" tIns="1440000" rIns="180000" bIns="180000" anchor="t" anchorCtr="0"/>
          <a:lstStyle>
            <a:lvl1pPr algn="ctr">
              <a:lnSpc>
                <a:spcPct val="80000"/>
              </a:lnSpc>
              <a:spcBef>
                <a:spcPts val="600"/>
              </a:spcBef>
              <a:spcAft>
                <a:spcPts val="600"/>
              </a:spcAft>
              <a:defRPr sz="1600">
                <a:solidFill>
                  <a:schemeClr val="bg1"/>
                </a:solidFill>
              </a:defRPr>
            </a:lvl1pPr>
            <a:lvl2pPr marL="0" indent="0" algn="ctr">
              <a:lnSpc>
                <a:spcPct val="80000"/>
              </a:lnSpc>
              <a:spcBef>
                <a:spcPts val="600"/>
              </a:spcBef>
              <a:spcAft>
                <a:spcPts val="600"/>
              </a:spcAft>
              <a:buNone/>
              <a:defRPr sz="1200">
                <a:solidFill>
                  <a:schemeClr val="bg1"/>
                </a:solidFill>
              </a:defRPr>
            </a:lvl2pPr>
            <a:lvl3pPr algn="ctr">
              <a:lnSpc>
                <a:spcPct val="80000"/>
              </a:lnSpc>
              <a:spcBef>
                <a:spcPts val="600"/>
              </a:spcBef>
              <a:spcAft>
                <a:spcPts val="600"/>
              </a:spcAft>
              <a:defRPr sz="1100">
                <a:solidFill>
                  <a:schemeClr val="bg1"/>
                </a:solidFill>
              </a:defRPr>
            </a:lvl3pPr>
            <a:lvl4pPr algn="ctr">
              <a:lnSpc>
                <a:spcPct val="80000"/>
              </a:lnSpc>
              <a:spcBef>
                <a:spcPts val="600"/>
              </a:spcBef>
              <a:spcAft>
                <a:spcPts val="600"/>
              </a:spcAft>
              <a:defRPr sz="1600">
                <a:solidFill>
                  <a:schemeClr val="bg1"/>
                </a:solidFill>
              </a:defRPr>
            </a:lvl4pPr>
            <a:lvl5pPr algn="ctr">
              <a:lnSpc>
                <a:spcPct val="80000"/>
              </a:lnSpc>
              <a:spcBef>
                <a:spcPts val="600"/>
              </a:spcBef>
              <a:spcAft>
                <a:spcPts val="600"/>
              </a:spcAft>
              <a:defRPr sz="1400">
                <a:solidFill>
                  <a:schemeClr val="bg1"/>
                </a:solidFill>
              </a:defRPr>
            </a:lvl5pPr>
            <a:lvl6pPr algn="ctr">
              <a:lnSpc>
                <a:spcPct val="80000"/>
              </a:lnSpc>
              <a:spcBef>
                <a:spcPts val="600"/>
              </a:spcBef>
              <a:spcAft>
                <a:spcPts val="600"/>
              </a:spcAft>
              <a:defRPr sz="1400">
                <a:solidFill>
                  <a:schemeClr val="bg1"/>
                </a:solidFill>
              </a:defRPr>
            </a:lvl6pPr>
            <a:lvl7pPr algn="ctr">
              <a:lnSpc>
                <a:spcPct val="80000"/>
              </a:lnSpc>
              <a:spcBef>
                <a:spcPts val="600"/>
              </a:spcBef>
              <a:spcAft>
                <a:spcPts val="600"/>
              </a:spcAft>
              <a:defRPr sz="1400">
                <a:solidFill>
                  <a:schemeClr val="bg1"/>
                </a:solidFill>
              </a:defRPr>
            </a:lvl7pPr>
            <a:lvl8pPr algn="ctr">
              <a:lnSpc>
                <a:spcPct val="80000"/>
              </a:lnSpc>
              <a:spcBef>
                <a:spcPts val="600"/>
              </a:spcBef>
              <a:spcAft>
                <a:spcPts val="600"/>
              </a:spcAft>
              <a:defRPr sz="1400">
                <a:solidFill>
                  <a:schemeClr val="bg1"/>
                </a:solidFill>
              </a:defRPr>
            </a:lvl8pPr>
            <a:lvl9pPr algn="ctr">
              <a:lnSpc>
                <a:spcPct val="80000"/>
              </a:lnSpc>
              <a:spcBef>
                <a:spcPts val="600"/>
              </a:spcBef>
              <a:spcAft>
                <a:spcPts val="600"/>
              </a:spcAft>
              <a:defRPr sz="1200" cap="all" baseline="0">
                <a:solidFill>
                  <a:schemeClr val="bg1"/>
                </a:solidFill>
              </a:defRPr>
            </a:lvl9pPr>
          </a:lstStyle>
          <a:p>
            <a:pPr lvl="0"/>
            <a:r>
              <a:rPr lang="nl-NL" dirty="0"/>
              <a:t>Klik om de modelstijlen</a:t>
            </a:r>
            <a:br>
              <a:rPr lang="nl-NL" dirty="0"/>
            </a:br>
            <a:r>
              <a:rPr lang="nl-NL" dirty="0"/>
              <a:t>te bewerken</a:t>
            </a:r>
          </a:p>
        </p:txBody>
      </p:sp>
    </p:spTree>
    <p:extLst>
      <p:ext uri="{BB962C8B-B14F-4D97-AF65-F5344CB8AC3E}">
        <p14:creationId xmlns:p14="http://schemas.microsoft.com/office/powerpoint/2010/main" val="757055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Schudblad_achter">
    <p:spTree>
      <p:nvGrpSpPr>
        <p:cNvPr id="1" name=""/>
        <p:cNvGrpSpPr/>
        <p:nvPr/>
      </p:nvGrpSpPr>
      <p:grpSpPr>
        <a:xfrm>
          <a:off x="0" y="0"/>
          <a:ext cx="0" cy="0"/>
          <a:chOff x="0" y="0"/>
          <a:chExt cx="0" cy="0"/>
        </a:xfrm>
      </p:grpSpPr>
      <p:sp>
        <p:nvSpPr>
          <p:cNvPr id="103" name="Naam indeling - bdo.nl"/>
          <p:cNvSpPr txBox="1"/>
          <p:nvPr userDrawn="1"/>
        </p:nvSpPr>
        <p:spPr>
          <a:xfrm>
            <a:off x="1" y="-453266"/>
            <a:ext cx="3582333" cy="276999"/>
          </a:xfrm>
          <a:prstGeom prst="rect">
            <a:avLst/>
          </a:prstGeom>
          <a:noFill/>
        </p:spPr>
        <p:txBody>
          <a:bodyPr wrap="square" lIns="0" tIns="0" rIns="0" bIns="0" rtlCol="0">
            <a:spAutoFit/>
          </a:bodyPr>
          <a:lstStyle/>
          <a:p>
            <a:pPr defTabSz="914112"/>
            <a:r>
              <a:rPr lang="nl-NL" dirty="0">
                <a:solidFill>
                  <a:srgbClr val="404040"/>
                </a:solidFill>
                <a:latin typeface="Calibri" panose="020F0502020204030204" pitchFamily="34" charset="0"/>
              </a:rPr>
              <a:t>bdo.nl</a:t>
            </a:r>
            <a:endParaRPr lang="en-GB" dirty="0">
              <a:solidFill>
                <a:srgbClr val="404040"/>
              </a:solidFill>
              <a:latin typeface="Calibri" panose="020F0502020204030204" pitchFamily="34" charset="0"/>
            </a:endParaRPr>
          </a:p>
        </p:txBody>
      </p:sp>
      <p:grpSp>
        <p:nvGrpSpPr>
          <p:cNvPr id="186" name="Instructie - Tekst niveaus"/>
          <p:cNvGrpSpPr/>
          <p:nvPr userDrawn="1"/>
        </p:nvGrpSpPr>
        <p:grpSpPr>
          <a:xfrm>
            <a:off x="-3117849" y="365"/>
            <a:ext cx="2823358" cy="5254722"/>
            <a:chOff x="-2959433" y="-5444"/>
            <a:chExt cx="2822623" cy="5254722"/>
          </a:xfrm>
        </p:grpSpPr>
        <p:sp>
          <p:nvSpPr>
            <p:cNvPr id="187" name="Rechthoek 186"/>
            <p:cNvSpPr/>
            <p:nvPr userDrawn="1"/>
          </p:nvSpPr>
          <p:spPr>
            <a:xfrm>
              <a:off x="-2959433" y="-5444"/>
              <a:ext cx="2572469" cy="280344"/>
            </a:xfrm>
            <a:prstGeom prst="rect">
              <a:avLst/>
            </a:prstGeom>
            <a:noFill/>
            <a:ln w="25400" cap="flat" cmpd="sng" algn="ctr">
              <a:noFill/>
              <a:prstDash val="solid"/>
            </a:ln>
            <a:effectLst/>
          </p:spPr>
          <p:txBody>
            <a:bodyPr lIns="0" tIns="0" rIns="0" bIns="0" rtlCol="0" anchor="t"/>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nl-NL" sz="1600" b="1" kern="0" dirty="0">
                  <a:solidFill>
                    <a:srgbClr val="ED1A3B"/>
                  </a:solidFill>
                  <a:cs typeface="Segoe UI Light" panose="020B0502040204020203" pitchFamily="34" charset="0"/>
                </a:rPr>
                <a:t>TEKST NIVEAUS</a:t>
              </a:r>
            </a:p>
          </p:txBody>
        </p:sp>
        <p:sp>
          <p:nvSpPr>
            <p:cNvPr id="188" name="Textfield placeholder"/>
            <p:cNvSpPr txBox="1">
              <a:spLocks/>
            </p:cNvSpPr>
            <p:nvPr userDrawn="1"/>
          </p:nvSpPr>
          <p:spPr>
            <a:xfrm>
              <a:off x="-2587337" y="2675411"/>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0" lvl="2"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a:solidFill>
                    <a:srgbClr val="404040"/>
                  </a:solidFill>
                </a:rPr>
                <a:t>Sub-bullets (12 pt.)</a:t>
              </a:r>
            </a:p>
          </p:txBody>
        </p:sp>
        <p:sp>
          <p:nvSpPr>
            <p:cNvPr id="189" name="Ovaal 188"/>
            <p:cNvSpPr/>
            <p:nvPr userDrawn="1"/>
          </p:nvSpPr>
          <p:spPr>
            <a:xfrm>
              <a:off x="-2959433" y="196874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1</a:t>
              </a:r>
            </a:p>
          </p:txBody>
        </p:sp>
        <p:sp>
          <p:nvSpPr>
            <p:cNvPr id="190" name="Ovaal 189"/>
            <p:cNvSpPr/>
            <p:nvPr userDrawn="1"/>
          </p:nvSpPr>
          <p:spPr>
            <a:xfrm>
              <a:off x="-2959433" y="232207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2</a:t>
              </a:r>
            </a:p>
          </p:txBody>
        </p:sp>
        <p:sp>
          <p:nvSpPr>
            <p:cNvPr id="191" name="Ovaal 190"/>
            <p:cNvSpPr/>
            <p:nvPr userDrawn="1"/>
          </p:nvSpPr>
          <p:spPr>
            <a:xfrm>
              <a:off x="-2959433" y="267541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3</a:t>
              </a:r>
            </a:p>
          </p:txBody>
        </p:sp>
        <p:sp>
          <p:nvSpPr>
            <p:cNvPr id="192" name="Ovaal 191"/>
            <p:cNvSpPr/>
            <p:nvPr userDrawn="1"/>
          </p:nvSpPr>
          <p:spPr>
            <a:xfrm>
              <a:off x="-2959433" y="302874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4</a:t>
              </a:r>
            </a:p>
          </p:txBody>
        </p:sp>
        <p:sp>
          <p:nvSpPr>
            <p:cNvPr id="193" name="Textfield placeholder"/>
            <p:cNvSpPr txBox="1">
              <a:spLocks/>
            </p:cNvSpPr>
            <p:nvPr userDrawn="1"/>
          </p:nvSpPr>
          <p:spPr>
            <a:xfrm>
              <a:off x="-2571950" y="1966925"/>
              <a:ext cx="2163709" cy="261500"/>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79388">
                <a:lnSpc>
                  <a:spcPct val="120000"/>
                </a:lnSpc>
                <a:spcBef>
                  <a:spcPts val="0"/>
                </a:spcBef>
                <a:spcAft>
                  <a:spcPts val="900"/>
                </a:spcAft>
                <a:buClr>
                  <a:srgbClr val="000000"/>
                </a:buClr>
                <a:buSzPct val="100000"/>
                <a:buFont typeface="Arial" pitchFamily="34" charset="0"/>
                <a:buNone/>
                <a:defRPr/>
              </a:pPr>
              <a:r>
                <a:rPr lang="nl-NL" sz="1200" dirty="0">
                  <a:solidFill>
                    <a:srgbClr val="535353"/>
                  </a:solidFill>
                </a:rPr>
                <a:t>Leestekst (12 pt.)</a:t>
              </a:r>
            </a:p>
          </p:txBody>
        </p:sp>
        <p:sp>
          <p:nvSpPr>
            <p:cNvPr id="194" name="Textfield placeholder"/>
            <p:cNvSpPr txBox="1">
              <a:spLocks/>
            </p:cNvSpPr>
            <p:nvPr userDrawn="1"/>
          </p:nvSpPr>
          <p:spPr>
            <a:xfrm>
              <a:off x="-2571950" y="2322077"/>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70000" lvl="1"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err="1">
                  <a:solidFill>
                    <a:srgbClr val="535353"/>
                  </a:solidFill>
                </a:rPr>
                <a:t>Bullets</a:t>
              </a:r>
              <a:r>
                <a:rPr lang="nl-NL" sz="1200" dirty="0">
                  <a:solidFill>
                    <a:srgbClr val="535353"/>
                  </a:solidFill>
                </a:rPr>
                <a:t> (12 </a:t>
              </a:r>
              <a:r>
                <a:rPr lang="nl-NL" sz="1200" dirty="0" err="1">
                  <a:solidFill>
                    <a:srgbClr val="535353"/>
                  </a:solidFill>
                </a:rPr>
                <a:t>pt</a:t>
              </a:r>
              <a:r>
                <a:rPr lang="nl-NL" sz="1200" dirty="0">
                  <a:solidFill>
                    <a:srgbClr val="535353"/>
                  </a:solidFill>
                </a:rPr>
                <a:t>.)</a:t>
              </a:r>
            </a:p>
          </p:txBody>
        </p:sp>
        <p:sp>
          <p:nvSpPr>
            <p:cNvPr id="195" name="Textfield placeholder"/>
            <p:cNvSpPr txBox="1">
              <a:spLocks/>
            </p:cNvSpPr>
            <p:nvPr userDrawn="1"/>
          </p:nvSpPr>
          <p:spPr>
            <a:xfrm>
              <a:off x="-2571951" y="3028747"/>
              <a:ext cx="2435141"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10000" lvl="3" indent="-270000" algn="l" defTabSz="179388" rtl="0" eaLnBrk="1" latinLnBrk="0" hangingPunct="1">
                <a:lnSpc>
                  <a:spcPct val="120000"/>
                </a:lnSpc>
                <a:spcBef>
                  <a:spcPts val="0"/>
                </a:spcBef>
                <a:spcAft>
                  <a:spcPts val="900"/>
                </a:spcAft>
                <a:buClr>
                  <a:schemeClr val="accent2"/>
                </a:buClr>
                <a:buSzPct val="80000"/>
                <a:buFont typeface="Wingdings 3" panose="05040102010807070707" pitchFamily="18" charset="2"/>
                <a:buChar char=""/>
                <a:defRPr/>
              </a:pPr>
              <a:r>
                <a:rPr lang="nl-NL" sz="1200" b="0" kern="1200" dirty="0">
                  <a:solidFill>
                    <a:srgbClr val="404040"/>
                  </a:solidFill>
                  <a:latin typeface="+mn-lt"/>
                  <a:ea typeface="+mn-ea"/>
                  <a:cs typeface="+mn-cs"/>
                </a:rPr>
                <a:t>Sub-sub-bullets (12 pt.)</a:t>
              </a:r>
            </a:p>
          </p:txBody>
        </p:sp>
        <p:cxnSp>
          <p:nvCxnSpPr>
            <p:cNvPr id="196" name="Rechte verbindingslijn 195"/>
            <p:cNvCxnSpPr/>
            <p:nvPr userDrawn="1"/>
          </p:nvCxnSpPr>
          <p:spPr>
            <a:xfrm>
              <a:off x="-2959100" y="274900"/>
              <a:ext cx="2674470" cy="0"/>
            </a:xfrm>
            <a:prstGeom prst="line">
              <a:avLst/>
            </a:prstGeom>
            <a:noFill/>
            <a:ln w="9525" cap="flat" cmpd="sng" algn="ctr">
              <a:solidFill>
                <a:schemeClr val="accent1"/>
              </a:solidFill>
              <a:prstDash val="solid"/>
            </a:ln>
            <a:effectLst/>
          </p:spPr>
        </p:cxnSp>
        <p:cxnSp>
          <p:nvCxnSpPr>
            <p:cNvPr id="197" name="Rechte verbindingslijn 196"/>
            <p:cNvCxnSpPr/>
            <p:nvPr userDrawn="1"/>
          </p:nvCxnSpPr>
          <p:spPr>
            <a:xfrm>
              <a:off x="-2959100" y="1841989"/>
              <a:ext cx="2661379" cy="0"/>
            </a:xfrm>
            <a:prstGeom prst="line">
              <a:avLst/>
            </a:prstGeom>
            <a:noFill/>
            <a:ln w="9525" cap="flat" cmpd="sng" algn="ctr">
              <a:solidFill>
                <a:schemeClr val="accent1"/>
              </a:solidFill>
              <a:prstDash val="solid"/>
            </a:ln>
            <a:effectLst/>
          </p:spPr>
        </p:cxnSp>
        <p:cxnSp>
          <p:nvCxnSpPr>
            <p:cNvPr id="198" name="Rechte verbindingslijn 197"/>
            <p:cNvCxnSpPr/>
            <p:nvPr userDrawn="1"/>
          </p:nvCxnSpPr>
          <p:spPr>
            <a:xfrm>
              <a:off x="-2959100" y="5249278"/>
              <a:ext cx="2661379" cy="0"/>
            </a:xfrm>
            <a:prstGeom prst="line">
              <a:avLst/>
            </a:prstGeom>
            <a:noFill/>
            <a:ln w="9525" cap="flat" cmpd="sng" algn="ctr">
              <a:solidFill>
                <a:schemeClr val="accent1"/>
              </a:solidFill>
              <a:prstDash val="solid"/>
            </a:ln>
            <a:effectLst/>
          </p:spPr>
        </p:cxnSp>
        <p:grpSp>
          <p:nvGrpSpPr>
            <p:cNvPr id="199" name="Groep 198"/>
            <p:cNvGrpSpPr/>
            <p:nvPr userDrawn="1"/>
          </p:nvGrpSpPr>
          <p:grpSpPr>
            <a:xfrm>
              <a:off x="-1948476" y="816741"/>
              <a:ext cx="409108" cy="427699"/>
              <a:chOff x="-1085063" y="758027"/>
              <a:chExt cx="633799" cy="622540"/>
            </a:xfrm>
          </p:grpSpPr>
          <p:sp>
            <p:nvSpPr>
              <p:cNvPr id="255" name="Afgeronde rechthoek 254"/>
              <p:cNvSpPr/>
              <p:nvPr userDrawn="1"/>
            </p:nvSpPr>
            <p:spPr>
              <a:xfrm>
                <a:off x="-108506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256" name="Groep 255"/>
              <p:cNvGrpSpPr/>
              <p:nvPr userDrawn="1"/>
            </p:nvGrpSpPr>
            <p:grpSpPr>
              <a:xfrm>
                <a:off x="-977739" y="864082"/>
                <a:ext cx="419168" cy="410429"/>
                <a:chOff x="6366933" y="309013"/>
                <a:chExt cx="1901295" cy="1861668"/>
              </a:xfrm>
              <a:solidFill>
                <a:srgbClr val="000000"/>
              </a:solidFill>
            </p:grpSpPr>
            <p:sp>
              <p:nvSpPr>
                <p:cNvPr id="257" name="Rechthoek 256"/>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8" name="Rechthoek 257"/>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9" name="Rechthoek 258"/>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0" name="Rechthoek 259"/>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1" name="Rechthoek 260"/>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2" name="Rechthoek 261"/>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3" name="Rechthoek 262"/>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4" name="Rechthoek 263"/>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5" name="Rechthoek 264"/>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6" name="Rechthoek 265"/>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7" name="Vrije vorm 266"/>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nvGrpSpPr>
            <p:cNvPr id="200" name="Groep 199"/>
            <p:cNvGrpSpPr/>
            <p:nvPr userDrawn="1"/>
          </p:nvGrpSpPr>
          <p:grpSpPr>
            <a:xfrm>
              <a:off x="-2950232" y="1207835"/>
              <a:ext cx="532929" cy="509563"/>
              <a:chOff x="-2880382" y="802341"/>
              <a:chExt cx="532929" cy="509563"/>
            </a:xfrm>
          </p:grpSpPr>
          <p:sp>
            <p:nvSpPr>
              <p:cNvPr id="233" name="Rechthoek 232"/>
              <p:cNvSpPr/>
              <p:nvPr userDrawn="1"/>
            </p:nvSpPr>
            <p:spPr>
              <a:xfrm>
                <a:off x="-2880382" y="802341"/>
                <a:ext cx="532929" cy="509563"/>
              </a:xfrm>
              <a:prstGeom prst="rect">
                <a:avLst/>
              </a:prstGeom>
              <a:solidFill>
                <a:sysClr val="window" lastClr="FFFFFF"/>
              </a:soli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pic>
            <p:nvPicPr>
              <p:cNvPr id="23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635852" y="822181"/>
                <a:ext cx="226442" cy="208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5"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848026" y="822181"/>
                <a:ext cx="207168" cy="213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6" name="Groep 235"/>
              <p:cNvGrpSpPr/>
              <p:nvPr userDrawn="1"/>
            </p:nvGrpSpPr>
            <p:grpSpPr>
              <a:xfrm>
                <a:off x="-2802433" y="1123442"/>
                <a:ext cx="132915" cy="104889"/>
                <a:chOff x="-2796392" y="1123442"/>
                <a:chExt cx="120832" cy="104889"/>
              </a:xfrm>
            </p:grpSpPr>
            <p:sp>
              <p:nvSpPr>
                <p:cNvPr id="250" name="Rechthoek 249"/>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1" name="Rechthoek 250"/>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2" name="Rechthoek 251"/>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3" name="Rechthoek 252"/>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4" name="Rechthoek 253"/>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237" name="Groep 236"/>
              <p:cNvGrpSpPr/>
              <p:nvPr userDrawn="1"/>
            </p:nvGrpSpPr>
            <p:grpSpPr>
              <a:xfrm>
                <a:off x="-2575417" y="1123442"/>
                <a:ext cx="133930" cy="104889"/>
                <a:chOff x="-2556734" y="1123442"/>
                <a:chExt cx="147324" cy="104889"/>
              </a:xfrm>
            </p:grpSpPr>
            <p:grpSp>
              <p:nvGrpSpPr>
                <p:cNvPr id="238" name="Groep 237"/>
                <p:cNvGrpSpPr/>
                <p:nvPr userDrawn="1"/>
              </p:nvGrpSpPr>
              <p:grpSpPr>
                <a:xfrm>
                  <a:off x="-2556734" y="1123442"/>
                  <a:ext cx="68206" cy="104889"/>
                  <a:chOff x="-2796392" y="1123442"/>
                  <a:chExt cx="120832" cy="104889"/>
                </a:xfrm>
              </p:grpSpPr>
              <p:sp>
                <p:nvSpPr>
                  <p:cNvPr id="245" name="Rechthoek 244"/>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46" name="Rechthoek 245"/>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47" name="Rechthoek 246"/>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48" name="Rechthoek 247"/>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49" name="Rechthoek 248"/>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239" name="Groep 238"/>
                <p:cNvGrpSpPr/>
                <p:nvPr userDrawn="1"/>
              </p:nvGrpSpPr>
              <p:grpSpPr>
                <a:xfrm>
                  <a:off x="-2477616" y="1123442"/>
                  <a:ext cx="68206" cy="104889"/>
                  <a:chOff x="-2796392" y="1123442"/>
                  <a:chExt cx="120832" cy="104889"/>
                </a:xfrm>
              </p:grpSpPr>
              <p:sp>
                <p:nvSpPr>
                  <p:cNvPr id="240" name="Rechthoek 239"/>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41" name="Rechthoek 240"/>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42" name="Rechthoek 241"/>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43" name="Rechthoek 242"/>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44" name="Rechthoek 243"/>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grpSp>
          <p:nvGrpSpPr>
            <p:cNvPr id="201" name="Groep 200"/>
            <p:cNvGrpSpPr/>
            <p:nvPr userDrawn="1"/>
          </p:nvGrpSpPr>
          <p:grpSpPr>
            <a:xfrm>
              <a:off x="-1948476" y="1281164"/>
              <a:ext cx="413704" cy="427699"/>
              <a:chOff x="-1845083" y="758027"/>
              <a:chExt cx="633799" cy="622540"/>
            </a:xfrm>
          </p:grpSpPr>
          <p:sp>
            <p:nvSpPr>
              <p:cNvPr id="220" name="Afgeronde rechthoek 219"/>
              <p:cNvSpPr/>
              <p:nvPr userDrawn="1"/>
            </p:nvSpPr>
            <p:spPr>
              <a:xfrm>
                <a:off x="-184508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221" name="Groep 220"/>
              <p:cNvGrpSpPr/>
              <p:nvPr userDrawn="1"/>
            </p:nvGrpSpPr>
            <p:grpSpPr>
              <a:xfrm>
                <a:off x="-1737762" y="864082"/>
                <a:ext cx="419168" cy="410429"/>
                <a:chOff x="3708400" y="309013"/>
                <a:chExt cx="1901295" cy="1861668"/>
              </a:xfrm>
              <a:solidFill>
                <a:srgbClr val="000000"/>
              </a:solidFill>
            </p:grpSpPr>
            <p:sp>
              <p:nvSpPr>
                <p:cNvPr id="222" name="Rechthoek 221"/>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23" name="Rechthoek 222"/>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24" name="Rechthoek 223"/>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25" name="Rechthoek 224"/>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26" name="Rechthoek 225"/>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27" name="Rechthoek 226"/>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28" name="Rechthoek 227"/>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29" name="Rechthoek 228"/>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30" name="Rechthoek 229"/>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31" name="Rechthoek 230"/>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32" name="Vrije vorm 231"/>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cxnSp>
          <p:nvCxnSpPr>
            <p:cNvPr id="202" name="Rechte verbindingslijn 201"/>
            <p:cNvCxnSpPr/>
            <p:nvPr userDrawn="1"/>
          </p:nvCxnSpPr>
          <p:spPr>
            <a:xfrm>
              <a:off x="-2814292" y="1441193"/>
              <a:ext cx="865816" cy="53821"/>
            </a:xfrm>
            <a:prstGeom prst="line">
              <a:avLst/>
            </a:prstGeom>
            <a:noFill/>
            <a:ln w="9525" cap="flat" cmpd="sng" algn="ctr">
              <a:solidFill>
                <a:schemeClr val="accent1"/>
              </a:solidFill>
              <a:prstDash val="solid"/>
              <a:headEnd type="oval"/>
            </a:ln>
            <a:effectLst/>
          </p:spPr>
        </p:cxnSp>
        <p:cxnSp>
          <p:nvCxnSpPr>
            <p:cNvPr id="203" name="Rechte verbindingslijn 202"/>
            <p:cNvCxnSpPr/>
            <p:nvPr userDrawn="1"/>
          </p:nvCxnSpPr>
          <p:spPr>
            <a:xfrm flipV="1">
              <a:off x="-2453902" y="1030591"/>
              <a:ext cx="505426" cy="283623"/>
            </a:xfrm>
            <a:prstGeom prst="line">
              <a:avLst/>
            </a:prstGeom>
            <a:noFill/>
            <a:ln w="9525" cap="flat" cmpd="sng" algn="ctr">
              <a:solidFill>
                <a:schemeClr val="accent1"/>
              </a:solidFill>
              <a:prstDash val="solid"/>
              <a:headEnd type="oval"/>
            </a:ln>
            <a:effectLst/>
          </p:spPr>
        </p:cxnSp>
        <p:sp>
          <p:nvSpPr>
            <p:cNvPr id="204" name="Textfield placeholder"/>
            <p:cNvSpPr txBox="1">
              <a:spLocks/>
            </p:cNvSpPr>
            <p:nvPr userDrawn="1"/>
          </p:nvSpPr>
          <p:spPr>
            <a:xfrm>
              <a:off x="-1341598" y="816743"/>
              <a:ext cx="1056968" cy="427698"/>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hoog</a:t>
              </a:r>
            </a:p>
          </p:txBody>
        </p:sp>
        <p:sp>
          <p:nvSpPr>
            <p:cNvPr id="205" name="Textfield placeholder"/>
            <p:cNvSpPr txBox="1">
              <a:spLocks/>
            </p:cNvSpPr>
            <p:nvPr userDrawn="1"/>
          </p:nvSpPr>
          <p:spPr>
            <a:xfrm>
              <a:off x="-1341599" y="1281164"/>
              <a:ext cx="1070223" cy="427699"/>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laag</a:t>
              </a:r>
            </a:p>
          </p:txBody>
        </p:sp>
        <p:sp>
          <p:nvSpPr>
            <p:cNvPr id="206" name="Ovaal 205"/>
            <p:cNvSpPr/>
            <p:nvPr userDrawn="1"/>
          </p:nvSpPr>
          <p:spPr>
            <a:xfrm>
              <a:off x="-2959433" y="338208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5</a:t>
              </a:r>
            </a:p>
          </p:txBody>
        </p:sp>
        <p:sp>
          <p:nvSpPr>
            <p:cNvPr id="207" name="Textfield placeholder"/>
            <p:cNvSpPr txBox="1">
              <a:spLocks/>
            </p:cNvSpPr>
            <p:nvPr userDrawn="1"/>
          </p:nvSpPr>
          <p:spPr>
            <a:xfrm>
              <a:off x="-2571950" y="3382082"/>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60000" lvl="4" indent="-360000" defTabSz="179388">
                <a:lnSpc>
                  <a:spcPct val="120000"/>
                </a:lnSpc>
                <a:spcBef>
                  <a:spcPts val="0"/>
                </a:spcBef>
                <a:spcAft>
                  <a:spcPts val="900"/>
                </a:spcAft>
                <a:buClr>
                  <a:srgbClr val="ED1A3B"/>
                </a:buClr>
                <a:buFont typeface="+mj-lt"/>
                <a:buAutoNum type="arabicPeriod"/>
                <a:defRPr/>
              </a:pPr>
              <a:r>
                <a:rPr lang="nl-NL" sz="1200" b="0" dirty="0">
                  <a:solidFill>
                    <a:srgbClr val="404040"/>
                  </a:solidFill>
                </a:rPr>
                <a:t>Numeriek (12 pt.)</a:t>
              </a:r>
            </a:p>
          </p:txBody>
        </p:sp>
        <p:grpSp>
          <p:nvGrpSpPr>
            <p:cNvPr id="208" name="Groep 207"/>
            <p:cNvGrpSpPr/>
            <p:nvPr userDrawn="1"/>
          </p:nvGrpSpPr>
          <p:grpSpPr>
            <a:xfrm>
              <a:off x="-2950232" y="816050"/>
              <a:ext cx="528695" cy="344202"/>
              <a:chOff x="-2880382" y="410556"/>
              <a:chExt cx="528695" cy="344202"/>
            </a:xfrm>
          </p:grpSpPr>
          <p:sp>
            <p:nvSpPr>
              <p:cNvPr id="218" name="Afgeronde rechthoek 217"/>
              <p:cNvSpPr/>
              <p:nvPr userDrawn="1"/>
            </p:nvSpPr>
            <p:spPr>
              <a:xfrm>
                <a:off x="-2874214" y="410556"/>
                <a:ext cx="522527" cy="339183"/>
              </a:xfrm>
              <a:prstGeom prst="roundRect">
                <a:avLst>
                  <a:gd name="adj" fmla="val 7565"/>
                </a:avLst>
              </a:prstGeom>
              <a:gradFill>
                <a:gsLst>
                  <a:gs pos="0">
                    <a:srgbClr val="FFEC8F"/>
                  </a:gs>
                  <a:gs pos="100000">
                    <a:srgbClr val="FFFFFF"/>
                  </a:gs>
                </a:gsLst>
                <a:lin ang="5400000" scaled="0"/>
              </a:gra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sp>
            <p:nvSpPr>
              <p:cNvPr id="219" name="Vrije vorm 218"/>
              <p:cNvSpPr/>
              <p:nvPr userDrawn="1"/>
            </p:nvSpPr>
            <p:spPr>
              <a:xfrm>
                <a:off x="-2880382" y="452699"/>
                <a:ext cx="528695" cy="302059"/>
              </a:xfrm>
              <a:custGeom>
                <a:avLst/>
                <a:gdLst>
                  <a:gd name="connsiteX0" fmla="*/ 55524 w 528695"/>
                  <a:gd name="connsiteY0" fmla="*/ 0 h 302059"/>
                  <a:gd name="connsiteX1" fmla="*/ 455496 w 528695"/>
                  <a:gd name="connsiteY1" fmla="*/ 0 h 302059"/>
                  <a:gd name="connsiteX2" fmla="*/ 475205 w 528695"/>
                  <a:gd name="connsiteY2" fmla="*/ 19709 h 302059"/>
                  <a:gd name="connsiteX3" fmla="*/ 475205 w 528695"/>
                  <a:gd name="connsiteY3" fmla="*/ 230056 h 302059"/>
                  <a:gd name="connsiteX4" fmla="*/ 516694 w 528695"/>
                  <a:gd name="connsiteY4" fmla="*/ 230056 h 302059"/>
                  <a:gd name="connsiteX5" fmla="*/ 528695 w 528695"/>
                  <a:gd name="connsiteY5" fmla="*/ 242057 h 302059"/>
                  <a:gd name="connsiteX6" fmla="*/ 528695 w 528695"/>
                  <a:gd name="connsiteY6" fmla="*/ 290058 h 302059"/>
                  <a:gd name="connsiteX7" fmla="*/ 516694 w 528695"/>
                  <a:gd name="connsiteY7" fmla="*/ 302059 h 302059"/>
                  <a:gd name="connsiteX8" fmla="*/ 12001 w 528695"/>
                  <a:gd name="connsiteY8" fmla="*/ 302059 h 302059"/>
                  <a:gd name="connsiteX9" fmla="*/ 0 w 528695"/>
                  <a:gd name="connsiteY9" fmla="*/ 290058 h 302059"/>
                  <a:gd name="connsiteX10" fmla="*/ 0 w 528695"/>
                  <a:gd name="connsiteY10" fmla="*/ 242057 h 302059"/>
                  <a:gd name="connsiteX11" fmla="*/ 12001 w 528695"/>
                  <a:gd name="connsiteY11" fmla="*/ 230056 h 302059"/>
                  <a:gd name="connsiteX12" fmla="*/ 35815 w 528695"/>
                  <a:gd name="connsiteY12" fmla="*/ 230056 h 302059"/>
                  <a:gd name="connsiteX13" fmla="*/ 35815 w 528695"/>
                  <a:gd name="connsiteY13" fmla="*/ 19709 h 302059"/>
                  <a:gd name="connsiteX14" fmla="*/ 55524 w 528695"/>
                  <a:gd name="connsiteY14" fmla="*/ 0 h 3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8695" h="302059">
                    <a:moveTo>
                      <a:pt x="55524" y="0"/>
                    </a:moveTo>
                    <a:lnTo>
                      <a:pt x="455496" y="0"/>
                    </a:lnTo>
                    <a:cubicBezTo>
                      <a:pt x="466381" y="0"/>
                      <a:pt x="475205" y="8824"/>
                      <a:pt x="475205" y="19709"/>
                    </a:cubicBezTo>
                    <a:lnTo>
                      <a:pt x="475205" y="230056"/>
                    </a:lnTo>
                    <a:lnTo>
                      <a:pt x="516694" y="230056"/>
                    </a:lnTo>
                    <a:cubicBezTo>
                      <a:pt x="523322" y="230056"/>
                      <a:pt x="528695" y="235429"/>
                      <a:pt x="528695" y="242057"/>
                    </a:cubicBezTo>
                    <a:lnTo>
                      <a:pt x="528695" y="290058"/>
                    </a:lnTo>
                    <a:cubicBezTo>
                      <a:pt x="528695" y="296686"/>
                      <a:pt x="523322" y="302059"/>
                      <a:pt x="516694" y="302059"/>
                    </a:cubicBezTo>
                    <a:lnTo>
                      <a:pt x="12001" y="302059"/>
                    </a:lnTo>
                    <a:cubicBezTo>
                      <a:pt x="5373" y="302059"/>
                      <a:pt x="0" y="296686"/>
                      <a:pt x="0" y="290058"/>
                    </a:cubicBezTo>
                    <a:lnTo>
                      <a:pt x="0" y="242057"/>
                    </a:lnTo>
                    <a:cubicBezTo>
                      <a:pt x="0" y="235429"/>
                      <a:pt x="5373" y="230056"/>
                      <a:pt x="12001" y="230056"/>
                    </a:cubicBezTo>
                    <a:lnTo>
                      <a:pt x="35815" y="230056"/>
                    </a:lnTo>
                    <a:lnTo>
                      <a:pt x="35815" y="19709"/>
                    </a:lnTo>
                    <a:cubicBezTo>
                      <a:pt x="35815" y="8824"/>
                      <a:pt x="44639" y="0"/>
                      <a:pt x="55524" y="0"/>
                    </a:cubicBezTo>
                    <a:close/>
                  </a:path>
                </a:pathLst>
              </a:custGeom>
              <a:solidFill>
                <a:sysClr val="window" lastClr="FFFFFF">
                  <a:lumMod val="95000"/>
                </a:sysClr>
              </a:solidFill>
              <a:ln w="9525" cap="flat" cmpd="sng" algn="ctr">
                <a:solidFill>
                  <a:srgbClr val="FFFFFF">
                    <a:lumMod val="90000"/>
                  </a:srgbClr>
                </a:solidFill>
                <a:prstDash val="solid"/>
                <a:miter lim="800000"/>
              </a:ln>
              <a:effectLst/>
            </p:spPr>
            <p:txBody>
              <a:bodyPr rot="0" spcFirstLastPara="0" vert="horz" wrap="square" lIns="108000" tIns="36000" rIns="108000" bIns="10800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900" dirty="0">
                    <a:solidFill>
                      <a:prstClr val="black"/>
                    </a:solidFill>
                    <a:latin typeface="Segoe UI Light"/>
                  </a:rPr>
                  <a:t>Start</a:t>
                </a:r>
              </a:p>
            </p:txBody>
          </p:sp>
        </p:grpSp>
        <p:sp>
          <p:nvSpPr>
            <p:cNvPr id="209" name="Tekstvak 65"/>
            <p:cNvSpPr txBox="1"/>
            <p:nvPr userDrawn="1"/>
          </p:nvSpPr>
          <p:spPr>
            <a:xfrm>
              <a:off x="-2959433" y="372104"/>
              <a:ext cx="2679887" cy="453396"/>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nl-NL" sz="1200" kern="0" dirty="0">
                  <a:solidFill>
                    <a:srgbClr val="000000"/>
                  </a:solidFill>
                  <a:latin typeface="Segoe UI Light" panose="020B0502040204020203" pitchFamily="34" charset="0"/>
                  <a:cs typeface="Segoe UI Light" panose="020B0502040204020203" pitchFamily="34" charset="0"/>
                </a:rPr>
                <a:t>Ga naar de tab </a:t>
              </a:r>
              <a:r>
                <a:rPr lang="nl-NL" sz="1200" b="1" kern="0" dirty="0">
                  <a:solidFill>
                    <a:srgbClr val="000000"/>
                  </a:solidFill>
                  <a:latin typeface="Segoe UI Light" panose="020B0502040204020203" pitchFamily="34" charset="0"/>
                  <a:cs typeface="Segoe UI Light" panose="020B0502040204020203" pitchFamily="34" charset="0"/>
                </a:rPr>
                <a:t>Start’ </a:t>
              </a:r>
              <a:r>
                <a:rPr lang="nl-NL" sz="1200" kern="0" dirty="0">
                  <a:solidFill>
                    <a:srgbClr val="000000"/>
                  </a:solidFill>
                  <a:latin typeface="Segoe UI Light" panose="020B0502040204020203" pitchFamily="34" charset="0"/>
                  <a:cs typeface="Segoe UI Light" panose="020B0502040204020203" pitchFamily="34" charset="0"/>
                </a:rPr>
                <a:t>en vind onderstaande knoppen onder </a:t>
              </a:r>
              <a:r>
                <a:rPr lang="nl-NL" sz="1200" b="1" kern="0" dirty="0">
                  <a:solidFill>
                    <a:srgbClr val="000000"/>
                  </a:solidFill>
                  <a:latin typeface="Segoe UI Light" panose="020B0502040204020203" pitchFamily="34" charset="0"/>
                  <a:cs typeface="Segoe UI Light" panose="020B0502040204020203" pitchFamily="34" charset="0"/>
                </a:rPr>
                <a:t>‘Alinea’</a:t>
              </a:r>
            </a:p>
          </p:txBody>
        </p:sp>
        <p:sp>
          <p:nvSpPr>
            <p:cNvPr id="210" name="Ovaal 209"/>
            <p:cNvSpPr/>
            <p:nvPr userDrawn="1"/>
          </p:nvSpPr>
          <p:spPr>
            <a:xfrm>
              <a:off x="-2959433" y="375153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6</a:t>
              </a:r>
            </a:p>
          </p:txBody>
        </p:sp>
        <p:sp>
          <p:nvSpPr>
            <p:cNvPr id="211" name="Textfield placeholder"/>
            <p:cNvSpPr txBox="1">
              <a:spLocks/>
            </p:cNvSpPr>
            <p:nvPr userDrawn="1"/>
          </p:nvSpPr>
          <p:spPr>
            <a:xfrm>
              <a:off x="-2571950" y="3751536"/>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0000" lvl="5" indent="-270000" defTabSz="179388">
                <a:lnSpc>
                  <a:spcPct val="120000"/>
                </a:lnSpc>
                <a:spcAft>
                  <a:spcPts val="900"/>
                </a:spcAft>
                <a:buClr>
                  <a:srgbClr val="ED1A3B"/>
                </a:buClr>
                <a:buSzPct val="80000"/>
                <a:buFont typeface="Wingdings 3" panose="05040102010807070707" pitchFamily="18" charset="2"/>
                <a:buChar char=""/>
                <a:defRPr/>
              </a:pPr>
              <a:r>
                <a:rPr lang="nl-NL" sz="1200" cap="none" dirty="0">
                  <a:solidFill>
                    <a:srgbClr val="535353"/>
                  </a:solidFill>
                </a:rPr>
                <a:t># Bullets (12 pt.)</a:t>
              </a:r>
            </a:p>
          </p:txBody>
        </p:sp>
        <p:sp>
          <p:nvSpPr>
            <p:cNvPr id="212" name="Ovaal 211"/>
            <p:cNvSpPr/>
            <p:nvPr userDrawn="1"/>
          </p:nvSpPr>
          <p:spPr>
            <a:xfrm>
              <a:off x="-2959433" y="414870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7</a:t>
              </a:r>
            </a:p>
          </p:txBody>
        </p:sp>
        <p:sp>
          <p:nvSpPr>
            <p:cNvPr id="213" name="Textfield placeholder"/>
            <p:cNvSpPr txBox="1">
              <a:spLocks/>
            </p:cNvSpPr>
            <p:nvPr userDrawn="1"/>
          </p:nvSpPr>
          <p:spPr>
            <a:xfrm>
              <a:off x="-2571950" y="414870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6" indent="0" defTabSz="179388">
                <a:lnSpc>
                  <a:spcPct val="120000"/>
                </a:lnSpc>
                <a:spcBef>
                  <a:spcPts val="0"/>
                </a:spcBef>
                <a:spcAft>
                  <a:spcPts val="900"/>
                </a:spcAft>
                <a:buClr>
                  <a:srgbClr val="ED1A3B"/>
                </a:buClr>
                <a:buSzPct val="90000"/>
                <a:buFont typeface="+mj-lt"/>
                <a:buNone/>
                <a:defRPr/>
              </a:pPr>
              <a:r>
                <a:rPr lang="nl-NL" sz="1200" i="1" dirty="0">
                  <a:solidFill>
                    <a:srgbClr val="404040"/>
                  </a:solidFill>
                </a:rPr>
                <a:t>Cursief donker (12 pt.)</a:t>
              </a:r>
            </a:p>
          </p:txBody>
        </p:sp>
        <p:sp>
          <p:nvSpPr>
            <p:cNvPr id="214" name="Ovaal 213"/>
            <p:cNvSpPr/>
            <p:nvPr userDrawn="1"/>
          </p:nvSpPr>
          <p:spPr>
            <a:xfrm>
              <a:off x="-2959433" y="454586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8</a:t>
              </a:r>
            </a:p>
          </p:txBody>
        </p:sp>
        <p:sp>
          <p:nvSpPr>
            <p:cNvPr id="215" name="Textfield placeholder"/>
            <p:cNvSpPr txBox="1">
              <a:spLocks/>
            </p:cNvSpPr>
            <p:nvPr userDrawn="1"/>
          </p:nvSpPr>
          <p:spPr>
            <a:xfrm>
              <a:off x="-2571950" y="4545864"/>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7" indent="0" defTabSz="179388">
                <a:lnSpc>
                  <a:spcPct val="80000"/>
                </a:lnSpc>
                <a:spcBef>
                  <a:spcPts val="0"/>
                </a:spcBef>
                <a:spcAft>
                  <a:spcPts val="900"/>
                </a:spcAft>
                <a:buClr>
                  <a:srgbClr val="ED1A3B"/>
                </a:buClr>
                <a:buFont typeface="Arial" pitchFamily="34" charset="0"/>
                <a:buNone/>
                <a:defRPr/>
              </a:pPr>
              <a:r>
                <a:rPr lang="nl-NL" sz="1200" i="1" dirty="0">
                  <a:solidFill>
                    <a:srgbClr val="A3B0C0"/>
                  </a:solidFill>
                </a:rPr>
                <a:t>Cursief Licht (12 pt.)</a:t>
              </a:r>
            </a:p>
          </p:txBody>
        </p:sp>
        <p:sp>
          <p:nvSpPr>
            <p:cNvPr id="216" name="Ovaal 215"/>
            <p:cNvSpPr/>
            <p:nvPr userDrawn="1"/>
          </p:nvSpPr>
          <p:spPr>
            <a:xfrm>
              <a:off x="-2959433" y="488761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9</a:t>
              </a:r>
            </a:p>
          </p:txBody>
        </p:sp>
        <p:sp>
          <p:nvSpPr>
            <p:cNvPr id="217" name="Textfield placeholder"/>
            <p:cNvSpPr txBox="1">
              <a:spLocks/>
            </p:cNvSpPr>
            <p:nvPr userDrawn="1"/>
          </p:nvSpPr>
          <p:spPr>
            <a:xfrm>
              <a:off x="-2571950" y="488761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8" indent="0" defTabSz="179388">
                <a:lnSpc>
                  <a:spcPct val="80000"/>
                </a:lnSpc>
                <a:spcBef>
                  <a:spcPts val="0"/>
                </a:spcBef>
                <a:spcAft>
                  <a:spcPts val="900"/>
                </a:spcAft>
                <a:buClr>
                  <a:srgbClr val="ED1A3B"/>
                </a:buClr>
                <a:buFont typeface="Arial" pitchFamily="34" charset="0"/>
                <a:buNone/>
                <a:defRPr/>
              </a:pPr>
              <a:r>
                <a:rPr lang="nl-NL" sz="1400" b="1" dirty="0">
                  <a:solidFill>
                    <a:srgbClr val="ED1A3B"/>
                  </a:solidFill>
                </a:rPr>
                <a:t>Subtitel (14 pt.)</a:t>
              </a:r>
            </a:p>
          </p:txBody>
        </p:sp>
      </p:grpSp>
      <p:sp>
        <p:nvSpPr>
          <p:cNvPr id="91" name="Hyperlink - Inhoudsopgave">
            <a:hlinkClick r:id="rId4" action="ppaction://hlinksldjump"/>
          </p:cNvPr>
          <p:cNvSpPr/>
          <p:nvPr userDrawn="1"/>
        </p:nvSpPr>
        <p:spPr>
          <a:xfrm>
            <a:off x="10197856" y="5889801"/>
            <a:ext cx="2000494" cy="968199"/>
          </a:xfrm>
          <a:prstGeom prst="rect">
            <a:avLst/>
          </a:prstGeom>
          <a:solidFill>
            <a:srgbClr val="ED1A3B">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3" name="Rode achtergrond"/>
          <p:cNvSpPr/>
          <p:nvPr/>
        </p:nvSpPr>
        <p:spPr>
          <a:xfrm>
            <a:off x="1" y="1358671"/>
            <a:ext cx="12198350" cy="441762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99" name="Tijdelijke aanduiding voor Dianummer"/>
          <p:cNvSpPr>
            <a:spLocks noGrp="1"/>
          </p:cNvSpPr>
          <p:nvPr>
            <p:ph type="sldNum" sz="quarter" idx="4"/>
          </p:nvPr>
        </p:nvSpPr>
        <p:spPr>
          <a:xfrm>
            <a:off x="5770549" y="6295992"/>
            <a:ext cx="657251" cy="365125"/>
          </a:xfrm>
          <a:prstGeom prst="rect">
            <a:avLst/>
          </a:prstGeom>
        </p:spPr>
        <p:txBody>
          <a:bodyPr vert="horz" lIns="91440" tIns="45720" rIns="91440" bIns="45720" rtlCol="0" anchor="ctr"/>
          <a:lstStyle>
            <a:lvl1pPr algn="ctr">
              <a:defRPr sz="800">
                <a:solidFill>
                  <a:schemeClr val="tx1">
                    <a:tint val="75000"/>
                  </a:schemeClr>
                </a:solidFill>
              </a:defRPr>
            </a:lvl1pPr>
          </a:lstStyle>
          <a:p>
            <a:fld id="{1B3FA67A-C720-417A-A072-0CD211FD8662}" type="slidenum">
              <a:rPr lang="nl-NL" smtClean="0">
                <a:solidFill>
                  <a:srgbClr val="000000">
                    <a:tint val="75000"/>
                  </a:srgbClr>
                </a:solidFill>
              </a:rPr>
              <a:pPr/>
              <a:t>‹nr.›</a:t>
            </a:fld>
            <a:endParaRPr lang="nl-NL" dirty="0">
              <a:solidFill>
                <a:srgbClr val="000000">
                  <a:tint val="75000"/>
                </a:srgbClr>
              </a:solidFill>
            </a:endParaRPr>
          </a:p>
        </p:txBody>
      </p:sp>
      <p:sp>
        <p:nvSpPr>
          <p:cNvPr id="19" name="Tijdelijke aanduiding voor Tekst"/>
          <p:cNvSpPr>
            <a:spLocks noGrp="1"/>
          </p:cNvSpPr>
          <p:nvPr>
            <p:ph type="body" orient="vert" idx="15" hasCustomPrompt="1"/>
          </p:nvPr>
        </p:nvSpPr>
        <p:spPr>
          <a:xfrm>
            <a:off x="1322650" y="1931453"/>
            <a:ext cx="5504209" cy="3868214"/>
          </a:xfrm>
        </p:spPr>
        <p:txBody>
          <a:bodyPr vert="horz"/>
          <a:lstStyle>
            <a:lvl1pPr>
              <a:lnSpc>
                <a:spcPct val="110000"/>
              </a:lnSpc>
              <a:spcAft>
                <a:spcPts val="900"/>
              </a:spcAft>
              <a:defRPr sz="1200">
                <a:solidFill>
                  <a:schemeClr val="bg1"/>
                </a:solidFill>
              </a:defRPr>
            </a:lvl1pPr>
            <a:lvl2pPr>
              <a:buClr>
                <a:schemeClr val="bg1"/>
              </a:buClr>
              <a:defRPr sz="1200">
                <a:solidFill>
                  <a:schemeClr val="bg1"/>
                </a:solidFill>
              </a:defRPr>
            </a:lvl2pPr>
            <a:lvl3pPr>
              <a:buClr>
                <a:schemeClr val="bg1"/>
              </a:buClr>
              <a:defRPr sz="1200">
                <a:solidFill>
                  <a:schemeClr val="bg1"/>
                </a:solidFill>
              </a:defRPr>
            </a:lvl3pPr>
            <a:lvl4pPr>
              <a:buClrTx/>
              <a:defRPr sz="1200">
                <a:solidFill>
                  <a:schemeClr val="bg1"/>
                </a:solidFill>
              </a:defRPr>
            </a:lvl4pPr>
            <a:lvl5pPr>
              <a:buClr>
                <a:schemeClr val="bg1"/>
              </a:buClr>
              <a:defRPr sz="1200">
                <a:solidFill>
                  <a:schemeClr val="bg1"/>
                </a:solidFill>
              </a:defRPr>
            </a:lvl5pPr>
            <a:lvl6pPr>
              <a:buClr>
                <a:schemeClr val="bg1"/>
              </a:buClr>
              <a:defRPr sz="1200">
                <a:solidFill>
                  <a:schemeClr val="bg1"/>
                </a:solidFill>
              </a:defRPr>
            </a:lvl6pPr>
            <a:lvl7pPr>
              <a:defRPr sz="1200">
                <a:solidFill>
                  <a:schemeClr val="bg1"/>
                </a:solidFill>
              </a:defRPr>
            </a:lvl7pPr>
            <a:lvl8pPr>
              <a:defRPr sz="1200">
                <a:solidFill>
                  <a:schemeClr val="bg1"/>
                </a:solidFill>
              </a:defRPr>
            </a:lvl8pPr>
            <a:lvl9pPr>
              <a:lnSpc>
                <a:spcPct val="100000"/>
              </a:lnSpc>
              <a:defRPr sz="1400">
                <a:solidFill>
                  <a:schemeClr val="bg1"/>
                </a:solidFill>
              </a:defRPr>
            </a:lvl9pPr>
          </a:lstStyle>
          <a:p>
            <a:pPr lvl="0"/>
            <a:r>
              <a:rPr lang="nl-NL" dirty="0"/>
              <a:t>Leestekst</a:t>
            </a:r>
          </a:p>
          <a:p>
            <a:pPr lvl="1"/>
            <a:r>
              <a:rPr lang="nl-NL" dirty="0"/>
              <a:t>Bullets</a:t>
            </a:r>
          </a:p>
          <a:p>
            <a:pPr lvl="2"/>
            <a:r>
              <a:rPr lang="nl-NL" dirty="0"/>
              <a:t>Sub-bullets</a:t>
            </a:r>
          </a:p>
          <a:p>
            <a:pPr lvl="3"/>
            <a:r>
              <a:rPr lang="nl-NL" dirty="0"/>
              <a:t>Sub-sub-bullets</a:t>
            </a:r>
          </a:p>
          <a:p>
            <a:pPr lvl="4"/>
            <a:r>
              <a:rPr lang="nl-NL" dirty="0"/>
              <a:t>Numeriek</a:t>
            </a:r>
          </a:p>
          <a:p>
            <a:pPr lvl="5"/>
            <a:r>
              <a:rPr lang="nl-NL" dirty="0"/>
              <a:t># Bullets</a:t>
            </a:r>
          </a:p>
          <a:p>
            <a:pPr lvl="6"/>
            <a:r>
              <a:rPr lang="nl-NL" dirty="0"/>
              <a:t>Cursief donker</a:t>
            </a:r>
          </a:p>
          <a:p>
            <a:pPr lvl="7"/>
            <a:r>
              <a:rPr lang="nl-NL" dirty="0"/>
              <a:t>Cursief licht</a:t>
            </a:r>
          </a:p>
          <a:p>
            <a:pPr lvl="8"/>
            <a:r>
              <a:rPr lang="nl-NL" dirty="0"/>
              <a:t>Subtitel</a:t>
            </a:r>
          </a:p>
        </p:txBody>
      </p:sp>
      <p:sp>
        <p:nvSpPr>
          <p:cNvPr id="16" name="Tijdelijke aanduiding voor Subtitel"/>
          <p:cNvSpPr>
            <a:spLocks noGrp="1"/>
          </p:cNvSpPr>
          <p:nvPr>
            <p:ph type="body" idx="14"/>
          </p:nvPr>
        </p:nvSpPr>
        <p:spPr>
          <a:xfrm>
            <a:off x="664109" y="1001348"/>
            <a:ext cx="10870131" cy="317758"/>
          </a:xfrm>
        </p:spPr>
        <p:txBody>
          <a:bodyPr bIns="72000" anchor="t" anchorCtr="0"/>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15" name="Tijdelijke aanduiding voor Titel"/>
          <p:cNvSpPr>
            <a:spLocks noGrp="1"/>
          </p:cNvSpPr>
          <p:nvPr>
            <p:ph type="title"/>
          </p:nvPr>
        </p:nvSpPr>
        <p:spPr>
          <a:xfrm>
            <a:off x="664109" y="470284"/>
            <a:ext cx="10870131" cy="533219"/>
          </a:xfrm>
          <a:prstGeom prst="rect">
            <a:avLst/>
          </a:prstGeom>
        </p:spPr>
        <p:txBody>
          <a:bodyPr vert="horz" lIns="0" tIns="0" rIns="0" bIns="0" rtlCol="0" anchor="t">
            <a:noAutofit/>
          </a:bodyPr>
          <a:lstStyle/>
          <a:p>
            <a:r>
              <a:rPr lang="nl-NL"/>
              <a:t>Klik om stijl te bewerken</a:t>
            </a:r>
            <a:endParaRPr lang="nl-NL" dirty="0"/>
          </a:p>
        </p:txBody>
      </p:sp>
    </p:spTree>
    <p:extLst>
      <p:ext uri="{BB962C8B-B14F-4D97-AF65-F5344CB8AC3E}">
        <p14:creationId xmlns:p14="http://schemas.microsoft.com/office/powerpoint/2010/main" val="2506756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2 Kolommen tekst_3 objecten">
    <p:spTree>
      <p:nvGrpSpPr>
        <p:cNvPr id="1" name=""/>
        <p:cNvGrpSpPr/>
        <p:nvPr/>
      </p:nvGrpSpPr>
      <p:grpSpPr>
        <a:xfrm>
          <a:off x="0" y="0"/>
          <a:ext cx="0" cy="0"/>
          <a:chOff x="0" y="0"/>
          <a:chExt cx="0" cy="0"/>
        </a:xfrm>
      </p:grpSpPr>
      <p:sp>
        <p:nvSpPr>
          <p:cNvPr id="142" name="Naam indeling - 2 Kolommen tekst + 3 objecten"/>
          <p:cNvSpPr txBox="1"/>
          <p:nvPr userDrawn="1"/>
        </p:nvSpPr>
        <p:spPr>
          <a:xfrm>
            <a:off x="0" y="-453266"/>
            <a:ext cx="4506508" cy="276999"/>
          </a:xfrm>
          <a:prstGeom prst="rect">
            <a:avLst/>
          </a:prstGeom>
          <a:noFill/>
        </p:spPr>
        <p:txBody>
          <a:bodyPr wrap="square" lIns="0" tIns="0" rIns="0" bIns="0" rtlCol="0">
            <a:spAutoFit/>
          </a:bodyPr>
          <a:lstStyle/>
          <a:p>
            <a:pPr defTabSz="914112"/>
            <a:r>
              <a:rPr lang="nl-NL" dirty="0">
                <a:solidFill>
                  <a:srgbClr val="404040"/>
                </a:solidFill>
                <a:latin typeface="Calibri" panose="020F0502020204030204" pitchFamily="34" charset="0"/>
              </a:rPr>
              <a:t>2 Kolommen tekst + 3 objecten</a:t>
            </a:r>
            <a:endParaRPr lang="en-GB" dirty="0">
              <a:solidFill>
                <a:srgbClr val="404040"/>
              </a:solidFill>
              <a:latin typeface="Calibri" panose="020F0502020204030204" pitchFamily="34" charset="0"/>
            </a:endParaRPr>
          </a:p>
        </p:txBody>
      </p:sp>
      <p:grpSp>
        <p:nvGrpSpPr>
          <p:cNvPr id="225" name="Instructie - Afbeelding invoegen"/>
          <p:cNvGrpSpPr/>
          <p:nvPr userDrawn="1"/>
        </p:nvGrpSpPr>
        <p:grpSpPr>
          <a:xfrm>
            <a:off x="12437931" y="14898"/>
            <a:ext cx="2717569" cy="3676571"/>
            <a:chOff x="12434693" y="14897"/>
            <a:chExt cx="2716862" cy="3676571"/>
          </a:xfrm>
        </p:grpSpPr>
        <p:sp>
          <p:nvSpPr>
            <p:cNvPr id="226" name="Rechthoek 225"/>
            <p:cNvSpPr/>
            <p:nvPr/>
          </p:nvSpPr>
          <p:spPr>
            <a:xfrm>
              <a:off x="12441150" y="14897"/>
              <a:ext cx="2696270" cy="161771"/>
            </a:xfrm>
            <a:prstGeom prst="rect">
              <a:avLst/>
            </a:prstGeom>
            <a:noFill/>
            <a:ln w="25400" cap="flat" cmpd="sng" algn="ctr">
              <a:noFill/>
              <a:prstDash val="solid"/>
            </a:ln>
            <a:effectLst/>
          </p:spPr>
          <p:txBody>
            <a:bodyPr lIns="0" tIns="0" rIns="0" bIns="0" rtlCol="0" anchor="t"/>
            <a:lstStyle/>
            <a:p>
              <a:pPr defTabSz="914112">
                <a:lnSpc>
                  <a:spcPct val="80000"/>
                </a:lnSpc>
              </a:pPr>
              <a:r>
                <a:rPr lang="nl-NL" sz="1600" b="1" kern="0" cap="all" dirty="0">
                  <a:solidFill>
                    <a:srgbClr val="ED1A3B"/>
                  </a:solidFill>
                  <a:cs typeface="Segoe UI Light" panose="020B0502040204020203" pitchFamily="34" charset="0"/>
                </a:rPr>
                <a:t>AFBEELDING INVOEGEN</a:t>
              </a:r>
            </a:p>
          </p:txBody>
        </p:sp>
        <p:sp>
          <p:nvSpPr>
            <p:cNvPr id="227" name="Tekstvak 33"/>
            <p:cNvSpPr txBox="1"/>
            <p:nvPr/>
          </p:nvSpPr>
          <p:spPr>
            <a:xfrm>
              <a:off x="12441149" y="814239"/>
              <a:ext cx="2710405" cy="719877"/>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Indien nodig, verwijder de bestaande afbeelding. Klik op het pictogram </a:t>
              </a:r>
              <a:br>
                <a:rPr lang="nl-NL" sz="1200" kern="0" dirty="0">
                  <a:solidFill>
                    <a:srgbClr val="000000"/>
                  </a:solidFill>
                  <a:latin typeface="Trebuchet MS"/>
                  <a:cs typeface="Segoe UI Light" panose="020B0502040204020203" pitchFamily="34" charset="0"/>
                </a:rPr>
              </a:br>
              <a:r>
                <a:rPr lang="nl-NL" sz="1200" kern="0" dirty="0">
                  <a:solidFill>
                    <a:srgbClr val="000000"/>
                  </a:solidFill>
                  <a:latin typeface="Trebuchet MS"/>
                  <a:cs typeface="Segoe UI Light" panose="020B0502040204020203" pitchFamily="34" charset="0"/>
                </a:rPr>
                <a:t>om een afbeelding in te voegen</a:t>
              </a:r>
              <a:br>
                <a:rPr lang="nl-NL" sz="1200" kern="0" dirty="0">
                  <a:solidFill>
                    <a:srgbClr val="000000"/>
                  </a:solidFill>
                  <a:latin typeface="Trebuchet MS"/>
                  <a:cs typeface="Segoe UI Light" panose="020B0502040204020203" pitchFamily="34" charset="0"/>
                </a:rPr>
              </a:br>
              <a:r>
                <a:rPr lang="nl-NL" sz="1100" i="1" kern="0" dirty="0">
                  <a:solidFill>
                    <a:srgbClr val="000000"/>
                  </a:solidFill>
                  <a:latin typeface="Trebuchet MS"/>
                  <a:cs typeface="Segoe UI Light" panose="020B0502040204020203" pitchFamily="34" charset="0"/>
                </a:rPr>
                <a:t>(zie onderstaand voorbeeld).</a:t>
              </a:r>
            </a:p>
          </p:txBody>
        </p:sp>
        <p:sp>
          <p:nvSpPr>
            <p:cNvPr id="228" name="Tekstvak 33"/>
            <p:cNvSpPr txBox="1"/>
            <p:nvPr/>
          </p:nvSpPr>
          <p:spPr>
            <a:xfrm>
              <a:off x="12441149" y="2793904"/>
              <a:ext cx="2710405" cy="395943"/>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Selecteer de afbeelding die u wilt invoegen en klik op </a:t>
              </a:r>
              <a:r>
                <a:rPr lang="nl-NL" sz="1200" b="1" kern="0" dirty="0">
                  <a:solidFill>
                    <a:srgbClr val="000000"/>
                  </a:solidFill>
                  <a:latin typeface="Trebuchet MS"/>
                  <a:cs typeface="Segoe UI Light" panose="020B0502040204020203" pitchFamily="34" charset="0"/>
                </a:rPr>
                <a:t>‘Invoegen’</a:t>
              </a:r>
            </a:p>
          </p:txBody>
        </p:sp>
        <p:sp>
          <p:nvSpPr>
            <p:cNvPr id="229" name="Ovaal 228"/>
            <p:cNvSpPr/>
            <p:nvPr/>
          </p:nvSpPr>
          <p:spPr>
            <a:xfrm>
              <a:off x="12441150" y="379292"/>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1</a:t>
              </a:r>
            </a:p>
          </p:txBody>
        </p:sp>
        <p:sp>
          <p:nvSpPr>
            <p:cNvPr id="230" name="Ovaal 229"/>
            <p:cNvSpPr/>
            <p:nvPr/>
          </p:nvSpPr>
          <p:spPr>
            <a:xfrm>
              <a:off x="12441150" y="2337208"/>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2</a:t>
              </a:r>
            </a:p>
          </p:txBody>
        </p:sp>
        <p:cxnSp>
          <p:nvCxnSpPr>
            <p:cNvPr id="231" name="Rechte verbindingslijn 230"/>
            <p:cNvCxnSpPr/>
            <p:nvPr/>
          </p:nvCxnSpPr>
          <p:spPr>
            <a:xfrm>
              <a:off x="12441150" y="248176"/>
              <a:ext cx="2710405" cy="0"/>
            </a:xfrm>
            <a:prstGeom prst="line">
              <a:avLst/>
            </a:prstGeom>
            <a:noFill/>
            <a:ln w="9525" cap="flat" cmpd="sng" algn="ctr">
              <a:solidFill>
                <a:schemeClr val="accent1"/>
              </a:solidFill>
              <a:prstDash val="solid"/>
            </a:ln>
            <a:effectLst/>
          </p:spPr>
        </p:cxnSp>
        <p:cxnSp>
          <p:nvCxnSpPr>
            <p:cNvPr id="232" name="Rechte verbindingslijn 231"/>
            <p:cNvCxnSpPr/>
            <p:nvPr/>
          </p:nvCxnSpPr>
          <p:spPr>
            <a:xfrm>
              <a:off x="12441149" y="2212830"/>
              <a:ext cx="2710405" cy="0"/>
            </a:xfrm>
            <a:prstGeom prst="line">
              <a:avLst/>
            </a:prstGeom>
            <a:noFill/>
            <a:ln w="9525" cap="flat" cmpd="sng" algn="ctr">
              <a:solidFill>
                <a:schemeClr val="accent1"/>
              </a:solidFill>
              <a:prstDash val="solid"/>
            </a:ln>
            <a:effectLst/>
          </p:spPr>
        </p:cxnSp>
        <p:cxnSp>
          <p:nvCxnSpPr>
            <p:cNvPr id="233" name="Rechte verbindingslijn 232"/>
            <p:cNvCxnSpPr/>
            <p:nvPr/>
          </p:nvCxnSpPr>
          <p:spPr>
            <a:xfrm>
              <a:off x="12444679" y="3691468"/>
              <a:ext cx="2706875" cy="0"/>
            </a:xfrm>
            <a:prstGeom prst="line">
              <a:avLst/>
            </a:prstGeom>
            <a:noFill/>
            <a:ln w="9525" cap="flat" cmpd="sng" algn="ctr">
              <a:solidFill>
                <a:schemeClr val="accent1"/>
              </a:solidFill>
              <a:prstDash val="solid"/>
            </a:ln>
            <a:effectLst/>
          </p:spPr>
        </p:cxnSp>
        <p:pic>
          <p:nvPicPr>
            <p:cNvPr id="234" name="Icoontje afbeeldi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434693" y="1677764"/>
              <a:ext cx="403210" cy="403210"/>
            </a:xfrm>
            <a:prstGeom prst="rect">
              <a:avLst/>
            </a:prstGeom>
          </p:spPr>
        </p:pic>
        <p:grpSp>
          <p:nvGrpSpPr>
            <p:cNvPr id="235" name="Groep 234"/>
            <p:cNvGrpSpPr/>
            <p:nvPr/>
          </p:nvGrpSpPr>
          <p:grpSpPr>
            <a:xfrm>
              <a:off x="12450571" y="3301369"/>
              <a:ext cx="1002992" cy="267962"/>
              <a:chOff x="13560784" y="3471416"/>
              <a:chExt cx="1114138" cy="297656"/>
            </a:xfrm>
          </p:grpSpPr>
          <p:sp>
            <p:nvSpPr>
              <p:cNvPr id="236" name="Afgeronde rechthoek 88"/>
              <p:cNvSpPr/>
              <p:nvPr/>
            </p:nvSpPr>
            <p:spPr>
              <a:xfrm>
                <a:off x="13560784" y="3471416"/>
                <a:ext cx="1114138" cy="297656"/>
              </a:xfrm>
              <a:prstGeom prst="roundRect">
                <a:avLst/>
              </a:prstGeom>
              <a:gradFill flip="none" rotWithShape="1">
                <a:gsLst>
                  <a:gs pos="4000">
                    <a:srgbClr val="00B0F0"/>
                  </a:gs>
                  <a:gs pos="0">
                    <a:srgbClr val="0070C0"/>
                  </a:gs>
                  <a:gs pos="100000">
                    <a:srgbClr val="0070C0"/>
                  </a:gs>
                  <a:gs pos="12000">
                    <a:srgbClr val="D1EAFF"/>
                  </a:gs>
                  <a:gs pos="96000">
                    <a:srgbClr val="00B0F0"/>
                  </a:gs>
                  <a:gs pos="89000">
                    <a:srgbClr val="DDF4FF"/>
                  </a:gs>
                  <a:gs pos="43000">
                    <a:srgbClr val="D1EAFF"/>
                  </a:gs>
                  <a:gs pos="51000">
                    <a:srgbClr val="DDF4FF"/>
                  </a:gs>
                </a:gsLst>
                <a:lin ang="16200000" scaled="1"/>
                <a:tileRect/>
              </a:gradFill>
              <a:ln w="63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dirty="0">
                  <a:solidFill>
                    <a:srgbClr val="FFFFFF"/>
                  </a:solidFill>
                </a:endParaRPr>
              </a:p>
            </p:txBody>
          </p:sp>
          <p:sp>
            <p:nvSpPr>
              <p:cNvPr id="237" name="Tekstvak 236"/>
              <p:cNvSpPr txBox="1"/>
              <p:nvPr/>
            </p:nvSpPr>
            <p:spPr>
              <a:xfrm>
                <a:off x="13573594" y="3488254"/>
                <a:ext cx="888311" cy="273506"/>
              </a:xfrm>
              <a:prstGeom prst="rect">
                <a:avLst/>
              </a:prstGeom>
              <a:noFill/>
            </p:spPr>
            <p:txBody>
              <a:bodyPr wrap="square" rtlCol="0" anchor="ctr">
                <a:spAutoFit/>
              </a:bodyPr>
              <a:lstStyle>
                <a:defPPr>
                  <a:defRPr lang="nl-NL"/>
                </a:defPPr>
                <a:lvl1pPr marR="0" lvl="0" indent="0" algn="ctr" fontAlgn="auto">
                  <a:lnSpc>
                    <a:spcPct val="100000"/>
                  </a:lnSpc>
                  <a:spcBef>
                    <a:spcPts val="0"/>
                  </a:spcBef>
                  <a:spcAft>
                    <a:spcPts val="0"/>
                  </a:spcAft>
                  <a:buClrTx/>
                  <a:buSzTx/>
                  <a:buFontTx/>
                  <a:buNone/>
                  <a:tabLst/>
                  <a:defRPr kumimoji="0" sz="900" i="0" u="none" strike="noStrike" kern="0" cap="none" spc="0" normalizeH="0" baseline="0">
                    <a:ln>
                      <a:noFill/>
                    </a:ln>
                    <a:effectLst>
                      <a:outerShdw blurRad="25400" algn="ctr" rotWithShape="0">
                        <a:prstClr val="white"/>
                      </a:outerShdw>
                    </a:effectLst>
                    <a:uLnTx/>
                    <a:uFillTx/>
                    <a:latin typeface="Segoe UI Light" panose="020B0502040204020203" pitchFamily="34" charset="0"/>
                    <a:cs typeface="Segoe UI Light" panose="020B0502040204020203" pitchFamily="34" charset="0"/>
                  </a:defRPr>
                </a:lvl1pPr>
                <a:lvl2pPr fontAlgn="base">
                  <a:spcBef>
                    <a:spcPct val="0"/>
                  </a:spcBef>
                  <a:spcAft>
                    <a:spcPct val="0"/>
                  </a:spcAft>
                  <a:defRPr>
                    <a:latin typeface="Arial" charset="0"/>
                    <a:cs typeface="Arial" charset="0"/>
                  </a:defRPr>
                </a:lvl2pPr>
                <a:lvl3pPr fontAlgn="base">
                  <a:spcBef>
                    <a:spcPct val="0"/>
                  </a:spcBef>
                  <a:spcAft>
                    <a:spcPct val="0"/>
                  </a:spcAft>
                  <a:defRPr>
                    <a:latin typeface="Arial" charset="0"/>
                    <a:cs typeface="Arial" charset="0"/>
                  </a:defRPr>
                </a:lvl3pPr>
                <a:lvl4pPr fontAlgn="base">
                  <a:spcBef>
                    <a:spcPct val="0"/>
                  </a:spcBef>
                  <a:spcAft>
                    <a:spcPct val="0"/>
                  </a:spcAft>
                  <a:defRPr>
                    <a:latin typeface="Arial" charset="0"/>
                    <a:cs typeface="Arial" charset="0"/>
                  </a:defRPr>
                </a:lvl4pPr>
                <a:lvl5pPr fontAlgn="base">
                  <a:spcBef>
                    <a:spcPct val="0"/>
                  </a:spcBef>
                  <a:spcAft>
                    <a:spcPct val="0"/>
                  </a:spcAft>
                  <a:defRPr>
                    <a:latin typeface="Arial" charset="0"/>
                    <a:cs typeface="Arial" charset="0"/>
                  </a:defRPr>
                </a:lvl5pPr>
                <a:lvl6pPr>
                  <a:defRPr>
                    <a:latin typeface="Arial" charset="0"/>
                    <a:cs typeface="Arial" charset="0"/>
                  </a:defRPr>
                </a:lvl6pPr>
                <a:lvl7pPr>
                  <a:defRPr>
                    <a:latin typeface="Arial" charset="0"/>
                    <a:cs typeface="Arial" charset="0"/>
                  </a:defRPr>
                </a:lvl7pPr>
                <a:lvl8pPr>
                  <a:defRPr>
                    <a:latin typeface="Arial" charset="0"/>
                    <a:cs typeface="Arial" charset="0"/>
                  </a:defRPr>
                </a:lvl8pPr>
                <a:lvl9pPr>
                  <a:defRPr>
                    <a:latin typeface="Arial" charset="0"/>
                    <a:cs typeface="Arial" charset="0"/>
                  </a:defRPr>
                </a:lvl9pPr>
              </a:lstStyle>
              <a:p>
                <a:pPr defTabSz="914112"/>
                <a:r>
                  <a:rPr lang="nl-NL" sz="1000" dirty="0">
                    <a:solidFill>
                      <a:srgbClr val="000000"/>
                    </a:solidFill>
                    <a:latin typeface="Trebuchet MS"/>
                  </a:rPr>
                  <a:t>Invoegen</a:t>
                </a:r>
              </a:p>
            </p:txBody>
          </p:sp>
          <p:cxnSp>
            <p:nvCxnSpPr>
              <p:cNvPr id="238" name="Rechte verbindingslijn 237"/>
              <p:cNvCxnSpPr/>
              <p:nvPr/>
            </p:nvCxnSpPr>
            <p:spPr>
              <a:xfrm>
                <a:off x="14461905" y="3507058"/>
                <a:ext cx="0" cy="224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9" name="Gelijkbenige driehoek 238"/>
              <p:cNvSpPr/>
              <p:nvPr/>
            </p:nvSpPr>
            <p:spPr>
              <a:xfrm rot="10800000">
                <a:off x="14518584" y="3600521"/>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112"/>
                <a:endParaRPr lang="nl-NL" dirty="0">
                  <a:solidFill>
                    <a:srgbClr val="FFFFFF"/>
                  </a:solidFill>
                </a:endParaRPr>
              </a:p>
            </p:txBody>
          </p:sp>
        </p:grpSp>
      </p:grpSp>
      <p:grpSp>
        <p:nvGrpSpPr>
          <p:cNvPr id="240" name="Instructie - Tekst niveuas"/>
          <p:cNvGrpSpPr/>
          <p:nvPr userDrawn="1"/>
        </p:nvGrpSpPr>
        <p:grpSpPr>
          <a:xfrm>
            <a:off x="-3117849" y="365"/>
            <a:ext cx="2823358" cy="5254722"/>
            <a:chOff x="-2959433" y="-5444"/>
            <a:chExt cx="2822623" cy="5254722"/>
          </a:xfrm>
        </p:grpSpPr>
        <p:sp>
          <p:nvSpPr>
            <p:cNvPr id="241" name="Rechthoek 240"/>
            <p:cNvSpPr/>
            <p:nvPr userDrawn="1"/>
          </p:nvSpPr>
          <p:spPr>
            <a:xfrm>
              <a:off x="-2959433" y="-5444"/>
              <a:ext cx="2572469" cy="280344"/>
            </a:xfrm>
            <a:prstGeom prst="rect">
              <a:avLst/>
            </a:prstGeom>
            <a:noFill/>
            <a:ln w="25400" cap="flat" cmpd="sng" algn="ctr">
              <a:noFill/>
              <a:prstDash val="solid"/>
            </a:ln>
            <a:effectLst/>
          </p:spPr>
          <p:txBody>
            <a:bodyPr lIns="0" tIns="0" rIns="0" bIns="0" rtlCol="0" anchor="t"/>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nl-NL" sz="1600" b="1" kern="0" dirty="0">
                  <a:solidFill>
                    <a:srgbClr val="ED1A3B"/>
                  </a:solidFill>
                  <a:cs typeface="Segoe UI Light" panose="020B0502040204020203" pitchFamily="34" charset="0"/>
                </a:rPr>
                <a:t>TEKST NIVEAUS</a:t>
              </a:r>
            </a:p>
          </p:txBody>
        </p:sp>
        <p:sp>
          <p:nvSpPr>
            <p:cNvPr id="242" name="Textfield placeholder"/>
            <p:cNvSpPr txBox="1">
              <a:spLocks/>
            </p:cNvSpPr>
            <p:nvPr userDrawn="1"/>
          </p:nvSpPr>
          <p:spPr>
            <a:xfrm>
              <a:off x="-2587337" y="2675411"/>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0" lvl="2"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a:solidFill>
                    <a:srgbClr val="404040"/>
                  </a:solidFill>
                </a:rPr>
                <a:t>Sub-bullets (16 pt.)</a:t>
              </a:r>
            </a:p>
          </p:txBody>
        </p:sp>
        <p:sp>
          <p:nvSpPr>
            <p:cNvPr id="243" name="Ovaal 242"/>
            <p:cNvSpPr/>
            <p:nvPr userDrawn="1"/>
          </p:nvSpPr>
          <p:spPr>
            <a:xfrm>
              <a:off x="-2959433" y="196874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1</a:t>
              </a:r>
            </a:p>
          </p:txBody>
        </p:sp>
        <p:sp>
          <p:nvSpPr>
            <p:cNvPr id="244" name="Ovaal 243"/>
            <p:cNvSpPr/>
            <p:nvPr userDrawn="1"/>
          </p:nvSpPr>
          <p:spPr>
            <a:xfrm>
              <a:off x="-2959433" y="232207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2</a:t>
              </a:r>
            </a:p>
          </p:txBody>
        </p:sp>
        <p:sp>
          <p:nvSpPr>
            <p:cNvPr id="245" name="Ovaal 244"/>
            <p:cNvSpPr/>
            <p:nvPr userDrawn="1"/>
          </p:nvSpPr>
          <p:spPr>
            <a:xfrm>
              <a:off x="-2959433" y="267541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3</a:t>
              </a:r>
            </a:p>
          </p:txBody>
        </p:sp>
        <p:sp>
          <p:nvSpPr>
            <p:cNvPr id="246" name="Ovaal 245"/>
            <p:cNvSpPr/>
            <p:nvPr userDrawn="1"/>
          </p:nvSpPr>
          <p:spPr>
            <a:xfrm>
              <a:off x="-2959433" y="302874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4</a:t>
              </a:r>
            </a:p>
          </p:txBody>
        </p:sp>
        <p:sp>
          <p:nvSpPr>
            <p:cNvPr id="247" name="Textfield placeholder"/>
            <p:cNvSpPr txBox="1">
              <a:spLocks/>
            </p:cNvSpPr>
            <p:nvPr userDrawn="1"/>
          </p:nvSpPr>
          <p:spPr>
            <a:xfrm>
              <a:off x="-2571950" y="1966925"/>
              <a:ext cx="2163709" cy="261500"/>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79388">
                <a:lnSpc>
                  <a:spcPct val="120000"/>
                </a:lnSpc>
                <a:spcBef>
                  <a:spcPts val="0"/>
                </a:spcBef>
                <a:spcAft>
                  <a:spcPts val="900"/>
                </a:spcAft>
                <a:buClr>
                  <a:srgbClr val="000000"/>
                </a:buClr>
                <a:buSzPct val="100000"/>
                <a:buFont typeface="Arial" pitchFamily="34" charset="0"/>
                <a:buNone/>
                <a:defRPr/>
              </a:pPr>
              <a:r>
                <a:rPr lang="nl-NL" sz="1200" dirty="0">
                  <a:solidFill>
                    <a:srgbClr val="535353"/>
                  </a:solidFill>
                </a:rPr>
                <a:t>Leestekst (16 pt.)</a:t>
              </a:r>
            </a:p>
          </p:txBody>
        </p:sp>
        <p:sp>
          <p:nvSpPr>
            <p:cNvPr id="248" name="Textfield placeholder"/>
            <p:cNvSpPr txBox="1">
              <a:spLocks/>
            </p:cNvSpPr>
            <p:nvPr userDrawn="1"/>
          </p:nvSpPr>
          <p:spPr>
            <a:xfrm>
              <a:off x="-2571950" y="2322077"/>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70000" lvl="1"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err="1">
                  <a:solidFill>
                    <a:srgbClr val="535353"/>
                  </a:solidFill>
                </a:rPr>
                <a:t>Bullets</a:t>
              </a:r>
              <a:r>
                <a:rPr lang="nl-NL" sz="1200" dirty="0">
                  <a:solidFill>
                    <a:srgbClr val="535353"/>
                  </a:solidFill>
                </a:rPr>
                <a:t> (16 </a:t>
              </a:r>
              <a:r>
                <a:rPr lang="nl-NL" sz="1200" dirty="0" err="1">
                  <a:solidFill>
                    <a:srgbClr val="535353"/>
                  </a:solidFill>
                </a:rPr>
                <a:t>pt</a:t>
              </a:r>
              <a:r>
                <a:rPr lang="nl-NL" sz="1200" dirty="0">
                  <a:solidFill>
                    <a:srgbClr val="535353"/>
                  </a:solidFill>
                </a:rPr>
                <a:t>.)</a:t>
              </a:r>
            </a:p>
          </p:txBody>
        </p:sp>
        <p:sp>
          <p:nvSpPr>
            <p:cNvPr id="249" name="Textfield placeholder"/>
            <p:cNvSpPr txBox="1">
              <a:spLocks/>
            </p:cNvSpPr>
            <p:nvPr userDrawn="1"/>
          </p:nvSpPr>
          <p:spPr>
            <a:xfrm>
              <a:off x="-2571951" y="3028747"/>
              <a:ext cx="2435141"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10000" lvl="3" indent="-270000" algn="l" defTabSz="179388" rtl="0" eaLnBrk="1" latinLnBrk="0" hangingPunct="1">
                <a:lnSpc>
                  <a:spcPct val="120000"/>
                </a:lnSpc>
                <a:spcBef>
                  <a:spcPts val="0"/>
                </a:spcBef>
                <a:spcAft>
                  <a:spcPts val="900"/>
                </a:spcAft>
                <a:buClr>
                  <a:schemeClr val="accent2"/>
                </a:buClr>
                <a:buSzPct val="80000"/>
                <a:buFont typeface="Wingdings 3" panose="05040102010807070707" pitchFamily="18" charset="2"/>
                <a:buChar char=""/>
                <a:defRPr/>
              </a:pPr>
              <a:r>
                <a:rPr lang="nl-NL" sz="1200" b="0" kern="1200" dirty="0">
                  <a:solidFill>
                    <a:srgbClr val="404040"/>
                  </a:solidFill>
                  <a:latin typeface="+mn-lt"/>
                  <a:ea typeface="+mn-ea"/>
                  <a:cs typeface="+mn-cs"/>
                </a:rPr>
                <a:t>Sub-sub-bullets (16 pt.)</a:t>
              </a:r>
            </a:p>
          </p:txBody>
        </p:sp>
        <p:cxnSp>
          <p:nvCxnSpPr>
            <p:cNvPr id="250" name="Rechte verbindingslijn 249"/>
            <p:cNvCxnSpPr/>
            <p:nvPr userDrawn="1"/>
          </p:nvCxnSpPr>
          <p:spPr>
            <a:xfrm>
              <a:off x="-2959100" y="274900"/>
              <a:ext cx="2674470" cy="0"/>
            </a:xfrm>
            <a:prstGeom prst="line">
              <a:avLst/>
            </a:prstGeom>
            <a:noFill/>
            <a:ln w="9525" cap="flat" cmpd="sng" algn="ctr">
              <a:solidFill>
                <a:schemeClr val="accent1"/>
              </a:solidFill>
              <a:prstDash val="solid"/>
            </a:ln>
            <a:effectLst/>
          </p:spPr>
        </p:cxnSp>
        <p:cxnSp>
          <p:nvCxnSpPr>
            <p:cNvPr id="251" name="Rechte verbindingslijn 250"/>
            <p:cNvCxnSpPr/>
            <p:nvPr userDrawn="1"/>
          </p:nvCxnSpPr>
          <p:spPr>
            <a:xfrm>
              <a:off x="-2959100" y="1841989"/>
              <a:ext cx="2661379" cy="0"/>
            </a:xfrm>
            <a:prstGeom prst="line">
              <a:avLst/>
            </a:prstGeom>
            <a:noFill/>
            <a:ln w="9525" cap="flat" cmpd="sng" algn="ctr">
              <a:solidFill>
                <a:schemeClr val="accent1"/>
              </a:solidFill>
              <a:prstDash val="solid"/>
            </a:ln>
            <a:effectLst/>
          </p:spPr>
        </p:cxnSp>
        <p:cxnSp>
          <p:nvCxnSpPr>
            <p:cNvPr id="252" name="Rechte verbindingslijn 251"/>
            <p:cNvCxnSpPr/>
            <p:nvPr userDrawn="1"/>
          </p:nvCxnSpPr>
          <p:spPr>
            <a:xfrm>
              <a:off x="-2959100" y="5249278"/>
              <a:ext cx="2661379" cy="0"/>
            </a:xfrm>
            <a:prstGeom prst="line">
              <a:avLst/>
            </a:prstGeom>
            <a:noFill/>
            <a:ln w="9525" cap="flat" cmpd="sng" algn="ctr">
              <a:solidFill>
                <a:schemeClr val="accent1"/>
              </a:solidFill>
              <a:prstDash val="solid"/>
            </a:ln>
            <a:effectLst/>
          </p:spPr>
        </p:cxnSp>
        <p:grpSp>
          <p:nvGrpSpPr>
            <p:cNvPr id="253" name="Groep 252"/>
            <p:cNvGrpSpPr/>
            <p:nvPr userDrawn="1"/>
          </p:nvGrpSpPr>
          <p:grpSpPr>
            <a:xfrm>
              <a:off x="-1948476" y="816741"/>
              <a:ext cx="409108" cy="427699"/>
              <a:chOff x="-1085063" y="758027"/>
              <a:chExt cx="633799" cy="622540"/>
            </a:xfrm>
          </p:grpSpPr>
          <p:sp>
            <p:nvSpPr>
              <p:cNvPr id="309" name="Afgeronde rechthoek 308"/>
              <p:cNvSpPr/>
              <p:nvPr userDrawn="1"/>
            </p:nvSpPr>
            <p:spPr>
              <a:xfrm>
                <a:off x="-108506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310" name="Groep 309"/>
              <p:cNvGrpSpPr/>
              <p:nvPr userDrawn="1"/>
            </p:nvGrpSpPr>
            <p:grpSpPr>
              <a:xfrm>
                <a:off x="-977739" y="864082"/>
                <a:ext cx="419168" cy="410429"/>
                <a:chOff x="6366933" y="309013"/>
                <a:chExt cx="1901295" cy="1861668"/>
              </a:xfrm>
              <a:solidFill>
                <a:srgbClr val="000000"/>
              </a:solidFill>
            </p:grpSpPr>
            <p:sp>
              <p:nvSpPr>
                <p:cNvPr id="311" name="Rechthoek 310"/>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2" name="Rechthoek 311"/>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3" name="Rechthoek 312"/>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4" name="Rechthoek 313"/>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5" name="Rechthoek 314"/>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6" name="Rechthoek 315"/>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7" name="Rechthoek 316"/>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8" name="Rechthoek 317"/>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9" name="Rechthoek 318"/>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20" name="Rechthoek 319"/>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21" name="Vrije vorm 320"/>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nvGrpSpPr>
            <p:cNvPr id="254" name="Groep 253"/>
            <p:cNvGrpSpPr/>
            <p:nvPr userDrawn="1"/>
          </p:nvGrpSpPr>
          <p:grpSpPr>
            <a:xfrm>
              <a:off x="-2950232" y="1207835"/>
              <a:ext cx="532929" cy="509563"/>
              <a:chOff x="-2880382" y="802341"/>
              <a:chExt cx="532929" cy="509563"/>
            </a:xfrm>
          </p:grpSpPr>
          <p:sp>
            <p:nvSpPr>
              <p:cNvPr id="287" name="Rechthoek 286"/>
              <p:cNvSpPr/>
              <p:nvPr userDrawn="1"/>
            </p:nvSpPr>
            <p:spPr>
              <a:xfrm>
                <a:off x="-2880382" y="802341"/>
                <a:ext cx="532929" cy="509563"/>
              </a:xfrm>
              <a:prstGeom prst="rect">
                <a:avLst/>
              </a:prstGeom>
              <a:solidFill>
                <a:sysClr val="window" lastClr="FFFFFF"/>
              </a:soli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pic>
            <p:nvPicPr>
              <p:cNvPr id="288"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635852" y="822181"/>
                <a:ext cx="226442" cy="208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9"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848026" y="822181"/>
                <a:ext cx="207168" cy="213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90" name="Groep 289"/>
              <p:cNvGrpSpPr/>
              <p:nvPr userDrawn="1"/>
            </p:nvGrpSpPr>
            <p:grpSpPr>
              <a:xfrm>
                <a:off x="-2802433" y="1123442"/>
                <a:ext cx="132915" cy="104889"/>
                <a:chOff x="-2796392" y="1123442"/>
                <a:chExt cx="120832" cy="104889"/>
              </a:xfrm>
            </p:grpSpPr>
            <p:sp>
              <p:nvSpPr>
                <p:cNvPr id="304" name="Rechthoek 303"/>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5" name="Rechthoek 304"/>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6" name="Rechthoek 305"/>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7" name="Rechthoek 306"/>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8" name="Rechthoek 307"/>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291" name="Groep 290"/>
              <p:cNvGrpSpPr/>
              <p:nvPr userDrawn="1"/>
            </p:nvGrpSpPr>
            <p:grpSpPr>
              <a:xfrm>
                <a:off x="-2575417" y="1123442"/>
                <a:ext cx="133930" cy="104889"/>
                <a:chOff x="-2556734" y="1123442"/>
                <a:chExt cx="147324" cy="104889"/>
              </a:xfrm>
            </p:grpSpPr>
            <p:grpSp>
              <p:nvGrpSpPr>
                <p:cNvPr id="292" name="Groep 291"/>
                <p:cNvGrpSpPr/>
                <p:nvPr userDrawn="1"/>
              </p:nvGrpSpPr>
              <p:grpSpPr>
                <a:xfrm>
                  <a:off x="-2556734" y="1123442"/>
                  <a:ext cx="68206" cy="104889"/>
                  <a:chOff x="-2796392" y="1123442"/>
                  <a:chExt cx="120832" cy="104889"/>
                </a:xfrm>
              </p:grpSpPr>
              <p:sp>
                <p:nvSpPr>
                  <p:cNvPr id="299" name="Rechthoek 298"/>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0" name="Rechthoek 299"/>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1" name="Rechthoek 300"/>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2" name="Rechthoek 301"/>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3" name="Rechthoek 302"/>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293" name="Groep 292"/>
                <p:cNvGrpSpPr/>
                <p:nvPr userDrawn="1"/>
              </p:nvGrpSpPr>
              <p:grpSpPr>
                <a:xfrm>
                  <a:off x="-2477616" y="1123442"/>
                  <a:ext cx="68206" cy="104889"/>
                  <a:chOff x="-2796392" y="1123442"/>
                  <a:chExt cx="120832" cy="104889"/>
                </a:xfrm>
              </p:grpSpPr>
              <p:sp>
                <p:nvSpPr>
                  <p:cNvPr id="294" name="Rechthoek 293"/>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5" name="Rechthoek 294"/>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6" name="Rechthoek 295"/>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7" name="Rechthoek 296"/>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8" name="Rechthoek 297"/>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grpSp>
          <p:nvGrpSpPr>
            <p:cNvPr id="255" name="Groep 254"/>
            <p:cNvGrpSpPr/>
            <p:nvPr userDrawn="1"/>
          </p:nvGrpSpPr>
          <p:grpSpPr>
            <a:xfrm>
              <a:off x="-1948476" y="1281164"/>
              <a:ext cx="413704" cy="427699"/>
              <a:chOff x="-1845083" y="758027"/>
              <a:chExt cx="633799" cy="622540"/>
            </a:xfrm>
          </p:grpSpPr>
          <p:sp>
            <p:nvSpPr>
              <p:cNvPr id="274" name="Afgeronde rechthoek 273"/>
              <p:cNvSpPr/>
              <p:nvPr userDrawn="1"/>
            </p:nvSpPr>
            <p:spPr>
              <a:xfrm>
                <a:off x="-184508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275" name="Groep 274"/>
              <p:cNvGrpSpPr/>
              <p:nvPr userDrawn="1"/>
            </p:nvGrpSpPr>
            <p:grpSpPr>
              <a:xfrm>
                <a:off x="-1737762" y="864082"/>
                <a:ext cx="419168" cy="410429"/>
                <a:chOff x="3708400" y="309013"/>
                <a:chExt cx="1901295" cy="1861668"/>
              </a:xfrm>
              <a:solidFill>
                <a:srgbClr val="000000"/>
              </a:solidFill>
            </p:grpSpPr>
            <p:sp>
              <p:nvSpPr>
                <p:cNvPr id="276" name="Rechthoek 275"/>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7" name="Rechthoek 276"/>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8" name="Rechthoek 277"/>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9" name="Rechthoek 278"/>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0" name="Rechthoek 279"/>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1" name="Rechthoek 280"/>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2" name="Rechthoek 281"/>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3" name="Rechthoek 282"/>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4" name="Rechthoek 283"/>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5" name="Rechthoek 284"/>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6" name="Vrije vorm 285"/>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cxnSp>
          <p:nvCxnSpPr>
            <p:cNvPr id="256" name="Rechte verbindingslijn 255"/>
            <p:cNvCxnSpPr/>
            <p:nvPr userDrawn="1"/>
          </p:nvCxnSpPr>
          <p:spPr>
            <a:xfrm>
              <a:off x="-2814292" y="1441193"/>
              <a:ext cx="865816" cy="53821"/>
            </a:xfrm>
            <a:prstGeom prst="line">
              <a:avLst/>
            </a:prstGeom>
            <a:noFill/>
            <a:ln w="9525" cap="flat" cmpd="sng" algn="ctr">
              <a:solidFill>
                <a:schemeClr val="accent1"/>
              </a:solidFill>
              <a:prstDash val="solid"/>
              <a:headEnd type="oval"/>
            </a:ln>
            <a:effectLst/>
          </p:spPr>
        </p:cxnSp>
        <p:cxnSp>
          <p:nvCxnSpPr>
            <p:cNvPr id="257" name="Rechte verbindingslijn 256"/>
            <p:cNvCxnSpPr/>
            <p:nvPr userDrawn="1"/>
          </p:nvCxnSpPr>
          <p:spPr>
            <a:xfrm flipV="1">
              <a:off x="-2453902" y="1030591"/>
              <a:ext cx="505426" cy="283623"/>
            </a:xfrm>
            <a:prstGeom prst="line">
              <a:avLst/>
            </a:prstGeom>
            <a:noFill/>
            <a:ln w="9525" cap="flat" cmpd="sng" algn="ctr">
              <a:solidFill>
                <a:schemeClr val="accent1"/>
              </a:solidFill>
              <a:prstDash val="solid"/>
              <a:headEnd type="oval"/>
            </a:ln>
            <a:effectLst/>
          </p:spPr>
        </p:cxnSp>
        <p:sp>
          <p:nvSpPr>
            <p:cNvPr id="258" name="Textfield placeholder"/>
            <p:cNvSpPr txBox="1">
              <a:spLocks/>
            </p:cNvSpPr>
            <p:nvPr userDrawn="1"/>
          </p:nvSpPr>
          <p:spPr>
            <a:xfrm>
              <a:off x="-1341598" y="816743"/>
              <a:ext cx="1056968" cy="427698"/>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hoog</a:t>
              </a:r>
            </a:p>
          </p:txBody>
        </p:sp>
        <p:sp>
          <p:nvSpPr>
            <p:cNvPr id="259" name="Textfield placeholder"/>
            <p:cNvSpPr txBox="1">
              <a:spLocks/>
            </p:cNvSpPr>
            <p:nvPr userDrawn="1"/>
          </p:nvSpPr>
          <p:spPr>
            <a:xfrm>
              <a:off x="-1341599" y="1281164"/>
              <a:ext cx="1070223" cy="427699"/>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laag</a:t>
              </a:r>
            </a:p>
          </p:txBody>
        </p:sp>
        <p:sp>
          <p:nvSpPr>
            <p:cNvPr id="260" name="Ovaal 259"/>
            <p:cNvSpPr/>
            <p:nvPr userDrawn="1"/>
          </p:nvSpPr>
          <p:spPr>
            <a:xfrm>
              <a:off x="-2959433" y="338208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5</a:t>
              </a:r>
            </a:p>
          </p:txBody>
        </p:sp>
        <p:sp>
          <p:nvSpPr>
            <p:cNvPr id="261" name="Textfield placeholder"/>
            <p:cNvSpPr txBox="1">
              <a:spLocks/>
            </p:cNvSpPr>
            <p:nvPr userDrawn="1"/>
          </p:nvSpPr>
          <p:spPr>
            <a:xfrm>
              <a:off x="-2571950" y="3382082"/>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60000" lvl="4" indent="-360000" defTabSz="179388">
                <a:lnSpc>
                  <a:spcPct val="120000"/>
                </a:lnSpc>
                <a:spcBef>
                  <a:spcPts val="0"/>
                </a:spcBef>
                <a:spcAft>
                  <a:spcPts val="900"/>
                </a:spcAft>
                <a:buClr>
                  <a:srgbClr val="ED1A3B"/>
                </a:buClr>
                <a:buFont typeface="+mj-lt"/>
                <a:buAutoNum type="arabicPeriod"/>
                <a:defRPr/>
              </a:pPr>
              <a:r>
                <a:rPr lang="nl-NL" sz="1200" b="0" dirty="0">
                  <a:solidFill>
                    <a:srgbClr val="404040"/>
                  </a:solidFill>
                </a:rPr>
                <a:t>Numeriek (16 pt.)</a:t>
              </a:r>
            </a:p>
          </p:txBody>
        </p:sp>
        <p:grpSp>
          <p:nvGrpSpPr>
            <p:cNvPr id="262" name="Groep 261"/>
            <p:cNvGrpSpPr/>
            <p:nvPr userDrawn="1"/>
          </p:nvGrpSpPr>
          <p:grpSpPr>
            <a:xfrm>
              <a:off x="-2950232" y="816050"/>
              <a:ext cx="528695" cy="344202"/>
              <a:chOff x="-2880382" y="410556"/>
              <a:chExt cx="528695" cy="344202"/>
            </a:xfrm>
          </p:grpSpPr>
          <p:sp>
            <p:nvSpPr>
              <p:cNvPr id="272" name="Afgeronde rechthoek 271"/>
              <p:cNvSpPr/>
              <p:nvPr userDrawn="1"/>
            </p:nvSpPr>
            <p:spPr>
              <a:xfrm>
                <a:off x="-2874214" y="410556"/>
                <a:ext cx="522527" cy="339183"/>
              </a:xfrm>
              <a:prstGeom prst="roundRect">
                <a:avLst>
                  <a:gd name="adj" fmla="val 7565"/>
                </a:avLst>
              </a:prstGeom>
              <a:gradFill>
                <a:gsLst>
                  <a:gs pos="0">
                    <a:srgbClr val="FFEC8F"/>
                  </a:gs>
                  <a:gs pos="100000">
                    <a:srgbClr val="FFFFFF"/>
                  </a:gs>
                </a:gsLst>
                <a:lin ang="5400000" scaled="0"/>
              </a:gra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sp>
            <p:nvSpPr>
              <p:cNvPr id="273" name="Vrije vorm 272"/>
              <p:cNvSpPr/>
              <p:nvPr userDrawn="1"/>
            </p:nvSpPr>
            <p:spPr>
              <a:xfrm>
                <a:off x="-2880382" y="452699"/>
                <a:ext cx="528695" cy="302059"/>
              </a:xfrm>
              <a:custGeom>
                <a:avLst/>
                <a:gdLst>
                  <a:gd name="connsiteX0" fmla="*/ 55524 w 528695"/>
                  <a:gd name="connsiteY0" fmla="*/ 0 h 302059"/>
                  <a:gd name="connsiteX1" fmla="*/ 455496 w 528695"/>
                  <a:gd name="connsiteY1" fmla="*/ 0 h 302059"/>
                  <a:gd name="connsiteX2" fmla="*/ 475205 w 528695"/>
                  <a:gd name="connsiteY2" fmla="*/ 19709 h 302059"/>
                  <a:gd name="connsiteX3" fmla="*/ 475205 w 528695"/>
                  <a:gd name="connsiteY3" fmla="*/ 230056 h 302059"/>
                  <a:gd name="connsiteX4" fmla="*/ 516694 w 528695"/>
                  <a:gd name="connsiteY4" fmla="*/ 230056 h 302059"/>
                  <a:gd name="connsiteX5" fmla="*/ 528695 w 528695"/>
                  <a:gd name="connsiteY5" fmla="*/ 242057 h 302059"/>
                  <a:gd name="connsiteX6" fmla="*/ 528695 w 528695"/>
                  <a:gd name="connsiteY6" fmla="*/ 290058 h 302059"/>
                  <a:gd name="connsiteX7" fmla="*/ 516694 w 528695"/>
                  <a:gd name="connsiteY7" fmla="*/ 302059 h 302059"/>
                  <a:gd name="connsiteX8" fmla="*/ 12001 w 528695"/>
                  <a:gd name="connsiteY8" fmla="*/ 302059 h 302059"/>
                  <a:gd name="connsiteX9" fmla="*/ 0 w 528695"/>
                  <a:gd name="connsiteY9" fmla="*/ 290058 h 302059"/>
                  <a:gd name="connsiteX10" fmla="*/ 0 w 528695"/>
                  <a:gd name="connsiteY10" fmla="*/ 242057 h 302059"/>
                  <a:gd name="connsiteX11" fmla="*/ 12001 w 528695"/>
                  <a:gd name="connsiteY11" fmla="*/ 230056 h 302059"/>
                  <a:gd name="connsiteX12" fmla="*/ 35815 w 528695"/>
                  <a:gd name="connsiteY12" fmla="*/ 230056 h 302059"/>
                  <a:gd name="connsiteX13" fmla="*/ 35815 w 528695"/>
                  <a:gd name="connsiteY13" fmla="*/ 19709 h 302059"/>
                  <a:gd name="connsiteX14" fmla="*/ 55524 w 528695"/>
                  <a:gd name="connsiteY14" fmla="*/ 0 h 3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8695" h="302059">
                    <a:moveTo>
                      <a:pt x="55524" y="0"/>
                    </a:moveTo>
                    <a:lnTo>
                      <a:pt x="455496" y="0"/>
                    </a:lnTo>
                    <a:cubicBezTo>
                      <a:pt x="466381" y="0"/>
                      <a:pt x="475205" y="8824"/>
                      <a:pt x="475205" y="19709"/>
                    </a:cubicBezTo>
                    <a:lnTo>
                      <a:pt x="475205" y="230056"/>
                    </a:lnTo>
                    <a:lnTo>
                      <a:pt x="516694" y="230056"/>
                    </a:lnTo>
                    <a:cubicBezTo>
                      <a:pt x="523322" y="230056"/>
                      <a:pt x="528695" y="235429"/>
                      <a:pt x="528695" y="242057"/>
                    </a:cubicBezTo>
                    <a:lnTo>
                      <a:pt x="528695" y="290058"/>
                    </a:lnTo>
                    <a:cubicBezTo>
                      <a:pt x="528695" y="296686"/>
                      <a:pt x="523322" y="302059"/>
                      <a:pt x="516694" y="302059"/>
                    </a:cubicBezTo>
                    <a:lnTo>
                      <a:pt x="12001" y="302059"/>
                    </a:lnTo>
                    <a:cubicBezTo>
                      <a:pt x="5373" y="302059"/>
                      <a:pt x="0" y="296686"/>
                      <a:pt x="0" y="290058"/>
                    </a:cubicBezTo>
                    <a:lnTo>
                      <a:pt x="0" y="242057"/>
                    </a:lnTo>
                    <a:cubicBezTo>
                      <a:pt x="0" y="235429"/>
                      <a:pt x="5373" y="230056"/>
                      <a:pt x="12001" y="230056"/>
                    </a:cubicBezTo>
                    <a:lnTo>
                      <a:pt x="35815" y="230056"/>
                    </a:lnTo>
                    <a:lnTo>
                      <a:pt x="35815" y="19709"/>
                    </a:lnTo>
                    <a:cubicBezTo>
                      <a:pt x="35815" y="8824"/>
                      <a:pt x="44639" y="0"/>
                      <a:pt x="55524" y="0"/>
                    </a:cubicBezTo>
                    <a:close/>
                  </a:path>
                </a:pathLst>
              </a:custGeom>
              <a:solidFill>
                <a:sysClr val="window" lastClr="FFFFFF">
                  <a:lumMod val="95000"/>
                </a:sysClr>
              </a:solidFill>
              <a:ln w="9525" cap="flat" cmpd="sng" algn="ctr">
                <a:solidFill>
                  <a:srgbClr val="FFFFFF">
                    <a:lumMod val="90000"/>
                  </a:srgbClr>
                </a:solidFill>
                <a:prstDash val="solid"/>
                <a:miter lim="800000"/>
              </a:ln>
              <a:effectLst/>
            </p:spPr>
            <p:txBody>
              <a:bodyPr rot="0" spcFirstLastPara="0" vert="horz" wrap="square" lIns="108000" tIns="36000" rIns="108000" bIns="10800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900" dirty="0">
                    <a:solidFill>
                      <a:prstClr val="black"/>
                    </a:solidFill>
                    <a:latin typeface="Segoe UI Light"/>
                  </a:rPr>
                  <a:t>Start</a:t>
                </a:r>
              </a:p>
            </p:txBody>
          </p:sp>
        </p:grpSp>
        <p:sp>
          <p:nvSpPr>
            <p:cNvPr id="263" name="Tekstvak 65"/>
            <p:cNvSpPr txBox="1"/>
            <p:nvPr userDrawn="1"/>
          </p:nvSpPr>
          <p:spPr>
            <a:xfrm>
              <a:off x="-2959433" y="372104"/>
              <a:ext cx="2679887" cy="453396"/>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nl-NL" sz="1200" kern="0" dirty="0">
                  <a:solidFill>
                    <a:srgbClr val="000000"/>
                  </a:solidFill>
                  <a:latin typeface="Segoe UI Light" panose="020B0502040204020203" pitchFamily="34" charset="0"/>
                  <a:cs typeface="Segoe UI Light" panose="020B0502040204020203" pitchFamily="34" charset="0"/>
                </a:rPr>
                <a:t>Ga naar de tab </a:t>
              </a:r>
              <a:r>
                <a:rPr lang="nl-NL" sz="1200" b="1" kern="0" dirty="0">
                  <a:solidFill>
                    <a:srgbClr val="000000"/>
                  </a:solidFill>
                  <a:latin typeface="Segoe UI Light" panose="020B0502040204020203" pitchFamily="34" charset="0"/>
                  <a:cs typeface="Segoe UI Light" panose="020B0502040204020203" pitchFamily="34" charset="0"/>
                </a:rPr>
                <a:t>Start’ </a:t>
              </a:r>
              <a:r>
                <a:rPr lang="nl-NL" sz="1200" kern="0" dirty="0">
                  <a:solidFill>
                    <a:srgbClr val="000000"/>
                  </a:solidFill>
                  <a:latin typeface="Segoe UI Light" panose="020B0502040204020203" pitchFamily="34" charset="0"/>
                  <a:cs typeface="Segoe UI Light" panose="020B0502040204020203" pitchFamily="34" charset="0"/>
                </a:rPr>
                <a:t>en vind onderstaande knoppen onder </a:t>
              </a:r>
              <a:r>
                <a:rPr lang="nl-NL" sz="1200" b="1" kern="0" dirty="0">
                  <a:solidFill>
                    <a:srgbClr val="000000"/>
                  </a:solidFill>
                  <a:latin typeface="Segoe UI Light" panose="020B0502040204020203" pitchFamily="34" charset="0"/>
                  <a:cs typeface="Segoe UI Light" panose="020B0502040204020203" pitchFamily="34" charset="0"/>
                </a:rPr>
                <a:t>‘Alinea’</a:t>
              </a:r>
            </a:p>
          </p:txBody>
        </p:sp>
        <p:sp>
          <p:nvSpPr>
            <p:cNvPr id="264" name="Ovaal 263"/>
            <p:cNvSpPr/>
            <p:nvPr userDrawn="1"/>
          </p:nvSpPr>
          <p:spPr>
            <a:xfrm>
              <a:off x="-2959433" y="375153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6</a:t>
              </a:r>
            </a:p>
          </p:txBody>
        </p:sp>
        <p:sp>
          <p:nvSpPr>
            <p:cNvPr id="265" name="Textfield placeholder"/>
            <p:cNvSpPr txBox="1">
              <a:spLocks/>
            </p:cNvSpPr>
            <p:nvPr userDrawn="1"/>
          </p:nvSpPr>
          <p:spPr>
            <a:xfrm>
              <a:off x="-2571950" y="3751536"/>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0000" lvl="5" indent="-270000" defTabSz="179388">
                <a:lnSpc>
                  <a:spcPct val="120000"/>
                </a:lnSpc>
                <a:spcAft>
                  <a:spcPts val="900"/>
                </a:spcAft>
                <a:buClr>
                  <a:srgbClr val="ED1A3B"/>
                </a:buClr>
                <a:buSzPct val="80000"/>
                <a:buFont typeface="Wingdings 3" panose="05040102010807070707" pitchFamily="18" charset="2"/>
                <a:buChar char=""/>
                <a:defRPr/>
              </a:pPr>
              <a:r>
                <a:rPr lang="nl-NL" sz="1200" cap="none" dirty="0">
                  <a:solidFill>
                    <a:srgbClr val="535353"/>
                  </a:solidFill>
                </a:rPr>
                <a:t># Bullets (16 pt.)</a:t>
              </a:r>
            </a:p>
          </p:txBody>
        </p:sp>
        <p:sp>
          <p:nvSpPr>
            <p:cNvPr id="266" name="Ovaal 265"/>
            <p:cNvSpPr/>
            <p:nvPr userDrawn="1"/>
          </p:nvSpPr>
          <p:spPr>
            <a:xfrm>
              <a:off x="-2959433" y="414870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7</a:t>
              </a:r>
            </a:p>
          </p:txBody>
        </p:sp>
        <p:sp>
          <p:nvSpPr>
            <p:cNvPr id="267" name="Textfield placeholder"/>
            <p:cNvSpPr txBox="1">
              <a:spLocks/>
            </p:cNvSpPr>
            <p:nvPr userDrawn="1"/>
          </p:nvSpPr>
          <p:spPr>
            <a:xfrm>
              <a:off x="-2571950" y="414870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6" indent="0" defTabSz="179388">
                <a:lnSpc>
                  <a:spcPct val="120000"/>
                </a:lnSpc>
                <a:spcBef>
                  <a:spcPts val="0"/>
                </a:spcBef>
                <a:spcAft>
                  <a:spcPts val="900"/>
                </a:spcAft>
                <a:buClr>
                  <a:srgbClr val="ED1A3B"/>
                </a:buClr>
                <a:buSzPct val="90000"/>
                <a:buFont typeface="+mj-lt"/>
                <a:buNone/>
                <a:defRPr/>
              </a:pPr>
              <a:r>
                <a:rPr lang="nl-NL" sz="1200" i="1" dirty="0">
                  <a:solidFill>
                    <a:srgbClr val="404040"/>
                  </a:solidFill>
                </a:rPr>
                <a:t>Cursief donker (16 pt.)</a:t>
              </a:r>
            </a:p>
          </p:txBody>
        </p:sp>
        <p:sp>
          <p:nvSpPr>
            <p:cNvPr id="268" name="Ovaal 267"/>
            <p:cNvSpPr/>
            <p:nvPr userDrawn="1"/>
          </p:nvSpPr>
          <p:spPr>
            <a:xfrm>
              <a:off x="-2959433" y="454586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8</a:t>
              </a:r>
            </a:p>
          </p:txBody>
        </p:sp>
        <p:sp>
          <p:nvSpPr>
            <p:cNvPr id="269" name="Textfield placeholder"/>
            <p:cNvSpPr txBox="1">
              <a:spLocks/>
            </p:cNvSpPr>
            <p:nvPr userDrawn="1"/>
          </p:nvSpPr>
          <p:spPr>
            <a:xfrm>
              <a:off x="-2571950" y="4545864"/>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7" indent="0" defTabSz="179388">
                <a:lnSpc>
                  <a:spcPct val="80000"/>
                </a:lnSpc>
                <a:spcBef>
                  <a:spcPts val="0"/>
                </a:spcBef>
                <a:spcAft>
                  <a:spcPts val="900"/>
                </a:spcAft>
                <a:buClr>
                  <a:srgbClr val="ED1A3B"/>
                </a:buClr>
                <a:buFont typeface="Arial" pitchFamily="34" charset="0"/>
                <a:buNone/>
                <a:defRPr/>
              </a:pPr>
              <a:r>
                <a:rPr lang="nl-NL" sz="1200" i="1" dirty="0">
                  <a:solidFill>
                    <a:srgbClr val="A3B0C0"/>
                  </a:solidFill>
                </a:rPr>
                <a:t>Cursief Licht (16 pt.)</a:t>
              </a:r>
            </a:p>
          </p:txBody>
        </p:sp>
        <p:sp>
          <p:nvSpPr>
            <p:cNvPr id="270" name="Ovaal 269"/>
            <p:cNvSpPr/>
            <p:nvPr userDrawn="1"/>
          </p:nvSpPr>
          <p:spPr>
            <a:xfrm>
              <a:off x="-2959433" y="488761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9</a:t>
              </a:r>
            </a:p>
          </p:txBody>
        </p:sp>
        <p:sp>
          <p:nvSpPr>
            <p:cNvPr id="271" name="Textfield placeholder"/>
            <p:cNvSpPr txBox="1">
              <a:spLocks/>
            </p:cNvSpPr>
            <p:nvPr userDrawn="1"/>
          </p:nvSpPr>
          <p:spPr>
            <a:xfrm>
              <a:off x="-2571950" y="488761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8" indent="0" defTabSz="179388">
                <a:lnSpc>
                  <a:spcPct val="80000"/>
                </a:lnSpc>
                <a:spcBef>
                  <a:spcPts val="0"/>
                </a:spcBef>
                <a:spcAft>
                  <a:spcPts val="900"/>
                </a:spcAft>
                <a:buClr>
                  <a:srgbClr val="ED1A3B"/>
                </a:buClr>
                <a:buFont typeface="Arial" pitchFamily="34" charset="0"/>
                <a:buNone/>
                <a:defRPr/>
              </a:pPr>
              <a:r>
                <a:rPr lang="nl-NL" sz="1400" b="1" dirty="0">
                  <a:solidFill>
                    <a:srgbClr val="ED1A3B"/>
                  </a:solidFill>
                </a:rPr>
                <a:t>Subtitel (18 pt.)</a:t>
              </a:r>
            </a:p>
          </p:txBody>
        </p:sp>
      </p:grpSp>
      <p:sp>
        <p:nvSpPr>
          <p:cNvPr id="114" name="Hyperlink - Inhoudsopgave">
            <a:hlinkClick r:id="rId5" action="ppaction://hlinksldjump"/>
          </p:cNvPr>
          <p:cNvSpPr/>
          <p:nvPr userDrawn="1"/>
        </p:nvSpPr>
        <p:spPr>
          <a:xfrm>
            <a:off x="10197856" y="5889801"/>
            <a:ext cx="2000494" cy="968199"/>
          </a:xfrm>
          <a:prstGeom prst="rect">
            <a:avLst/>
          </a:prstGeom>
          <a:solidFill>
            <a:srgbClr val="ED1A3B">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132" name="Grijze achtergrond"/>
          <p:cNvSpPr/>
          <p:nvPr/>
        </p:nvSpPr>
        <p:spPr>
          <a:xfrm>
            <a:off x="8731404" y="1358671"/>
            <a:ext cx="2802836" cy="444046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en-GB">
              <a:solidFill>
                <a:srgbClr val="FFFFFF"/>
              </a:solidFill>
            </a:endParaRPr>
          </a:p>
        </p:txBody>
      </p:sp>
      <p:cxnSp>
        <p:nvCxnSpPr>
          <p:cNvPr id="140" name="Grijze lijn - onder"/>
          <p:cNvCxnSpPr/>
          <p:nvPr userDrawn="1"/>
        </p:nvCxnSpPr>
        <p:spPr>
          <a:xfrm flipH="1">
            <a:off x="664804" y="5776291"/>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1" name="Grijze lijn - boven"/>
          <p:cNvCxnSpPr/>
          <p:nvPr userDrawn="1"/>
        </p:nvCxnSpPr>
        <p:spPr>
          <a:xfrm flipH="1">
            <a:off x="664804" y="1358670"/>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35" name="Witte achtergrond - Logo_03"/>
          <p:cNvSpPr/>
          <p:nvPr/>
        </p:nvSpPr>
        <p:spPr>
          <a:xfrm>
            <a:off x="9048755" y="4295109"/>
            <a:ext cx="2182271" cy="1231465"/>
          </a:xfrm>
          <a:prstGeom prst="rect">
            <a:avLst/>
          </a:prstGeom>
          <a:solidFill>
            <a:schemeClr val="bg1"/>
          </a:solidFill>
          <a:ln w="12700">
            <a:solidFill>
              <a:schemeClr val="accent6">
                <a:lumMod val="40000"/>
                <a:lumOff val="6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134" name="Witte achtergrond - Logo_02"/>
          <p:cNvSpPr/>
          <p:nvPr/>
        </p:nvSpPr>
        <p:spPr>
          <a:xfrm>
            <a:off x="9048755" y="2966181"/>
            <a:ext cx="2182271" cy="1231465"/>
          </a:xfrm>
          <a:prstGeom prst="rect">
            <a:avLst/>
          </a:prstGeom>
          <a:solidFill>
            <a:schemeClr val="bg1"/>
          </a:solidFill>
          <a:ln w="12700">
            <a:solidFill>
              <a:schemeClr val="accent6">
                <a:lumMod val="40000"/>
                <a:lumOff val="6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133" name="Witte achtergrond - Logo_01"/>
          <p:cNvSpPr/>
          <p:nvPr/>
        </p:nvSpPr>
        <p:spPr>
          <a:xfrm>
            <a:off x="9048755" y="1637253"/>
            <a:ext cx="2182271" cy="1231465"/>
          </a:xfrm>
          <a:prstGeom prst="rect">
            <a:avLst/>
          </a:prstGeom>
          <a:solidFill>
            <a:schemeClr val="bg1"/>
          </a:solidFill>
          <a:ln w="12700">
            <a:solidFill>
              <a:schemeClr val="accent6">
                <a:lumMod val="40000"/>
                <a:lumOff val="6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131" name="Tijdelijke aanduiding voor Dianummer"/>
          <p:cNvSpPr>
            <a:spLocks noGrp="1"/>
          </p:cNvSpPr>
          <p:nvPr>
            <p:ph type="sldNum" sz="quarter" idx="4"/>
          </p:nvPr>
        </p:nvSpPr>
        <p:spPr>
          <a:xfrm>
            <a:off x="5770549" y="6295992"/>
            <a:ext cx="657251" cy="365125"/>
          </a:xfrm>
          <a:prstGeom prst="rect">
            <a:avLst/>
          </a:prstGeom>
        </p:spPr>
        <p:txBody>
          <a:bodyPr vert="horz" lIns="91440" tIns="45720" rIns="91440" bIns="45720" rtlCol="0" anchor="ctr"/>
          <a:lstStyle>
            <a:lvl1pPr algn="ctr">
              <a:defRPr sz="800">
                <a:solidFill>
                  <a:schemeClr val="tx1">
                    <a:tint val="75000"/>
                  </a:schemeClr>
                </a:solidFill>
              </a:defRPr>
            </a:lvl1pPr>
          </a:lstStyle>
          <a:p>
            <a:fld id="{1B3FA67A-C720-417A-A072-0CD211FD8662}" type="slidenum">
              <a:rPr lang="nl-NL" smtClean="0">
                <a:solidFill>
                  <a:srgbClr val="000000">
                    <a:tint val="75000"/>
                  </a:srgbClr>
                </a:solidFill>
              </a:rPr>
              <a:pPr/>
              <a:t>‹nr.›</a:t>
            </a:fld>
            <a:endParaRPr lang="nl-NL" dirty="0">
              <a:solidFill>
                <a:srgbClr val="000000">
                  <a:tint val="75000"/>
                </a:srgbClr>
              </a:solidFill>
            </a:endParaRPr>
          </a:p>
        </p:txBody>
      </p:sp>
      <p:sp>
        <p:nvSpPr>
          <p:cNvPr id="46" name="Tijdelijke aanduiding voor Logo_03"/>
          <p:cNvSpPr>
            <a:spLocks noGrp="1"/>
          </p:cNvSpPr>
          <p:nvPr>
            <p:ph sz="quarter" idx="19" hasCustomPrompt="1"/>
          </p:nvPr>
        </p:nvSpPr>
        <p:spPr>
          <a:xfrm>
            <a:off x="9184224" y="4407731"/>
            <a:ext cx="1911330" cy="1006221"/>
          </a:xfrm>
        </p:spPr>
        <p:txBody>
          <a:bodyPr anchor="ctr"/>
          <a:lstStyle>
            <a:lvl1pPr algn="ctr">
              <a:defRPr sz="1000"/>
            </a:lvl1pPr>
          </a:lstStyle>
          <a:p>
            <a:pPr lvl="0"/>
            <a:r>
              <a:rPr lang="nl-NL" dirty="0"/>
              <a:t>LOGO</a:t>
            </a:r>
          </a:p>
        </p:txBody>
      </p:sp>
      <p:sp>
        <p:nvSpPr>
          <p:cNvPr id="40" name="Tijdelijke aanduiding voor Logo_02"/>
          <p:cNvSpPr>
            <a:spLocks noGrp="1"/>
          </p:cNvSpPr>
          <p:nvPr>
            <p:ph sz="quarter" idx="18" hasCustomPrompt="1"/>
          </p:nvPr>
        </p:nvSpPr>
        <p:spPr>
          <a:xfrm>
            <a:off x="9184224" y="3078803"/>
            <a:ext cx="1911330" cy="1006221"/>
          </a:xfrm>
        </p:spPr>
        <p:txBody>
          <a:bodyPr anchor="ctr"/>
          <a:lstStyle>
            <a:lvl1pPr algn="ctr">
              <a:defRPr sz="1000"/>
            </a:lvl1pPr>
          </a:lstStyle>
          <a:p>
            <a:pPr lvl="0"/>
            <a:r>
              <a:rPr lang="nl-NL" dirty="0"/>
              <a:t>LOGO</a:t>
            </a:r>
          </a:p>
        </p:txBody>
      </p:sp>
      <p:sp>
        <p:nvSpPr>
          <p:cNvPr id="38" name="Tijdelijke aanduiding voor Logo_01"/>
          <p:cNvSpPr>
            <a:spLocks noGrp="1"/>
          </p:cNvSpPr>
          <p:nvPr>
            <p:ph sz="quarter" idx="17" hasCustomPrompt="1"/>
          </p:nvPr>
        </p:nvSpPr>
        <p:spPr>
          <a:xfrm>
            <a:off x="9184224" y="1749875"/>
            <a:ext cx="1911330" cy="1006221"/>
          </a:xfrm>
        </p:spPr>
        <p:txBody>
          <a:bodyPr anchor="ctr"/>
          <a:lstStyle>
            <a:lvl1pPr algn="ctr">
              <a:defRPr sz="1000"/>
            </a:lvl1pPr>
          </a:lstStyle>
          <a:p>
            <a:pPr lvl="0"/>
            <a:r>
              <a:rPr lang="nl-NL" dirty="0"/>
              <a:t>LOGO</a:t>
            </a:r>
          </a:p>
        </p:txBody>
      </p:sp>
      <p:sp>
        <p:nvSpPr>
          <p:cNvPr id="26" name="Tijdelijke aanduiding voor Tekst"/>
          <p:cNvSpPr>
            <a:spLocks noGrp="1"/>
          </p:cNvSpPr>
          <p:nvPr>
            <p:ph type="body" orient="vert" idx="1" hasCustomPrompt="1"/>
          </p:nvPr>
        </p:nvSpPr>
        <p:spPr>
          <a:xfrm>
            <a:off x="664109" y="1720867"/>
            <a:ext cx="8067296" cy="3693600"/>
          </a:xfrm>
        </p:spPr>
        <p:txBody>
          <a:bodyPr vert="horz" numCol="2" spcCol="360000"/>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800"/>
            </a:lvl9pPr>
          </a:lstStyle>
          <a:p>
            <a:pPr lvl="0"/>
            <a:r>
              <a:rPr lang="nl-NL" dirty="0"/>
              <a:t>Leestekst</a:t>
            </a:r>
          </a:p>
          <a:p>
            <a:pPr lvl="1"/>
            <a:r>
              <a:rPr lang="nl-NL" dirty="0"/>
              <a:t>Bullets</a:t>
            </a:r>
          </a:p>
          <a:p>
            <a:pPr lvl="2"/>
            <a:r>
              <a:rPr lang="nl-NL" dirty="0"/>
              <a:t>Sub-bullets</a:t>
            </a:r>
          </a:p>
          <a:p>
            <a:pPr lvl="3"/>
            <a:r>
              <a:rPr lang="nl-NL" dirty="0"/>
              <a:t>Sub-sub-bullets</a:t>
            </a:r>
          </a:p>
          <a:p>
            <a:pPr lvl="4"/>
            <a:r>
              <a:rPr lang="nl-NL" dirty="0"/>
              <a:t>Numeriek</a:t>
            </a:r>
          </a:p>
          <a:p>
            <a:pPr lvl="5"/>
            <a:r>
              <a:rPr lang="nl-NL" dirty="0"/>
              <a:t># Bullets</a:t>
            </a:r>
          </a:p>
          <a:p>
            <a:pPr lvl="6"/>
            <a:r>
              <a:rPr lang="nl-NL" dirty="0"/>
              <a:t>Cursief donker</a:t>
            </a:r>
          </a:p>
          <a:p>
            <a:pPr lvl="7"/>
            <a:r>
              <a:rPr lang="nl-NL" dirty="0"/>
              <a:t>Cursief licht</a:t>
            </a:r>
          </a:p>
          <a:p>
            <a:pPr lvl="8"/>
            <a:r>
              <a:rPr lang="nl-NL" dirty="0"/>
              <a:t>Subtitel</a:t>
            </a:r>
          </a:p>
        </p:txBody>
      </p:sp>
      <p:sp>
        <p:nvSpPr>
          <p:cNvPr id="34" name="Tijdelijke aanduiding voor Subtitel"/>
          <p:cNvSpPr>
            <a:spLocks noGrp="1"/>
          </p:cNvSpPr>
          <p:nvPr>
            <p:ph type="body" idx="14"/>
          </p:nvPr>
        </p:nvSpPr>
        <p:spPr>
          <a:xfrm>
            <a:off x="664109" y="1001348"/>
            <a:ext cx="10870131" cy="317758"/>
          </a:xfrm>
        </p:spPr>
        <p:txBody>
          <a:bodyPr bIns="72000" anchor="t" anchorCtr="0"/>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24" name="Tijdelijke aanduiding voor Titel"/>
          <p:cNvSpPr>
            <a:spLocks noGrp="1"/>
          </p:cNvSpPr>
          <p:nvPr>
            <p:ph type="title"/>
          </p:nvPr>
        </p:nvSpPr>
        <p:spPr>
          <a:xfrm>
            <a:off x="664109" y="464521"/>
            <a:ext cx="10870131" cy="533219"/>
          </a:xfrm>
        </p:spPr>
        <p:txBody>
          <a:bodyPr/>
          <a:lstStyle/>
          <a:p>
            <a:r>
              <a:rPr lang="nl-NL"/>
              <a:t>Klik om stijl te bewerken</a:t>
            </a:r>
            <a:endParaRPr lang="nl-NL" dirty="0"/>
          </a:p>
        </p:txBody>
      </p:sp>
    </p:spTree>
    <p:extLst>
      <p:ext uri="{BB962C8B-B14F-4D97-AF65-F5344CB8AC3E}">
        <p14:creationId xmlns:p14="http://schemas.microsoft.com/office/powerpoint/2010/main" val="1299225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8">
                                            <p:txEl>
                                              <p:pRg st="0" end="0"/>
                                            </p:txEl>
                                          </p:spTgt>
                                        </p:tgtEl>
                                        <p:attrNameLst>
                                          <p:attrName>style.visibility</p:attrName>
                                        </p:attrNameLst>
                                      </p:cBhvr>
                                      <p:to>
                                        <p:strVal val="visible"/>
                                      </p:to>
                                    </p:set>
                                    <p:animEffect transition="in" filter="fade">
                                      <p:cBhvr>
                                        <p:cTn id="7" dur="500"/>
                                        <p:tgtEl>
                                          <p:spTgt spid="38">
                                            <p:txEl>
                                              <p:pRg st="0" end="0"/>
                                            </p:txEl>
                                          </p:spTgt>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40">
                                            <p:txEl>
                                              <p:pRg st="0" end="0"/>
                                            </p:txEl>
                                          </p:spTgt>
                                        </p:tgtEl>
                                        <p:attrNameLst>
                                          <p:attrName>style.visibility</p:attrName>
                                        </p:attrNameLst>
                                      </p:cBhvr>
                                      <p:to>
                                        <p:strVal val="visible"/>
                                      </p:to>
                                    </p:set>
                                    <p:animEffect transition="in" filter="fade">
                                      <p:cBhvr>
                                        <p:cTn id="10" dur="500"/>
                                        <p:tgtEl>
                                          <p:spTgt spid="40">
                                            <p:txEl>
                                              <p:pRg st="0" end="0"/>
                                            </p:txEl>
                                          </p:spTgt>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46">
                                            <p:txEl>
                                              <p:pRg st="0" end="0"/>
                                            </p:txEl>
                                          </p:spTgt>
                                        </p:tgtEl>
                                        <p:attrNameLst>
                                          <p:attrName>style.visibility</p:attrName>
                                        </p:attrNameLst>
                                      </p:cBhvr>
                                      <p:to>
                                        <p:strVal val="visible"/>
                                      </p:to>
                                    </p:set>
                                    <p:animEffect transition="in" filter="fade">
                                      <p:cBhvr>
                                        <p:cTn id="13" dur="500"/>
                                        <p:tgtEl>
                                          <p:spTgt spid="46">
                                            <p:txEl>
                                              <p:pRg st="0" end="0"/>
                                            </p:txEl>
                                          </p:spTgt>
                                        </p:tgtEl>
                                      </p:cBhvr>
                                    </p:animEffect>
                                  </p:childTnLst>
                                </p:cTn>
                              </p:par>
                            </p:childTnLst>
                          </p:cTn>
                        </p:par>
                        <p:par>
                          <p:cTn id="14" fill="hold">
                            <p:stCondLst>
                              <p:cond delay="1500"/>
                            </p:stCondLst>
                            <p:childTnLst>
                              <p:par>
                                <p:cTn id="15" presetID="10" presetClass="entr" presetSubtype="0" fill="hold" grpId="0" nodeType="afterEffect">
                                  <p:stCondLst>
                                    <p:cond delay="0"/>
                                  </p:stCondLst>
                                  <p:childTnLst>
                                    <p:set>
                                      <p:cBhvr>
                                        <p:cTn id="16" dur="1" fill="hold">
                                          <p:stCondLst>
                                            <p:cond delay="0"/>
                                          </p:stCondLst>
                                        </p:cTn>
                                        <p:tgtEl>
                                          <p:spTgt spid="133"/>
                                        </p:tgtEl>
                                        <p:attrNameLst>
                                          <p:attrName>style.visibility</p:attrName>
                                        </p:attrNameLst>
                                      </p:cBhvr>
                                      <p:to>
                                        <p:strVal val="visible"/>
                                      </p:to>
                                    </p:set>
                                    <p:animEffect transition="in" filter="fade">
                                      <p:cBhvr>
                                        <p:cTn id="17" dur="500"/>
                                        <p:tgtEl>
                                          <p:spTgt spid="133"/>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134"/>
                                        </p:tgtEl>
                                        <p:attrNameLst>
                                          <p:attrName>style.visibility</p:attrName>
                                        </p:attrNameLst>
                                      </p:cBhvr>
                                      <p:to>
                                        <p:strVal val="visible"/>
                                      </p:to>
                                    </p:set>
                                    <p:animEffect transition="in" filter="fade">
                                      <p:cBhvr>
                                        <p:cTn id="20" dur="500"/>
                                        <p:tgtEl>
                                          <p:spTgt spid="134"/>
                                        </p:tgtEl>
                                      </p:cBhvr>
                                    </p:animEffect>
                                  </p:childTnLst>
                                </p:cTn>
                              </p:par>
                              <p:par>
                                <p:cTn id="21" presetID="10" presetClass="entr" presetSubtype="0" fill="hold" grpId="0" nodeType="withEffect">
                                  <p:stCondLst>
                                    <p:cond delay="1000"/>
                                  </p:stCondLst>
                                  <p:childTnLst>
                                    <p:set>
                                      <p:cBhvr>
                                        <p:cTn id="22" dur="1" fill="hold">
                                          <p:stCondLst>
                                            <p:cond delay="0"/>
                                          </p:stCondLst>
                                        </p:cTn>
                                        <p:tgtEl>
                                          <p:spTgt spid="135"/>
                                        </p:tgtEl>
                                        <p:attrNameLst>
                                          <p:attrName>style.visibility</p:attrName>
                                        </p:attrNameLst>
                                      </p:cBhvr>
                                      <p:to>
                                        <p:strVal val="visible"/>
                                      </p:to>
                                    </p:set>
                                    <p:animEffect transition="in" filter="fade">
                                      <p:cBhvr>
                                        <p:cTn id="23" dur="500"/>
                                        <p:tgtEl>
                                          <p:spTgt spid="1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5" grpId="0" animBg="1"/>
      <p:bldP spid="134" grpId="0" animBg="1"/>
      <p:bldP spid="133" grpId="0" animBg="1"/>
      <p:bldP spid="46" grpId="0" build="p">
        <p:tmplLst>
          <p:tmpl lvl="1">
            <p:tnLst>
              <p:par>
                <p:cTn presetID="10" presetClass="entr" presetSubtype="0" fill="hold" nodeType="withEffect">
                  <p:stCondLst>
                    <p:cond delay="1000"/>
                  </p:stCondLst>
                  <p:childTnLst>
                    <p:set>
                      <p:cBhvr>
                        <p:cTn dur="1" fill="hold">
                          <p:stCondLst>
                            <p:cond delay="0"/>
                          </p:stCondLst>
                        </p:cTn>
                        <p:tgtEl>
                          <p:spTgt spid="46"/>
                        </p:tgtEl>
                        <p:attrNameLst>
                          <p:attrName>style.visibility</p:attrName>
                        </p:attrNameLst>
                      </p:cBhvr>
                      <p:to>
                        <p:strVal val="visible"/>
                      </p:to>
                    </p:set>
                    <p:animEffect transition="in" filter="fade">
                      <p:cBhvr>
                        <p:cTn dur="500"/>
                        <p:tgtEl>
                          <p:spTgt spid="46"/>
                        </p:tgtEl>
                      </p:cBhvr>
                    </p:animEffect>
                  </p:childTnLst>
                </p:cTn>
              </p:par>
            </p:tnLst>
          </p:tmpl>
        </p:tmplLst>
      </p:bldP>
      <p:bldP spid="40" grpId="0" build="p">
        <p:tmplLst>
          <p:tmpl lvl="1">
            <p:tnLst>
              <p:par>
                <p:cTn presetID="10" presetClass="entr" presetSubtype="0" fill="hold" nodeType="withEffect">
                  <p:stCondLst>
                    <p:cond delay="500"/>
                  </p:stCondLst>
                  <p:childTnLst>
                    <p:set>
                      <p:cBhvr>
                        <p:cTn dur="1" fill="hold">
                          <p:stCondLst>
                            <p:cond delay="0"/>
                          </p:stCondLst>
                        </p:cTn>
                        <p:tgtEl>
                          <p:spTgt spid="40"/>
                        </p:tgtEl>
                        <p:attrNameLst>
                          <p:attrName>style.visibility</p:attrName>
                        </p:attrNameLst>
                      </p:cBhvr>
                      <p:to>
                        <p:strVal val="visible"/>
                      </p:to>
                    </p:set>
                    <p:animEffect transition="in" filter="fade">
                      <p:cBhvr>
                        <p:cTn dur="500"/>
                        <p:tgtEl>
                          <p:spTgt spid="40"/>
                        </p:tgtEl>
                      </p:cBhvr>
                    </p:animEffect>
                  </p:childTnLst>
                </p:cTn>
              </p:par>
            </p:tnLst>
          </p:tmpl>
        </p:tmplLst>
      </p:bldP>
      <p:bldP spid="38" grpId="0" build="p">
        <p:tmplLst>
          <p:tmpl lvl="1">
            <p:tnLst>
              <p:par>
                <p:cTn presetID="10" presetClass="entr" presetSubtype="0" fill="hold" nodeType="afterEffect">
                  <p:stCondLst>
                    <p:cond delay="0"/>
                  </p:stCondLst>
                  <p:childTnLst>
                    <p:set>
                      <p:cBhvr>
                        <p:cTn dur="1" fill="hold">
                          <p:stCondLst>
                            <p:cond delay="0"/>
                          </p:stCondLst>
                        </p:cTn>
                        <p:tgtEl>
                          <p:spTgt spid="38"/>
                        </p:tgtEl>
                        <p:attrNameLst>
                          <p:attrName>style.visibility</p:attrName>
                        </p:attrNameLst>
                      </p:cBhvr>
                      <p:to>
                        <p:strVal val="visible"/>
                      </p:to>
                    </p:set>
                    <p:animEffect transition="in" filter="fade">
                      <p:cBhvr>
                        <p:cTn dur="500"/>
                        <p:tgtEl>
                          <p:spTgt spid="38"/>
                        </p:tgtEl>
                      </p:cBhvr>
                    </p:animEffect>
                  </p:childTnLst>
                </p:cTn>
              </p:par>
            </p:tnLst>
          </p:tmpl>
        </p:tmplLst>
      </p:bldP>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2 Kolommen tekst + 3 objecten (kleiner font)">
    <p:spTree>
      <p:nvGrpSpPr>
        <p:cNvPr id="1" name=""/>
        <p:cNvGrpSpPr/>
        <p:nvPr/>
      </p:nvGrpSpPr>
      <p:grpSpPr>
        <a:xfrm>
          <a:off x="0" y="0"/>
          <a:ext cx="0" cy="0"/>
          <a:chOff x="0" y="0"/>
          <a:chExt cx="0" cy="0"/>
        </a:xfrm>
      </p:grpSpPr>
      <p:sp>
        <p:nvSpPr>
          <p:cNvPr id="143" name="Naam indeling - 2 Kolommen tekst + 3 objecten (kleiner font)"/>
          <p:cNvSpPr txBox="1"/>
          <p:nvPr userDrawn="1"/>
        </p:nvSpPr>
        <p:spPr>
          <a:xfrm>
            <a:off x="0" y="-453266"/>
            <a:ext cx="4506508" cy="276999"/>
          </a:xfrm>
          <a:prstGeom prst="rect">
            <a:avLst/>
          </a:prstGeom>
          <a:noFill/>
        </p:spPr>
        <p:txBody>
          <a:bodyPr wrap="square" lIns="0" tIns="0" rIns="0" bIns="0" rtlCol="0">
            <a:spAutoFit/>
          </a:bodyPr>
          <a:lstStyle/>
          <a:p>
            <a:pPr defTabSz="914112"/>
            <a:r>
              <a:rPr lang="nl-NL" dirty="0">
                <a:solidFill>
                  <a:srgbClr val="404040"/>
                </a:solidFill>
                <a:latin typeface="Calibri" panose="020F0502020204030204" pitchFamily="34" charset="0"/>
              </a:rPr>
              <a:t>2 Kolommen tekst + 3 objecten (kleiner font)</a:t>
            </a:r>
            <a:endParaRPr lang="en-GB" dirty="0">
              <a:solidFill>
                <a:srgbClr val="404040"/>
              </a:solidFill>
              <a:latin typeface="Calibri" panose="020F0502020204030204" pitchFamily="34" charset="0"/>
            </a:endParaRPr>
          </a:p>
        </p:txBody>
      </p:sp>
      <p:grpSp>
        <p:nvGrpSpPr>
          <p:cNvPr id="226" name="Instructie - Afbeelding invoegen"/>
          <p:cNvGrpSpPr/>
          <p:nvPr userDrawn="1"/>
        </p:nvGrpSpPr>
        <p:grpSpPr>
          <a:xfrm>
            <a:off x="12437931" y="14898"/>
            <a:ext cx="2717569" cy="3676571"/>
            <a:chOff x="12434693" y="14897"/>
            <a:chExt cx="2716862" cy="3676571"/>
          </a:xfrm>
        </p:grpSpPr>
        <p:sp>
          <p:nvSpPr>
            <p:cNvPr id="227" name="Rechthoek 226"/>
            <p:cNvSpPr/>
            <p:nvPr/>
          </p:nvSpPr>
          <p:spPr>
            <a:xfrm>
              <a:off x="12441150" y="14897"/>
              <a:ext cx="2696270" cy="161771"/>
            </a:xfrm>
            <a:prstGeom prst="rect">
              <a:avLst/>
            </a:prstGeom>
            <a:noFill/>
            <a:ln w="25400" cap="flat" cmpd="sng" algn="ctr">
              <a:noFill/>
              <a:prstDash val="solid"/>
            </a:ln>
            <a:effectLst/>
          </p:spPr>
          <p:txBody>
            <a:bodyPr lIns="0" tIns="0" rIns="0" bIns="0" rtlCol="0" anchor="t"/>
            <a:lstStyle/>
            <a:p>
              <a:pPr defTabSz="914112">
                <a:lnSpc>
                  <a:spcPct val="80000"/>
                </a:lnSpc>
              </a:pPr>
              <a:r>
                <a:rPr lang="nl-NL" sz="1600" b="1" kern="0" cap="all" dirty="0">
                  <a:solidFill>
                    <a:srgbClr val="ED1A3B"/>
                  </a:solidFill>
                  <a:cs typeface="Segoe UI Light" panose="020B0502040204020203" pitchFamily="34" charset="0"/>
                </a:rPr>
                <a:t>AFBEELDING INVOEGEN</a:t>
              </a:r>
            </a:p>
          </p:txBody>
        </p:sp>
        <p:sp>
          <p:nvSpPr>
            <p:cNvPr id="228" name="Tekstvak 33"/>
            <p:cNvSpPr txBox="1"/>
            <p:nvPr/>
          </p:nvSpPr>
          <p:spPr>
            <a:xfrm>
              <a:off x="12441149" y="814239"/>
              <a:ext cx="2710405" cy="719877"/>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Indien nodig, verwijder de bestaande afbeelding. Klik op het pictogram </a:t>
              </a:r>
              <a:br>
                <a:rPr lang="nl-NL" sz="1200" kern="0" dirty="0">
                  <a:solidFill>
                    <a:srgbClr val="000000"/>
                  </a:solidFill>
                  <a:latin typeface="Trebuchet MS"/>
                  <a:cs typeface="Segoe UI Light" panose="020B0502040204020203" pitchFamily="34" charset="0"/>
                </a:rPr>
              </a:br>
              <a:r>
                <a:rPr lang="nl-NL" sz="1200" kern="0" dirty="0">
                  <a:solidFill>
                    <a:srgbClr val="000000"/>
                  </a:solidFill>
                  <a:latin typeface="Trebuchet MS"/>
                  <a:cs typeface="Segoe UI Light" panose="020B0502040204020203" pitchFamily="34" charset="0"/>
                </a:rPr>
                <a:t>om een afbeelding in te voegen</a:t>
              </a:r>
              <a:br>
                <a:rPr lang="nl-NL" sz="1200" kern="0" dirty="0">
                  <a:solidFill>
                    <a:srgbClr val="000000"/>
                  </a:solidFill>
                  <a:latin typeface="Trebuchet MS"/>
                  <a:cs typeface="Segoe UI Light" panose="020B0502040204020203" pitchFamily="34" charset="0"/>
                </a:rPr>
              </a:br>
              <a:r>
                <a:rPr lang="nl-NL" sz="1100" i="1" kern="0" dirty="0">
                  <a:solidFill>
                    <a:srgbClr val="000000"/>
                  </a:solidFill>
                  <a:latin typeface="Trebuchet MS"/>
                  <a:cs typeface="Segoe UI Light" panose="020B0502040204020203" pitchFamily="34" charset="0"/>
                </a:rPr>
                <a:t>(zie onderstaand voorbeeld).</a:t>
              </a:r>
            </a:p>
          </p:txBody>
        </p:sp>
        <p:sp>
          <p:nvSpPr>
            <p:cNvPr id="229" name="Tekstvak 33"/>
            <p:cNvSpPr txBox="1"/>
            <p:nvPr/>
          </p:nvSpPr>
          <p:spPr>
            <a:xfrm>
              <a:off x="12441149" y="2793904"/>
              <a:ext cx="2710405" cy="395943"/>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Selecteer de afbeelding die u wilt invoegen en klik op </a:t>
              </a:r>
              <a:r>
                <a:rPr lang="nl-NL" sz="1200" b="1" kern="0" dirty="0">
                  <a:solidFill>
                    <a:srgbClr val="000000"/>
                  </a:solidFill>
                  <a:latin typeface="Trebuchet MS"/>
                  <a:cs typeface="Segoe UI Light" panose="020B0502040204020203" pitchFamily="34" charset="0"/>
                </a:rPr>
                <a:t>‘Invoegen’</a:t>
              </a:r>
            </a:p>
          </p:txBody>
        </p:sp>
        <p:sp>
          <p:nvSpPr>
            <p:cNvPr id="230" name="Ovaal 229"/>
            <p:cNvSpPr/>
            <p:nvPr/>
          </p:nvSpPr>
          <p:spPr>
            <a:xfrm>
              <a:off x="12441150" y="379292"/>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1</a:t>
              </a:r>
            </a:p>
          </p:txBody>
        </p:sp>
        <p:sp>
          <p:nvSpPr>
            <p:cNvPr id="231" name="Ovaal 230"/>
            <p:cNvSpPr/>
            <p:nvPr/>
          </p:nvSpPr>
          <p:spPr>
            <a:xfrm>
              <a:off x="12441150" y="2337208"/>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2</a:t>
              </a:r>
            </a:p>
          </p:txBody>
        </p:sp>
        <p:cxnSp>
          <p:nvCxnSpPr>
            <p:cNvPr id="232" name="Rechte verbindingslijn 231"/>
            <p:cNvCxnSpPr/>
            <p:nvPr/>
          </p:nvCxnSpPr>
          <p:spPr>
            <a:xfrm>
              <a:off x="12441150" y="248176"/>
              <a:ext cx="2710405" cy="0"/>
            </a:xfrm>
            <a:prstGeom prst="line">
              <a:avLst/>
            </a:prstGeom>
            <a:noFill/>
            <a:ln w="9525" cap="flat" cmpd="sng" algn="ctr">
              <a:solidFill>
                <a:schemeClr val="accent1"/>
              </a:solidFill>
              <a:prstDash val="solid"/>
            </a:ln>
            <a:effectLst/>
          </p:spPr>
        </p:cxnSp>
        <p:cxnSp>
          <p:nvCxnSpPr>
            <p:cNvPr id="233" name="Rechte verbindingslijn 232"/>
            <p:cNvCxnSpPr/>
            <p:nvPr/>
          </p:nvCxnSpPr>
          <p:spPr>
            <a:xfrm>
              <a:off x="12441149" y="2212830"/>
              <a:ext cx="2710405" cy="0"/>
            </a:xfrm>
            <a:prstGeom prst="line">
              <a:avLst/>
            </a:prstGeom>
            <a:noFill/>
            <a:ln w="9525" cap="flat" cmpd="sng" algn="ctr">
              <a:solidFill>
                <a:schemeClr val="accent1"/>
              </a:solidFill>
              <a:prstDash val="solid"/>
            </a:ln>
            <a:effectLst/>
          </p:spPr>
        </p:cxnSp>
        <p:cxnSp>
          <p:nvCxnSpPr>
            <p:cNvPr id="234" name="Rechte verbindingslijn 233"/>
            <p:cNvCxnSpPr/>
            <p:nvPr/>
          </p:nvCxnSpPr>
          <p:spPr>
            <a:xfrm>
              <a:off x="12444679" y="3691468"/>
              <a:ext cx="2706875" cy="0"/>
            </a:xfrm>
            <a:prstGeom prst="line">
              <a:avLst/>
            </a:prstGeom>
            <a:noFill/>
            <a:ln w="9525" cap="flat" cmpd="sng" algn="ctr">
              <a:solidFill>
                <a:schemeClr val="accent1"/>
              </a:solidFill>
              <a:prstDash val="solid"/>
            </a:ln>
            <a:effectLst/>
          </p:spPr>
        </p:cxnSp>
        <p:pic>
          <p:nvPicPr>
            <p:cNvPr id="235" name="Icoontje afbeeldi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434693" y="1677764"/>
              <a:ext cx="403210" cy="403210"/>
            </a:xfrm>
            <a:prstGeom prst="rect">
              <a:avLst/>
            </a:prstGeom>
          </p:spPr>
        </p:pic>
        <p:grpSp>
          <p:nvGrpSpPr>
            <p:cNvPr id="236" name="Groep 235"/>
            <p:cNvGrpSpPr/>
            <p:nvPr/>
          </p:nvGrpSpPr>
          <p:grpSpPr>
            <a:xfrm>
              <a:off x="12450571" y="3301369"/>
              <a:ext cx="1002992" cy="267962"/>
              <a:chOff x="13560784" y="3471416"/>
              <a:chExt cx="1114138" cy="297656"/>
            </a:xfrm>
          </p:grpSpPr>
          <p:sp>
            <p:nvSpPr>
              <p:cNvPr id="237" name="Afgeronde rechthoek 88"/>
              <p:cNvSpPr/>
              <p:nvPr/>
            </p:nvSpPr>
            <p:spPr>
              <a:xfrm>
                <a:off x="13560784" y="3471416"/>
                <a:ext cx="1114138" cy="297656"/>
              </a:xfrm>
              <a:prstGeom prst="roundRect">
                <a:avLst/>
              </a:prstGeom>
              <a:gradFill flip="none" rotWithShape="1">
                <a:gsLst>
                  <a:gs pos="4000">
                    <a:srgbClr val="00B0F0"/>
                  </a:gs>
                  <a:gs pos="0">
                    <a:srgbClr val="0070C0"/>
                  </a:gs>
                  <a:gs pos="100000">
                    <a:srgbClr val="0070C0"/>
                  </a:gs>
                  <a:gs pos="12000">
                    <a:srgbClr val="D1EAFF"/>
                  </a:gs>
                  <a:gs pos="96000">
                    <a:srgbClr val="00B0F0"/>
                  </a:gs>
                  <a:gs pos="89000">
                    <a:srgbClr val="DDF4FF"/>
                  </a:gs>
                  <a:gs pos="43000">
                    <a:srgbClr val="D1EAFF"/>
                  </a:gs>
                  <a:gs pos="51000">
                    <a:srgbClr val="DDF4FF"/>
                  </a:gs>
                </a:gsLst>
                <a:lin ang="16200000" scaled="1"/>
                <a:tileRect/>
              </a:gradFill>
              <a:ln w="63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dirty="0">
                  <a:solidFill>
                    <a:srgbClr val="FFFFFF"/>
                  </a:solidFill>
                </a:endParaRPr>
              </a:p>
            </p:txBody>
          </p:sp>
          <p:sp>
            <p:nvSpPr>
              <p:cNvPr id="238" name="Tekstvak 237"/>
              <p:cNvSpPr txBox="1"/>
              <p:nvPr/>
            </p:nvSpPr>
            <p:spPr>
              <a:xfrm>
                <a:off x="13573594" y="3488254"/>
                <a:ext cx="888311" cy="273506"/>
              </a:xfrm>
              <a:prstGeom prst="rect">
                <a:avLst/>
              </a:prstGeom>
              <a:noFill/>
            </p:spPr>
            <p:txBody>
              <a:bodyPr wrap="square" rtlCol="0" anchor="ctr">
                <a:spAutoFit/>
              </a:bodyPr>
              <a:lstStyle>
                <a:defPPr>
                  <a:defRPr lang="nl-NL"/>
                </a:defPPr>
                <a:lvl1pPr marR="0" lvl="0" indent="0" algn="ctr" fontAlgn="auto">
                  <a:lnSpc>
                    <a:spcPct val="100000"/>
                  </a:lnSpc>
                  <a:spcBef>
                    <a:spcPts val="0"/>
                  </a:spcBef>
                  <a:spcAft>
                    <a:spcPts val="0"/>
                  </a:spcAft>
                  <a:buClrTx/>
                  <a:buSzTx/>
                  <a:buFontTx/>
                  <a:buNone/>
                  <a:tabLst/>
                  <a:defRPr kumimoji="0" sz="900" i="0" u="none" strike="noStrike" kern="0" cap="none" spc="0" normalizeH="0" baseline="0">
                    <a:ln>
                      <a:noFill/>
                    </a:ln>
                    <a:effectLst>
                      <a:outerShdw blurRad="25400" algn="ctr" rotWithShape="0">
                        <a:prstClr val="white"/>
                      </a:outerShdw>
                    </a:effectLst>
                    <a:uLnTx/>
                    <a:uFillTx/>
                    <a:latin typeface="Segoe UI Light" panose="020B0502040204020203" pitchFamily="34" charset="0"/>
                    <a:cs typeface="Segoe UI Light" panose="020B0502040204020203" pitchFamily="34" charset="0"/>
                  </a:defRPr>
                </a:lvl1pPr>
                <a:lvl2pPr fontAlgn="base">
                  <a:spcBef>
                    <a:spcPct val="0"/>
                  </a:spcBef>
                  <a:spcAft>
                    <a:spcPct val="0"/>
                  </a:spcAft>
                  <a:defRPr>
                    <a:latin typeface="Arial" charset="0"/>
                    <a:cs typeface="Arial" charset="0"/>
                  </a:defRPr>
                </a:lvl2pPr>
                <a:lvl3pPr fontAlgn="base">
                  <a:spcBef>
                    <a:spcPct val="0"/>
                  </a:spcBef>
                  <a:spcAft>
                    <a:spcPct val="0"/>
                  </a:spcAft>
                  <a:defRPr>
                    <a:latin typeface="Arial" charset="0"/>
                    <a:cs typeface="Arial" charset="0"/>
                  </a:defRPr>
                </a:lvl3pPr>
                <a:lvl4pPr fontAlgn="base">
                  <a:spcBef>
                    <a:spcPct val="0"/>
                  </a:spcBef>
                  <a:spcAft>
                    <a:spcPct val="0"/>
                  </a:spcAft>
                  <a:defRPr>
                    <a:latin typeface="Arial" charset="0"/>
                    <a:cs typeface="Arial" charset="0"/>
                  </a:defRPr>
                </a:lvl4pPr>
                <a:lvl5pPr fontAlgn="base">
                  <a:spcBef>
                    <a:spcPct val="0"/>
                  </a:spcBef>
                  <a:spcAft>
                    <a:spcPct val="0"/>
                  </a:spcAft>
                  <a:defRPr>
                    <a:latin typeface="Arial" charset="0"/>
                    <a:cs typeface="Arial" charset="0"/>
                  </a:defRPr>
                </a:lvl5pPr>
                <a:lvl6pPr>
                  <a:defRPr>
                    <a:latin typeface="Arial" charset="0"/>
                    <a:cs typeface="Arial" charset="0"/>
                  </a:defRPr>
                </a:lvl6pPr>
                <a:lvl7pPr>
                  <a:defRPr>
                    <a:latin typeface="Arial" charset="0"/>
                    <a:cs typeface="Arial" charset="0"/>
                  </a:defRPr>
                </a:lvl7pPr>
                <a:lvl8pPr>
                  <a:defRPr>
                    <a:latin typeface="Arial" charset="0"/>
                    <a:cs typeface="Arial" charset="0"/>
                  </a:defRPr>
                </a:lvl8pPr>
                <a:lvl9pPr>
                  <a:defRPr>
                    <a:latin typeface="Arial" charset="0"/>
                    <a:cs typeface="Arial" charset="0"/>
                  </a:defRPr>
                </a:lvl9pPr>
              </a:lstStyle>
              <a:p>
                <a:pPr defTabSz="914112"/>
                <a:r>
                  <a:rPr lang="nl-NL" sz="1000" dirty="0">
                    <a:solidFill>
                      <a:srgbClr val="000000"/>
                    </a:solidFill>
                    <a:latin typeface="Trebuchet MS"/>
                  </a:rPr>
                  <a:t>Invoegen</a:t>
                </a:r>
              </a:p>
            </p:txBody>
          </p:sp>
          <p:cxnSp>
            <p:nvCxnSpPr>
              <p:cNvPr id="239" name="Rechte verbindingslijn 238"/>
              <p:cNvCxnSpPr/>
              <p:nvPr/>
            </p:nvCxnSpPr>
            <p:spPr>
              <a:xfrm>
                <a:off x="14461905" y="3507058"/>
                <a:ext cx="0" cy="224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0" name="Gelijkbenige driehoek 239"/>
              <p:cNvSpPr/>
              <p:nvPr/>
            </p:nvSpPr>
            <p:spPr>
              <a:xfrm rot="10800000">
                <a:off x="14518584" y="3600521"/>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112"/>
                <a:endParaRPr lang="nl-NL" dirty="0">
                  <a:solidFill>
                    <a:srgbClr val="FFFFFF"/>
                  </a:solidFill>
                </a:endParaRPr>
              </a:p>
            </p:txBody>
          </p:sp>
        </p:grpSp>
      </p:grpSp>
      <p:grpSp>
        <p:nvGrpSpPr>
          <p:cNvPr id="241" name="Instructie - Tekst niveaus"/>
          <p:cNvGrpSpPr/>
          <p:nvPr userDrawn="1"/>
        </p:nvGrpSpPr>
        <p:grpSpPr>
          <a:xfrm>
            <a:off x="-3117849" y="365"/>
            <a:ext cx="2823358" cy="5254722"/>
            <a:chOff x="-2959433" y="-5444"/>
            <a:chExt cx="2822623" cy="5254722"/>
          </a:xfrm>
        </p:grpSpPr>
        <p:sp>
          <p:nvSpPr>
            <p:cNvPr id="242" name="Rechthoek 241"/>
            <p:cNvSpPr/>
            <p:nvPr userDrawn="1"/>
          </p:nvSpPr>
          <p:spPr>
            <a:xfrm>
              <a:off x="-2959433" y="-5444"/>
              <a:ext cx="2572469" cy="280344"/>
            </a:xfrm>
            <a:prstGeom prst="rect">
              <a:avLst/>
            </a:prstGeom>
            <a:noFill/>
            <a:ln w="25400" cap="flat" cmpd="sng" algn="ctr">
              <a:noFill/>
              <a:prstDash val="solid"/>
            </a:ln>
            <a:effectLst/>
          </p:spPr>
          <p:txBody>
            <a:bodyPr lIns="0" tIns="0" rIns="0" bIns="0" rtlCol="0" anchor="t"/>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nl-NL" sz="1600" b="1" kern="0" dirty="0">
                  <a:solidFill>
                    <a:srgbClr val="ED1A3B"/>
                  </a:solidFill>
                  <a:cs typeface="Segoe UI Light" panose="020B0502040204020203" pitchFamily="34" charset="0"/>
                </a:rPr>
                <a:t>TEKST NIVEAUS</a:t>
              </a:r>
            </a:p>
          </p:txBody>
        </p:sp>
        <p:sp>
          <p:nvSpPr>
            <p:cNvPr id="243" name="Textfield placeholder"/>
            <p:cNvSpPr txBox="1">
              <a:spLocks/>
            </p:cNvSpPr>
            <p:nvPr userDrawn="1"/>
          </p:nvSpPr>
          <p:spPr>
            <a:xfrm>
              <a:off x="-2587337" y="2675411"/>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0" lvl="2"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a:solidFill>
                    <a:srgbClr val="404040"/>
                  </a:solidFill>
                </a:rPr>
                <a:t>Sub-bullets (12 pt.)</a:t>
              </a:r>
            </a:p>
          </p:txBody>
        </p:sp>
        <p:sp>
          <p:nvSpPr>
            <p:cNvPr id="244" name="Ovaal 243"/>
            <p:cNvSpPr/>
            <p:nvPr userDrawn="1"/>
          </p:nvSpPr>
          <p:spPr>
            <a:xfrm>
              <a:off x="-2959433" y="196874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1</a:t>
              </a:r>
            </a:p>
          </p:txBody>
        </p:sp>
        <p:sp>
          <p:nvSpPr>
            <p:cNvPr id="245" name="Ovaal 244"/>
            <p:cNvSpPr/>
            <p:nvPr userDrawn="1"/>
          </p:nvSpPr>
          <p:spPr>
            <a:xfrm>
              <a:off x="-2959433" y="232207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2</a:t>
              </a:r>
            </a:p>
          </p:txBody>
        </p:sp>
        <p:sp>
          <p:nvSpPr>
            <p:cNvPr id="246" name="Ovaal 245"/>
            <p:cNvSpPr/>
            <p:nvPr userDrawn="1"/>
          </p:nvSpPr>
          <p:spPr>
            <a:xfrm>
              <a:off x="-2959433" y="267541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3</a:t>
              </a:r>
            </a:p>
          </p:txBody>
        </p:sp>
        <p:sp>
          <p:nvSpPr>
            <p:cNvPr id="247" name="Ovaal 246"/>
            <p:cNvSpPr/>
            <p:nvPr userDrawn="1"/>
          </p:nvSpPr>
          <p:spPr>
            <a:xfrm>
              <a:off x="-2959433" y="302874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4</a:t>
              </a:r>
            </a:p>
          </p:txBody>
        </p:sp>
        <p:sp>
          <p:nvSpPr>
            <p:cNvPr id="248" name="Textfield placeholder"/>
            <p:cNvSpPr txBox="1">
              <a:spLocks/>
            </p:cNvSpPr>
            <p:nvPr userDrawn="1"/>
          </p:nvSpPr>
          <p:spPr>
            <a:xfrm>
              <a:off x="-2571950" y="1966925"/>
              <a:ext cx="2163709" cy="261500"/>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79388">
                <a:lnSpc>
                  <a:spcPct val="120000"/>
                </a:lnSpc>
                <a:spcBef>
                  <a:spcPts val="0"/>
                </a:spcBef>
                <a:spcAft>
                  <a:spcPts val="900"/>
                </a:spcAft>
                <a:buClr>
                  <a:srgbClr val="000000"/>
                </a:buClr>
                <a:buSzPct val="100000"/>
                <a:buFont typeface="Arial" pitchFamily="34" charset="0"/>
                <a:buNone/>
                <a:defRPr/>
              </a:pPr>
              <a:r>
                <a:rPr lang="nl-NL" sz="1200" dirty="0">
                  <a:solidFill>
                    <a:srgbClr val="535353"/>
                  </a:solidFill>
                </a:rPr>
                <a:t>Leestekst (12 pt.)</a:t>
              </a:r>
            </a:p>
          </p:txBody>
        </p:sp>
        <p:sp>
          <p:nvSpPr>
            <p:cNvPr id="249" name="Textfield placeholder"/>
            <p:cNvSpPr txBox="1">
              <a:spLocks/>
            </p:cNvSpPr>
            <p:nvPr userDrawn="1"/>
          </p:nvSpPr>
          <p:spPr>
            <a:xfrm>
              <a:off x="-2571950" y="2322077"/>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70000" lvl="1"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err="1">
                  <a:solidFill>
                    <a:srgbClr val="535353"/>
                  </a:solidFill>
                </a:rPr>
                <a:t>Bullets</a:t>
              </a:r>
              <a:r>
                <a:rPr lang="nl-NL" sz="1200" dirty="0">
                  <a:solidFill>
                    <a:srgbClr val="535353"/>
                  </a:solidFill>
                </a:rPr>
                <a:t> (12 </a:t>
              </a:r>
              <a:r>
                <a:rPr lang="nl-NL" sz="1200" dirty="0" err="1">
                  <a:solidFill>
                    <a:srgbClr val="535353"/>
                  </a:solidFill>
                </a:rPr>
                <a:t>pt</a:t>
              </a:r>
              <a:r>
                <a:rPr lang="nl-NL" sz="1200" dirty="0">
                  <a:solidFill>
                    <a:srgbClr val="535353"/>
                  </a:solidFill>
                </a:rPr>
                <a:t>.)</a:t>
              </a:r>
            </a:p>
          </p:txBody>
        </p:sp>
        <p:sp>
          <p:nvSpPr>
            <p:cNvPr id="250" name="Textfield placeholder"/>
            <p:cNvSpPr txBox="1">
              <a:spLocks/>
            </p:cNvSpPr>
            <p:nvPr userDrawn="1"/>
          </p:nvSpPr>
          <p:spPr>
            <a:xfrm>
              <a:off x="-2571951" y="3028747"/>
              <a:ext cx="2435141"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10000" lvl="3" indent="-270000" algn="l" defTabSz="179388" rtl="0" eaLnBrk="1" latinLnBrk="0" hangingPunct="1">
                <a:lnSpc>
                  <a:spcPct val="120000"/>
                </a:lnSpc>
                <a:spcBef>
                  <a:spcPts val="0"/>
                </a:spcBef>
                <a:spcAft>
                  <a:spcPts val="900"/>
                </a:spcAft>
                <a:buClr>
                  <a:schemeClr val="accent2"/>
                </a:buClr>
                <a:buSzPct val="80000"/>
                <a:buFont typeface="Wingdings 3" panose="05040102010807070707" pitchFamily="18" charset="2"/>
                <a:buChar char=""/>
                <a:defRPr/>
              </a:pPr>
              <a:r>
                <a:rPr lang="nl-NL" sz="1200" b="0" kern="1200" dirty="0">
                  <a:solidFill>
                    <a:srgbClr val="404040"/>
                  </a:solidFill>
                  <a:latin typeface="+mn-lt"/>
                  <a:ea typeface="+mn-ea"/>
                  <a:cs typeface="+mn-cs"/>
                </a:rPr>
                <a:t>Sub-sub-bullets (12 pt.)</a:t>
              </a:r>
            </a:p>
          </p:txBody>
        </p:sp>
        <p:cxnSp>
          <p:nvCxnSpPr>
            <p:cNvPr id="251" name="Rechte verbindingslijn 250"/>
            <p:cNvCxnSpPr/>
            <p:nvPr userDrawn="1"/>
          </p:nvCxnSpPr>
          <p:spPr>
            <a:xfrm>
              <a:off x="-2959100" y="274900"/>
              <a:ext cx="2674470" cy="0"/>
            </a:xfrm>
            <a:prstGeom prst="line">
              <a:avLst/>
            </a:prstGeom>
            <a:noFill/>
            <a:ln w="9525" cap="flat" cmpd="sng" algn="ctr">
              <a:solidFill>
                <a:schemeClr val="accent1"/>
              </a:solidFill>
              <a:prstDash val="solid"/>
            </a:ln>
            <a:effectLst/>
          </p:spPr>
        </p:cxnSp>
        <p:cxnSp>
          <p:nvCxnSpPr>
            <p:cNvPr id="252" name="Rechte verbindingslijn 251"/>
            <p:cNvCxnSpPr/>
            <p:nvPr userDrawn="1"/>
          </p:nvCxnSpPr>
          <p:spPr>
            <a:xfrm>
              <a:off x="-2959100" y="1841989"/>
              <a:ext cx="2661379" cy="0"/>
            </a:xfrm>
            <a:prstGeom prst="line">
              <a:avLst/>
            </a:prstGeom>
            <a:noFill/>
            <a:ln w="9525" cap="flat" cmpd="sng" algn="ctr">
              <a:solidFill>
                <a:schemeClr val="accent1"/>
              </a:solidFill>
              <a:prstDash val="solid"/>
            </a:ln>
            <a:effectLst/>
          </p:spPr>
        </p:cxnSp>
        <p:cxnSp>
          <p:nvCxnSpPr>
            <p:cNvPr id="253" name="Rechte verbindingslijn 252"/>
            <p:cNvCxnSpPr/>
            <p:nvPr userDrawn="1"/>
          </p:nvCxnSpPr>
          <p:spPr>
            <a:xfrm>
              <a:off x="-2959100" y="5249278"/>
              <a:ext cx="2661379" cy="0"/>
            </a:xfrm>
            <a:prstGeom prst="line">
              <a:avLst/>
            </a:prstGeom>
            <a:noFill/>
            <a:ln w="9525" cap="flat" cmpd="sng" algn="ctr">
              <a:solidFill>
                <a:schemeClr val="accent1"/>
              </a:solidFill>
              <a:prstDash val="solid"/>
            </a:ln>
            <a:effectLst/>
          </p:spPr>
        </p:cxnSp>
        <p:grpSp>
          <p:nvGrpSpPr>
            <p:cNvPr id="254" name="Groep 253"/>
            <p:cNvGrpSpPr/>
            <p:nvPr userDrawn="1"/>
          </p:nvGrpSpPr>
          <p:grpSpPr>
            <a:xfrm>
              <a:off x="-1948476" y="816741"/>
              <a:ext cx="409108" cy="427699"/>
              <a:chOff x="-1085063" y="758027"/>
              <a:chExt cx="633799" cy="622540"/>
            </a:xfrm>
          </p:grpSpPr>
          <p:sp>
            <p:nvSpPr>
              <p:cNvPr id="310" name="Afgeronde rechthoek 309"/>
              <p:cNvSpPr/>
              <p:nvPr userDrawn="1"/>
            </p:nvSpPr>
            <p:spPr>
              <a:xfrm>
                <a:off x="-108506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311" name="Groep 310"/>
              <p:cNvGrpSpPr/>
              <p:nvPr userDrawn="1"/>
            </p:nvGrpSpPr>
            <p:grpSpPr>
              <a:xfrm>
                <a:off x="-977739" y="864082"/>
                <a:ext cx="419168" cy="410429"/>
                <a:chOff x="6366933" y="309013"/>
                <a:chExt cx="1901295" cy="1861668"/>
              </a:xfrm>
              <a:solidFill>
                <a:srgbClr val="000000"/>
              </a:solidFill>
            </p:grpSpPr>
            <p:sp>
              <p:nvSpPr>
                <p:cNvPr id="312" name="Rechthoek 311"/>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3" name="Rechthoek 312"/>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4" name="Rechthoek 313"/>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5" name="Rechthoek 314"/>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6" name="Rechthoek 315"/>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7" name="Rechthoek 316"/>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8" name="Rechthoek 317"/>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9" name="Rechthoek 318"/>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20" name="Rechthoek 319"/>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21" name="Rechthoek 320"/>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22" name="Vrije vorm 321"/>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nvGrpSpPr>
            <p:cNvPr id="255" name="Groep 254"/>
            <p:cNvGrpSpPr/>
            <p:nvPr userDrawn="1"/>
          </p:nvGrpSpPr>
          <p:grpSpPr>
            <a:xfrm>
              <a:off x="-2950232" y="1207835"/>
              <a:ext cx="532929" cy="509563"/>
              <a:chOff x="-2880382" y="802341"/>
              <a:chExt cx="532929" cy="509563"/>
            </a:xfrm>
          </p:grpSpPr>
          <p:sp>
            <p:nvSpPr>
              <p:cNvPr id="288" name="Rechthoek 287"/>
              <p:cNvSpPr/>
              <p:nvPr userDrawn="1"/>
            </p:nvSpPr>
            <p:spPr>
              <a:xfrm>
                <a:off x="-2880382" y="802341"/>
                <a:ext cx="532929" cy="509563"/>
              </a:xfrm>
              <a:prstGeom prst="rect">
                <a:avLst/>
              </a:prstGeom>
              <a:solidFill>
                <a:sysClr val="window" lastClr="FFFFFF"/>
              </a:soli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pic>
            <p:nvPicPr>
              <p:cNvPr id="289"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635852" y="822181"/>
                <a:ext cx="226442" cy="208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0"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848026" y="822181"/>
                <a:ext cx="207168" cy="213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91" name="Groep 290"/>
              <p:cNvGrpSpPr/>
              <p:nvPr userDrawn="1"/>
            </p:nvGrpSpPr>
            <p:grpSpPr>
              <a:xfrm>
                <a:off x="-2802433" y="1123442"/>
                <a:ext cx="132915" cy="104889"/>
                <a:chOff x="-2796392" y="1123442"/>
                <a:chExt cx="120832" cy="104889"/>
              </a:xfrm>
            </p:grpSpPr>
            <p:sp>
              <p:nvSpPr>
                <p:cNvPr id="305" name="Rechthoek 304"/>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6" name="Rechthoek 305"/>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7" name="Rechthoek 306"/>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8" name="Rechthoek 307"/>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9" name="Rechthoek 308"/>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292" name="Groep 291"/>
              <p:cNvGrpSpPr/>
              <p:nvPr userDrawn="1"/>
            </p:nvGrpSpPr>
            <p:grpSpPr>
              <a:xfrm>
                <a:off x="-2575417" y="1123442"/>
                <a:ext cx="133930" cy="104889"/>
                <a:chOff x="-2556734" y="1123442"/>
                <a:chExt cx="147324" cy="104889"/>
              </a:xfrm>
            </p:grpSpPr>
            <p:grpSp>
              <p:nvGrpSpPr>
                <p:cNvPr id="293" name="Groep 292"/>
                <p:cNvGrpSpPr/>
                <p:nvPr userDrawn="1"/>
              </p:nvGrpSpPr>
              <p:grpSpPr>
                <a:xfrm>
                  <a:off x="-2556734" y="1123442"/>
                  <a:ext cx="68206" cy="104889"/>
                  <a:chOff x="-2796392" y="1123442"/>
                  <a:chExt cx="120832" cy="104889"/>
                </a:xfrm>
              </p:grpSpPr>
              <p:sp>
                <p:nvSpPr>
                  <p:cNvPr id="300" name="Rechthoek 299"/>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1" name="Rechthoek 300"/>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2" name="Rechthoek 301"/>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3" name="Rechthoek 302"/>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4" name="Rechthoek 303"/>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294" name="Groep 293"/>
                <p:cNvGrpSpPr/>
                <p:nvPr userDrawn="1"/>
              </p:nvGrpSpPr>
              <p:grpSpPr>
                <a:xfrm>
                  <a:off x="-2477616" y="1123442"/>
                  <a:ext cx="68206" cy="104889"/>
                  <a:chOff x="-2796392" y="1123442"/>
                  <a:chExt cx="120832" cy="104889"/>
                </a:xfrm>
              </p:grpSpPr>
              <p:sp>
                <p:nvSpPr>
                  <p:cNvPr id="295" name="Rechthoek 294"/>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6" name="Rechthoek 295"/>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7" name="Rechthoek 296"/>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8" name="Rechthoek 297"/>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9" name="Rechthoek 298"/>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grpSp>
          <p:nvGrpSpPr>
            <p:cNvPr id="256" name="Groep 255"/>
            <p:cNvGrpSpPr/>
            <p:nvPr userDrawn="1"/>
          </p:nvGrpSpPr>
          <p:grpSpPr>
            <a:xfrm>
              <a:off x="-1948476" y="1281164"/>
              <a:ext cx="413704" cy="427699"/>
              <a:chOff x="-1845083" y="758027"/>
              <a:chExt cx="633799" cy="622540"/>
            </a:xfrm>
          </p:grpSpPr>
          <p:sp>
            <p:nvSpPr>
              <p:cNvPr id="275" name="Afgeronde rechthoek 274"/>
              <p:cNvSpPr/>
              <p:nvPr userDrawn="1"/>
            </p:nvSpPr>
            <p:spPr>
              <a:xfrm>
                <a:off x="-184508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276" name="Groep 275"/>
              <p:cNvGrpSpPr/>
              <p:nvPr userDrawn="1"/>
            </p:nvGrpSpPr>
            <p:grpSpPr>
              <a:xfrm>
                <a:off x="-1737762" y="864082"/>
                <a:ext cx="419168" cy="410429"/>
                <a:chOff x="3708400" y="309013"/>
                <a:chExt cx="1901295" cy="1861668"/>
              </a:xfrm>
              <a:solidFill>
                <a:srgbClr val="000000"/>
              </a:solidFill>
            </p:grpSpPr>
            <p:sp>
              <p:nvSpPr>
                <p:cNvPr id="277" name="Rechthoek 276"/>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8" name="Rechthoek 277"/>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9" name="Rechthoek 278"/>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0" name="Rechthoek 279"/>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1" name="Rechthoek 280"/>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2" name="Rechthoek 281"/>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3" name="Rechthoek 282"/>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4" name="Rechthoek 283"/>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5" name="Rechthoek 284"/>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6" name="Rechthoek 285"/>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7" name="Vrije vorm 286"/>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cxnSp>
          <p:nvCxnSpPr>
            <p:cNvPr id="257" name="Rechte verbindingslijn 256"/>
            <p:cNvCxnSpPr/>
            <p:nvPr userDrawn="1"/>
          </p:nvCxnSpPr>
          <p:spPr>
            <a:xfrm>
              <a:off x="-2814292" y="1441193"/>
              <a:ext cx="865816" cy="53821"/>
            </a:xfrm>
            <a:prstGeom prst="line">
              <a:avLst/>
            </a:prstGeom>
            <a:noFill/>
            <a:ln w="9525" cap="flat" cmpd="sng" algn="ctr">
              <a:solidFill>
                <a:schemeClr val="accent1"/>
              </a:solidFill>
              <a:prstDash val="solid"/>
              <a:headEnd type="oval"/>
            </a:ln>
            <a:effectLst/>
          </p:spPr>
        </p:cxnSp>
        <p:cxnSp>
          <p:nvCxnSpPr>
            <p:cNvPr id="258" name="Rechte verbindingslijn 257"/>
            <p:cNvCxnSpPr/>
            <p:nvPr userDrawn="1"/>
          </p:nvCxnSpPr>
          <p:spPr>
            <a:xfrm flipV="1">
              <a:off x="-2453902" y="1030591"/>
              <a:ext cx="505426" cy="283623"/>
            </a:xfrm>
            <a:prstGeom prst="line">
              <a:avLst/>
            </a:prstGeom>
            <a:noFill/>
            <a:ln w="9525" cap="flat" cmpd="sng" algn="ctr">
              <a:solidFill>
                <a:schemeClr val="accent1"/>
              </a:solidFill>
              <a:prstDash val="solid"/>
              <a:headEnd type="oval"/>
            </a:ln>
            <a:effectLst/>
          </p:spPr>
        </p:cxnSp>
        <p:sp>
          <p:nvSpPr>
            <p:cNvPr id="259" name="Textfield placeholder"/>
            <p:cNvSpPr txBox="1">
              <a:spLocks/>
            </p:cNvSpPr>
            <p:nvPr userDrawn="1"/>
          </p:nvSpPr>
          <p:spPr>
            <a:xfrm>
              <a:off x="-1341598" y="816743"/>
              <a:ext cx="1056968" cy="427698"/>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hoog</a:t>
              </a:r>
            </a:p>
          </p:txBody>
        </p:sp>
        <p:sp>
          <p:nvSpPr>
            <p:cNvPr id="260" name="Textfield placeholder"/>
            <p:cNvSpPr txBox="1">
              <a:spLocks/>
            </p:cNvSpPr>
            <p:nvPr userDrawn="1"/>
          </p:nvSpPr>
          <p:spPr>
            <a:xfrm>
              <a:off x="-1341599" y="1281164"/>
              <a:ext cx="1070223" cy="427699"/>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laag</a:t>
              </a:r>
            </a:p>
          </p:txBody>
        </p:sp>
        <p:sp>
          <p:nvSpPr>
            <p:cNvPr id="261" name="Ovaal 260"/>
            <p:cNvSpPr/>
            <p:nvPr userDrawn="1"/>
          </p:nvSpPr>
          <p:spPr>
            <a:xfrm>
              <a:off x="-2959433" y="338208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5</a:t>
              </a:r>
            </a:p>
          </p:txBody>
        </p:sp>
        <p:sp>
          <p:nvSpPr>
            <p:cNvPr id="262" name="Textfield placeholder"/>
            <p:cNvSpPr txBox="1">
              <a:spLocks/>
            </p:cNvSpPr>
            <p:nvPr userDrawn="1"/>
          </p:nvSpPr>
          <p:spPr>
            <a:xfrm>
              <a:off x="-2571950" y="3382082"/>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60000" lvl="4" indent="-360000" defTabSz="179388">
                <a:lnSpc>
                  <a:spcPct val="120000"/>
                </a:lnSpc>
                <a:spcBef>
                  <a:spcPts val="0"/>
                </a:spcBef>
                <a:spcAft>
                  <a:spcPts val="900"/>
                </a:spcAft>
                <a:buClr>
                  <a:srgbClr val="ED1A3B"/>
                </a:buClr>
                <a:buFont typeface="+mj-lt"/>
                <a:buAutoNum type="arabicPeriod"/>
                <a:defRPr/>
              </a:pPr>
              <a:r>
                <a:rPr lang="nl-NL" sz="1200" b="0" dirty="0">
                  <a:solidFill>
                    <a:srgbClr val="404040"/>
                  </a:solidFill>
                </a:rPr>
                <a:t>Numeriek (12 pt.)</a:t>
              </a:r>
            </a:p>
          </p:txBody>
        </p:sp>
        <p:grpSp>
          <p:nvGrpSpPr>
            <p:cNvPr id="263" name="Groep 262"/>
            <p:cNvGrpSpPr/>
            <p:nvPr userDrawn="1"/>
          </p:nvGrpSpPr>
          <p:grpSpPr>
            <a:xfrm>
              <a:off x="-2950232" y="816050"/>
              <a:ext cx="528695" cy="344202"/>
              <a:chOff x="-2880382" y="410556"/>
              <a:chExt cx="528695" cy="344202"/>
            </a:xfrm>
          </p:grpSpPr>
          <p:sp>
            <p:nvSpPr>
              <p:cNvPr id="273" name="Afgeronde rechthoek 272"/>
              <p:cNvSpPr/>
              <p:nvPr userDrawn="1"/>
            </p:nvSpPr>
            <p:spPr>
              <a:xfrm>
                <a:off x="-2874214" y="410556"/>
                <a:ext cx="522527" cy="339183"/>
              </a:xfrm>
              <a:prstGeom prst="roundRect">
                <a:avLst>
                  <a:gd name="adj" fmla="val 7565"/>
                </a:avLst>
              </a:prstGeom>
              <a:gradFill>
                <a:gsLst>
                  <a:gs pos="0">
                    <a:srgbClr val="FFEC8F"/>
                  </a:gs>
                  <a:gs pos="100000">
                    <a:srgbClr val="FFFFFF"/>
                  </a:gs>
                </a:gsLst>
                <a:lin ang="5400000" scaled="0"/>
              </a:gra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sp>
            <p:nvSpPr>
              <p:cNvPr id="274" name="Vrije vorm 273"/>
              <p:cNvSpPr/>
              <p:nvPr userDrawn="1"/>
            </p:nvSpPr>
            <p:spPr>
              <a:xfrm>
                <a:off x="-2880382" y="452699"/>
                <a:ext cx="528695" cy="302059"/>
              </a:xfrm>
              <a:custGeom>
                <a:avLst/>
                <a:gdLst>
                  <a:gd name="connsiteX0" fmla="*/ 55524 w 528695"/>
                  <a:gd name="connsiteY0" fmla="*/ 0 h 302059"/>
                  <a:gd name="connsiteX1" fmla="*/ 455496 w 528695"/>
                  <a:gd name="connsiteY1" fmla="*/ 0 h 302059"/>
                  <a:gd name="connsiteX2" fmla="*/ 475205 w 528695"/>
                  <a:gd name="connsiteY2" fmla="*/ 19709 h 302059"/>
                  <a:gd name="connsiteX3" fmla="*/ 475205 w 528695"/>
                  <a:gd name="connsiteY3" fmla="*/ 230056 h 302059"/>
                  <a:gd name="connsiteX4" fmla="*/ 516694 w 528695"/>
                  <a:gd name="connsiteY4" fmla="*/ 230056 h 302059"/>
                  <a:gd name="connsiteX5" fmla="*/ 528695 w 528695"/>
                  <a:gd name="connsiteY5" fmla="*/ 242057 h 302059"/>
                  <a:gd name="connsiteX6" fmla="*/ 528695 w 528695"/>
                  <a:gd name="connsiteY6" fmla="*/ 290058 h 302059"/>
                  <a:gd name="connsiteX7" fmla="*/ 516694 w 528695"/>
                  <a:gd name="connsiteY7" fmla="*/ 302059 h 302059"/>
                  <a:gd name="connsiteX8" fmla="*/ 12001 w 528695"/>
                  <a:gd name="connsiteY8" fmla="*/ 302059 h 302059"/>
                  <a:gd name="connsiteX9" fmla="*/ 0 w 528695"/>
                  <a:gd name="connsiteY9" fmla="*/ 290058 h 302059"/>
                  <a:gd name="connsiteX10" fmla="*/ 0 w 528695"/>
                  <a:gd name="connsiteY10" fmla="*/ 242057 h 302059"/>
                  <a:gd name="connsiteX11" fmla="*/ 12001 w 528695"/>
                  <a:gd name="connsiteY11" fmla="*/ 230056 h 302059"/>
                  <a:gd name="connsiteX12" fmla="*/ 35815 w 528695"/>
                  <a:gd name="connsiteY12" fmla="*/ 230056 h 302059"/>
                  <a:gd name="connsiteX13" fmla="*/ 35815 w 528695"/>
                  <a:gd name="connsiteY13" fmla="*/ 19709 h 302059"/>
                  <a:gd name="connsiteX14" fmla="*/ 55524 w 528695"/>
                  <a:gd name="connsiteY14" fmla="*/ 0 h 3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8695" h="302059">
                    <a:moveTo>
                      <a:pt x="55524" y="0"/>
                    </a:moveTo>
                    <a:lnTo>
                      <a:pt x="455496" y="0"/>
                    </a:lnTo>
                    <a:cubicBezTo>
                      <a:pt x="466381" y="0"/>
                      <a:pt x="475205" y="8824"/>
                      <a:pt x="475205" y="19709"/>
                    </a:cubicBezTo>
                    <a:lnTo>
                      <a:pt x="475205" y="230056"/>
                    </a:lnTo>
                    <a:lnTo>
                      <a:pt x="516694" y="230056"/>
                    </a:lnTo>
                    <a:cubicBezTo>
                      <a:pt x="523322" y="230056"/>
                      <a:pt x="528695" y="235429"/>
                      <a:pt x="528695" y="242057"/>
                    </a:cubicBezTo>
                    <a:lnTo>
                      <a:pt x="528695" y="290058"/>
                    </a:lnTo>
                    <a:cubicBezTo>
                      <a:pt x="528695" y="296686"/>
                      <a:pt x="523322" y="302059"/>
                      <a:pt x="516694" y="302059"/>
                    </a:cubicBezTo>
                    <a:lnTo>
                      <a:pt x="12001" y="302059"/>
                    </a:lnTo>
                    <a:cubicBezTo>
                      <a:pt x="5373" y="302059"/>
                      <a:pt x="0" y="296686"/>
                      <a:pt x="0" y="290058"/>
                    </a:cubicBezTo>
                    <a:lnTo>
                      <a:pt x="0" y="242057"/>
                    </a:lnTo>
                    <a:cubicBezTo>
                      <a:pt x="0" y="235429"/>
                      <a:pt x="5373" y="230056"/>
                      <a:pt x="12001" y="230056"/>
                    </a:cubicBezTo>
                    <a:lnTo>
                      <a:pt x="35815" y="230056"/>
                    </a:lnTo>
                    <a:lnTo>
                      <a:pt x="35815" y="19709"/>
                    </a:lnTo>
                    <a:cubicBezTo>
                      <a:pt x="35815" y="8824"/>
                      <a:pt x="44639" y="0"/>
                      <a:pt x="55524" y="0"/>
                    </a:cubicBezTo>
                    <a:close/>
                  </a:path>
                </a:pathLst>
              </a:custGeom>
              <a:solidFill>
                <a:sysClr val="window" lastClr="FFFFFF">
                  <a:lumMod val="95000"/>
                </a:sysClr>
              </a:solidFill>
              <a:ln w="9525" cap="flat" cmpd="sng" algn="ctr">
                <a:solidFill>
                  <a:srgbClr val="FFFFFF">
                    <a:lumMod val="90000"/>
                  </a:srgbClr>
                </a:solidFill>
                <a:prstDash val="solid"/>
                <a:miter lim="800000"/>
              </a:ln>
              <a:effectLst/>
            </p:spPr>
            <p:txBody>
              <a:bodyPr rot="0" spcFirstLastPara="0" vert="horz" wrap="square" lIns="108000" tIns="36000" rIns="108000" bIns="10800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900" dirty="0">
                    <a:solidFill>
                      <a:prstClr val="black"/>
                    </a:solidFill>
                    <a:latin typeface="Segoe UI Light"/>
                  </a:rPr>
                  <a:t>Start</a:t>
                </a:r>
              </a:p>
            </p:txBody>
          </p:sp>
        </p:grpSp>
        <p:sp>
          <p:nvSpPr>
            <p:cNvPr id="264" name="Tekstvak 65"/>
            <p:cNvSpPr txBox="1"/>
            <p:nvPr userDrawn="1"/>
          </p:nvSpPr>
          <p:spPr>
            <a:xfrm>
              <a:off x="-2959433" y="372104"/>
              <a:ext cx="2679887" cy="453396"/>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nl-NL" sz="1200" kern="0" dirty="0">
                  <a:solidFill>
                    <a:srgbClr val="000000"/>
                  </a:solidFill>
                  <a:latin typeface="Segoe UI Light" panose="020B0502040204020203" pitchFamily="34" charset="0"/>
                  <a:cs typeface="Segoe UI Light" panose="020B0502040204020203" pitchFamily="34" charset="0"/>
                </a:rPr>
                <a:t>Ga naar de tab </a:t>
              </a:r>
              <a:r>
                <a:rPr lang="nl-NL" sz="1200" b="1" kern="0" dirty="0">
                  <a:solidFill>
                    <a:srgbClr val="000000"/>
                  </a:solidFill>
                  <a:latin typeface="Segoe UI Light" panose="020B0502040204020203" pitchFamily="34" charset="0"/>
                  <a:cs typeface="Segoe UI Light" panose="020B0502040204020203" pitchFamily="34" charset="0"/>
                </a:rPr>
                <a:t>Start’ </a:t>
              </a:r>
              <a:r>
                <a:rPr lang="nl-NL" sz="1200" kern="0" dirty="0">
                  <a:solidFill>
                    <a:srgbClr val="000000"/>
                  </a:solidFill>
                  <a:latin typeface="Segoe UI Light" panose="020B0502040204020203" pitchFamily="34" charset="0"/>
                  <a:cs typeface="Segoe UI Light" panose="020B0502040204020203" pitchFamily="34" charset="0"/>
                </a:rPr>
                <a:t>en vind onderstaande knoppen onder </a:t>
              </a:r>
              <a:r>
                <a:rPr lang="nl-NL" sz="1200" b="1" kern="0" dirty="0">
                  <a:solidFill>
                    <a:srgbClr val="000000"/>
                  </a:solidFill>
                  <a:latin typeface="Segoe UI Light" panose="020B0502040204020203" pitchFamily="34" charset="0"/>
                  <a:cs typeface="Segoe UI Light" panose="020B0502040204020203" pitchFamily="34" charset="0"/>
                </a:rPr>
                <a:t>‘Alinea’</a:t>
              </a:r>
            </a:p>
          </p:txBody>
        </p:sp>
        <p:sp>
          <p:nvSpPr>
            <p:cNvPr id="265" name="Ovaal 264"/>
            <p:cNvSpPr/>
            <p:nvPr userDrawn="1"/>
          </p:nvSpPr>
          <p:spPr>
            <a:xfrm>
              <a:off x="-2959433" y="375153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6</a:t>
              </a:r>
            </a:p>
          </p:txBody>
        </p:sp>
        <p:sp>
          <p:nvSpPr>
            <p:cNvPr id="266" name="Textfield placeholder"/>
            <p:cNvSpPr txBox="1">
              <a:spLocks/>
            </p:cNvSpPr>
            <p:nvPr userDrawn="1"/>
          </p:nvSpPr>
          <p:spPr>
            <a:xfrm>
              <a:off x="-2571950" y="3751536"/>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0000" lvl="5" indent="-270000" defTabSz="179388">
                <a:lnSpc>
                  <a:spcPct val="120000"/>
                </a:lnSpc>
                <a:spcAft>
                  <a:spcPts val="900"/>
                </a:spcAft>
                <a:buClr>
                  <a:srgbClr val="ED1A3B"/>
                </a:buClr>
                <a:buSzPct val="80000"/>
                <a:buFont typeface="Wingdings 3" panose="05040102010807070707" pitchFamily="18" charset="2"/>
                <a:buChar char=""/>
                <a:defRPr/>
              </a:pPr>
              <a:r>
                <a:rPr lang="nl-NL" sz="1200" cap="none" dirty="0">
                  <a:solidFill>
                    <a:srgbClr val="535353"/>
                  </a:solidFill>
                </a:rPr>
                <a:t># Bullets (12 pt.)</a:t>
              </a:r>
            </a:p>
          </p:txBody>
        </p:sp>
        <p:sp>
          <p:nvSpPr>
            <p:cNvPr id="267" name="Ovaal 266"/>
            <p:cNvSpPr/>
            <p:nvPr userDrawn="1"/>
          </p:nvSpPr>
          <p:spPr>
            <a:xfrm>
              <a:off x="-2959433" y="414870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7</a:t>
              </a:r>
            </a:p>
          </p:txBody>
        </p:sp>
        <p:sp>
          <p:nvSpPr>
            <p:cNvPr id="268" name="Textfield placeholder"/>
            <p:cNvSpPr txBox="1">
              <a:spLocks/>
            </p:cNvSpPr>
            <p:nvPr userDrawn="1"/>
          </p:nvSpPr>
          <p:spPr>
            <a:xfrm>
              <a:off x="-2571950" y="414870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6" indent="0" defTabSz="179388">
                <a:lnSpc>
                  <a:spcPct val="120000"/>
                </a:lnSpc>
                <a:spcBef>
                  <a:spcPts val="0"/>
                </a:spcBef>
                <a:spcAft>
                  <a:spcPts val="900"/>
                </a:spcAft>
                <a:buClr>
                  <a:srgbClr val="ED1A3B"/>
                </a:buClr>
                <a:buSzPct val="90000"/>
                <a:buFont typeface="+mj-lt"/>
                <a:buNone/>
                <a:defRPr/>
              </a:pPr>
              <a:r>
                <a:rPr lang="nl-NL" sz="1200" i="1" dirty="0">
                  <a:solidFill>
                    <a:srgbClr val="404040"/>
                  </a:solidFill>
                </a:rPr>
                <a:t>Cursief donker (12 pt.)</a:t>
              </a:r>
            </a:p>
          </p:txBody>
        </p:sp>
        <p:sp>
          <p:nvSpPr>
            <p:cNvPr id="269" name="Ovaal 268"/>
            <p:cNvSpPr/>
            <p:nvPr userDrawn="1"/>
          </p:nvSpPr>
          <p:spPr>
            <a:xfrm>
              <a:off x="-2959433" y="454586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8</a:t>
              </a:r>
            </a:p>
          </p:txBody>
        </p:sp>
        <p:sp>
          <p:nvSpPr>
            <p:cNvPr id="270" name="Textfield placeholder"/>
            <p:cNvSpPr txBox="1">
              <a:spLocks/>
            </p:cNvSpPr>
            <p:nvPr userDrawn="1"/>
          </p:nvSpPr>
          <p:spPr>
            <a:xfrm>
              <a:off x="-2571950" y="4545864"/>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7" indent="0" defTabSz="179388">
                <a:lnSpc>
                  <a:spcPct val="80000"/>
                </a:lnSpc>
                <a:spcBef>
                  <a:spcPts val="0"/>
                </a:spcBef>
                <a:spcAft>
                  <a:spcPts val="900"/>
                </a:spcAft>
                <a:buClr>
                  <a:srgbClr val="ED1A3B"/>
                </a:buClr>
                <a:buFont typeface="Arial" pitchFamily="34" charset="0"/>
                <a:buNone/>
                <a:defRPr/>
              </a:pPr>
              <a:r>
                <a:rPr lang="nl-NL" sz="1200" i="1" dirty="0">
                  <a:solidFill>
                    <a:srgbClr val="A3B0C0"/>
                  </a:solidFill>
                </a:rPr>
                <a:t>Cursief Licht (12 pt.)</a:t>
              </a:r>
            </a:p>
          </p:txBody>
        </p:sp>
        <p:sp>
          <p:nvSpPr>
            <p:cNvPr id="271" name="Ovaal 270"/>
            <p:cNvSpPr/>
            <p:nvPr userDrawn="1"/>
          </p:nvSpPr>
          <p:spPr>
            <a:xfrm>
              <a:off x="-2959433" y="488761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9</a:t>
              </a:r>
            </a:p>
          </p:txBody>
        </p:sp>
        <p:sp>
          <p:nvSpPr>
            <p:cNvPr id="272" name="Textfield placeholder"/>
            <p:cNvSpPr txBox="1">
              <a:spLocks/>
            </p:cNvSpPr>
            <p:nvPr userDrawn="1"/>
          </p:nvSpPr>
          <p:spPr>
            <a:xfrm>
              <a:off x="-2571950" y="488761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8" indent="0" defTabSz="179388">
                <a:lnSpc>
                  <a:spcPct val="80000"/>
                </a:lnSpc>
                <a:spcBef>
                  <a:spcPts val="0"/>
                </a:spcBef>
                <a:spcAft>
                  <a:spcPts val="900"/>
                </a:spcAft>
                <a:buClr>
                  <a:srgbClr val="ED1A3B"/>
                </a:buClr>
                <a:buFont typeface="Arial" pitchFamily="34" charset="0"/>
                <a:buNone/>
                <a:defRPr/>
              </a:pPr>
              <a:r>
                <a:rPr lang="nl-NL" sz="1400" b="1" dirty="0">
                  <a:solidFill>
                    <a:srgbClr val="ED1A3B"/>
                  </a:solidFill>
                </a:rPr>
                <a:t>Subtitel (14 pt.)</a:t>
              </a:r>
            </a:p>
          </p:txBody>
        </p:sp>
      </p:grpSp>
      <p:sp>
        <p:nvSpPr>
          <p:cNvPr id="114" name="Hyperlink - Inhoudsopgave">
            <a:hlinkClick r:id="rId5" action="ppaction://hlinksldjump"/>
          </p:cNvPr>
          <p:cNvSpPr/>
          <p:nvPr userDrawn="1"/>
        </p:nvSpPr>
        <p:spPr>
          <a:xfrm>
            <a:off x="10197856" y="5889801"/>
            <a:ext cx="2000494" cy="968199"/>
          </a:xfrm>
          <a:prstGeom prst="rect">
            <a:avLst/>
          </a:prstGeom>
          <a:solidFill>
            <a:srgbClr val="ED1A3B">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132" name="Grijze achtergrond"/>
          <p:cNvSpPr/>
          <p:nvPr/>
        </p:nvSpPr>
        <p:spPr>
          <a:xfrm>
            <a:off x="8731404" y="1358671"/>
            <a:ext cx="2802836" cy="444046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en-GB">
              <a:solidFill>
                <a:srgbClr val="FFFFFF"/>
              </a:solidFill>
            </a:endParaRPr>
          </a:p>
        </p:txBody>
      </p:sp>
      <p:cxnSp>
        <p:nvCxnSpPr>
          <p:cNvPr id="141" name="Grijze lijn - onder"/>
          <p:cNvCxnSpPr/>
          <p:nvPr userDrawn="1"/>
        </p:nvCxnSpPr>
        <p:spPr>
          <a:xfrm flipH="1">
            <a:off x="664804" y="5776291"/>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2" name="Grijze lijn - boven"/>
          <p:cNvCxnSpPr/>
          <p:nvPr userDrawn="1"/>
        </p:nvCxnSpPr>
        <p:spPr>
          <a:xfrm flipH="1">
            <a:off x="664804" y="1358670"/>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35" name="Witte achtergrond - Logo_03"/>
          <p:cNvSpPr/>
          <p:nvPr/>
        </p:nvSpPr>
        <p:spPr>
          <a:xfrm>
            <a:off x="9048755" y="4295109"/>
            <a:ext cx="2182271" cy="1231465"/>
          </a:xfrm>
          <a:prstGeom prst="rect">
            <a:avLst/>
          </a:prstGeom>
          <a:solidFill>
            <a:schemeClr val="bg1"/>
          </a:solidFill>
          <a:ln w="12700">
            <a:solidFill>
              <a:schemeClr val="accent6">
                <a:lumMod val="40000"/>
                <a:lumOff val="6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134" name="Witte achtergrond - Logo_02"/>
          <p:cNvSpPr/>
          <p:nvPr/>
        </p:nvSpPr>
        <p:spPr>
          <a:xfrm>
            <a:off x="9048755" y="2966181"/>
            <a:ext cx="2182271" cy="1231465"/>
          </a:xfrm>
          <a:prstGeom prst="rect">
            <a:avLst/>
          </a:prstGeom>
          <a:solidFill>
            <a:schemeClr val="bg1"/>
          </a:solidFill>
          <a:ln w="12700">
            <a:solidFill>
              <a:schemeClr val="accent6">
                <a:lumMod val="40000"/>
                <a:lumOff val="6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133" name="Witte achtergrond - Logo_01"/>
          <p:cNvSpPr/>
          <p:nvPr/>
        </p:nvSpPr>
        <p:spPr>
          <a:xfrm>
            <a:off x="9048755" y="1637253"/>
            <a:ext cx="2182271" cy="1231465"/>
          </a:xfrm>
          <a:prstGeom prst="rect">
            <a:avLst/>
          </a:prstGeom>
          <a:solidFill>
            <a:schemeClr val="bg1"/>
          </a:solidFill>
          <a:ln w="12700">
            <a:solidFill>
              <a:schemeClr val="accent6">
                <a:lumMod val="40000"/>
                <a:lumOff val="6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131" name="Tijdelijke aanduiding voor Dianummer"/>
          <p:cNvSpPr>
            <a:spLocks noGrp="1"/>
          </p:cNvSpPr>
          <p:nvPr>
            <p:ph type="sldNum" sz="quarter" idx="4"/>
          </p:nvPr>
        </p:nvSpPr>
        <p:spPr>
          <a:xfrm>
            <a:off x="5770549" y="6295992"/>
            <a:ext cx="657251" cy="365125"/>
          </a:xfrm>
          <a:prstGeom prst="rect">
            <a:avLst/>
          </a:prstGeom>
        </p:spPr>
        <p:txBody>
          <a:bodyPr vert="horz" lIns="91440" tIns="45720" rIns="91440" bIns="45720" rtlCol="0" anchor="ctr"/>
          <a:lstStyle>
            <a:lvl1pPr algn="ctr">
              <a:defRPr sz="800">
                <a:solidFill>
                  <a:schemeClr val="tx1">
                    <a:tint val="75000"/>
                  </a:schemeClr>
                </a:solidFill>
              </a:defRPr>
            </a:lvl1pPr>
          </a:lstStyle>
          <a:p>
            <a:fld id="{1B3FA67A-C720-417A-A072-0CD211FD8662}" type="slidenum">
              <a:rPr lang="nl-NL" smtClean="0">
                <a:solidFill>
                  <a:srgbClr val="000000">
                    <a:tint val="75000"/>
                  </a:srgbClr>
                </a:solidFill>
              </a:rPr>
              <a:pPr/>
              <a:t>‹nr.›</a:t>
            </a:fld>
            <a:endParaRPr lang="nl-NL" dirty="0">
              <a:solidFill>
                <a:srgbClr val="000000">
                  <a:tint val="75000"/>
                </a:srgbClr>
              </a:solidFill>
            </a:endParaRPr>
          </a:p>
        </p:txBody>
      </p:sp>
      <p:sp>
        <p:nvSpPr>
          <p:cNvPr id="46" name="Tijdelijke aanduiding voor Logo_03"/>
          <p:cNvSpPr>
            <a:spLocks noGrp="1"/>
          </p:cNvSpPr>
          <p:nvPr>
            <p:ph sz="quarter" idx="19" hasCustomPrompt="1"/>
          </p:nvPr>
        </p:nvSpPr>
        <p:spPr>
          <a:xfrm>
            <a:off x="9184224" y="4407731"/>
            <a:ext cx="1911330" cy="1006221"/>
          </a:xfrm>
        </p:spPr>
        <p:txBody>
          <a:bodyPr anchor="ctr"/>
          <a:lstStyle>
            <a:lvl1pPr algn="ctr">
              <a:defRPr sz="1000"/>
            </a:lvl1pPr>
          </a:lstStyle>
          <a:p>
            <a:pPr lvl="0"/>
            <a:r>
              <a:rPr lang="nl-NL" dirty="0"/>
              <a:t>LOGO</a:t>
            </a:r>
          </a:p>
        </p:txBody>
      </p:sp>
      <p:sp>
        <p:nvSpPr>
          <p:cNvPr id="40" name="Tijdelijke aanduiding voor Logo_02"/>
          <p:cNvSpPr>
            <a:spLocks noGrp="1"/>
          </p:cNvSpPr>
          <p:nvPr>
            <p:ph sz="quarter" idx="18" hasCustomPrompt="1"/>
          </p:nvPr>
        </p:nvSpPr>
        <p:spPr>
          <a:xfrm>
            <a:off x="9184224" y="3078803"/>
            <a:ext cx="1911330" cy="1006221"/>
          </a:xfrm>
        </p:spPr>
        <p:txBody>
          <a:bodyPr anchor="ctr"/>
          <a:lstStyle>
            <a:lvl1pPr algn="ctr">
              <a:defRPr sz="1000"/>
            </a:lvl1pPr>
          </a:lstStyle>
          <a:p>
            <a:pPr lvl="0"/>
            <a:r>
              <a:rPr lang="nl-NL" dirty="0"/>
              <a:t>LOGO</a:t>
            </a:r>
          </a:p>
        </p:txBody>
      </p:sp>
      <p:sp>
        <p:nvSpPr>
          <p:cNvPr id="38" name="Tijdelijke aanduiding voor Logo_01"/>
          <p:cNvSpPr>
            <a:spLocks noGrp="1"/>
          </p:cNvSpPr>
          <p:nvPr>
            <p:ph sz="quarter" idx="17" hasCustomPrompt="1"/>
          </p:nvPr>
        </p:nvSpPr>
        <p:spPr>
          <a:xfrm>
            <a:off x="9184224" y="1749875"/>
            <a:ext cx="1911330" cy="1006221"/>
          </a:xfrm>
        </p:spPr>
        <p:txBody>
          <a:bodyPr anchor="ctr"/>
          <a:lstStyle>
            <a:lvl1pPr algn="ctr">
              <a:defRPr sz="1000"/>
            </a:lvl1pPr>
          </a:lstStyle>
          <a:p>
            <a:pPr lvl="0"/>
            <a:r>
              <a:rPr lang="nl-NL" dirty="0"/>
              <a:t>LOGO</a:t>
            </a:r>
          </a:p>
        </p:txBody>
      </p:sp>
      <p:sp>
        <p:nvSpPr>
          <p:cNvPr id="136" name="Tijdelijke aanduiding voor Tekst"/>
          <p:cNvSpPr>
            <a:spLocks noGrp="1"/>
          </p:cNvSpPr>
          <p:nvPr>
            <p:ph type="body" orient="vert" idx="15" hasCustomPrompt="1"/>
          </p:nvPr>
        </p:nvSpPr>
        <p:spPr>
          <a:xfrm>
            <a:off x="664109" y="1720867"/>
            <a:ext cx="8066099" cy="3693600"/>
          </a:xfrm>
        </p:spPr>
        <p:txBody>
          <a:bodyPr vert="horz" lIns="0" tIns="0" rIns="0" bIns="0" numCol="2" spcCol="360000"/>
          <a:lstStyle>
            <a:lvl1pPr>
              <a:defRPr sz="1200"/>
            </a:lvl1pPr>
            <a:lvl2pPr marL="180975" indent="-180975">
              <a:defRPr sz="1200"/>
            </a:lvl2pPr>
            <a:lvl3pPr marL="360363" indent="-179388">
              <a:defRPr sz="1200"/>
            </a:lvl3pPr>
            <a:lvl4pPr marL="541338" indent="-180975">
              <a:defRPr sz="1200"/>
            </a:lvl4pPr>
            <a:lvl5pPr marL="265113" indent="-265113">
              <a:defRPr sz="1200"/>
            </a:lvl5pPr>
            <a:lvl6pPr marL="444500" indent="-179388">
              <a:defRPr sz="1200"/>
            </a:lvl6pPr>
            <a:lvl7pPr>
              <a:defRPr sz="1200"/>
            </a:lvl7pPr>
            <a:lvl8pPr>
              <a:defRPr sz="1200"/>
            </a:lvl8pPr>
            <a:lvl9pPr>
              <a:defRPr sz="1400"/>
            </a:lvl9pPr>
          </a:lstStyle>
          <a:p>
            <a:pPr lvl="0"/>
            <a:r>
              <a:rPr lang="nl-NL" dirty="0"/>
              <a:t>Leestekst</a:t>
            </a:r>
          </a:p>
          <a:p>
            <a:pPr lvl="1"/>
            <a:r>
              <a:rPr lang="nl-NL" dirty="0"/>
              <a:t>Bullets</a:t>
            </a:r>
          </a:p>
          <a:p>
            <a:pPr lvl="2"/>
            <a:r>
              <a:rPr lang="nl-NL" dirty="0"/>
              <a:t>Sub-bullets</a:t>
            </a:r>
          </a:p>
          <a:p>
            <a:pPr lvl="3"/>
            <a:r>
              <a:rPr lang="nl-NL" dirty="0"/>
              <a:t>Sub-sub-bullets</a:t>
            </a:r>
          </a:p>
          <a:p>
            <a:pPr lvl="4"/>
            <a:r>
              <a:rPr lang="nl-NL" dirty="0"/>
              <a:t>Numeriek</a:t>
            </a:r>
          </a:p>
          <a:p>
            <a:pPr lvl="5"/>
            <a:r>
              <a:rPr lang="nl-NL" dirty="0"/>
              <a:t># Bullets</a:t>
            </a:r>
          </a:p>
          <a:p>
            <a:pPr lvl="6"/>
            <a:r>
              <a:rPr lang="nl-NL" dirty="0"/>
              <a:t>Cursief donker</a:t>
            </a:r>
          </a:p>
          <a:p>
            <a:pPr lvl="7"/>
            <a:r>
              <a:rPr lang="nl-NL" dirty="0"/>
              <a:t>Cursief licht</a:t>
            </a:r>
          </a:p>
          <a:p>
            <a:pPr lvl="8"/>
            <a:r>
              <a:rPr lang="nl-NL" dirty="0"/>
              <a:t>Subtitel</a:t>
            </a:r>
          </a:p>
        </p:txBody>
      </p:sp>
      <p:sp>
        <p:nvSpPr>
          <p:cNvPr id="34" name="Tijdelijke aanduiding voor Subtitel"/>
          <p:cNvSpPr>
            <a:spLocks noGrp="1"/>
          </p:cNvSpPr>
          <p:nvPr>
            <p:ph type="body" idx="14"/>
          </p:nvPr>
        </p:nvSpPr>
        <p:spPr>
          <a:xfrm>
            <a:off x="664109" y="1001348"/>
            <a:ext cx="10870131" cy="317758"/>
          </a:xfrm>
        </p:spPr>
        <p:txBody>
          <a:bodyPr bIns="72000" anchor="t" anchorCtr="0"/>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24" name="Tijdelijke aanduiding voor Titel"/>
          <p:cNvSpPr>
            <a:spLocks noGrp="1"/>
          </p:cNvSpPr>
          <p:nvPr>
            <p:ph type="title"/>
          </p:nvPr>
        </p:nvSpPr>
        <p:spPr>
          <a:xfrm>
            <a:off x="664109" y="464521"/>
            <a:ext cx="10870131" cy="533219"/>
          </a:xfrm>
        </p:spPr>
        <p:txBody>
          <a:bodyPr/>
          <a:lstStyle/>
          <a:p>
            <a:r>
              <a:rPr lang="nl-NL"/>
              <a:t>Klik om stijl te bewerken</a:t>
            </a:r>
            <a:endParaRPr lang="nl-NL" dirty="0"/>
          </a:p>
        </p:txBody>
      </p:sp>
    </p:spTree>
    <p:extLst>
      <p:ext uri="{BB962C8B-B14F-4D97-AF65-F5344CB8AC3E}">
        <p14:creationId xmlns:p14="http://schemas.microsoft.com/office/powerpoint/2010/main" val="1405069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8">
                                            <p:txEl>
                                              <p:pRg st="0" end="0"/>
                                            </p:txEl>
                                          </p:spTgt>
                                        </p:tgtEl>
                                        <p:attrNameLst>
                                          <p:attrName>style.visibility</p:attrName>
                                        </p:attrNameLst>
                                      </p:cBhvr>
                                      <p:to>
                                        <p:strVal val="visible"/>
                                      </p:to>
                                    </p:set>
                                    <p:animEffect transition="in" filter="fade">
                                      <p:cBhvr>
                                        <p:cTn id="7" dur="500"/>
                                        <p:tgtEl>
                                          <p:spTgt spid="38">
                                            <p:txEl>
                                              <p:pRg st="0" end="0"/>
                                            </p:txEl>
                                          </p:spTgt>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40">
                                            <p:txEl>
                                              <p:pRg st="0" end="0"/>
                                            </p:txEl>
                                          </p:spTgt>
                                        </p:tgtEl>
                                        <p:attrNameLst>
                                          <p:attrName>style.visibility</p:attrName>
                                        </p:attrNameLst>
                                      </p:cBhvr>
                                      <p:to>
                                        <p:strVal val="visible"/>
                                      </p:to>
                                    </p:set>
                                    <p:animEffect transition="in" filter="fade">
                                      <p:cBhvr>
                                        <p:cTn id="10" dur="500"/>
                                        <p:tgtEl>
                                          <p:spTgt spid="40">
                                            <p:txEl>
                                              <p:pRg st="0" end="0"/>
                                            </p:txEl>
                                          </p:spTgt>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46">
                                            <p:txEl>
                                              <p:pRg st="0" end="0"/>
                                            </p:txEl>
                                          </p:spTgt>
                                        </p:tgtEl>
                                        <p:attrNameLst>
                                          <p:attrName>style.visibility</p:attrName>
                                        </p:attrNameLst>
                                      </p:cBhvr>
                                      <p:to>
                                        <p:strVal val="visible"/>
                                      </p:to>
                                    </p:set>
                                    <p:animEffect transition="in" filter="fade">
                                      <p:cBhvr>
                                        <p:cTn id="13" dur="500"/>
                                        <p:tgtEl>
                                          <p:spTgt spid="46">
                                            <p:txEl>
                                              <p:pRg st="0" end="0"/>
                                            </p:txEl>
                                          </p:spTgt>
                                        </p:tgtEl>
                                      </p:cBhvr>
                                    </p:animEffect>
                                  </p:childTnLst>
                                </p:cTn>
                              </p:par>
                            </p:childTnLst>
                          </p:cTn>
                        </p:par>
                        <p:par>
                          <p:cTn id="14" fill="hold">
                            <p:stCondLst>
                              <p:cond delay="1500"/>
                            </p:stCondLst>
                            <p:childTnLst>
                              <p:par>
                                <p:cTn id="15" presetID="10" presetClass="entr" presetSubtype="0" fill="hold" grpId="0" nodeType="afterEffect">
                                  <p:stCondLst>
                                    <p:cond delay="0"/>
                                  </p:stCondLst>
                                  <p:childTnLst>
                                    <p:set>
                                      <p:cBhvr>
                                        <p:cTn id="16" dur="1" fill="hold">
                                          <p:stCondLst>
                                            <p:cond delay="0"/>
                                          </p:stCondLst>
                                        </p:cTn>
                                        <p:tgtEl>
                                          <p:spTgt spid="133"/>
                                        </p:tgtEl>
                                        <p:attrNameLst>
                                          <p:attrName>style.visibility</p:attrName>
                                        </p:attrNameLst>
                                      </p:cBhvr>
                                      <p:to>
                                        <p:strVal val="visible"/>
                                      </p:to>
                                    </p:set>
                                    <p:animEffect transition="in" filter="fade">
                                      <p:cBhvr>
                                        <p:cTn id="17" dur="500"/>
                                        <p:tgtEl>
                                          <p:spTgt spid="133"/>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134"/>
                                        </p:tgtEl>
                                        <p:attrNameLst>
                                          <p:attrName>style.visibility</p:attrName>
                                        </p:attrNameLst>
                                      </p:cBhvr>
                                      <p:to>
                                        <p:strVal val="visible"/>
                                      </p:to>
                                    </p:set>
                                    <p:animEffect transition="in" filter="fade">
                                      <p:cBhvr>
                                        <p:cTn id="20" dur="500"/>
                                        <p:tgtEl>
                                          <p:spTgt spid="134"/>
                                        </p:tgtEl>
                                      </p:cBhvr>
                                    </p:animEffect>
                                  </p:childTnLst>
                                </p:cTn>
                              </p:par>
                              <p:par>
                                <p:cTn id="21" presetID="10" presetClass="entr" presetSubtype="0" fill="hold" grpId="0" nodeType="withEffect">
                                  <p:stCondLst>
                                    <p:cond delay="1000"/>
                                  </p:stCondLst>
                                  <p:childTnLst>
                                    <p:set>
                                      <p:cBhvr>
                                        <p:cTn id="22" dur="1" fill="hold">
                                          <p:stCondLst>
                                            <p:cond delay="0"/>
                                          </p:stCondLst>
                                        </p:cTn>
                                        <p:tgtEl>
                                          <p:spTgt spid="135"/>
                                        </p:tgtEl>
                                        <p:attrNameLst>
                                          <p:attrName>style.visibility</p:attrName>
                                        </p:attrNameLst>
                                      </p:cBhvr>
                                      <p:to>
                                        <p:strVal val="visible"/>
                                      </p:to>
                                    </p:set>
                                    <p:animEffect transition="in" filter="fade">
                                      <p:cBhvr>
                                        <p:cTn id="23" dur="500"/>
                                        <p:tgtEl>
                                          <p:spTgt spid="1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5" grpId="0" animBg="1"/>
      <p:bldP spid="134" grpId="0" animBg="1"/>
      <p:bldP spid="133" grpId="0" animBg="1"/>
      <p:bldP spid="46" grpId="0" build="p">
        <p:tmplLst>
          <p:tmpl lvl="1">
            <p:tnLst>
              <p:par>
                <p:cTn presetID="10" presetClass="entr" presetSubtype="0" fill="hold" nodeType="withEffect">
                  <p:stCondLst>
                    <p:cond delay="1000"/>
                  </p:stCondLst>
                  <p:childTnLst>
                    <p:set>
                      <p:cBhvr>
                        <p:cTn dur="1" fill="hold">
                          <p:stCondLst>
                            <p:cond delay="0"/>
                          </p:stCondLst>
                        </p:cTn>
                        <p:tgtEl>
                          <p:spTgt spid="46"/>
                        </p:tgtEl>
                        <p:attrNameLst>
                          <p:attrName>style.visibility</p:attrName>
                        </p:attrNameLst>
                      </p:cBhvr>
                      <p:to>
                        <p:strVal val="visible"/>
                      </p:to>
                    </p:set>
                    <p:animEffect transition="in" filter="fade">
                      <p:cBhvr>
                        <p:cTn dur="500"/>
                        <p:tgtEl>
                          <p:spTgt spid="46"/>
                        </p:tgtEl>
                      </p:cBhvr>
                    </p:animEffect>
                  </p:childTnLst>
                </p:cTn>
              </p:par>
            </p:tnLst>
          </p:tmpl>
        </p:tmplLst>
      </p:bldP>
      <p:bldP spid="40" grpId="0" build="p">
        <p:tmplLst>
          <p:tmpl lvl="1">
            <p:tnLst>
              <p:par>
                <p:cTn presetID="10" presetClass="entr" presetSubtype="0" fill="hold" nodeType="withEffect">
                  <p:stCondLst>
                    <p:cond delay="500"/>
                  </p:stCondLst>
                  <p:childTnLst>
                    <p:set>
                      <p:cBhvr>
                        <p:cTn dur="1" fill="hold">
                          <p:stCondLst>
                            <p:cond delay="0"/>
                          </p:stCondLst>
                        </p:cTn>
                        <p:tgtEl>
                          <p:spTgt spid="40"/>
                        </p:tgtEl>
                        <p:attrNameLst>
                          <p:attrName>style.visibility</p:attrName>
                        </p:attrNameLst>
                      </p:cBhvr>
                      <p:to>
                        <p:strVal val="visible"/>
                      </p:to>
                    </p:set>
                    <p:animEffect transition="in" filter="fade">
                      <p:cBhvr>
                        <p:cTn dur="500"/>
                        <p:tgtEl>
                          <p:spTgt spid="40"/>
                        </p:tgtEl>
                      </p:cBhvr>
                    </p:animEffect>
                  </p:childTnLst>
                </p:cTn>
              </p:par>
            </p:tnLst>
          </p:tmpl>
        </p:tmplLst>
      </p:bldP>
      <p:bldP spid="38" grpId="0" build="p">
        <p:tmplLst>
          <p:tmpl lvl="1">
            <p:tnLst>
              <p:par>
                <p:cTn presetID="10" presetClass="entr" presetSubtype="0" fill="hold" nodeType="afterEffect">
                  <p:stCondLst>
                    <p:cond delay="0"/>
                  </p:stCondLst>
                  <p:childTnLst>
                    <p:set>
                      <p:cBhvr>
                        <p:cTn dur="1" fill="hold">
                          <p:stCondLst>
                            <p:cond delay="0"/>
                          </p:stCondLst>
                        </p:cTn>
                        <p:tgtEl>
                          <p:spTgt spid="38"/>
                        </p:tgtEl>
                        <p:attrNameLst>
                          <p:attrName>style.visibility</p:attrName>
                        </p:attrNameLst>
                      </p:cBhvr>
                      <p:to>
                        <p:strVal val="visible"/>
                      </p:to>
                    </p:set>
                    <p:animEffect transition="in" filter="fade">
                      <p:cBhvr>
                        <p:cTn dur="500"/>
                        <p:tgtEl>
                          <p:spTgt spid="38"/>
                        </p:tgtEl>
                      </p:cBhvr>
                    </p:animEffect>
                  </p:childTnLst>
                </p:cTn>
              </p:par>
            </p:tnLst>
          </p:tmpl>
        </p:tmplLst>
      </p:bldP>
    </p:bld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Referenties">
    <p:spTree>
      <p:nvGrpSpPr>
        <p:cNvPr id="1" name=""/>
        <p:cNvGrpSpPr/>
        <p:nvPr/>
      </p:nvGrpSpPr>
      <p:grpSpPr>
        <a:xfrm>
          <a:off x="0" y="0"/>
          <a:ext cx="0" cy="0"/>
          <a:chOff x="0" y="0"/>
          <a:chExt cx="0" cy="0"/>
        </a:xfrm>
      </p:grpSpPr>
      <p:sp>
        <p:nvSpPr>
          <p:cNvPr id="141" name="Rechthoek 140"/>
          <p:cNvSpPr/>
          <p:nvPr userDrawn="1"/>
        </p:nvSpPr>
        <p:spPr>
          <a:xfrm>
            <a:off x="6178840" y="1358671"/>
            <a:ext cx="5355401" cy="444046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en-GB" dirty="0">
              <a:solidFill>
                <a:srgbClr val="FFFFFF"/>
              </a:solidFill>
            </a:endParaRPr>
          </a:p>
        </p:txBody>
      </p:sp>
      <p:sp>
        <p:nvSpPr>
          <p:cNvPr id="142" name="Rechthoek 141"/>
          <p:cNvSpPr/>
          <p:nvPr userDrawn="1"/>
        </p:nvSpPr>
        <p:spPr>
          <a:xfrm>
            <a:off x="6413886" y="4459687"/>
            <a:ext cx="1551695" cy="1083178"/>
          </a:xfrm>
          <a:prstGeom prst="rect">
            <a:avLst/>
          </a:prstGeom>
          <a:solidFill>
            <a:schemeClr val="bg1"/>
          </a:solidFill>
          <a:ln w="12700">
            <a:solidFill>
              <a:srgbClr val="F4F2F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145" name="Rechthoek 144"/>
          <p:cNvSpPr/>
          <p:nvPr userDrawn="1"/>
        </p:nvSpPr>
        <p:spPr>
          <a:xfrm>
            <a:off x="6413886" y="3268560"/>
            <a:ext cx="1551695" cy="1083178"/>
          </a:xfrm>
          <a:prstGeom prst="rect">
            <a:avLst/>
          </a:prstGeom>
          <a:solidFill>
            <a:schemeClr val="bg1"/>
          </a:solidFill>
          <a:ln w="12700">
            <a:solidFill>
              <a:srgbClr val="F4F2F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148" name="Rechthoek 147"/>
          <p:cNvSpPr/>
          <p:nvPr userDrawn="1"/>
        </p:nvSpPr>
        <p:spPr>
          <a:xfrm>
            <a:off x="6413886" y="2077433"/>
            <a:ext cx="1551695" cy="1083178"/>
          </a:xfrm>
          <a:prstGeom prst="rect">
            <a:avLst/>
          </a:prstGeom>
          <a:solidFill>
            <a:schemeClr val="bg1"/>
          </a:solidFill>
          <a:ln w="12700">
            <a:solidFill>
              <a:srgbClr val="F4F2F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26" name="Rechthoek 25"/>
          <p:cNvSpPr/>
          <p:nvPr/>
        </p:nvSpPr>
        <p:spPr>
          <a:xfrm>
            <a:off x="662316" y="1357200"/>
            <a:ext cx="10871925" cy="4441939"/>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en-GB" dirty="0">
              <a:solidFill>
                <a:srgbClr val="FFFFFF"/>
              </a:solidFill>
            </a:endParaRPr>
          </a:p>
        </p:txBody>
      </p:sp>
      <p:sp>
        <p:nvSpPr>
          <p:cNvPr id="13" name="Titel 1"/>
          <p:cNvSpPr>
            <a:spLocks noGrp="1"/>
          </p:cNvSpPr>
          <p:nvPr>
            <p:ph type="title"/>
          </p:nvPr>
        </p:nvSpPr>
        <p:spPr>
          <a:xfrm>
            <a:off x="664109" y="464521"/>
            <a:ext cx="10870131" cy="533219"/>
          </a:xfrm>
        </p:spPr>
        <p:txBody>
          <a:bodyPr/>
          <a:lstStyle/>
          <a:p>
            <a:r>
              <a:rPr lang="nl-NL"/>
              <a:t>Klik om stijl te bewerken</a:t>
            </a:r>
            <a:endParaRPr lang="nl-NL" dirty="0"/>
          </a:p>
        </p:txBody>
      </p:sp>
      <p:sp>
        <p:nvSpPr>
          <p:cNvPr id="34" name="Tijdelijke aanduiding voor tekst 2"/>
          <p:cNvSpPr>
            <a:spLocks noGrp="1"/>
          </p:cNvSpPr>
          <p:nvPr>
            <p:ph type="body" idx="14"/>
          </p:nvPr>
        </p:nvSpPr>
        <p:spPr>
          <a:xfrm>
            <a:off x="664109" y="1001348"/>
            <a:ext cx="10870131" cy="317758"/>
          </a:xfrm>
        </p:spPr>
        <p:txBody>
          <a:bodyPr bIns="72000" anchor="t" anchorCtr="0"/>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cxnSp>
        <p:nvCxnSpPr>
          <p:cNvPr id="29" name="Rechte verbindingslijn 28"/>
          <p:cNvCxnSpPr/>
          <p:nvPr/>
        </p:nvCxnSpPr>
        <p:spPr>
          <a:xfrm flipH="1">
            <a:off x="664804" y="5776291"/>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8" name="Rechte verbindingslijn 37"/>
          <p:cNvCxnSpPr/>
          <p:nvPr/>
        </p:nvCxnSpPr>
        <p:spPr>
          <a:xfrm flipH="1">
            <a:off x="664804" y="1358670"/>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40" name="Tijdelijke aanduiding voor dianummer 4"/>
          <p:cNvSpPr>
            <a:spLocks noGrp="1"/>
          </p:cNvSpPr>
          <p:nvPr>
            <p:ph type="sldNum" sz="quarter" idx="4"/>
          </p:nvPr>
        </p:nvSpPr>
        <p:spPr>
          <a:xfrm>
            <a:off x="5770549" y="6295992"/>
            <a:ext cx="657251" cy="365125"/>
          </a:xfrm>
          <a:prstGeom prst="rect">
            <a:avLst/>
          </a:prstGeom>
        </p:spPr>
        <p:txBody>
          <a:bodyPr vert="horz" lIns="91440" tIns="45720" rIns="91440" bIns="45720" rtlCol="0" anchor="ctr"/>
          <a:lstStyle>
            <a:lvl1pPr algn="ctr">
              <a:defRPr sz="800">
                <a:solidFill>
                  <a:schemeClr val="tx1">
                    <a:tint val="75000"/>
                  </a:schemeClr>
                </a:solidFill>
              </a:defRPr>
            </a:lvl1pPr>
          </a:lstStyle>
          <a:p>
            <a:fld id="{1B3FA67A-C720-417A-A072-0CD211FD8662}" type="slidenum">
              <a:rPr lang="nl-NL" smtClean="0">
                <a:solidFill>
                  <a:srgbClr val="000000">
                    <a:tint val="75000"/>
                  </a:srgbClr>
                </a:solidFill>
              </a:rPr>
              <a:pPr/>
              <a:t>‹nr.›</a:t>
            </a:fld>
            <a:endParaRPr lang="nl-NL" dirty="0">
              <a:solidFill>
                <a:srgbClr val="000000">
                  <a:tint val="75000"/>
                </a:srgbClr>
              </a:solidFill>
            </a:endParaRPr>
          </a:p>
        </p:txBody>
      </p:sp>
      <p:cxnSp>
        <p:nvCxnSpPr>
          <p:cNvPr id="151" name="Rechte verbindingslijn 150"/>
          <p:cNvCxnSpPr/>
          <p:nvPr userDrawn="1"/>
        </p:nvCxnSpPr>
        <p:spPr>
          <a:xfrm flipH="1">
            <a:off x="664804" y="5776291"/>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53" name="Rechte verbindingslijn 152"/>
          <p:cNvCxnSpPr/>
          <p:nvPr userDrawn="1"/>
        </p:nvCxnSpPr>
        <p:spPr>
          <a:xfrm flipH="1">
            <a:off x="664804" y="1358670"/>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51" name="Tekstvak 250">
            <a:extLst>
              <a:ext uri="{FF2B5EF4-FFF2-40B4-BE49-F238E27FC236}">
                <a16:creationId xmlns:a16="http://schemas.microsoft.com/office/drawing/2014/main" id="{96BCC8B3-DE88-432B-B73B-47B78E0290CB}"/>
              </a:ext>
            </a:extLst>
          </p:cNvPr>
          <p:cNvSpPr txBox="1"/>
          <p:nvPr userDrawn="1"/>
        </p:nvSpPr>
        <p:spPr>
          <a:xfrm>
            <a:off x="1" y="-453266"/>
            <a:ext cx="3582333" cy="276999"/>
          </a:xfrm>
          <a:prstGeom prst="rect">
            <a:avLst/>
          </a:prstGeom>
          <a:noFill/>
        </p:spPr>
        <p:txBody>
          <a:bodyPr wrap="square" lIns="0" tIns="0" rIns="0" bIns="0" rtlCol="0">
            <a:spAutoFit/>
          </a:bodyPr>
          <a:lstStyle/>
          <a:p>
            <a:pPr defTabSz="914112"/>
            <a:r>
              <a:rPr lang="nl-NL" dirty="0">
                <a:solidFill>
                  <a:srgbClr val="404040"/>
                </a:solidFill>
                <a:latin typeface="Calibri" panose="020F0502020204030204" pitchFamily="34" charset="0"/>
              </a:rPr>
              <a:t>Referenties</a:t>
            </a:r>
          </a:p>
        </p:txBody>
      </p:sp>
      <p:sp>
        <p:nvSpPr>
          <p:cNvPr id="257" name="Rechthoek 256">
            <a:extLst>
              <a:ext uri="{FF2B5EF4-FFF2-40B4-BE49-F238E27FC236}">
                <a16:creationId xmlns:a16="http://schemas.microsoft.com/office/drawing/2014/main" id="{C32AAB38-233A-449E-9802-F4EB3794C634}"/>
              </a:ext>
            </a:extLst>
          </p:cNvPr>
          <p:cNvSpPr/>
          <p:nvPr userDrawn="1"/>
        </p:nvSpPr>
        <p:spPr>
          <a:xfrm>
            <a:off x="1022400" y="1558800"/>
            <a:ext cx="2358000" cy="1242000"/>
          </a:xfrm>
          <a:prstGeom prst="rect">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258" name="Tijdelijke aanduiding voor inhoud 7">
            <a:extLst>
              <a:ext uri="{FF2B5EF4-FFF2-40B4-BE49-F238E27FC236}">
                <a16:creationId xmlns:a16="http://schemas.microsoft.com/office/drawing/2014/main" id="{1621EAE2-647E-4893-B056-6F0924A93728}"/>
              </a:ext>
            </a:extLst>
          </p:cNvPr>
          <p:cNvSpPr>
            <a:spLocks noGrp="1"/>
          </p:cNvSpPr>
          <p:nvPr>
            <p:ph sz="quarter" idx="25" hasCustomPrompt="1"/>
          </p:nvPr>
        </p:nvSpPr>
        <p:spPr>
          <a:xfrm>
            <a:off x="1112400" y="1648800"/>
            <a:ext cx="2178000" cy="1062000"/>
          </a:xfrm>
        </p:spPr>
        <p:txBody>
          <a:bodyPr anchor="ctr"/>
          <a:lstStyle>
            <a:lvl1pPr algn="ctr">
              <a:defRPr sz="1000"/>
            </a:lvl1pPr>
          </a:lstStyle>
          <a:p>
            <a:pPr lvl="0"/>
            <a:r>
              <a:rPr lang="nl-NL" dirty="0"/>
              <a:t>LOGO</a:t>
            </a:r>
          </a:p>
        </p:txBody>
      </p:sp>
      <p:sp>
        <p:nvSpPr>
          <p:cNvPr id="263" name="Rechthoek 262">
            <a:extLst>
              <a:ext uri="{FF2B5EF4-FFF2-40B4-BE49-F238E27FC236}">
                <a16:creationId xmlns:a16="http://schemas.microsoft.com/office/drawing/2014/main" id="{6C72C8D1-F669-414C-8BAD-E3D0ED68D27A}"/>
              </a:ext>
            </a:extLst>
          </p:cNvPr>
          <p:cNvSpPr/>
          <p:nvPr userDrawn="1"/>
        </p:nvSpPr>
        <p:spPr>
          <a:xfrm>
            <a:off x="1022400" y="4334400"/>
            <a:ext cx="2358000" cy="1242000"/>
          </a:xfrm>
          <a:prstGeom prst="rect">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264" name="Rechthoek 263">
            <a:extLst>
              <a:ext uri="{FF2B5EF4-FFF2-40B4-BE49-F238E27FC236}">
                <a16:creationId xmlns:a16="http://schemas.microsoft.com/office/drawing/2014/main" id="{B5967BEB-9548-4D66-B106-54963F1A5E89}"/>
              </a:ext>
            </a:extLst>
          </p:cNvPr>
          <p:cNvSpPr/>
          <p:nvPr userDrawn="1"/>
        </p:nvSpPr>
        <p:spPr>
          <a:xfrm>
            <a:off x="1022400" y="2946600"/>
            <a:ext cx="2358000" cy="1242000"/>
          </a:xfrm>
          <a:prstGeom prst="rect">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265" name="Rechthoek 264">
            <a:extLst>
              <a:ext uri="{FF2B5EF4-FFF2-40B4-BE49-F238E27FC236}">
                <a16:creationId xmlns:a16="http://schemas.microsoft.com/office/drawing/2014/main" id="{11FC440F-09E4-4B05-9A49-E0F8797393EA}"/>
              </a:ext>
            </a:extLst>
          </p:cNvPr>
          <p:cNvSpPr/>
          <p:nvPr userDrawn="1"/>
        </p:nvSpPr>
        <p:spPr>
          <a:xfrm>
            <a:off x="8816400" y="1557224"/>
            <a:ext cx="2358000" cy="1242000"/>
          </a:xfrm>
          <a:prstGeom prst="rect">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266" name="Rechthoek 265">
            <a:extLst>
              <a:ext uri="{FF2B5EF4-FFF2-40B4-BE49-F238E27FC236}">
                <a16:creationId xmlns:a16="http://schemas.microsoft.com/office/drawing/2014/main" id="{7FEF8974-9EA5-4254-8380-DB5188291CF2}"/>
              </a:ext>
            </a:extLst>
          </p:cNvPr>
          <p:cNvSpPr/>
          <p:nvPr userDrawn="1"/>
        </p:nvSpPr>
        <p:spPr>
          <a:xfrm>
            <a:off x="8816400" y="4332824"/>
            <a:ext cx="2358000" cy="1242000"/>
          </a:xfrm>
          <a:prstGeom prst="rect">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267" name="Rechthoek 266">
            <a:extLst>
              <a:ext uri="{FF2B5EF4-FFF2-40B4-BE49-F238E27FC236}">
                <a16:creationId xmlns:a16="http://schemas.microsoft.com/office/drawing/2014/main" id="{DED15F12-4866-48FF-93FD-4362C1DD43B0}"/>
              </a:ext>
            </a:extLst>
          </p:cNvPr>
          <p:cNvSpPr/>
          <p:nvPr userDrawn="1"/>
        </p:nvSpPr>
        <p:spPr>
          <a:xfrm>
            <a:off x="8816400" y="2945024"/>
            <a:ext cx="2358000" cy="1242000"/>
          </a:xfrm>
          <a:prstGeom prst="rect">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268" name="Rechthoek 267">
            <a:extLst>
              <a:ext uri="{FF2B5EF4-FFF2-40B4-BE49-F238E27FC236}">
                <a16:creationId xmlns:a16="http://schemas.microsoft.com/office/drawing/2014/main" id="{0ABAC0DD-AE20-4D01-9637-80D570319A11}"/>
              </a:ext>
            </a:extLst>
          </p:cNvPr>
          <p:cNvSpPr/>
          <p:nvPr userDrawn="1"/>
        </p:nvSpPr>
        <p:spPr>
          <a:xfrm>
            <a:off x="3620400" y="1541224"/>
            <a:ext cx="2358000" cy="1242000"/>
          </a:xfrm>
          <a:prstGeom prst="rect">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269" name="Rechthoek 268">
            <a:extLst>
              <a:ext uri="{FF2B5EF4-FFF2-40B4-BE49-F238E27FC236}">
                <a16:creationId xmlns:a16="http://schemas.microsoft.com/office/drawing/2014/main" id="{611F8C9A-FE18-48BF-8DF4-0098CD54B3D6}"/>
              </a:ext>
            </a:extLst>
          </p:cNvPr>
          <p:cNvSpPr/>
          <p:nvPr userDrawn="1"/>
        </p:nvSpPr>
        <p:spPr>
          <a:xfrm>
            <a:off x="3620400" y="4316824"/>
            <a:ext cx="2358000" cy="1242000"/>
          </a:xfrm>
          <a:prstGeom prst="rect">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270" name="Rechthoek 269">
            <a:extLst>
              <a:ext uri="{FF2B5EF4-FFF2-40B4-BE49-F238E27FC236}">
                <a16:creationId xmlns:a16="http://schemas.microsoft.com/office/drawing/2014/main" id="{37E4D993-D6B5-40A7-BA0B-4E3AD05B68A3}"/>
              </a:ext>
            </a:extLst>
          </p:cNvPr>
          <p:cNvSpPr/>
          <p:nvPr userDrawn="1"/>
        </p:nvSpPr>
        <p:spPr>
          <a:xfrm>
            <a:off x="3620400" y="2929024"/>
            <a:ext cx="2358000" cy="1242000"/>
          </a:xfrm>
          <a:prstGeom prst="rect">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271" name="Rechthoek 270">
            <a:extLst>
              <a:ext uri="{FF2B5EF4-FFF2-40B4-BE49-F238E27FC236}">
                <a16:creationId xmlns:a16="http://schemas.microsoft.com/office/drawing/2014/main" id="{FA6BCF1B-697A-4E0D-8B88-669DE4A934A8}"/>
              </a:ext>
            </a:extLst>
          </p:cNvPr>
          <p:cNvSpPr/>
          <p:nvPr userDrawn="1"/>
        </p:nvSpPr>
        <p:spPr>
          <a:xfrm>
            <a:off x="6218400" y="1537765"/>
            <a:ext cx="2358000" cy="1242000"/>
          </a:xfrm>
          <a:prstGeom prst="rect">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272" name="Rechthoek 271">
            <a:extLst>
              <a:ext uri="{FF2B5EF4-FFF2-40B4-BE49-F238E27FC236}">
                <a16:creationId xmlns:a16="http://schemas.microsoft.com/office/drawing/2014/main" id="{193D0B2C-9E01-4442-A381-3641A14DC683}"/>
              </a:ext>
            </a:extLst>
          </p:cNvPr>
          <p:cNvSpPr/>
          <p:nvPr userDrawn="1"/>
        </p:nvSpPr>
        <p:spPr>
          <a:xfrm>
            <a:off x="6197723" y="4313365"/>
            <a:ext cx="2358000" cy="1242000"/>
          </a:xfrm>
          <a:prstGeom prst="rect">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273" name="Rechthoek 272">
            <a:extLst>
              <a:ext uri="{FF2B5EF4-FFF2-40B4-BE49-F238E27FC236}">
                <a16:creationId xmlns:a16="http://schemas.microsoft.com/office/drawing/2014/main" id="{F2138308-16D0-447E-96D3-03E44E6846A2}"/>
              </a:ext>
            </a:extLst>
          </p:cNvPr>
          <p:cNvSpPr/>
          <p:nvPr userDrawn="1"/>
        </p:nvSpPr>
        <p:spPr>
          <a:xfrm>
            <a:off x="6218400" y="2925565"/>
            <a:ext cx="2358000" cy="1242000"/>
          </a:xfrm>
          <a:prstGeom prst="rect">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274" name="Tijdelijke aanduiding voor inhoud 7">
            <a:extLst>
              <a:ext uri="{FF2B5EF4-FFF2-40B4-BE49-F238E27FC236}">
                <a16:creationId xmlns:a16="http://schemas.microsoft.com/office/drawing/2014/main" id="{B65358C4-FF71-4D77-B035-8D79B230CC24}"/>
              </a:ext>
            </a:extLst>
          </p:cNvPr>
          <p:cNvSpPr>
            <a:spLocks noGrp="1"/>
          </p:cNvSpPr>
          <p:nvPr>
            <p:ph sz="quarter" idx="26" hasCustomPrompt="1"/>
          </p:nvPr>
        </p:nvSpPr>
        <p:spPr>
          <a:xfrm>
            <a:off x="1112400" y="3036600"/>
            <a:ext cx="2178000" cy="1062000"/>
          </a:xfrm>
        </p:spPr>
        <p:txBody>
          <a:bodyPr anchor="ctr"/>
          <a:lstStyle>
            <a:lvl1pPr algn="ctr">
              <a:defRPr sz="1000"/>
            </a:lvl1pPr>
          </a:lstStyle>
          <a:p>
            <a:pPr lvl="0"/>
            <a:r>
              <a:rPr lang="nl-NL" dirty="0"/>
              <a:t>LOGO</a:t>
            </a:r>
          </a:p>
        </p:txBody>
      </p:sp>
      <p:sp>
        <p:nvSpPr>
          <p:cNvPr id="275" name="Tijdelijke aanduiding voor inhoud 7">
            <a:extLst>
              <a:ext uri="{FF2B5EF4-FFF2-40B4-BE49-F238E27FC236}">
                <a16:creationId xmlns:a16="http://schemas.microsoft.com/office/drawing/2014/main" id="{C0CE68BB-5746-44FB-8657-603A0E7D6A5C}"/>
              </a:ext>
            </a:extLst>
          </p:cNvPr>
          <p:cNvSpPr>
            <a:spLocks noGrp="1"/>
          </p:cNvSpPr>
          <p:nvPr>
            <p:ph sz="quarter" idx="27" hasCustomPrompt="1"/>
          </p:nvPr>
        </p:nvSpPr>
        <p:spPr>
          <a:xfrm>
            <a:off x="1112400" y="4424400"/>
            <a:ext cx="2178000" cy="1062000"/>
          </a:xfrm>
        </p:spPr>
        <p:txBody>
          <a:bodyPr anchor="ctr"/>
          <a:lstStyle>
            <a:lvl1pPr algn="ctr">
              <a:defRPr sz="1000"/>
            </a:lvl1pPr>
          </a:lstStyle>
          <a:p>
            <a:pPr lvl="0"/>
            <a:r>
              <a:rPr lang="nl-NL" dirty="0"/>
              <a:t>LOGO</a:t>
            </a:r>
          </a:p>
        </p:txBody>
      </p:sp>
      <p:sp>
        <p:nvSpPr>
          <p:cNvPr id="276" name="Tijdelijke aanduiding voor inhoud 7">
            <a:extLst>
              <a:ext uri="{FF2B5EF4-FFF2-40B4-BE49-F238E27FC236}">
                <a16:creationId xmlns:a16="http://schemas.microsoft.com/office/drawing/2014/main" id="{BFC595AB-5291-4E45-A44D-9A9C7FBABCBE}"/>
              </a:ext>
            </a:extLst>
          </p:cNvPr>
          <p:cNvSpPr>
            <a:spLocks noGrp="1"/>
          </p:cNvSpPr>
          <p:nvPr>
            <p:ph sz="quarter" idx="28" hasCustomPrompt="1"/>
          </p:nvPr>
        </p:nvSpPr>
        <p:spPr>
          <a:xfrm>
            <a:off x="3710400" y="1631224"/>
            <a:ext cx="2178000" cy="1062000"/>
          </a:xfrm>
        </p:spPr>
        <p:txBody>
          <a:bodyPr anchor="ctr"/>
          <a:lstStyle>
            <a:lvl1pPr algn="ctr">
              <a:defRPr sz="1000"/>
            </a:lvl1pPr>
          </a:lstStyle>
          <a:p>
            <a:pPr lvl="0"/>
            <a:r>
              <a:rPr lang="nl-NL" dirty="0"/>
              <a:t>LOGO</a:t>
            </a:r>
          </a:p>
        </p:txBody>
      </p:sp>
      <p:sp>
        <p:nvSpPr>
          <p:cNvPr id="277" name="Tijdelijke aanduiding voor inhoud 7">
            <a:extLst>
              <a:ext uri="{FF2B5EF4-FFF2-40B4-BE49-F238E27FC236}">
                <a16:creationId xmlns:a16="http://schemas.microsoft.com/office/drawing/2014/main" id="{25DCCAD8-A657-4157-BCDE-B5EAF85154EB}"/>
              </a:ext>
            </a:extLst>
          </p:cNvPr>
          <p:cNvSpPr>
            <a:spLocks noGrp="1"/>
          </p:cNvSpPr>
          <p:nvPr>
            <p:ph sz="quarter" idx="29" hasCustomPrompt="1"/>
          </p:nvPr>
        </p:nvSpPr>
        <p:spPr>
          <a:xfrm>
            <a:off x="3710400" y="3019024"/>
            <a:ext cx="2178000" cy="1062000"/>
          </a:xfrm>
        </p:spPr>
        <p:txBody>
          <a:bodyPr anchor="ctr"/>
          <a:lstStyle>
            <a:lvl1pPr algn="ctr">
              <a:defRPr sz="1000"/>
            </a:lvl1pPr>
          </a:lstStyle>
          <a:p>
            <a:pPr lvl="0"/>
            <a:r>
              <a:rPr lang="nl-NL" dirty="0"/>
              <a:t>LOGO</a:t>
            </a:r>
          </a:p>
        </p:txBody>
      </p:sp>
      <p:sp>
        <p:nvSpPr>
          <p:cNvPr id="278" name="Tijdelijke aanduiding voor inhoud 7">
            <a:extLst>
              <a:ext uri="{FF2B5EF4-FFF2-40B4-BE49-F238E27FC236}">
                <a16:creationId xmlns:a16="http://schemas.microsoft.com/office/drawing/2014/main" id="{F61899AE-4812-47FE-8D82-961769599BD5}"/>
              </a:ext>
            </a:extLst>
          </p:cNvPr>
          <p:cNvSpPr>
            <a:spLocks noGrp="1"/>
          </p:cNvSpPr>
          <p:nvPr>
            <p:ph sz="quarter" idx="30" hasCustomPrompt="1"/>
          </p:nvPr>
        </p:nvSpPr>
        <p:spPr>
          <a:xfrm>
            <a:off x="3710400" y="4406824"/>
            <a:ext cx="2178000" cy="1062000"/>
          </a:xfrm>
        </p:spPr>
        <p:txBody>
          <a:bodyPr anchor="ctr"/>
          <a:lstStyle>
            <a:lvl1pPr algn="ctr">
              <a:defRPr sz="1000"/>
            </a:lvl1pPr>
          </a:lstStyle>
          <a:p>
            <a:pPr lvl="0"/>
            <a:r>
              <a:rPr lang="nl-NL" dirty="0"/>
              <a:t>LOGO</a:t>
            </a:r>
          </a:p>
        </p:txBody>
      </p:sp>
      <p:sp>
        <p:nvSpPr>
          <p:cNvPr id="279" name="Tijdelijke aanduiding voor inhoud 7">
            <a:extLst>
              <a:ext uri="{FF2B5EF4-FFF2-40B4-BE49-F238E27FC236}">
                <a16:creationId xmlns:a16="http://schemas.microsoft.com/office/drawing/2014/main" id="{319B462F-3878-43D4-BE5D-A7C88F3BCAF5}"/>
              </a:ext>
            </a:extLst>
          </p:cNvPr>
          <p:cNvSpPr>
            <a:spLocks noGrp="1"/>
          </p:cNvSpPr>
          <p:nvPr>
            <p:ph sz="quarter" idx="31" hasCustomPrompt="1"/>
          </p:nvPr>
        </p:nvSpPr>
        <p:spPr>
          <a:xfrm>
            <a:off x="6308400" y="1627765"/>
            <a:ext cx="2178000" cy="1062000"/>
          </a:xfrm>
        </p:spPr>
        <p:txBody>
          <a:bodyPr anchor="ctr"/>
          <a:lstStyle>
            <a:lvl1pPr algn="ctr">
              <a:defRPr sz="1000"/>
            </a:lvl1pPr>
          </a:lstStyle>
          <a:p>
            <a:pPr lvl="0"/>
            <a:r>
              <a:rPr lang="nl-NL" dirty="0"/>
              <a:t>LOGO</a:t>
            </a:r>
          </a:p>
        </p:txBody>
      </p:sp>
      <p:sp>
        <p:nvSpPr>
          <p:cNvPr id="280" name="Tijdelijke aanduiding voor inhoud 7">
            <a:extLst>
              <a:ext uri="{FF2B5EF4-FFF2-40B4-BE49-F238E27FC236}">
                <a16:creationId xmlns:a16="http://schemas.microsoft.com/office/drawing/2014/main" id="{BB0A99D2-F095-44A0-B96E-E04B9EE23A14}"/>
              </a:ext>
            </a:extLst>
          </p:cNvPr>
          <p:cNvSpPr>
            <a:spLocks noGrp="1"/>
          </p:cNvSpPr>
          <p:nvPr>
            <p:ph sz="quarter" idx="32" hasCustomPrompt="1"/>
          </p:nvPr>
        </p:nvSpPr>
        <p:spPr>
          <a:xfrm>
            <a:off x="6308400" y="3015565"/>
            <a:ext cx="2178000" cy="1062000"/>
          </a:xfrm>
        </p:spPr>
        <p:txBody>
          <a:bodyPr anchor="ctr"/>
          <a:lstStyle>
            <a:lvl1pPr algn="ctr">
              <a:defRPr sz="1000"/>
            </a:lvl1pPr>
          </a:lstStyle>
          <a:p>
            <a:pPr lvl="0"/>
            <a:r>
              <a:rPr lang="nl-NL" dirty="0"/>
              <a:t>LOGO</a:t>
            </a:r>
          </a:p>
        </p:txBody>
      </p:sp>
      <p:sp>
        <p:nvSpPr>
          <p:cNvPr id="281" name="Tijdelijke aanduiding voor inhoud 7">
            <a:extLst>
              <a:ext uri="{FF2B5EF4-FFF2-40B4-BE49-F238E27FC236}">
                <a16:creationId xmlns:a16="http://schemas.microsoft.com/office/drawing/2014/main" id="{647E3CD5-92ED-4ACE-8A4E-C780A58B47A4}"/>
              </a:ext>
            </a:extLst>
          </p:cNvPr>
          <p:cNvSpPr>
            <a:spLocks noGrp="1"/>
          </p:cNvSpPr>
          <p:nvPr>
            <p:ph sz="quarter" idx="33" hasCustomPrompt="1"/>
          </p:nvPr>
        </p:nvSpPr>
        <p:spPr>
          <a:xfrm>
            <a:off x="6287723" y="4403365"/>
            <a:ext cx="2178000" cy="1062000"/>
          </a:xfrm>
        </p:spPr>
        <p:txBody>
          <a:bodyPr anchor="ctr"/>
          <a:lstStyle>
            <a:lvl1pPr algn="ctr">
              <a:defRPr sz="1000"/>
            </a:lvl1pPr>
          </a:lstStyle>
          <a:p>
            <a:pPr lvl="0"/>
            <a:r>
              <a:rPr lang="nl-NL" dirty="0"/>
              <a:t>LOGO</a:t>
            </a:r>
          </a:p>
        </p:txBody>
      </p:sp>
      <p:sp>
        <p:nvSpPr>
          <p:cNvPr id="282" name="Tijdelijke aanduiding voor inhoud 7">
            <a:extLst>
              <a:ext uri="{FF2B5EF4-FFF2-40B4-BE49-F238E27FC236}">
                <a16:creationId xmlns:a16="http://schemas.microsoft.com/office/drawing/2014/main" id="{0D037328-5D45-4217-BA54-3E72C4572A0D}"/>
              </a:ext>
            </a:extLst>
          </p:cNvPr>
          <p:cNvSpPr>
            <a:spLocks noGrp="1"/>
          </p:cNvSpPr>
          <p:nvPr>
            <p:ph sz="quarter" idx="34" hasCustomPrompt="1"/>
          </p:nvPr>
        </p:nvSpPr>
        <p:spPr>
          <a:xfrm>
            <a:off x="8906400" y="1647224"/>
            <a:ext cx="2178000" cy="1062000"/>
          </a:xfrm>
        </p:spPr>
        <p:txBody>
          <a:bodyPr anchor="ctr"/>
          <a:lstStyle>
            <a:lvl1pPr algn="ctr">
              <a:defRPr sz="1000"/>
            </a:lvl1pPr>
          </a:lstStyle>
          <a:p>
            <a:pPr lvl="0"/>
            <a:r>
              <a:rPr lang="nl-NL" dirty="0"/>
              <a:t>LOGO</a:t>
            </a:r>
          </a:p>
        </p:txBody>
      </p:sp>
      <p:sp>
        <p:nvSpPr>
          <p:cNvPr id="283" name="Tijdelijke aanduiding voor inhoud 7">
            <a:extLst>
              <a:ext uri="{FF2B5EF4-FFF2-40B4-BE49-F238E27FC236}">
                <a16:creationId xmlns:a16="http://schemas.microsoft.com/office/drawing/2014/main" id="{A2ACD3DB-4F38-4058-B2BA-DB49BADF2BB2}"/>
              </a:ext>
            </a:extLst>
          </p:cNvPr>
          <p:cNvSpPr>
            <a:spLocks noGrp="1"/>
          </p:cNvSpPr>
          <p:nvPr>
            <p:ph sz="quarter" idx="35" hasCustomPrompt="1"/>
          </p:nvPr>
        </p:nvSpPr>
        <p:spPr>
          <a:xfrm>
            <a:off x="8906400" y="3035024"/>
            <a:ext cx="2178000" cy="1062000"/>
          </a:xfrm>
        </p:spPr>
        <p:txBody>
          <a:bodyPr anchor="ctr"/>
          <a:lstStyle>
            <a:lvl1pPr algn="ctr">
              <a:defRPr sz="1000"/>
            </a:lvl1pPr>
          </a:lstStyle>
          <a:p>
            <a:pPr lvl="0"/>
            <a:r>
              <a:rPr lang="nl-NL" dirty="0"/>
              <a:t>LOGO</a:t>
            </a:r>
          </a:p>
        </p:txBody>
      </p:sp>
      <p:sp>
        <p:nvSpPr>
          <p:cNvPr id="284" name="Tijdelijke aanduiding voor inhoud 7">
            <a:extLst>
              <a:ext uri="{FF2B5EF4-FFF2-40B4-BE49-F238E27FC236}">
                <a16:creationId xmlns:a16="http://schemas.microsoft.com/office/drawing/2014/main" id="{8A890264-DBEF-4B6B-9CAC-6A5A97D29FEB}"/>
              </a:ext>
            </a:extLst>
          </p:cNvPr>
          <p:cNvSpPr>
            <a:spLocks noGrp="1"/>
          </p:cNvSpPr>
          <p:nvPr>
            <p:ph sz="quarter" idx="36" hasCustomPrompt="1"/>
          </p:nvPr>
        </p:nvSpPr>
        <p:spPr>
          <a:xfrm>
            <a:off x="8906400" y="4422824"/>
            <a:ext cx="2178000" cy="1062000"/>
          </a:xfrm>
        </p:spPr>
        <p:txBody>
          <a:bodyPr anchor="ctr"/>
          <a:lstStyle>
            <a:lvl1pPr algn="ctr">
              <a:defRPr sz="1000"/>
            </a:lvl1pPr>
          </a:lstStyle>
          <a:p>
            <a:pPr lvl="0"/>
            <a:r>
              <a:rPr lang="nl-NL" dirty="0"/>
              <a:t>LOGO</a:t>
            </a:r>
          </a:p>
        </p:txBody>
      </p:sp>
    </p:spTree>
    <p:extLst>
      <p:ext uri="{BB962C8B-B14F-4D97-AF65-F5344CB8AC3E}">
        <p14:creationId xmlns:p14="http://schemas.microsoft.com/office/powerpoint/2010/main" val="2676046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2 Kolommen tekst">
    <p:spTree>
      <p:nvGrpSpPr>
        <p:cNvPr id="1" name=""/>
        <p:cNvGrpSpPr/>
        <p:nvPr/>
      </p:nvGrpSpPr>
      <p:grpSpPr>
        <a:xfrm>
          <a:off x="0" y="0"/>
          <a:ext cx="0" cy="0"/>
          <a:chOff x="0" y="0"/>
          <a:chExt cx="0" cy="0"/>
        </a:xfrm>
      </p:grpSpPr>
      <p:sp>
        <p:nvSpPr>
          <p:cNvPr id="91" name="Naam indeling - 2 Kolommen tekst"/>
          <p:cNvSpPr txBox="1"/>
          <p:nvPr userDrawn="1"/>
        </p:nvSpPr>
        <p:spPr>
          <a:xfrm>
            <a:off x="1" y="-453266"/>
            <a:ext cx="3582333" cy="276999"/>
          </a:xfrm>
          <a:prstGeom prst="rect">
            <a:avLst/>
          </a:prstGeom>
          <a:noFill/>
        </p:spPr>
        <p:txBody>
          <a:bodyPr wrap="square" lIns="0" tIns="0" rIns="0" bIns="0" rtlCol="0">
            <a:spAutoFit/>
          </a:bodyPr>
          <a:lstStyle/>
          <a:p>
            <a:pPr defTabSz="914112"/>
            <a:r>
              <a:rPr lang="nl-NL" dirty="0">
                <a:solidFill>
                  <a:srgbClr val="404040"/>
                </a:solidFill>
                <a:latin typeface="Calibri" panose="020F0502020204030204" pitchFamily="34" charset="0"/>
              </a:rPr>
              <a:t>2 Kolommen tekst</a:t>
            </a:r>
            <a:endParaRPr lang="en-GB" dirty="0">
              <a:solidFill>
                <a:srgbClr val="404040"/>
              </a:solidFill>
              <a:latin typeface="Calibri" panose="020F0502020204030204" pitchFamily="34" charset="0"/>
            </a:endParaRPr>
          </a:p>
        </p:txBody>
      </p:sp>
      <p:grpSp>
        <p:nvGrpSpPr>
          <p:cNvPr id="93" name="Instructie - Tekst niveaus"/>
          <p:cNvGrpSpPr/>
          <p:nvPr userDrawn="1"/>
        </p:nvGrpSpPr>
        <p:grpSpPr>
          <a:xfrm>
            <a:off x="-3117849" y="365"/>
            <a:ext cx="2823358" cy="5254722"/>
            <a:chOff x="-2959433" y="-5444"/>
            <a:chExt cx="2822623" cy="5254722"/>
          </a:xfrm>
        </p:grpSpPr>
        <p:sp>
          <p:nvSpPr>
            <p:cNvPr id="94" name="Rechthoek 93"/>
            <p:cNvSpPr/>
            <p:nvPr userDrawn="1"/>
          </p:nvSpPr>
          <p:spPr>
            <a:xfrm>
              <a:off x="-2959433" y="-5444"/>
              <a:ext cx="2572469" cy="280344"/>
            </a:xfrm>
            <a:prstGeom prst="rect">
              <a:avLst/>
            </a:prstGeom>
            <a:noFill/>
            <a:ln w="25400" cap="flat" cmpd="sng" algn="ctr">
              <a:noFill/>
              <a:prstDash val="solid"/>
            </a:ln>
            <a:effectLst/>
          </p:spPr>
          <p:txBody>
            <a:bodyPr lIns="0" tIns="0" rIns="0" bIns="0" rtlCol="0" anchor="t"/>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nl-NL" sz="1600" b="1" kern="0" dirty="0">
                  <a:solidFill>
                    <a:srgbClr val="ED1A3B"/>
                  </a:solidFill>
                  <a:cs typeface="Segoe UI Light" panose="020B0502040204020203" pitchFamily="34" charset="0"/>
                </a:rPr>
                <a:t>TEKST NIVEAUS</a:t>
              </a:r>
            </a:p>
          </p:txBody>
        </p:sp>
        <p:sp>
          <p:nvSpPr>
            <p:cNvPr id="95" name="Textfield placeholder"/>
            <p:cNvSpPr txBox="1">
              <a:spLocks/>
            </p:cNvSpPr>
            <p:nvPr userDrawn="1"/>
          </p:nvSpPr>
          <p:spPr>
            <a:xfrm>
              <a:off x="-2587337" y="2675411"/>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0" lvl="2"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a:solidFill>
                    <a:srgbClr val="404040"/>
                  </a:solidFill>
                </a:rPr>
                <a:t>Sub-bullets (12 pt.)</a:t>
              </a:r>
            </a:p>
          </p:txBody>
        </p:sp>
        <p:sp>
          <p:nvSpPr>
            <p:cNvPr id="96" name="Ovaal 95"/>
            <p:cNvSpPr/>
            <p:nvPr userDrawn="1"/>
          </p:nvSpPr>
          <p:spPr>
            <a:xfrm>
              <a:off x="-2959433" y="196874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1</a:t>
              </a:r>
            </a:p>
          </p:txBody>
        </p:sp>
        <p:sp>
          <p:nvSpPr>
            <p:cNvPr id="97" name="Ovaal 96"/>
            <p:cNvSpPr/>
            <p:nvPr userDrawn="1"/>
          </p:nvSpPr>
          <p:spPr>
            <a:xfrm>
              <a:off x="-2959433" y="232207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2</a:t>
              </a:r>
            </a:p>
          </p:txBody>
        </p:sp>
        <p:sp>
          <p:nvSpPr>
            <p:cNvPr id="98" name="Ovaal 97"/>
            <p:cNvSpPr/>
            <p:nvPr userDrawn="1"/>
          </p:nvSpPr>
          <p:spPr>
            <a:xfrm>
              <a:off x="-2959433" y="267541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3</a:t>
              </a:r>
            </a:p>
          </p:txBody>
        </p:sp>
        <p:sp>
          <p:nvSpPr>
            <p:cNvPr id="99" name="Ovaal 98"/>
            <p:cNvSpPr/>
            <p:nvPr userDrawn="1"/>
          </p:nvSpPr>
          <p:spPr>
            <a:xfrm>
              <a:off x="-2959433" y="302874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4</a:t>
              </a:r>
            </a:p>
          </p:txBody>
        </p:sp>
        <p:sp>
          <p:nvSpPr>
            <p:cNvPr id="100" name="Textfield placeholder"/>
            <p:cNvSpPr txBox="1">
              <a:spLocks/>
            </p:cNvSpPr>
            <p:nvPr userDrawn="1"/>
          </p:nvSpPr>
          <p:spPr>
            <a:xfrm>
              <a:off x="-2571950" y="1966925"/>
              <a:ext cx="2163709" cy="261500"/>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79388">
                <a:lnSpc>
                  <a:spcPct val="120000"/>
                </a:lnSpc>
                <a:spcBef>
                  <a:spcPts val="0"/>
                </a:spcBef>
                <a:spcAft>
                  <a:spcPts val="900"/>
                </a:spcAft>
                <a:buClr>
                  <a:srgbClr val="000000"/>
                </a:buClr>
                <a:buSzPct val="100000"/>
                <a:buFont typeface="Arial" pitchFamily="34" charset="0"/>
                <a:buNone/>
                <a:defRPr/>
              </a:pPr>
              <a:r>
                <a:rPr lang="nl-NL" sz="1200" dirty="0">
                  <a:solidFill>
                    <a:srgbClr val="535353"/>
                  </a:solidFill>
                </a:rPr>
                <a:t>Leestekst (12 pt.)</a:t>
              </a:r>
            </a:p>
          </p:txBody>
        </p:sp>
        <p:sp>
          <p:nvSpPr>
            <p:cNvPr id="101" name="Textfield placeholder"/>
            <p:cNvSpPr txBox="1">
              <a:spLocks/>
            </p:cNvSpPr>
            <p:nvPr userDrawn="1"/>
          </p:nvSpPr>
          <p:spPr>
            <a:xfrm>
              <a:off x="-2571950" y="2322077"/>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70000" lvl="1"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err="1">
                  <a:solidFill>
                    <a:srgbClr val="535353"/>
                  </a:solidFill>
                </a:rPr>
                <a:t>Bullets</a:t>
              </a:r>
              <a:r>
                <a:rPr lang="nl-NL" sz="1200" dirty="0">
                  <a:solidFill>
                    <a:srgbClr val="535353"/>
                  </a:solidFill>
                </a:rPr>
                <a:t> (12 </a:t>
              </a:r>
              <a:r>
                <a:rPr lang="nl-NL" sz="1200" dirty="0" err="1">
                  <a:solidFill>
                    <a:srgbClr val="535353"/>
                  </a:solidFill>
                </a:rPr>
                <a:t>pt</a:t>
              </a:r>
              <a:r>
                <a:rPr lang="nl-NL" sz="1200" dirty="0">
                  <a:solidFill>
                    <a:srgbClr val="535353"/>
                  </a:solidFill>
                </a:rPr>
                <a:t>.)</a:t>
              </a:r>
            </a:p>
          </p:txBody>
        </p:sp>
        <p:sp>
          <p:nvSpPr>
            <p:cNvPr id="102" name="Textfield placeholder"/>
            <p:cNvSpPr txBox="1">
              <a:spLocks/>
            </p:cNvSpPr>
            <p:nvPr userDrawn="1"/>
          </p:nvSpPr>
          <p:spPr>
            <a:xfrm>
              <a:off x="-2571951" y="3028747"/>
              <a:ext cx="2435141"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10000" lvl="3" indent="-270000" algn="l" defTabSz="179388" rtl="0" eaLnBrk="1" latinLnBrk="0" hangingPunct="1">
                <a:lnSpc>
                  <a:spcPct val="120000"/>
                </a:lnSpc>
                <a:spcBef>
                  <a:spcPts val="0"/>
                </a:spcBef>
                <a:spcAft>
                  <a:spcPts val="900"/>
                </a:spcAft>
                <a:buClr>
                  <a:schemeClr val="accent2"/>
                </a:buClr>
                <a:buSzPct val="80000"/>
                <a:buFont typeface="Wingdings 3" panose="05040102010807070707" pitchFamily="18" charset="2"/>
                <a:buChar char=""/>
                <a:defRPr/>
              </a:pPr>
              <a:r>
                <a:rPr lang="nl-NL" sz="1200" b="0" kern="1200" dirty="0">
                  <a:solidFill>
                    <a:srgbClr val="404040"/>
                  </a:solidFill>
                  <a:latin typeface="+mn-lt"/>
                  <a:ea typeface="+mn-ea"/>
                  <a:cs typeface="+mn-cs"/>
                </a:rPr>
                <a:t>Sub-sub-bullets (12 pt.)</a:t>
              </a:r>
            </a:p>
          </p:txBody>
        </p:sp>
        <p:cxnSp>
          <p:nvCxnSpPr>
            <p:cNvPr id="103" name="Rechte verbindingslijn 102"/>
            <p:cNvCxnSpPr/>
            <p:nvPr userDrawn="1"/>
          </p:nvCxnSpPr>
          <p:spPr>
            <a:xfrm>
              <a:off x="-2959100" y="274900"/>
              <a:ext cx="2674470" cy="0"/>
            </a:xfrm>
            <a:prstGeom prst="line">
              <a:avLst/>
            </a:prstGeom>
            <a:noFill/>
            <a:ln w="9525" cap="flat" cmpd="sng" algn="ctr">
              <a:solidFill>
                <a:schemeClr val="accent1"/>
              </a:solidFill>
              <a:prstDash val="solid"/>
            </a:ln>
            <a:effectLst/>
          </p:spPr>
        </p:cxnSp>
        <p:cxnSp>
          <p:nvCxnSpPr>
            <p:cNvPr id="104" name="Rechte verbindingslijn 103"/>
            <p:cNvCxnSpPr/>
            <p:nvPr userDrawn="1"/>
          </p:nvCxnSpPr>
          <p:spPr>
            <a:xfrm>
              <a:off x="-2959100" y="1841989"/>
              <a:ext cx="2661379" cy="0"/>
            </a:xfrm>
            <a:prstGeom prst="line">
              <a:avLst/>
            </a:prstGeom>
            <a:noFill/>
            <a:ln w="9525" cap="flat" cmpd="sng" algn="ctr">
              <a:solidFill>
                <a:schemeClr val="accent1"/>
              </a:solidFill>
              <a:prstDash val="solid"/>
            </a:ln>
            <a:effectLst/>
          </p:spPr>
        </p:cxnSp>
        <p:cxnSp>
          <p:nvCxnSpPr>
            <p:cNvPr id="105" name="Rechte verbindingslijn 104"/>
            <p:cNvCxnSpPr/>
            <p:nvPr userDrawn="1"/>
          </p:nvCxnSpPr>
          <p:spPr>
            <a:xfrm>
              <a:off x="-2959100" y="5249278"/>
              <a:ext cx="2661379" cy="0"/>
            </a:xfrm>
            <a:prstGeom prst="line">
              <a:avLst/>
            </a:prstGeom>
            <a:noFill/>
            <a:ln w="9525" cap="flat" cmpd="sng" algn="ctr">
              <a:solidFill>
                <a:schemeClr val="accent1"/>
              </a:solidFill>
              <a:prstDash val="solid"/>
            </a:ln>
            <a:effectLst/>
          </p:spPr>
        </p:cxnSp>
        <p:grpSp>
          <p:nvGrpSpPr>
            <p:cNvPr id="106" name="Groep 105"/>
            <p:cNvGrpSpPr/>
            <p:nvPr userDrawn="1"/>
          </p:nvGrpSpPr>
          <p:grpSpPr>
            <a:xfrm>
              <a:off x="-1948476" y="816741"/>
              <a:ext cx="409108" cy="427699"/>
              <a:chOff x="-1085063" y="758027"/>
              <a:chExt cx="633799" cy="622540"/>
            </a:xfrm>
          </p:grpSpPr>
          <p:sp>
            <p:nvSpPr>
              <p:cNvPr id="162" name="Afgeronde rechthoek 161"/>
              <p:cNvSpPr/>
              <p:nvPr userDrawn="1"/>
            </p:nvSpPr>
            <p:spPr>
              <a:xfrm>
                <a:off x="-108506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163" name="Groep 162"/>
              <p:cNvGrpSpPr/>
              <p:nvPr userDrawn="1"/>
            </p:nvGrpSpPr>
            <p:grpSpPr>
              <a:xfrm>
                <a:off x="-977739" y="864082"/>
                <a:ext cx="419168" cy="410429"/>
                <a:chOff x="6366933" y="309013"/>
                <a:chExt cx="1901295" cy="1861668"/>
              </a:xfrm>
              <a:solidFill>
                <a:srgbClr val="000000"/>
              </a:solidFill>
            </p:grpSpPr>
            <p:sp>
              <p:nvSpPr>
                <p:cNvPr id="164" name="Rechthoek 163"/>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5" name="Rechthoek 164"/>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6" name="Rechthoek 165"/>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7" name="Rechthoek 166"/>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8" name="Rechthoek 167"/>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9" name="Rechthoek 168"/>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70" name="Rechthoek 169"/>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71" name="Rechthoek 170"/>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72" name="Rechthoek 171"/>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73" name="Rechthoek 172"/>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74" name="Vrije vorm 173"/>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nvGrpSpPr>
            <p:cNvPr id="107" name="Groep 106"/>
            <p:cNvGrpSpPr/>
            <p:nvPr userDrawn="1"/>
          </p:nvGrpSpPr>
          <p:grpSpPr>
            <a:xfrm>
              <a:off x="-2950232" y="1207835"/>
              <a:ext cx="532929" cy="509563"/>
              <a:chOff x="-2880382" y="802341"/>
              <a:chExt cx="532929" cy="509563"/>
            </a:xfrm>
          </p:grpSpPr>
          <p:sp>
            <p:nvSpPr>
              <p:cNvPr id="140" name="Rechthoek 139"/>
              <p:cNvSpPr/>
              <p:nvPr userDrawn="1"/>
            </p:nvSpPr>
            <p:spPr>
              <a:xfrm>
                <a:off x="-2880382" y="802341"/>
                <a:ext cx="532929" cy="509563"/>
              </a:xfrm>
              <a:prstGeom prst="rect">
                <a:avLst/>
              </a:prstGeom>
              <a:solidFill>
                <a:sysClr val="window" lastClr="FFFFFF"/>
              </a:soli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pic>
            <p:nvPicPr>
              <p:cNvPr id="141"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635852" y="822181"/>
                <a:ext cx="226442" cy="208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2"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848026" y="822181"/>
                <a:ext cx="207168" cy="213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43" name="Groep 142"/>
              <p:cNvGrpSpPr/>
              <p:nvPr userDrawn="1"/>
            </p:nvGrpSpPr>
            <p:grpSpPr>
              <a:xfrm>
                <a:off x="-2802433" y="1123442"/>
                <a:ext cx="132915" cy="104889"/>
                <a:chOff x="-2796392" y="1123442"/>
                <a:chExt cx="120832" cy="104889"/>
              </a:xfrm>
            </p:grpSpPr>
            <p:sp>
              <p:nvSpPr>
                <p:cNvPr id="157" name="Rechthoek 156"/>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58" name="Rechthoek 157"/>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59" name="Rechthoek 158"/>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0" name="Rechthoek 159"/>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1" name="Rechthoek 160"/>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144" name="Groep 143"/>
              <p:cNvGrpSpPr/>
              <p:nvPr userDrawn="1"/>
            </p:nvGrpSpPr>
            <p:grpSpPr>
              <a:xfrm>
                <a:off x="-2575417" y="1123442"/>
                <a:ext cx="133930" cy="104889"/>
                <a:chOff x="-2556734" y="1123442"/>
                <a:chExt cx="147324" cy="104889"/>
              </a:xfrm>
            </p:grpSpPr>
            <p:grpSp>
              <p:nvGrpSpPr>
                <p:cNvPr id="145" name="Groep 144"/>
                <p:cNvGrpSpPr/>
                <p:nvPr userDrawn="1"/>
              </p:nvGrpSpPr>
              <p:grpSpPr>
                <a:xfrm>
                  <a:off x="-2556734" y="1123442"/>
                  <a:ext cx="68206" cy="104889"/>
                  <a:chOff x="-2796392" y="1123442"/>
                  <a:chExt cx="120832" cy="104889"/>
                </a:xfrm>
              </p:grpSpPr>
              <p:sp>
                <p:nvSpPr>
                  <p:cNvPr id="152" name="Rechthoek 151"/>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53" name="Rechthoek 152"/>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54" name="Rechthoek 153"/>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55" name="Rechthoek 154"/>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56" name="Rechthoek 155"/>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146" name="Groep 145"/>
                <p:cNvGrpSpPr/>
                <p:nvPr userDrawn="1"/>
              </p:nvGrpSpPr>
              <p:grpSpPr>
                <a:xfrm>
                  <a:off x="-2477616" y="1123442"/>
                  <a:ext cx="68206" cy="104889"/>
                  <a:chOff x="-2796392" y="1123442"/>
                  <a:chExt cx="120832" cy="104889"/>
                </a:xfrm>
              </p:grpSpPr>
              <p:sp>
                <p:nvSpPr>
                  <p:cNvPr id="147" name="Rechthoek 146"/>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48" name="Rechthoek 147"/>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49" name="Rechthoek 148"/>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50" name="Rechthoek 149"/>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51" name="Rechthoek 150"/>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grpSp>
          <p:nvGrpSpPr>
            <p:cNvPr id="108" name="Groep 107"/>
            <p:cNvGrpSpPr/>
            <p:nvPr userDrawn="1"/>
          </p:nvGrpSpPr>
          <p:grpSpPr>
            <a:xfrm>
              <a:off x="-1948476" y="1281164"/>
              <a:ext cx="413704" cy="427699"/>
              <a:chOff x="-1845083" y="758027"/>
              <a:chExt cx="633799" cy="622540"/>
            </a:xfrm>
          </p:grpSpPr>
          <p:sp>
            <p:nvSpPr>
              <p:cNvPr id="127" name="Afgeronde rechthoek 126"/>
              <p:cNvSpPr/>
              <p:nvPr userDrawn="1"/>
            </p:nvSpPr>
            <p:spPr>
              <a:xfrm>
                <a:off x="-184508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128" name="Groep 127"/>
              <p:cNvGrpSpPr/>
              <p:nvPr userDrawn="1"/>
            </p:nvGrpSpPr>
            <p:grpSpPr>
              <a:xfrm>
                <a:off x="-1737762" y="864082"/>
                <a:ext cx="419168" cy="410429"/>
                <a:chOff x="3708400" y="309013"/>
                <a:chExt cx="1901295" cy="1861668"/>
              </a:xfrm>
              <a:solidFill>
                <a:srgbClr val="000000"/>
              </a:solidFill>
            </p:grpSpPr>
            <p:sp>
              <p:nvSpPr>
                <p:cNvPr id="129" name="Rechthoek 128"/>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30" name="Rechthoek 129"/>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31" name="Rechthoek 130"/>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32" name="Rechthoek 131"/>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33" name="Rechthoek 132"/>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34" name="Rechthoek 133"/>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35" name="Rechthoek 134"/>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36" name="Rechthoek 135"/>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37" name="Rechthoek 136"/>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38" name="Rechthoek 137"/>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39" name="Vrije vorm 138"/>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cxnSp>
          <p:nvCxnSpPr>
            <p:cNvPr id="109" name="Rechte verbindingslijn 108"/>
            <p:cNvCxnSpPr/>
            <p:nvPr userDrawn="1"/>
          </p:nvCxnSpPr>
          <p:spPr>
            <a:xfrm>
              <a:off x="-2814292" y="1441193"/>
              <a:ext cx="865816" cy="53821"/>
            </a:xfrm>
            <a:prstGeom prst="line">
              <a:avLst/>
            </a:prstGeom>
            <a:noFill/>
            <a:ln w="9525" cap="flat" cmpd="sng" algn="ctr">
              <a:solidFill>
                <a:schemeClr val="accent1"/>
              </a:solidFill>
              <a:prstDash val="solid"/>
              <a:headEnd type="oval"/>
            </a:ln>
            <a:effectLst/>
          </p:spPr>
        </p:cxnSp>
        <p:cxnSp>
          <p:nvCxnSpPr>
            <p:cNvPr id="110" name="Rechte verbindingslijn 109"/>
            <p:cNvCxnSpPr/>
            <p:nvPr userDrawn="1"/>
          </p:nvCxnSpPr>
          <p:spPr>
            <a:xfrm flipV="1">
              <a:off x="-2453902" y="1030591"/>
              <a:ext cx="505426" cy="283623"/>
            </a:xfrm>
            <a:prstGeom prst="line">
              <a:avLst/>
            </a:prstGeom>
            <a:noFill/>
            <a:ln w="9525" cap="flat" cmpd="sng" algn="ctr">
              <a:solidFill>
                <a:schemeClr val="accent1"/>
              </a:solidFill>
              <a:prstDash val="solid"/>
              <a:headEnd type="oval"/>
            </a:ln>
            <a:effectLst/>
          </p:spPr>
        </p:cxnSp>
        <p:sp>
          <p:nvSpPr>
            <p:cNvPr id="111" name="Textfield placeholder"/>
            <p:cNvSpPr txBox="1">
              <a:spLocks/>
            </p:cNvSpPr>
            <p:nvPr userDrawn="1"/>
          </p:nvSpPr>
          <p:spPr>
            <a:xfrm>
              <a:off x="-1341598" y="816743"/>
              <a:ext cx="1056968" cy="427698"/>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hoog</a:t>
              </a:r>
            </a:p>
          </p:txBody>
        </p:sp>
        <p:sp>
          <p:nvSpPr>
            <p:cNvPr id="112" name="Textfield placeholder"/>
            <p:cNvSpPr txBox="1">
              <a:spLocks/>
            </p:cNvSpPr>
            <p:nvPr userDrawn="1"/>
          </p:nvSpPr>
          <p:spPr>
            <a:xfrm>
              <a:off x="-1341599" y="1281164"/>
              <a:ext cx="1070223" cy="427699"/>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laag</a:t>
              </a:r>
            </a:p>
          </p:txBody>
        </p:sp>
        <p:sp>
          <p:nvSpPr>
            <p:cNvPr id="113" name="Ovaal 112"/>
            <p:cNvSpPr/>
            <p:nvPr userDrawn="1"/>
          </p:nvSpPr>
          <p:spPr>
            <a:xfrm>
              <a:off x="-2959433" y="338208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5</a:t>
              </a:r>
            </a:p>
          </p:txBody>
        </p:sp>
        <p:sp>
          <p:nvSpPr>
            <p:cNvPr id="114" name="Textfield placeholder"/>
            <p:cNvSpPr txBox="1">
              <a:spLocks/>
            </p:cNvSpPr>
            <p:nvPr userDrawn="1"/>
          </p:nvSpPr>
          <p:spPr>
            <a:xfrm>
              <a:off x="-2571950" y="3382082"/>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60000" lvl="4" indent="-360000" defTabSz="179388">
                <a:lnSpc>
                  <a:spcPct val="120000"/>
                </a:lnSpc>
                <a:spcBef>
                  <a:spcPts val="0"/>
                </a:spcBef>
                <a:spcAft>
                  <a:spcPts val="900"/>
                </a:spcAft>
                <a:buClr>
                  <a:srgbClr val="ED1A3B"/>
                </a:buClr>
                <a:buFont typeface="+mj-lt"/>
                <a:buAutoNum type="arabicPeriod"/>
                <a:defRPr/>
              </a:pPr>
              <a:r>
                <a:rPr lang="nl-NL" sz="1200" b="0" dirty="0">
                  <a:solidFill>
                    <a:srgbClr val="404040"/>
                  </a:solidFill>
                </a:rPr>
                <a:t>Numeriek (12 pt.)</a:t>
              </a:r>
            </a:p>
          </p:txBody>
        </p:sp>
        <p:grpSp>
          <p:nvGrpSpPr>
            <p:cNvPr id="115" name="Groep 114"/>
            <p:cNvGrpSpPr/>
            <p:nvPr userDrawn="1"/>
          </p:nvGrpSpPr>
          <p:grpSpPr>
            <a:xfrm>
              <a:off x="-2950232" y="816050"/>
              <a:ext cx="528695" cy="344202"/>
              <a:chOff x="-2880382" y="410556"/>
              <a:chExt cx="528695" cy="344202"/>
            </a:xfrm>
          </p:grpSpPr>
          <p:sp>
            <p:nvSpPr>
              <p:cNvPr id="125" name="Afgeronde rechthoek 124"/>
              <p:cNvSpPr/>
              <p:nvPr userDrawn="1"/>
            </p:nvSpPr>
            <p:spPr>
              <a:xfrm>
                <a:off x="-2874214" y="410556"/>
                <a:ext cx="522527" cy="339183"/>
              </a:xfrm>
              <a:prstGeom prst="roundRect">
                <a:avLst>
                  <a:gd name="adj" fmla="val 7565"/>
                </a:avLst>
              </a:prstGeom>
              <a:gradFill>
                <a:gsLst>
                  <a:gs pos="0">
                    <a:srgbClr val="FFEC8F"/>
                  </a:gs>
                  <a:gs pos="100000">
                    <a:srgbClr val="FFFFFF"/>
                  </a:gs>
                </a:gsLst>
                <a:lin ang="5400000" scaled="0"/>
              </a:gra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sp>
            <p:nvSpPr>
              <p:cNvPr id="126" name="Vrije vorm 125"/>
              <p:cNvSpPr/>
              <p:nvPr userDrawn="1"/>
            </p:nvSpPr>
            <p:spPr>
              <a:xfrm>
                <a:off x="-2880382" y="452699"/>
                <a:ext cx="528695" cy="302059"/>
              </a:xfrm>
              <a:custGeom>
                <a:avLst/>
                <a:gdLst>
                  <a:gd name="connsiteX0" fmla="*/ 55524 w 528695"/>
                  <a:gd name="connsiteY0" fmla="*/ 0 h 302059"/>
                  <a:gd name="connsiteX1" fmla="*/ 455496 w 528695"/>
                  <a:gd name="connsiteY1" fmla="*/ 0 h 302059"/>
                  <a:gd name="connsiteX2" fmla="*/ 475205 w 528695"/>
                  <a:gd name="connsiteY2" fmla="*/ 19709 h 302059"/>
                  <a:gd name="connsiteX3" fmla="*/ 475205 w 528695"/>
                  <a:gd name="connsiteY3" fmla="*/ 230056 h 302059"/>
                  <a:gd name="connsiteX4" fmla="*/ 516694 w 528695"/>
                  <a:gd name="connsiteY4" fmla="*/ 230056 h 302059"/>
                  <a:gd name="connsiteX5" fmla="*/ 528695 w 528695"/>
                  <a:gd name="connsiteY5" fmla="*/ 242057 h 302059"/>
                  <a:gd name="connsiteX6" fmla="*/ 528695 w 528695"/>
                  <a:gd name="connsiteY6" fmla="*/ 290058 h 302059"/>
                  <a:gd name="connsiteX7" fmla="*/ 516694 w 528695"/>
                  <a:gd name="connsiteY7" fmla="*/ 302059 h 302059"/>
                  <a:gd name="connsiteX8" fmla="*/ 12001 w 528695"/>
                  <a:gd name="connsiteY8" fmla="*/ 302059 h 302059"/>
                  <a:gd name="connsiteX9" fmla="*/ 0 w 528695"/>
                  <a:gd name="connsiteY9" fmla="*/ 290058 h 302059"/>
                  <a:gd name="connsiteX10" fmla="*/ 0 w 528695"/>
                  <a:gd name="connsiteY10" fmla="*/ 242057 h 302059"/>
                  <a:gd name="connsiteX11" fmla="*/ 12001 w 528695"/>
                  <a:gd name="connsiteY11" fmla="*/ 230056 h 302059"/>
                  <a:gd name="connsiteX12" fmla="*/ 35815 w 528695"/>
                  <a:gd name="connsiteY12" fmla="*/ 230056 h 302059"/>
                  <a:gd name="connsiteX13" fmla="*/ 35815 w 528695"/>
                  <a:gd name="connsiteY13" fmla="*/ 19709 h 302059"/>
                  <a:gd name="connsiteX14" fmla="*/ 55524 w 528695"/>
                  <a:gd name="connsiteY14" fmla="*/ 0 h 3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8695" h="302059">
                    <a:moveTo>
                      <a:pt x="55524" y="0"/>
                    </a:moveTo>
                    <a:lnTo>
                      <a:pt x="455496" y="0"/>
                    </a:lnTo>
                    <a:cubicBezTo>
                      <a:pt x="466381" y="0"/>
                      <a:pt x="475205" y="8824"/>
                      <a:pt x="475205" y="19709"/>
                    </a:cubicBezTo>
                    <a:lnTo>
                      <a:pt x="475205" y="230056"/>
                    </a:lnTo>
                    <a:lnTo>
                      <a:pt x="516694" y="230056"/>
                    </a:lnTo>
                    <a:cubicBezTo>
                      <a:pt x="523322" y="230056"/>
                      <a:pt x="528695" y="235429"/>
                      <a:pt x="528695" y="242057"/>
                    </a:cubicBezTo>
                    <a:lnTo>
                      <a:pt x="528695" y="290058"/>
                    </a:lnTo>
                    <a:cubicBezTo>
                      <a:pt x="528695" y="296686"/>
                      <a:pt x="523322" y="302059"/>
                      <a:pt x="516694" y="302059"/>
                    </a:cubicBezTo>
                    <a:lnTo>
                      <a:pt x="12001" y="302059"/>
                    </a:lnTo>
                    <a:cubicBezTo>
                      <a:pt x="5373" y="302059"/>
                      <a:pt x="0" y="296686"/>
                      <a:pt x="0" y="290058"/>
                    </a:cubicBezTo>
                    <a:lnTo>
                      <a:pt x="0" y="242057"/>
                    </a:lnTo>
                    <a:cubicBezTo>
                      <a:pt x="0" y="235429"/>
                      <a:pt x="5373" y="230056"/>
                      <a:pt x="12001" y="230056"/>
                    </a:cubicBezTo>
                    <a:lnTo>
                      <a:pt x="35815" y="230056"/>
                    </a:lnTo>
                    <a:lnTo>
                      <a:pt x="35815" y="19709"/>
                    </a:lnTo>
                    <a:cubicBezTo>
                      <a:pt x="35815" y="8824"/>
                      <a:pt x="44639" y="0"/>
                      <a:pt x="55524" y="0"/>
                    </a:cubicBezTo>
                    <a:close/>
                  </a:path>
                </a:pathLst>
              </a:custGeom>
              <a:solidFill>
                <a:sysClr val="window" lastClr="FFFFFF">
                  <a:lumMod val="95000"/>
                </a:sysClr>
              </a:solidFill>
              <a:ln w="9525" cap="flat" cmpd="sng" algn="ctr">
                <a:solidFill>
                  <a:srgbClr val="FFFFFF">
                    <a:lumMod val="90000"/>
                  </a:srgbClr>
                </a:solidFill>
                <a:prstDash val="solid"/>
                <a:miter lim="800000"/>
              </a:ln>
              <a:effectLst/>
            </p:spPr>
            <p:txBody>
              <a:bodyPr rot="0" spcFirstLastPara="0" vert="horz" wrap="square" lIns="108000" tIns="36000" rIns="108000" bIns="10800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900" dirty="0">
                    <a:solidFill>
                      <a:prstClr val="black"/>
                    </a:solidFill>
                    <a:latin typeface="Segoe UI Light"/>
                  </a:rPr>
                  <a:t>Start</a:t>
                </a:r>
              </a:p>
            </p:txBody>
          </p:sp>
        </p:grpSp>
        <p:sp>
          <p:nvSpPr>
            <p:cNvPr id="116" name="Tekstvak 65"/>
            <p:cNvSpPr txBox="1"/>
            <p:nvPr userDrawn="1"/>
          </p:nvSpPr>
          <p:spPr>
            <a:xfrm>
              <a:off x="-2959433" y="372104"/>
              <a:ext cx="2679887" cy="453396"/>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nl-NL" sz="1200" kern="0" dirty="0">
                  <a:solidFill>
                    <a:srgbClr val="000000"/>
                  </a:solidFill>
                  <a:latin typeface="Segoe UI Light" panose="020B0502040204020203" pitchFamily="34" charset="0"/>
                  <a:cs typeface="Segoe UI Light" panose="020B0502040204020203" pitchFamily="34" charset="0"/>
                </a:rPr>
                <a:t>Ga naar de tab </a:t>
              </a:r>
              <a:r>
                <a:rPr lang="nl-NL" sz="1200" b="1" kern="0" dirty="0">
                  <a:solidFill>
                    <a:srgbClr val="000000"/>
                  </a:solidFill>
                  <a:latin typeface="Segoe UI Light" panose="020B0502040204020203" pitchFamily="34" charset="0"/>
                  <a:cs typeface="Segoe UI Light" panose="020B0502040204020203" pitchFamily="34" charset="0"/>
                </a:rPr>
                <a:t>Start’ </a:t>
              </a:r>
              <a:r>
                <a:rPr lang="nl-NL" sz="1200" kern="0" dirty="0">
                  <a:solidFill>
                    <a:srgbClr val="000000"/>
                  </a:solidFill>
                  <a:latin typeface="Segoe UI Light" panose="020B0502040204020203" pitchFamily="34" charset="0"/>
                  <a:cs typeface="Segoe UI Light" panose="020B0502040204020203" pitchFamily="34" charset="0"/>
                </a:rPr>
                <a:t>en vind onderstaande knoppen onder </a:t>
              </a:r>
              <a:r>
                <a:rPr lang="nl-NL" sz="1200" b="1" kern="0" dirty="0">
                  <a:solidFill>
                    <a:srgbClr val="000000"/>
                  </a:solidFill>
                  <a:latin typeface="Segoe UI Light" panose="020B0502040204020203" pitchFamily="34" charset="0"/>
                  <a:cs typeface="Segoe UI Light" panose="020B0502040204020203" pitchFamily="34" charset="0"/>
                </a:rPr>
                <a:t>‘Alinea’</a:t>
              </a:r>
            </a:p>
          </p:txBody>
        </p:sp>
        <p:sp>
          <p:nvSpPr>
            <p:cNvPr id="117" name="Ovaal 116"/>
            <p:cNvSpPr/>
            <p:nvPr userDrawn="1"/>
          </p:nvSpPr>
          <p:spPr>
            <a:xfrm>
              <a:off x="-2959433" y="375153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6</a:t>
              </a:r>
            </a:p>
          </p:txBody>
        </p:sp>
        <p:sp>
          <p:nvSpPr>
            <p:cNvPr id="118" name="Textfield placeholder"/>
            <p:cNvSpPr txBox="1">
              <a:spLocks/>
            </p:cNvSpPr>
            <p:nvPr userDrawn="1"/>
          </p:nvSpPr>
          <p:spPr>
            <a:xfrm>
              <a:off x="-2571950" y="3751536"/>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0000" lvl="5" indent="-270000" defTabSz="179388">
                <a:lnSpc>
                  <a:spcPct val="120000"/>
                </a:lnSpc>
                <a:spcAft>
                  <a:spcPts val="900"/>
                </a:spcAft>
                <a:buClr>
                  <a:srgbClr val="ED1A3B"/>
                </a:buClr>
                <a:buSzPct val="80000"/>
                <a:buFont typeface="Wingdings 3" panose="05040102010807070707" pitchFamily="18" charset="2"/>
                <a:buChar char=""/>
                <a:defRPr/>
              </a:pPr>
              <a:r>
                <a:rPr lang="nl-NL" sz="1200" cap="none" dirty="0">
                  <a:solidFill>
                    <a:srgbClr val="535353"/>
                  </a:solidFill>
                </a:rPr>
                <a:t># Bullets (12 pt.)</a:t>
              </a:r>
            </a:p>
          </p:txBody>
        </p:sp>
        <p:sp>
          <p:nvSpPr>
            <p:cNvPr id="119" name="Ovaal 118"/>
            <p:cNvSpPr/>
            <p:nvPr userDrawn="1"/>
          </p:nvSpPr>
          <p:spPr>
            <a:xfrm>
              <a:off x="-2959433" y="414870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7</a:t>
              </a:r>
            </a:p>
          </p:txBody>
        </p:sp>
        <p:sp>
          <p:nvSpPr>
            <p:cNvPr id="120" name="Textfield placeholder"/>
            <p:cNvSpPr txBox="1">
              <a:spLocks/>
            </p:cNvSpPr>
            <p:nvPr userDrawn="1"/>
          </p:nvSpPr>
          <p:spPr>
            <a:xfrm>
              <a:off x="-2571950" y="414870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6" indent="0" defTabSz="179388">
                <a:lnSpc>
                  <a:spcPct val="120000"/>
                </a:lnSpc>
                <a:spcBef>
                  <a:spcPts val="0"/>
                </a:spcBef>
                <a:spcAft>
                  <a:spcPts val="900"/>
                </a:spcAft>
                <a:buClr>
                  <a:srgbClr val="ED1A3B"/>
                </a:buClr>
                <a:buSzPct val="90000"/>
                <a:buFont typeface="+mj-lt"/>
                <a:buNone/>
                <a:defRPr/>
              </a:pPr>
              <a:r>
                <a:rPr lang="nl-NL" sz="1200" i="1" dirty="0">
                  <a:solidFill>
                    <a:srgbClr val="404040"/>
                  </a:solidFill>
                </a:rPr>
                <a:t>Cursief donker (12 pt.)</a:t>
              </a:r>
            </a:p>
          </p:txBody>
        </p:sp>
        <p:sp>
          <p:nvSpPr>
            <p:cNvPr id="121" name="Ovaal 120"/>
            <p:cNvSpPr/>
            <p:nvPr userDrawn="1"/>
          </p:nvSpPr>
          <p:spPr>
            <a:xfrm>
              <a:off x="-2959433" y="454586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8</a:t>
              </a:r>
            </a:p>
          </p:txBody>
        </p:sp>
        <p:sp>
          <p:nvSpPr>
            <p:cNvPr id="122" name="Textfield placeholder"/>
            <p:cNvSpPr txBox="1">
              <a:spLocks/>
            </p:cNvSpPr>
            <p:nvPr userDrawn="1"/>
          </p:nvSpPr>
          <p:spPr>
            <a:xfrm>
              <a:off x="-2571950" y="4545864"/>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7" indent="0" defTabSz="179388">
                <a:lnSpc>
                  <a:spcPct val="80000"/>
                </a:lnSpc>
                <a:spcBef>
                  <a:spcPts val="0"/>
                </a:spcBef>
                <a:spcAft>
                  <a:spcPts val="900"/>
                </a:spcAft>
                <a:buClr>
                  <a:srgbClr val="ED1A3B"/>
                </a:buClr>
                <a:buFont typeface="Arial" pitchFamily="34" charset="0"/>
                <a:buNone/>
                <a:defRPr/>
              </a:pPr>
              <a:r>
                <a:rPr lang="nl-NL" sz="1200" i="1" dirty="0">
                  <a:solidFill>
                    <a:srgbClr val="A3B0C0"/>
                  </a:solidFill>
                </a:rPr>
                <a:t>Cursief Licht (12 pt.)</a:t>
              </a:r>
            </a:p>
          </p:txBody>
        </p:sp>
        <p:sp>
          <p:nvSpPr>
            <p:cNvPr id="123" name="Ovaal 122"/>
            <p:cNvSpPr/>
            <p:nvPr userDrawn="1"/>
          </p:nvSpPr>
          <p:spPr>
            <a:xfrm>
              <a:off x="-2959433" y="488761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9</a:t>
              </a:r>
            </a:p>
          </p:txBody>
        </p:sp>
        <p:sp>
          <p:nvSpPr>
            <p:cNvPr id="124" name="Textfield placeholder"/>
            <p:cNvSpPr txBox="1">
              <a:spLocks/>
            </p:cNvSpPr>
            <p:nvPr userDrawn="1"/>
          </p:nvSpPr>
          <p:spPr>
            <a:xfrm>
              <a:off x="-2571950" y="488761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8" indent="0" defTabSz="179388">
                <a:lnSpc>
                  <a:spcPct val="80000"/>
                </a:lnSpc>
                <a:spcBef>
                  <a:spcPts val="0"/>
                </a:spcBef>
                <a:spcAft>
                  <a:spcPts val="900"/>
                </a:spcAft>
                <a:buClr>
                  <a:srgbClr val="ED1A3B"/>
                </a:buClr>
                <a:buFont typeface="Arial" pitchFamily="34" charset="0"/>
                <a:buNone/>
                <a:defRPr/>
              </a:pPr>
              <a:r>
                <a:rPr lang="nl-NL" sz="1400" b="1" dirty="0">
                  <a:solidFill>
                    <a:srgbClr val="ED1A3B"/>
                  </a:solidFill>
                </a:rPr>
                <a:t>Subtitel (14 pt.)</a:t>
              </a:r>
            </a:p>
          </p:txBody>
        </p:sp>
      </p:grpSp>
      <p:sp>
        <p:nvSpPr>
          <p:cNvPr id="176" name="Hyperlink - Inhoudsopgave">
            <a:hlinkClick r:id="rId4" action="ppaction://hlinksldjump"/>
          </p:cNvPr>
          <p:cNvSpPr/>
          <p:nvPr userDrawn="1"/>
        </p:nvSpPr>
        <p:spPr>
          <a:xfrm>
            <a:off x="10197856" y="5889801"/>
            <a:ext cx="2000494" cy="968199"/>
          </a:xfrm>
          <a:prstGeom prst="rect">
            <a:avLst/>
          </a:prstGeom>
          <a:solidFill>
            <a:srgbClr val="ED1A3B">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cxnSp>
        <p:nvCxnSpPr>
          <p:cNvPr id="92" name="Grijze lijn - boven"/>
          <p:cNvCxnSpPr/>
          <p:nvPr userDrawn="1"/>
        </p:nvCxnSpPr>
        <p:spPr>
          <a:xfrm flipH="1">
            <a:off x="664804" y="1358670"/>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89" name="Tijdelijke aanduiding voor Dianummer"/>
          <p:cNvSpPr>
            <a:spLocks noGrp="1"/>
          </p:cNvSpPr>
          <p:nvPr>
            <p:ph type="sldNum" sz="quarter" idx="4"/>
          </p:nvPr>
        </p:nvSpPr>
        <p:spPr>
          <a:xfrm>
            <a:off x="5770549" y="6295992"/>
            <a:ext cx="657251" cy="365125"/>
          </a:xfrm>
          <a:prstGeom prst="rect">
            <a:avLst/>
          </a:prstGeom>
        </p:spPr>
        <p:txBody>
          <a:bodyPr vert="horz" lIns="91440" tIns="45720" rIns="91440" bIns="45720" rtlCol="0" anchor="ctr"/>
          <a:lstStyle>
            <a:lvl1pPr algn="ctr">
              <a:defRPr sz="800">
                <a:solidFill>
                  <a:schemeClr val="tx1">
                    <a:tint val="75000"/>
                  </a:schemeClr>
                </a:solidFill>
              </a:defRPr>
            </a:lvl1pPr>
          </a:lstStyle>
          <a:p>
            <a:fld id="{1B3FA67A-C720-417A-A072-0CD211FD8662}" type="slidenum">
              <a:rPr lang="nl-NL" smtClean="0">
                <a:solidFill>
                  <a:srgbClr val="000000">
                    <a:tint val="75000"/>
                  </a:srgbClr>
                </a:solidFill>
              </a:rPr>
              <a:pPr/>
              <a:t>‹nr.›</a:t>
            </a:fld>
            <a:endParaRPr lang="nl-NL" dirty="0">
              <a:solidFill>
                <a:srgbClr val="000000">
                  <a:tint val="75000"/>
                </a:srgbClr>
              </a:solidFill>
            </a:endParaRPr>
          </a:p>
        </p:txBody>
      </p:sp>
      <p:sp>
        <p:nvSpPr>
          <p:cNvPr id="90" name="Tijdelijke aanduiding voor Tekst"/>
          <p:cNvSpPr>
            <a:spLocks noGrp="1"/>
          </p:cNvSpPr>
          <p:nvPr>
            <p:ph type="body" orient="vert" idx="15" hasCustomPrompt="1"/>
          </p:nvPr>
        </p:nvSpPr>
        <p:spPr>
          <a:xfrm>
            <a:off x="664109" y="1720867"/>
            <a:ext cx="10871230" cy="3693600"/>
          </a:xfrm>
        </p:spPr>
        <p:txBody>
          <a:bodyPr vert="horz" lIns="0" tIns="0" rIns="0" bIns="0" numCol="2" spcCol="360000"/>
          <a:lstStyle>
            <a:lvl1pPr>
              <a:defRPr sz="1200"/>
            </a:lvl1pPr>
            <a:lvl2pPr marL="180975" indent="-180975">
              <a:defRPr sz="1200"/>
            </a:lvl2pPr>
            <a:lvl3pPr marL="360363" indent="-179388">
              <a:defRPr sz="1200"/>
            </a:lvl3pPr>
            <a:lvl4pPr marL="541338" indent="-180975">
              <a:defRPr sz="1200"/>
            </a:lvl4pPr>
            <a:lvl5pPr marL="265113" indent="-265113">
              <a:defRPr sz="1200"/>
            </a:lvl5pPr>
            <a:lvl6pPr marL="444500" indent="-179388">
              <a:defRPr sz="1200"/>
            </a:lvl6pPr>
            <a:lvl7pPr>
              <a:defRPr sz="1200"/>
            </a:lvl7pPr>
            <a:lvl8pPr>
              <a:defRPr sz="1200"/>
            </a:lvl8pPr>
            <a:lvl9pPr>
              <a:defRPr sz="1400"/>
            </a:lvl9pPr>
          </a:lstStyle>
          <a:p>
            <a:pPr lvl="0"/>
            <a:r>
              <a:rPr lang="nl-NL" dirty="0"/>
              <a:t>Leestekst</a:t>
            </a:r>
          </a:p>
          <a:p>
            <a:pPr lvl="1"/>
            <a:r>
              <a:rPr lang="nl-NL" dirty="0"/>
              <a:t>Bullets</a:t>
            </a:r>
          </a:p>
          <a:p>
            <a:pPr lvl="2"/>
            <a:r>
              <a:rPr lang="nl-NL" dirty="0"/>
              <a:t>Sub-bullets</a:t>
            </a:r>
          </a:p>
          <a:p>
            <a:pPr lvl="3"/>
            <a:r>
              <a:rPr lang="nl-NL" dirty="0"/>
              <a:t>Sub-sub-bullets</a:t>
            </a:r>
          </a:p>
          <a:p>
            <a:pPr lvl="4"/>
            <a:r>
              <a:rPr lang="nl-NL" dirty="0"/>
              <a:t>Numeriek</a:t>
            </a:r>
          </a:p>
          <a:p>
            <a:pPr lvl="5"/>
            <a:r>
              <a:rPr lang="nl-NL" dirty="0"/>
              <a:t># Bullets</a:t>
            </a:r>
          </a:p>
          <a:p>
            <a:pPr lvl="6"/>
            <a:r>
              <a:rPr lang="nl-NL" dirty="0"/>
              <a:t>Cursief donker</a:t>
            </a:r>
          </a:p>
          <a:p>
            <a:pPr lvl="7"/>
            <a:r>
              <a:rPr lang="nl-NL" dirty="0"/>
              <a:t>Cursief licht</a:t>
            </a:r>
          </a:p>
          <a:p>
            <a:pPr lvl="8"/>
            <a:r>
              <a:rPr lang="nl-NL" dirty="0"/>
              <a:t>Subtitel</a:t>
            </a:r>
          </a:p>
        </p:txBody>
      </p:sp>
      <p:sp>
        <p:nvSpPr>
          <p:cNvPr id="10" name="Tijdelijke aanduiding voor Subtitel"/>
          <p:cNvSpPr>
            <a:spLocks noGrp="1"/>
          </p:cNvSpPr>
          <p:nvPr>
            <p:ph type="body" idx="14"/>
          </p:nvPr>
        </p:nvSpPr>
        <p:spPr>
          <a:xfrm>
            <a:off x="664109" y="1001348"/>
            <a:ext cx="10870131" cy="317758"/>
          </a:xfrm>
        </p:spPr>
        <p:txBody>
          <a:bodyPr bIns="72000" anchor="t" anchorCtr="0"/>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2" name="Tijdelijke aanduiding voor Titel"/>
          <p:cNvSpPr>
            <a:spLocks noGrp="1"/>
          </p:cNvSpPr>
          <p:nvPr>
            <p:ph type="title"/>
          </p:nvPr>
        </p:nvSpPr>
        <p:spPr>
          <a:xfrm>
            <a:off x="664109" y="464521"/>
            <a:ext cx="10870131" cy="533219"/>
          </a:xfrm>
        </p:spPr>
        <p:txBody>
          <a:bodyPr/>
          <a:lstStyle/>
          <a:p>
            <a:r>
              <a:rPr lang="nl-NL"/>
              <a:t>Klik om stijl te bewerken</a:t>
            </a:r>
            <a:endParaRPr lang="nl-NL" dirty="0"/>
          </a:p>
        </p:txBody>
      </p:sp>
    </p:spTree>
    <p:extLst>
      <p:ext uri="{BB962C8B-B14F-4D97-AF65-F5344CB8AC3E}">
        <p14:creationId xmlns:p14="http://schemas.microsoft.com/office/powerpoint/2010/main" val="3576819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 Kolommen tekst (inclusief streep onder)">
    <p:spTree>
      <p:nvGrpSpPr>
        <p:cNvPr id="1" name=""/>
        <p:cNvGrpSpPr/>
        <p:nvPr/>
      </p:nvGrpSpPr>
      <p:grpSpPr>
        <a:xfrm>
          <a:off x="0" y="0"/>
          <a:ext cx="0" cy="0"/>
          <a:chOff x="0" y="0"/>
          <a:chExt cx="0" cy="0"/>
        </a:xfrm>
      </p:grpSpPr>
      <p:sp>
        <p:nvSpPr>
          <p:cNvPr id="97" name="Naam indeling - 2 Kolommen tekst (inclusief streep onder)"/>
          <p:cNvSpPr txBox="1"/>
          <p:nvPr userDrawn="1"/>
        </p:nvSpPr>
        <p:spPr>
          <a:xfrm>
            <a:off x="0" y="-453266"/>
            <a:ext cx="4506508" cy="276999"/>
          </a:xfrm>
          <a:prstGeom prst="rect">
            <a:avLst/>
          </a:prstGeom>
          <a:noFill/>
        </p:spPr>
        <p:txBody>
          <a:bodyPr wrap="square" lIns="0" tIns="0" rIns="0" bIns="0" rtlCol="0">
            <a:spAutoFit/>
          </a:bodyPr>
          <a:lstStyle/>
          <a:p>
            <a:pPr defTabSz="914112"/>
            <a:r>
              <a:rPr lang="nl-NL" dirty="0">
                <a:solidFill>
                  <a:srgbClr val="404040"/>
                </a:solidFill>
                <a:latin typeface="Calibri" panose="020F0502020204030204" pitchFamily="34" charset="0"/>
              </a:rPr>
              <a:t>2 Kolommen tekst (inclusief streep onder)</a:t>
            </a:r>
            <a:endParaRPr lang="en-GB" dirty="0">
              <a:solidFill>
                <a:srgbClr val="404040"/>
              </a:solidFill>
              <a:latin typeface="Calibri" panose="020F0502020204030204" pitchFamily="34" charset="0"/>
            </a:endParaRPr>
          </a:p>
        </p:txBody>
      </p:sp>
      <p:grpSp>
        <p:nvGrpSpPr>
          <p:cNvPr id="94" name="Instructie - Tekst niveaus"/>
          <p:cNvGrpSpPr/>
          <p:nvPr userDrawn="1"/>
        </p:nvGrpSpPr>
        <p:grpSpPr>
          <a:xfrm>
            <a:off x="-3117849" y="365"/>
            <a:ext cx="2823358" cy="5254722"/>
            <a:chOff x="-2959433" y="-5444"/>
            <a:chExt cx="2822623" cy="5254722"/>
          </a:xfrm>
        </p:grpSpPr>
        <p:sp>
          <p:nvSpPr>
            <p:cNvPr id="100" name="Rechthoek 99"/>
            <p:cNvSpPr/>
            <p:nvPr userDrawn="1"/>
          </p:nvSpPr>
          <p:spPr>
            <a:xfrm>
              <a:off x="-2959433" y="-5444"/>
              <a:ext cx="2572469" cy="280344"/>
            </a:xfrm>
            <a:prstGeom prst="rect">
              <a:avLst/>
            </a:prstGeom>
            <a:noFill/>
            <a:ln w="25400" cap="flat" cmpd="sng" algn="ctr">
              <a:noFill/>
              <a:prstDash val="solid"/>
            </a:ln>
            <a:effectLst/>
          </p:spPr>
          <p:txBody>
            <a:bodyPr lIns="0" tIns="0" rIns="0" bIns="0" rtlCol="0" anchor="t"/>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nl-NL" sz="1600" b="1" kern="0" dirty="0">
                  <a:solidFill>
                    <a:srgbClr val="ED1A3B"/>
                  </a:solidFill>
                  <a:cs typeface="Segoe UI Light" panose="020B0502040204020203" pitchFamily="34" charset="0"/>
                </a:rPr>
                <a:t>TEKST NIVEAUS</a:t>
              </a:r>
            </a:p>
          </p:txBody>
        </p:sp>
        <p:sp>
          <p:nvSpPr>
            <p:cNvPr id="101" name="Textfield placeholder"/>
            <p:cNvSpPr txBox="1">
              <a:spLocks/>
            </p:cNvSpPr>
            <p:nvPr userDrawn="1"/>
          </p:nvSpPr>
          <p:spPr>
            <a:xfrm>
              <a:off x="-2587337" y="2675411"/>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0" lvl="2"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a:solidFill>
                    <a:srgbClr val="404040"/>
                  </a:solidFill>
                </a:rPr>
                <a:t>Sub-bullets (12 pt.)</a:t>
              </a:r>
            </a:p>
          </p:txBody>
        </p:sp>
        <p:sp>
          <p:nvSpPr>
            <p:cNvPr id="102" name="Ovaal 101"/>
            <p:cNvSpPr/>
            <p:nvPr userDrawn="1"/>
          </p:nvSpPr>
          <p:spPr>
            <a:xfrm>
              <a:off x="-2959433" y="196874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1</a:t>
              </a:r>
            </a:p>
          </p:txBody>
        </p:sp>
        <p:sp>
          <p:nvSpPr>
            <p:cNvPr id="103" name="Ovaal 102"/>
            <p:cNvSpPr/>
            <p:nvPr userDrawn="1"/>
          </p:nvSpPr>
          <p:spPr>
            <a:xfrm>
              <a:off x="-2959433" y="232207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2</a:t>
              </a:r>
            </a:p>
          </p:txBody>
        </p:sp>
        <p:sp>
          <p:nvSpPr>
            <p:cNvPr id="104" name="Ovaal 103"/>
            <p:cNvSpPr/>
            <p:nvPr userDrawn="1"/>
          </p:nvSpPr>
          <p:spPr>
            <a:xfrm>
              <a:off x="-2959433" y="267541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3</a:t>
              </a:r>
            </a:p>
          </p:txBody>
        </p:sp>
        <p:sp>
          <p:nvSpPr>
            <p:cNvPr id="105" name="Ovaal 104"/>
            <p:cNvSpPr/>
            <p:nvPr userDrawn="1"/>
          </p:nvSpPr>
          <p:spPr>
            <a:xfrm>
              <a:off x="-2959433" y="302874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4</a:t>
              </a:r>
            </a:p>
          </p:txBody>
        </p:sp>
        <p:sp>
          <p:nvSpPr>
            <p:cNvPr id="106" name="Textfield placeholder"/>
            <p:cNvSpPr txBox="1">
              <a:spLocks/>
            </p:cNvSpPr>
            <p:nvPr userDrawn="1"/>
          </p:nvSpPr>
          <p:spPr>
            <a:xfrm>
              <a:off x="-2571950" y="1966925"/>
              <a:ext cx="2163709" cy="261500"/>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79388">
                <a:lnSpc>
                  <a:spcPct val="120000"/>
                </a:lnSpc>
                <a:spcBef>
                  <a:spcPts val="0"/>
                </a:spcBef>
                <a:spcAft>
                  <a:spcPts val="900"/>
                </a:spcAft>
                <a:buClr>
                  <a:srgbClr val="000000"/>
                </a:buClr>
                <a:buSzPct val="100000"/>
                <a:buFont typeface="Arial" pitchFamily="34" charset="0"/>
                <a:buNone/>
                <a:defRPr/>
              </a:pPr>
              <a:r>
                <a:rPr lang="nl-NL" sz="1200" dirty="0">
                  <a:solidFill>
                    <a:srgbClr val="535353"/>
                  </a:solidFill>
                </a:rPr>
                <a:t>Leestekst (12 pt.)</a:t>
              </a:r>
            </a:p>
          </p:txBody>
        </p:sp>
        <p:sp>
          <p:nvSpPr>
            <p:cNvPr id="107" name="Textfield placeholder"/>
            <p:cNvSpPr txBox="1">
              <a:spLocks/>
            </p:cNvSpPr>
            <p:nvPr userDrawn="1"/>
          </p:nvSpPr>
          <p:spPr>
            <a:xfrm>
              <a:off x="-2571950" y="2322077"/>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70000" lvl="1"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err="1">
                  <a:solidFill>
                    <a:srgbClr val="535353"/>
                  </a:solidFill>
                </a:rPr>
                <a:t>Bullets</a:t>
              </a:r>
              <a:r>
                <a:rPr lang="nl-NL" sz="1200" dirty="0">
                  <a:solidFill>
                    <a:srgbClr val="535353"/>
                  </a:solidFill>
                </a:rPr>
                <a:t> (12 </a:t>
              </a:r>
              <a:r>
                <a:rPr lang="nl-NL" sz="1200" dirty="0" err="1">
                  <a:solidFill>
                    <a:srgbClr val="535353"/>
                  </a:solidFill>
                </a:rPr>
                <a:t>pt</a:t>
              </a:r>
              <a:r>
                <a:rPr lang="nl-NL" sz="1200" dirty="0">
                  <a:solidFill>
                    <a:srgbClr val="535353"/>
                  </a:solidFill>
                </a:rPr>
                <a:t>.)</a:t>
              </a:r>
            </a:p>
          </p:txBody>
        </p:sp>
        <p:sp>
          <p:nvSpPr>
            <p:cNvPr id="108" name="Textfield placeholder"/>
            <p:cNvSpPr txBox="1">
              <a:spLocks/>
            </p:cNvSpPr>
            <p:nvPr userDrawn="1"/>
          </p:nvSpPr>
          <p:spPr>
            <a:xfrm>
              <a:off x="-2571951" y="3028747"/>
              <a:ext cx="2435141"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10000" lvl="3" indent="-270000" algn="l" defTabSz="179388" rtl="0" eaLnBrk="1" latinLnBrk="0" hangingPunct="1">
                <a:lnSpc>
                  <a:spcPct val="120000"/>
                </a:lnSpc>
                <a:spcBef>
                  <a:spcPts val="0"/>
                </a:spcBef>
                <a:spcAft>
                  <a:spcPts val="900"/>
                </a:spcAft>
                <a:buClr>
                  <a:schemeClr val="accent2"/>
                </a:buClr>
                <a:buSzPct val="80000"/>
                <a:buFont typeface="Wingdings 3" panose="05040102010807070707" pitchFamily="18" charset="2"/>
                <a:buChar char=""/>
                <a:defRPr/>
              </a:pPr>
              <a:r>
                <a:rPr lang="nl-NL" sz="1200" b="0" kern="1200" dirty="0">
                  <a:solidFill>
                    <a:srgbClr val="404040"/>
                  </a:solidFill>
                  <a:latin typeface="+mn-lt"/>
                  <a:ea typeface="+mn-ea"/>
                  <a:cs typeface="+mn-cs"/>
                </a:rPr>
                <a:t>Sub-sub-bullets (12 pt.)</a:t>
              </a:r>
            </a:p>
          </p:txBody>
        </p:sp>
        <p:cxnSp>
          <p:nvCxnSpPr>
            <p:cNvPr id="109" name="Rechte verbindingslijn 108"/>
            <p:cNvCxnSpPr/>
            <p:nvPr userDrawn="1"/>
          </p:nvCxnSpPr>
          <p:spPr>
            <a:xfrm>
              <a:off x="-2959100" y="274900"/>
              <a:ext cx="2674470" cy="0"/>
            </a:xfrm>
            <a:prstGeom prst="line">
              <a:avLst/>
            </a:prstGeom>
            <a:noFill/>
            <a:ln w="9525" cap="flat" cmpd="sng" algn="ctr">
              <a:solidFill>
                <a:schemeClr val="accent1"/>
              </a:solidFill>
              <a:prstDash val="solid"/>
            </a:ln>
            <a:effectLst/>
          </p:spPr>
        </p:cxnSp>
        <p:cxnSp>
          <p:nvCxnSpPr>
            <p:cNvPr id="110" name="Rechte verbindingslijn 109"/>
            <p:cNvCxnSpPr/>
            <p:nvPr userDrawn="1"/>
          </p:nvCxnSpPr>
          <p:spPr>
            <a:xfrm>
              <a:off x="-2959100" y="1841989"/>
              <a:ext cx="2661379" cy="0"/>
            </a:xfrm>
            <a:prstGeom prst="line">
              <a:avLst/>
            </a:prstGeom>
            <a:noFill/>
            <a:ln w="9525" cap="flat" cmpd="sng" algn="ctr">
              <a:solidFill>
                <a:schemeClr val="accent1"/>
              </a:solidFill>
              <a:prstDash val="solid"/>
            </a:ln>
            <a:effectLst/>
          </p:spPr>
        </p:cxnSp>
        <p:cxnSp>
          <p:nvCxnSpPr>
            <p:cNvPr id="111" name="Rechte verbindingslijn 110"/>
            <p:cNvCxnSpPr/>
            <p:nvPr userDrawn="1"/>
          </p:nvCxnSpPr>
          <p:spPr>
            <a:xfrm>
              <a:off x="-2959100" y="5249278"/>
              <a:ext cx="2661379" cy="0"/>
            </a:xfrm>
            <a:prstGeom prst="line">
              <a:avLst/>
            </a:prstGeom>
            <a:noFill/>
            <a:ln w="9525" cap="flat" cmpd="sng" algn="ctr">
              <a:solidFill>
                <a:schemeClr val="accent1"/>
              </a:solidFill>
              <a:prstDash val="solid"/>
            </a:ln>
            <a:effectLst/>
          </p:spPr>
        </p:cxnSp>
        <p:grpSp>
          <p:nvGrpSpPr>
            <p:cNvPr id="112" name="Groep 111"/>
            <p:cNvGrpSpPr/>
            <p:nvPr userDrawn="1"/>
          </p:nvGrpSpPr>
          <p:grpSpPr>
            <a:xfrm>
              <a:off x="-1948476" y="816741"/>
              <a:ext cx="409108" cy="427699"/>
              <a:chOff x="-1085063" y="758027"/>
              <a:chExt cx="633799" cy="622540"/>
            </a:xfrm>
          </p:grpSpPr>
          <p:sp>
            <p:nvSpPr>
              <p:cNvPr id="168" name="Afgeronde rechthoek 167"/>
              <p:cNvSpPr/>
              <p:nvPr userDrawn="1"/>
            </p:nvSpPr>
            <p:spPr>
              <a:xfrm>
                <a:off x="-108506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169" name="Groep 168"/>
              <p:cNvGrpSpPr/>
              <p:nvPr userDrawn="1"/>
            </p:nvGrpSpPr>
            <p:grpSpPr>
              <a:xfrm>
                <a:off x="-977739" y="864082"/>
                <a:ext cx="419168" cy="410429"/>
                <a:chOff x="6366933" y="309013"/>
                <a:chExt cx="1901295" cy="1861668"/>
              </a:xfrm>
              <a:solidFill>
                <a:srgbClr val="000000"/>
              </a:solidFill>
            </p:grpSpPr>
            <p:sp>
              <p:nvSpPr>
                <p:cNvPr id="170" name="Rechthoek 169"/>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71" name="Rechthoek 170"/>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72" name="Rechthoek 171"/>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73" name="Rechthoek 172"/>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74" name="Rechthoek 173"/>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75" name="Rechthoek 174"/>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76" name="Rechthoek 175"/>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77" name="Rechthoek 176"/>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78" name="Rechthoek 177"/>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79" name="Rechthoek 178"/>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80" name="Vrije vorm 179"/>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nvGrpSpPr>
            <p:cNvPr id="113" name="Groep 112"/>
            <p:cNvGrpSpPr/>
            <p:nvPr userDrawn="1"/>
          </p:nvGrpSpPr>
          <p:grpSpPr>
            <a:xfrm>
              <a:off x="-2950232" y="1207835"/>
              <a:ext cx="532929" cy="509563"/>
              <a:chOff x="-2880382" y="802341"/>
              <a:chExt cx="532929" cy="509563"/>
            </a:xfrm>
          </p:grpSpPr>
          <p:sp>
            <p:nvSpPr>
              <p:cNvPr id="146" name="Rechthoek 145"/>
              <p:cNvSpPr/>
              <p:nvPr userDrawn="1"/>
            </p:nvSpPr>
            <p:spPr>
              <a:xfrm>
                <a:off x="-2880382" y="802341"/>
                <a:ext cx="532929" cy="509563"/>
              </a:xfrm>
              <a:prstGeom prst="rect">
                <a:avLst/>
              </a:prstGeom>
              <a:solidFill>
                <a:sysClr val="window" lastClr="FFFFFF"/>
              </a:soli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pic>
            <p:nvPicPr>
              <p:cNvPr id="147"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635852" y="822181"/>
                <a:ext cx="226442" cy="208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8"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848026" y="822181"/>
                <a:ext cx="207168" cy="213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49" name="Groep 148"/>
              <p:cNvGrpSpPr/>
              <p:nvPr userDrawn="1"/>
            </p:nvGrpSpPr>
            <p:grpSpPr>
              <a:xfrm>
                <a:off x="-2802433" y="1123442"/>
                <a:ext cx="132915" cy="104889"/>
                <a:chOff x="-2796392" y="1123442"/>
                <a:chExt cx="120832" cy="104889"/>
              </a:xfrm>
            </p:grpSpPr>
            <p:sp>
              <p:nvSpPr>
                <p:cNvPr id="163" name="Rechthoek 162"/>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4" name="Rechthoek 163"/>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5" name="Rechthoek 164"/>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6" name="Rechthoek 165"/>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7" name="Rechthoek 166"/>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150" name="Groep 149"/>
              <p:cNvGrpSpPr/>
              <p:nvPr userDrawn="1"/>
            </p:nvGrpSpPr>
            <p:grpSpPr>
              <a:xfrm>
                <a:off x="-2575417" y="1123442"/>
                <a:ext cx="133930" cy="104889"/>
                <a:chOff x="-2556734" y="1123442"/>
                <a:chExt cx="147324" cy="104889"/>
              </a:xfrm>
            </p:grpSpPr>
            <p:grpSp>
              <p:nvGrpSpPr>
                <p:cNvPr id="151" name="Groep 150"/>
                <p:cNvGrpSpPr/>
                <p:nvPr userDrawn="1"/>
              </p:nvGrpSpPr>
              <p:grpSpPr>
                <a:xfrm>
                  <a:off x="-2556734" y="1123442"/>
                  <a:ext cx="68206" cy="104889"/>
                  <a:chOff x="-2796392" y="1123442"/>
                  <a:chExt cx="120832" cy="104889"/>
                </a:xfrm>
              </p:grpSpPr>
              <p:sp>
                <p:nvSpPr>
                  <p:cNvPr id="158" name="Rechthoek 157"/>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59" name="Rechthoek 158"/>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0" name="Rechthoek 159"/>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1" name="Rechthoek 160"/>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2" name="Rechthoek 161"/>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152" name="Groep 151"/>
                <p:cNvGrpSpPr/>
                <p:nvPr userDrawn="1"/>
              </p:nvGrpSpPr>
              <p:grpSpPr>
                <a:xfrm>
                  <a:off x="-2477616" y="1123442"/>
                  <a:ext cx="68206" cy="104889"/>
                  <a:chOff x="-2796392" y="1123442"/>
                  <a:chExt cx="120832" cy="104889"/>
                </a:xfrm>
              </p:grpSpPr>
              <p:sp>
                <p:nvSpPr>
                  <p:cNvPr id="153" name="Rechthoek 152"/>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54" name="Rechthoek 153"/>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55" name="Rechthoek 154"/>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56" name="Rechthoek 155"/>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57" name="Rechthoek 156"/>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grpSp>
          <p:nvGrpSpPr>
            <p:cNvPr id="114" name="Groep 113"/>
            <p:cNvGrpSpPr/>
            <p:nvPr userDrawn="1"/>
          </p:nvGrpSpPr>
          <p:grpSpPr>
            <a:xfrm>
              <a:off x="-1948476" y="1281164"/>
              <a:ext cx="413704" cy="427699"/>
              <a:chOff x="-1845083" y="758027"/>
              <a:chExt cx="633799" cy="622540"/>
            </a:xfrm>
          </p:grpSpPr>
          <p:sp>
            <p:nvSpPr>
              <p:cNvPr id="133" name="Afgeronde rechthoek 132"/>
              <p:cNvSpPr/>
              <p:nvPr userDrawn="1"/>
            </p:nvSpPr>
            <p:spPr>
              <a:xfrm>
                <a:off x="-184508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134" name="Groep 133"/>
              <p:cNvGrpSpPr/>
              <p:nvPr userDrawn="1"/>
            </p:nvGrpSpPr>
            <p:grpSpPr>
              <a:xfrm>
                <a:off x="-1737762" y="864082"/>
                <a:ext cx="419168" cy="410429"/>
                <a:chOff x="3708400" y="309013"/>
                <a:chExt cx="1901295" cy="1861668"/>
              </a:xfrm>
              <a:solidFill>
                <a:srgbClr val="000000"/>
              </a:solidFill>
            </p:grpSpPr>
            <p:sp>
              <p:nvSpPr>
                <p:cNvPr id="135" name="Rechthoek 134"/>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36" name="Rechthoek 135"/>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37" name="Rechthoek 136"/>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38" name="Rechthoek 137"/>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39" name="Rechthoek 138"/>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40" name="Rechthoek 139"/>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41" name="Rechthoek 140"/>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42" name="Rechthoek 141"/>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43" name="Rechthoek 142"/>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44" name="Rechthoek 143"/>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45" name="Vrije vorm 144"/>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cxnSp>
          <p:nvCxnSpPr>
            <p:cNvPr id="115" name="Rechte verbindingslijn 114"/>
            <p:cNvCxnSpPr/>
            <p:nvPr userDrawn="1"/>
          </p:nvCxnSpPr>
          <p:spPr>
            <a:xfrm>
              <a:off x="-2814292" y="1441193"/>
              <a:ext cx="865816" cy="53821"/>
            </a:xfrm>
            <a:prstGeom prst="line">
              <a:avLst/>
            </a:prstGeom>
            <a:noFill/>
            <a:ln w="9525" cap="flat" cmpd="sng" algn="ctr">
              <a:solidFill>
                <a:schemeClr val="accent1"/>
              </a:solidFill>
              <a:prstDash val="solid"/>
              <a:headEnd type="oval"/>
            </a:ln>
            <a:effectLst/>
          </p:spPr>
        </p:cxnSp>
        <p:cxnSp>
          <p:nvCxnSpPr>
            <p:cNvPr id="116" name="Rechte verbindingslijn 115"/>
            <p:cNvCxnSpPr/>
            <p:nvPr userDrawn="1"/>
          </p:nvCxnSpPr>
          <p:spPr>
            <a:xfrm flipV="1">
              <a:off x="-2453902" y="1030591"/>
              <a:ext cx="505426" cy="283623"/>
            </a:xfrm>
            <a:prstGeom prst="line">
              <a:avLst/>
            </a:prstGeom>
            <a:noFill/>
            <a:ln w="9525" cap="flat" cmpd="sng" algn="ctr">
              <a:solidFill>
                <a:schemeClr val="accent1"/>
              </a:solidFill>
              <a:prstDash val="solid"/>
              <a:headEnd type="oval"/>
            </a:ln>
            <a:effectLst/>
          </p:spPr>
        </p:cxnSp>
        <p:sp>
          <p:nvSpPr>
            <p:cNvPr id="117" name="Textfield placeholder"/>
            <p:cNvSpPr txBox="1">
              <a:spLocks/>
            </p:cNvSpPr>
            <p:nvPr userDrawn="1"/>
          </p:nvSpPr>
          <p:spPr>
            <a:xfrm>
              <a:off x="-1341598" y="816743"/>
              <a:ext cx="1056968" cy="427698"/>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hoog</a:t>
              </a:r>
            </a:p>
          </p:txBody>
        </p:sp>
        <p:sp>
          <p:nvSpPr>
            <p:cNvPr id="118" name="Textfield placeholder"/>
            <p:cNvSpPr txBox="1">
              <a:spLocks/>
            </p:cNvSpPr>
            <p:nvPr userDrawn="1"/>
          </p:nvSpPr>
          <p:spPr>
            <a:xfrm>
              <a:off x="-1341599" y="1281164"/>
              <a:ext cx="1070223" cy="427699"/>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laag</a:t>
              </a:r>
            </a:p>
          </p:txBody>
        </p:sp>
        <p:sp>
          <p:nvSpPr>
            <p:cNvPr id="119" name="Ovaal 118"/>
            <p:cNvSpPr/>
            <p:nvPr userDrawn="1"/>
          </p:nvSpPr>
          <p:spPr>
            <a:xfrm>
              <a:off x="-2959433" y="338208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5</a:t>
              </a:r>
            </a:p>
          </p:txBody>
        </p:sp>
        <p:sp>
          <p:nvSpPr>
            <p:cNvPr id="120" name="Textfield placeholder"/>
            <p:cNvSpPr txBox="1">
              <a:spLocks/>
            </p:cNvSpPr>
            <p:nvPr userDrawn="1"/>
          </p:nvSpPr>
          <p:spPr>
            <a:xfrm>
              <a:off x="-2571950" y="3382082"/>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60000" lvl="4" indent="-360000" defTabSz="179388">
                <a:lnSpc>
                  <a:spcPct val="120000"/>
                </a:lnSpc>
                <a:spcBef>
                  <a:spcPts val="0"/>
                </a:spcBef>
                <a:spcAft>
                  <a:spcPts val="900"/>
                </a:spcAft>
                <a:buClr>
                  <a:srgbClr val="ED1A3B"/>
                </a:buClr>
                <a:buFont typeface="+mj-lt"/>
                <a:buAutoNum type="arabicPeriod"/>
                <a:defRPr/>
              </a:pPr>
              <a:r>
                <a:rPr lang="nl-NL" sz="1200" b="0" dirty="0">
                  <a:solidFill>
                    <a:srgbClr val="404040"/>
                  </a:solidFill>
                </a:rPr>
                <a:t>Numeriek (12 pt.)</a:t>
              </a:r>
            </a:p>
          </p:txBody>
        </p:sp>
        <p:grpSp>
          <p:nvGrpSpPr>
            <p:cNvPr id="121" name="Groep 120"/>
            <p:cNvGrpSpPr/>
            <p:nvPr userDrawn="1"/>
          </p:nvGrpSpPr>
          <p:grpSpPr>
            <a:xfrm>
              <a:off x="-2950232" y="816050"/>
              <a:ext cx="528695" cy="344202"/>
              <a:chOff x="-2880382" y="410556"/>
              <a:chExt cx="528695" cy="344202"/>
            </a:xfrm>
          </p:grpSpPr>
          <p:sp>
            <p:nvSpPr>
              <p:cNvPr id="131" name="Afgeronde rechthoek 130"/>
              <p:cNvSpPr/>
              <p:nvPr userDrawn="1"/>
            </p:nvSpPr>
            <p:spPr>
              <a:xfrm>
                <a:off x="-2874214" y="410556"/>
                <a:ext cx="522527" cy="339183"/>
              </a:xfrm>
              <a:prstGeom prst="roundRect">
                <a:avLst>
                  <a:gd name="adj" fmla="val 7565"/>
                </a:avLst>
              </a:prstGeom>
              <a:gradFill>
                <a:gsLst>
                  <a:gs pos="0">
                    <a:srgbClr val="FFEC8F"/>
                  </a:gs>
                  <a:gs pos="100000">
                    <a:srgbClr val="FFFFFF"/>
                  </a:gs>
                </a:gsLst>
                <a:lin ang="5400000" scaled="0"/>
              </a:gra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sp>
            <p:nvSpPr>
              <p:cNvPr id="132" name="Vrije vorm 131"/>
              <p:cNvSpPr/>
              <p:nvPr userDrawn="1"/>
            </p:nvSpPr>
            <p:spPr>
              <a:xfrm>
                <a:off x="-2880382" y="452699"/>
                <a:ext cx="528695" cy="302059"/>
              </a:xfrm>
              <a:custGeom>
                <a:avLst/>
                <a:gdLst>
                  <a:gd name="connsiteX0" fmla="*/ 55524 w 528695"/>
                  <a:gd name="connsiteY0" fmla="*/ 0 h 302059"/>
                  <a:gd name="connsiteX1" fmla="*/ 455496 w 528695"/>
                  <a:gd name="connsiteY1" fmla="*/ 0 h 302059"/>
                  <a:gd name="connsiteX2" fmla="*/ 475205 w 528695"/>
                  <a:gd name="connsiteY2" fmla="*/ 19709 h 302059"/>
                  <a:gd name="connsiteX3" fmla="*/ 475205 w 528695"/>
                  <a:gd name="connsiteY3" fmla="*/ 230056 h 302059"/>
                  <a:gd name="connsiteX4" fmla="*/ 516694 w 528695"/>
                  <a:gd name="connsiteY4" fmla="*/ 230056 h 302059"/>
                  <a:gd name="connsiteX5" fmla="*/ 528695 w 528695"/>
                  <a:gd name="connsiteY5" fmla="*/ 242057 h 302059"/>
                  <a:gd name="connsiteX6" fmla="*/ 528695 w 528695"/>
                  <a:gd name="connsiteY6" fmla="*/ 290058 h 302059"/>
                  <a:gd name="connsiteX7" fmla="*/ 516694 w 528695"/>
                  <a:gd name="connsiteY7" fmla="*/ 302059 h 302059"/>
                  <a:gd name="connsiteX8" fmla="*/ 12001 w 528695"/>
                  <a:gd name="connsiteY8" fmla="*/ 302059 h 302059"/>
                  <a:gd name="connsiteX9" fmla="*/ 0 w 528695"/>
                  <a:gd name="connsiteY9" fmla="*/ 290058 h 302059"/>
                  <a:gd name="connsiteX10" fmla="*/ 0 w 528695"/>
                  <a:gd name="connsiteY10" fmla="*/ 242057 h 302059"/>
                  <a:gd name="connsiteX11" fmla="*/ 12001 w 528695"/>
                  <a:gd name="connsiteY11" fmla="*/ 230056 h 302059"/>
                  <a:gd name="connsiteX12" fmla="*/ 35815 w 528695"/>
                  <a:gd name="connsiteY12" fmla="*/ 230056 h 302059"/>
                  <a:gd name="connsiteX13" fmla="*/ 35815 w 528695"/>
                  <a:gd name="connsiteY13" fmla="*/ 19709 h 302059"/>
                  <a:gd name="connsiteX14" fmla="*/ 55524 w 528695"/>
                  <a:gd name="connsiteY14" fmla="*/ 0 h 3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8695" h="302059">
                    <a:moveTo>
                      <a:pt x="55524" y="0"/>
                    </a:moveTo>
                    <a:lnTo>
                      <a:pt x="455496" y="0"/>
                    </a:lnTo>
                    <a:cubicBezTo>
                      <a:pt x="466381" y="0"/>
                      <a:pt x="475205" y="8824"/>
                      <a:pt x="475205" y="19709"/>
                    </a:cubicBezTo>
                    <a:lnTo>
                      <a:pt x="475205" y="230056"/>
                    </a:lnTo>
                    <a:lnTo>
                      <a:pt x="516694" y="230056"/>
                    </a:lnTo>
                    <a:cubicBezTo>
                      <a:pt x="523322" y="230056"/>
                      <a:pt x="528695" y="235429"/>
                      <a:pt x="528695" y="242057"/>
                    </a:cubicBezTo>
                    <a:lnTo>
                      <a:pt x="528695" y="290058"/>
                    </a:lnTo>
                    <a:cubicBezTo>
                      <a:pt x="528695" y="296686"/>
                      <a:pt x="523322" y="302059"/>
                      <a:pt x="516694" y="302059"/>
                    </a:cubicBezTo>
                    <a:lnTo>
                      <a:pt x="12001" y="302059"/>
                    </a:lnTo>
                    <a:cubicBezTo>
                      <a:pt x="5373" y="302059"/>
                      <a:pt x="0" y="296686"/>
                      <a:pt x="0" y="290058"/>
                    </a:cubicBezTo>
                    <a:lnTo>
                      <a:pt x="0" y="242057"/>
                    </a:lnTo>
                    <a:cubicBezTo>
                      <a:pt x="0" y="235429"/>
                      <a:pt x="5373" y="230056"/>
                      <a:pt x="12001" y="230056"/>
                    </a:cubicBezTo>
                    <a:lnTo>
                      <a:pt x="35815" y="230056"/>
                    </a:lnTo>
                    <a:lnTo>
                      <a:pt x="35815" y="19709"/>
                    </a:lnTo>
                    <a:cubicBezTo>
                      <a:pt x="35815" y="8824"/>
                      <a:pt x="44639" y="0"/>
                      <a:pt x="55524" y="0"/>
                    </a:cubicBezTo>
                    <a:close/>
                  </a:path>
                </a:pathLst>
              </a:custGeom>
              <a:solidFill>
                <a:sysClr val="window" lastClr="FFFFFF">
                  <a:lumMod val="95000"/>
                </a:sysClr>
              </a:solidFill>
              <a:ln w="9525" cap="flat" cmpd="sng" algn="ctr">
                <a:solidFill>
                  <a:srgbClr val="FFFFFF">
                    <a:lumMod val="90000"/>
                  </a:srgbClr>
                </a:solidFill>
                <a:prstDash val="solid"/>
                <a:miter lim="800000"/>
              </a:ln>
              <a:effectLst/>
            </p:spPr>
            <p:txBody>
              <a:bodyPr rot="0" spcFirstLastPara="0" vert="horz" wrap="square" lIns="108000" tIns="36000" rIns="108000" bIns="10800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900" dirty="0">
                    <a:solidFill>
                      <a:prstClr val="black"/>
                    </a:solidFill>
                    <a:latin typeface="Segoe UI Light"/>
                  </a:rPr>
                  <a:t>Start</a:t>
                </a:r>
              </a:p>
            </p:txBody>
          </p:sp>
        </p:grpSp>
        <p:sp>
          <p:nvSpPr>
            <p:cNvPr id="122" name="Tekstvak 65"/>
            <p:cNvSpPr txBox="1"/>
            <p:nvPr userDrawn="1"/>
          </p:nvSpPr>
          <p:spPr>
            <a:xfrm>
              <a:off x="-2959433" y="372104"/>
              <a:ext cx="2679887" cy="453396"/>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nl-NL" sz="1200" kern="0" dirty="0">
                  <a:solidFill>
                    <a:srgbClr val="000000"/>
                  </a:solidFill>
                  <a:latin typeface="Segoe UI Light" panose="020B0502040204020203" pitchFamily="34" charset="0"/>
                  <a:cs typeface="Segoe UI Light" panose="020B0502040204020203" pitchFamily="34" charset="0"/>
                </a:rPr>
                <a:t>Ga naar de tab </a:t>
              </a:r>
              <a:r>
                <a:rPr lang="nl-NL" sz="1200" b="1" kern="0" dirty="0">
                  <a:solidFill>
                    <a:srgbClr val="000000"/>
                  </a:solidFill>
                  <a:latin typeface="Segoe UI Light" panose="020B0502040204020203" pitchFamily="34" charset="0"/>
                  <a:cs typeface="Segoe UI Light" panose="020B0502040204020203" pitchFamily="34" charset="0"/>
                </a:rPr>
                <a:t>Start’ </a:t>
              </a:r>
              <a:r>
                <a:rPr lang="nl-NL" sz="1200" kern="0" dirty="0">
                  <a:solidFill>
                    <a:srgbClr val="000000"/>
                  </a:solidFill>
                  <a:latin typeface="Segoe UI Light" panose="020B0502040204020203" pitchFamily="34" charset="0"/>
                  <a:cs typeface="Segoe UI Light" panose="020B0502040204020203" pitchFamily="34" charset="0"/>
                </a:rPr>
                <a:t>en vind onderstaande knoppen onder </a:t>
              </a:r>
              <a:r>
                <a:rPr lang="nl-NL" sz="1200" b="1" kern="0" dirty="0">
                  <a:solidFill>
                    <a:srgbClr val="000000"/>
                  </a:solidFill>
                  <a:latin typeface="Segoe UI Light" panose="020B0502040204020203" pitchFamily="34" charset="0"/>
                  <a:cs typeface="Segoe UI Light" panose="020B0502040204020203" pitchFamily="34" charset="0"/>
                </a:rPr>
                <a:t>‘Alinea’</a:t>
              </a:r>
            </a:p>
          </p:txBody>
        </p:sp>
        <p:sp>
          <p:nvSpPr>
            <p:cNvPr id="123" name="Ovaal 122"/>
            <p:cNvSpPr/>
            <p:nvPr userDrawn="1"/>
          </p:nvSpPr>
          <p:spPr>
            <a:xfrm>
              <a:off x="-2959433" y="375153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6</a:t>
              </a:r>
            </a:p>
          </p:txBody>
        </p:sp>
        <p:sp>
          <p:nvSpPr>
            <p:cNvPr id="124" name="Textfield placeholder"/>
            <p:cNvSpPr txBox="1">
              <a:spLocks/>
            </p:cNvSpPr>
            <p:nvPr userDrawn="1"/>
          </p:nvSpPr>
          <p:spPr>
            <a:xfrm>
              <a:off x="-2571950" y="3751536"/>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0000" lvl="5" indent="-270000" defTabSz="179388">
                <a:lnSpc>
                  <a:spcPct val="120000"/>
                </a:lnSpc>
                <a:spcAft>
                  <a:spcPts val="900"/>
                </a:spcAft>
                <a:buClr>
                  <a:srgbClr val="ED1A3B"/>
                </a:buClr>
                <a:buSzPct val="80000"/>
                <a:buFont typeface="Wingdings 3" panose="05040102010807070707" pitchFamily="18" charset="2"/>
                <a:buChar char=""/>
                <a:defRPr/>
              </a:pPr>
              <a:r>
                <a:rPr lang="nl-NL" sz="1200" cap="none" dirty="0">
                  <a:solidFill>
                    <a:srgbClr val="535353"/>
                  </a:solidFill>
                </a:rPr>
                <a:t># Bullets (12 pt.)</a:t>
              </a:r>
            </a:p>
          </p:txBody>
        </p:sp>
        <p:sp>
          <p:nvSpPr>
            <p:cNvPr id="125" name="Ovaal 124"/>
            <p:cNvSpPr/>
            <p:nvPr userDrawn="1"/>
          </p:nvSpPr>
          <p:spPr>
            <a:xfrm>
              <a:off x="-2959433" y="414870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7</a:t>
              </a:r>
            </a:p>
          </p:txBody>
        </p:sp>
        <p:sp>
          <p:nvSpPr>
            <p:cNvPr id="126" name="Textfield placeholder"/>
            <p:cNvSpPr txBox="1">
              <a:spLocks/>
            </p:cNvSpPr>
            <p:nvPr userDrawn="1"/>
          </p:nvSpPr>
          <p:spPr>
            <a:xfrm>
              <a:off x="-2571950" y="414870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6" indent="0" defTabSz="179388">
                <a:lnSpc>
                  <a:spcPct val="120000"/>
                </a:lnSpc>
                <a:spcBef>
                  <a:spcPts val="0"/>
                </a:spcBef>
                <a:spcAft>
                  <a:spcPts val="900"/>
                </a:spcAft>
                <a:buClr>
                  <a:srgbClr val="ED1A3B"/>
                </a:buClr>
                <a:buSzPct val="90000"/>
                <a:buFont typeface="+mj-lt"/>
                <a:buNone/>
                <a:defRPr/>
              </a:pPr>
              <a:r>
                <a:rPr lang="nl-NL" sz="1200" i="1" dirty="0">
                  <a:solidFill>
                    <a:srgbClr val="404040"/>
                  </a:solidFill>
                </a:rPr>
                <a:t>Cursief donker (12 pt.)</a:t>
              </a:r>
            </a:p>
          </p:txBody>
        </p:sp>
        <p:sp>
          <p:nvSpPr>
            <p:cNvPr id="127" name="Ovaal 126"/>
            <p:cNvSpPr/>
            <p:nvPr userDrawn="1"/>
          </p:nvSpPr>
          <p:spPr>
            <a:xfrm>
              <a:off x="-2959433" y="454586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8</a:t>
              </a:r>
            </a:p>
          </p:txBody>
        </p:sp>
        <p:sp>
          <p:nvSpPr>
            <p:cNvPr id="128" name="Textfield placeholder"/>
            <p:cNvSpPr txBox="1">
              <a:spLocks/>
            </p:cNvSpPr>
            <p:nvPr userDrawn="1"/>
          </p:nvSpPr>
          <p:spPr>
            <a:xfrm>
              <a:off x="-2571950" y="4545864"/>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7" indent="0" defTabSz="179388">
                <a:lnSpc>
                  <a:spcPct val="80000"/>
                </a:lnSpc>
                <a:spcBef>
                  <a:spcPts val="0"/>
                </a:spcBef>
                <a:spcAft>
                  <a:spcPts val="900"/>
                </a:spcAft>
                <a:buClr>
                  <a:srgbClr val="ED1A3B"/>
                </a:buClr>
                <a:buFont typeface="Arial" pitchFamily="34" charset="0"/>
                <a:buNone/>
                <a:defRPr/>
              </a:pPr>
              <a:r>
                <a:rPr lang="nl-NL" sz="1200" i="1" dirty="0">
                  <a:solidFill>
                    <a:srgbClr val="A3B0C0"/>
                  </a:solidFill>
                </a:rPr>
                <a:t>Cursief Licht (12 pt.)</a:t>
              </a:r>
            </a:p>
          </p:txBody>
        </p:sp>
        <p:sp>
          <p:nvSpPr>
            <p:cNvPr id="129" name="Ovaal 128"/>
            <p:cNvSpPr/>
            <p:nvPr userDrawn="1"/>
          </p:nvSpPr>
          <p:spPr>
            <a:xfrm>
              <a:off x="-2959433" y="488761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9</a:t>
              </a:r>
            </a:p>
          </p:txBody>
        </p:sp>
        <p:sp>
          <p:nvSpPr>
            <p:cNvPr id="130" name="Textfield placeholder"/>
            <p:cNvSpPr txBox="1">
              <a:spLocks/>
            </p:cNvSpPr>
            <p:nvPr userDrawn="1"/>
          </p:nvSpPr>
          <p:spPr>
            <a:xfrm>
              <a:off x="-2571950" y="488761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8" indent="0" defTabSz="179388">
                <a:lnSpc>
                  <a:spcPct val="80000"/>
                </a:lnSpc>
                <a:spcBef>
                  <a:spcPts val="0"/>
                </a:spcBef>
                <a:spcAft>
                  <a:spcPts val="900"/>
                </a:spcAft>
                <a:buClr>
                  <a:srgbClr val="ED1A3B"/>
                </a:buClr>
                <a:buFont typeface="Arial" pitchFamily="34" charset="0"/>
                <a:buNone/>
                <a:defRPr/>
              </a:pPr>
              <a:r>
                <a:rPr lang="nl-NL" sz="1400" b="1" dirty="0">
                  <a:solidFill>
                    <a:srgbClr val="ED1A3B"/>
                  </a:solidFill>
                </a:rPr>
                <a:t>Subtitel (14 pt.)</a:t>
              </a:r>
            </a:p>
          </p:txBody>
        </p:sp>
      </p:grpSp>
      <p:sp>
        <p:nvSpPr>
          <p:cNvPr id="92" name="Hyperlink - Inhoudsopgave">
            <a:hlinkClick r:id="rId4" action="ppaction://hlinksldjump"/>
          </p:cNvPr>
          <p:cNvSpPr/>
          <p:nvPr userDrawn="1"/>
        </p:nvSpPr>
        <p:spPr>
          <a:xfrm>
            <a:off x="10197856" y="5889801"/>
            <a:ext cx="2000494" cy="968199"/>
          </a:xfrm>
          <a:prstGeom prst="rect">
            <a:avLst/>
          </a:prstGeom>
          <a:solidFill>
            <a:srgbClr val="ED1A3B">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cxnSp>
        <p:nvCxnSpPr>
          <p:cNvPr id="98" name="Grijze lijn - onder"/>
          <p:cNvCxnSpPr/>
          <p:nvPr userDrawn="1"/>
        </p:nvCxnSpPr>
        <p:spPr>
          <a:xfrm flipH="1">
            <a:off x="664804" y="5776291"/>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9" name="Grijze lijn - boven"/>
          <p:cNvCxnSpPr/>
          <p:nvPr userDrawn="1"/>
        </p:nvCxnSpPr>
        <p:spPr>
          <a:xfrm flipH="1">
            <a:off x="664804" y="1358670"/>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95" name="Tijdelijke aanduiding voor Dianummer"/>
          <p:cNvSpPr>
            <a:spLocks noGrp="1"/>
          </p:cNvSpPr>
          <p:nvPr>
            <p:ph type="sldNum" sz="quarter" idx="4"/>
          </p:nvPr>
        </p:nvSpPr>
        <p:spPr>
          <a:xfrm>
            <a:off x="5770549" y="6295992"/>
            <a:ext cx="657251" cy="365125"/>
          </a:xfrm>
          <a:prstGeom prst="rect">
            <a:avLst/>
          </a:prstGeom>
        </p:spPr>
        <p:txBody>
          <a:bodyPr vert="horz" lIns="91440" tIns="45720" rIns="91440" bIns="45720" rtlCol="0" anchor="ctr"/>
          <a:lstStyle>
            <a:lvl1pPr algn="ctr">
              <a:defRPr sz="800">
                <a:solidFill>
                  <a:schemeClr val="tx1">
                    <a:tint val="75000"/>
                  </a:schemeClr>
                </a:solidFill>
              </a:defRPr>
            </a:lvl1pPr>
          </a:lstStyle>
          <a:p>
            <a:fld id="{1B3FA67A-C720-417A-A072-0CD211FD8662}" type="slidenum">
              <a:rPr lang="nl-NL" smtClean="0">
                <a:solidFill>
                  <a:srgbClr val="000000">
                    <a:tint val="75000"/>
                  </a:srgbClr>
                </a:solidFill>
              </a:rPr>
              <a:pPr/>
              <a:t>‹nr.›</a:t>
            </a:fld>
            <a:endParaRPr lang="nl-NL" dirty="0">
              <a:solidFill>
                <a:srgbClr val="000000">
                  <a:tint val="75000"/>
                </a:srgbClr>
              </a:solidFill>
            </a:endParaRPr>
          </a:p>
        </p:txBody>
      </p:sp>
      <p:sp>
        <p:nvSpPr>
          <p:cNvPr id="96" name="Tijdelijke aanduiding voor Tekst"/>
          <p:cNvSpPr>
            <a:spLocks noGrp="1"/>
          </p:cNvSpPr>
          <p:nvPr>
            <p:ph type="body" orient="vert" idx="15" hasCustomPrompt="1"/>
          </p:nvPr>
        </p:nvSpPr>
        <p:spPr>
          <a:xfrm>
            <a:off x="664109" y="1720867"/>
            <a:ext cx="10871230" cy="3693600"/>
          </a:xfrm>
        </p:spPr>
        <p:txBody>
          <a:bodyPr vert="horz" lIns="0" tIns="0" rIns="0" bIns="0" numCol="2" spcCol="360000"/>
          <a:lstStyle>
            <a:lvl1pPr>
              <a:defRPr sz="1200"/>
            </a:lvl1pPr>
            <a:lvl2pPr marL="180975" indent="-180975">
              <a:defRPr sz="1200"/>
            </a:lvl2pPr>
            <a:lvl3pPr marL="360363" indent="-179388">
              <a:defRPr sz="1200"/>
            </a:lvl3pPr>
            <a:lvl4pPr marL="541338" indent="-180975">
              <a:defRPr sz="1200"/>
            </a:lvl4pPr>
            <a:lvl5pPr marL="265113" indent="-265113">
              <a:defRPr sz="1200"/>
            </a:lvl5pPr>
            <a:lvl6pPr marL="444500" indent="-179388">
              <a:defRPr sz="1200"/>
            </a:lvl6pPr>
            <a:lvl7pPr>
              <a:defRPr sz="1200"/>
            </a:lvl7pPr>
            <a:lvl8pPr>
              <a:defRPr sz="1200"/>
            </a:lvl8pPr>
            <a:lvl9pPr>
              <a:defRPr sz="1400"/>
            </a:lvl9pPr>
          </a:lstStyle>
          <a:p>
            <a:pPr lvl="0"/>
            <a:r>
              <a:rPr lang="nl-NL" dirty="0"/>
              <a:t>Leestekst</a:t>
            </a:r>
          </a:p>
          <a:p>
            <a:pPr lvl="1"/>
            <a:r>
              <a:rPr lang="nl-NL" dirty="0"/>
              <a:t>Bullets</a:t>
            </a:r>
          </a:p>
          <a:p>
            <a:pPr lvl="2"/>
            <a:r>
              <a:rPr lang="nl-NL" dirty="0"/>
              <a:t>Sub-bullets</a:t>
            </a:r>
          </a:p>
          <a:p>
            <a:pPr lvl="3"/>
            <a:r>
              <a:rPr lang="nl-NL" dirty="0"/>
              <a:t>Sub-sub-bullets</a:t>
            </a:r>
          </a:p>
          <a:p>
            <a:pPr lvl="4"/>
            <a:r>
              <a:rPr lang="nl-NL" dirty="0"/>
              <a:t>Numeriek</a:t>
            </a:r>
          </a:p>
          <a:p>
            <a:pPr lvl="5"/>
            <a:r>
              <a:rPr lang="nl-NL" dirty="0"/>
              <a:t># Bullets</a:t>
            </a:r>
          </a:p>
          <a:p>
            <a:pPr lvl="6"/>
            <a:r>
              <a:rPr lang="nl-NL" dirty="0"/>
              <a:t>Cursief donker</a:t>
            </a:r>
          </a:p>
          <a:p>
            <a:pPr lvl="7"/>
            <a:r>
              <a:rPr lang="nl-NL" dirty="0"/>
              <a:t>Cursief licht</a:t>
            </a:r>
          </a:p>
          <a:p>
            <a:pPr lvl="8"/>
            <a:r>
              <a:rPr lang="nl-NL" dirty="0"/>
              <a:t>Subtitel</a:t>
            </a:r>
          </a:p>
        </p:txBody>
      </p:sp>
      <p:sp>
        <p:nvSpPr>
          <p:cNvPr id="11" name="Tijdelijke aanduiding voor Subtitel"/>
          <p:cNvSpPr>
            <a:spLocks noGrp="1"/>
          </p:cNvSpPr>
          <p:nvPr>
            <p:ph type="body" idx="14"/>
          </p:nvPr>
        </p:nvSpPr>
        <p:spPr>
          <a:xfrm>
            <a:off x="664109" y="1001348"/>
            <a:ext cx="10870131" cy="317758"/>
          </a:xfrm>
        </p:spPr>
        <p:txBody>
          <a:bodyPr bIns="72000" anchor="t" anchorCtr="0"/>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2" name="Tijdelijke aanduiding voor Titel"/>
          <p:cNvSpPr>
            <a:spLocks noGrp="1"/>
          </p:cNvSpPr>
          <p:nvPr>
            <p:ph type="title"/>
          </p:nvPr>
        </p:nvSpPr>
        <p:spPr>
          <a:xfrm>
            <a:off x="664109" y="464521"/>
            <a:ext cx="10870131" cy="533219"/>
          </a:xfrm>
        </p:spPr>
        <p:txBody>
          <a:bodyPr/>
          <a:lstStyle/>
          <a:p>
            <a:r>
              <a:rPr lang="nl-NL"/>
              <a:t>Klik om stijl te bewerken</a:t>
            </a:r>
            <a:endParaRPr lang="nl-NL" dirty="0"/>
          </a:p>
        </p:txBody>
      </p:sp>
    </p:spTree>
    <p:extLst>
      <p:ext uri="{BB962C8B-B14F-4D97-AF65-F5344CB8AC3E}">
        <p14:creationId xmlns:p14="http://schemas.microsoft.com/office/powerpoint/2010/main" val="3364550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3 Kolommen tekst">
    <p:spTree>
      <p:nvGrpSpPr>
        <p:cNvPr id="1" name=""/>
        <p:cNvGrpSpPr/>
        <p:nvPr/>
      </p:nvGrpSpPr>
      <p:grpSpPr>
        <a:xfrm>
          <a:off x="0" y="0"/>
          <a:ext cx="0" cy="0"/>
          <a:chOff x="0" y="0"/>
          <a:chExt cx="0" cy="0"/>
        </a:xfrm>
      </p:grpSpPr>
      <p:sp>
        <p:nvSpPr>
          <p:cNvPr id="97" name="Naam indeling - 3 Kolommen tekst"/>
          <p:cNvSpPr txBox="1"/>
          <p:nvPr userDrawn="1"/>
        </p:nvSpPr>
        <p:spPr>
          <a:xfrm>
            <a:off x="0" y="-453266"/>
            <a:ext cx="4506508" cy="276999"/>
          </a:xfrm>
          <a:prstGeom prst="rect">
            <a:avLst/>
          </a:prstGeom>
          <a:noFill/>
        </p:spPr>
        <p:txBody>
          <a:bodyPr wrap="square" lIns="0" tIns="0" rIns="0" bIns="0" rtlCol="0">
            <a:spAutoFit/>
          </a:bodyPr>
          <a:lstStyle/>
          <a:p>
            <a:pPr defTabSz="914112"/>
            <a:r>
              <a:rPr lang="nl-NL" dirty="0">
                <a:solidFill>
                  <a:srgbClr val="404040"/>
                </a:solidFill>
                <a:latin typeface="Calibri" panose="020F0502020204030204" pitchFamily="34" charset="0"/>
              </a:rPr>
              <a:t>3 Kolommen tekst</a:t>
            </a:r>
            <a:endParaRPr lang="en-GB" dirty="0">
              <a:solidFill>
                <a:srgbClr val="404040"/>
              </a:solidFill>
              <a:latin typeface="Calibri" panose="020F0502020204030204" pitchFamily="34" charset="0"/>
            </a:endParaRPr>
          </a:p>
        </p:txBody>
      </p:sp>
      <p:grpSp>
        <p:nvGrpSpPr>
          <p:cNvPr id="92" name="Instructie - Tekst niveaus"/>
          <p:cNvGrpSpPr/>
          <p:nvPr userDrawn="1"/>
        </p:nvGrpSpPr>
        <p:grpSpPr>
          <a:xfrm>
            <a:off x="-3117849" y="365"/>
            <a:ext cx="2823358" cy="5254722"/>
            <a:chOff x="-2959433" y="-5444"/>
            <a:chExt cx="2822623" cy="5254722"/>
          </a:xfrm>
        </p:grpSpPr>
        <p:sp>
          <p:nvSpPr>
            <p:cNvPr id="93" name="Rechthoek 92"/>
            <p:cNvSpPr/>
            <p:nvPr userDrawn="1"/>
          </p:nvSpPr>
          <p:spPr>
            <a:xfrm>
              <a:off x="-2959433" y="-5444"/>
              <a:ext cx="2572469" cy="280344"/>
            </a:xfrm>
            <a:prstGeom prst="rect">
              <a:avLst/>
            </a:prstGeom>
            <a:noFill/>
            <a:ln w="25400" cap="flat" cmpd="sng" algn="ctr">
              <a:noFill/>
              <a:prstDash val="solid"/>
            </a:ln>
            <a:effectLst/>
          </p:spPr>
          <p:txBody>
            <a:bodyPr lIns="0" tIns="0" rIns="0" bIns="0" rtlCol="0" anchor="t"/>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nl-NL" sz="1600" b="1" kern="0" dirty="0">
                  <a:solidFill>
                    <a:srgbClr val="ED1A3B"/>
                  </a:solidFill>
                  <a:cs typeface="Segoe UI Light" panose="020B0502040204020203" pitchFamily="34" charset="0"/>
                </a:rPr>
                <a:t>TEKST NIVEAUS</a:t>
              </a:r>
            </a:p>
          </p:txBody>
        </p:sp>
        <p:sp>
          <p:nvSpPr>
            <p:cNvPr id="94" name="Textfield placeholder"/>
            <p:cNvSpPr txBox="1">
              <a:spLocks/>
            </p:cNvSpPr>
            <p:nvPr userDrawn="1"/>
          </p:nvSpPr>
          <p:spPr>
            <a:xfrm>
              <a:off x="-2587337" y="2675411"/>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0" lvl="2"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a:solidFill>
                    <a:srgbClr val="404040"/>
                  </a:solidFill>
                </a:rPr>
                <a:t>Sub-bullets (12 pt.)</a:t>
              </a:r>
            </a:p>
          </p:txBody>
        </p:sp>
        <p:sp>
          <p:nvSpPr>
            <p:cNvPr id="99" name="Ovaal 98"/>
            <p:cNvSpPr/>
            <p:nvPr userDrawn="1"/>
          </p:nvSpPr>
          <p:spPr>
            <a:xfrm>
              <a:off x="-2959433" y="196874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1</a:t>
              </a:r>
            </a:p>
          </p:txBody>
        </p:sp>
        <p:sp>
          <p:nvSpPr>
            <p:cNvPr id="100" name="Ovaal 99"/>
            <p:cNvSpPr/>
            <p:nvPr userDrawn="1"/>
          </p:nvSpPr>
          <p:spPr>
            <a:xfrm>
              <a:off x="-2959433" y="232207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2</a:t>
              </a:r>
            </a:p>
          </p:txBody>
        </p:sp>
        <p:sp>
          <p:nvSpPr>
            <p:cNvPr id="101" name="Ovaal 100"/>
            <p:cNvSpPr/>
            <p:nvPr userDrawn="1"/>
          </p:nvSpPr>
          <p:spPr>
            <a:xfrm>
              <a:off x="-2959433" y="267541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3</a:t>
              </a:r>
            </a:p>
          </p:txBody>
        </p:sp>
        <p:sp>
          <p:nvSpPr>
            <p:cNvPr id="102" name="Ovaal 101"/>
            <p:cNvSpPr/>
            <p:nvPr userDrawn="1"/>
          </p:nvSpPr>
          <p:spPr>
            <a:xfrm>
              <a:off x="-2959433" y="302874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4</a:t>
              </a:r>
            </a:p>
          </p:txBody>
        </p:sp>
        <p:sp>
          <p:nvSpPr>
            <p:cNvPr id="103" name="Textfield placeholder"/>
            <p:cNvSpPr txBox="1">
              <a:spLocks/>
            </p:cNvSpPr>
            <p:nvPr userDrawn="1"/>
          </p:nvSpPr>
          <p:spPr>
            <a:xfrm>
              <a:off x="-2571950" y="1966925"/>
              <a:ext cx="2163709" cy="261500"/>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79388">
                <a:lnSpc>
                  <a:spcPct val="120000"/>
                </a:lnSpc>
                <a:spcBef>
                  <a:spcPts val="0"/>
                </a:spcBef>
                <a:spcAft>
                  <a:spcPts val="900"/>
                </a:spcAft>
                <a:buClr>
                  <a:srgbClr val="000000"/>
                </a:buClr>
                <a:buSzPct val="100000"/>
                <a:buFont typeface="Arial" pitchFamily="34" charset="0"/>
                <a:buNone/>
                <a:defRPr/>
              </a:pPr>
              <a:r>
                <a:rPr lang="nl-NL" sz="1200" dirty="0">
                  <a:solidFill>
                    <a:srgbClr val="535353"/>
                  </a:solidFill>
                </a:rPr>
                <a:t>Leestekst (12 pt.)</a:t>
              </a:r>
            </a:p>
          </p:txBody>
        </p:sp>
        <p:sp>
          <p:nvSpPr>
            <p:cNvPr id="104" name="Textfield placeholder"/>
            <p:cNvSpPr txBox="1">
              <a:spLocks/>
            </p:cNvSpPr>
            <p:nvPr userDrawn="1"/>
          </p:nvSpPr>
          <p:spPr>
            <a:xfrm>
              <a:off x="-2571950" y="2322077"/>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70000" lvl="1"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err="1">
                  <a:solidFill>
                    <a:srgbClr val="535353"/>
                  </a:solidFill>
                </a:rPr>
                <a:t>Bullets</a:t>
              </a:r>
              <a:r>
                <a:rPr lang="nl-NL" sz="1200" dirty="0">
                  <a:solidFill>
                    <a:srgbClr val="535353"/>
                  </a:solidFill>
                </a:rPr>
                <a:t> (12 </a:t>
              </a:r>
              <a:r>
                <a:rPr lang="nl-NL" sz="1200" dirty="0" err="1">
                  <a:solidFill>
                    <a:srgbClr val="535353"/>
                  </a:solidFill>
                </a:rPr>
                <a:t>pt</a:t>
              </a:r>
              <a:r>
                <a:rPr lang="nl-NL" sz="1200" dirty="0">
                  <a:solidFill>
                    <a:srgbClr val="535353"/>
                  </a:solidFill>
                </a:rPr>
                <a:t>.)</a:t>
              </a:r>
            </a:p>
          </p:txBody>
        </p:sp>
        <p:sp>
          <p:nvSpPr>
            <p:cNvPr id="105" name="Textfield placeholder"/>
            <p:cNvSpPr txBox="1">
              <a:spLocks/>
            </p:cNvSpPr>
            <p:nvPr userDrawn="1"/>
          </p:nvSpPr>
          <p:spPr>
            <a:xfrm>
              <a:off x="-2571951" y="3028747"/>
              <a:ext cx="2435141"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10000" lvl="3" indent="-270000" algn="l" defTabSz="179388" rtl="0" eaLnBrk="1" latinLnBrk="0" hangingPunct="1">
                <a:lnSpc>
                  <a:spcPct val="120000"/>
                </a:lnSpc>
                <a:spcBef>
                  <a:spcPts val="0"/>
                </a:spcBef>
                <a:spcAft>
                  <a:spcPts val="900"/>
                </a:spcAft>
                <a:buClr>
                  <a:schemeClr val="accent2"/>
                </a:buClr>
                <a:buSzPct val="80000"/>
                <a:buFont typeface="Wingdings 3" panose="05040102010807070707" pitchFamily="18" charset="2"/>
                <a:buChar char=""/>
                <a:defRPr/>
              </a:pPr>
              <a:r>
                <a:rPr lang="nl-NL" sz="1200" b="0" kern="1200" dirty="0">
                  <a:solidFill>
                    <a:srgbClr val="404040"/>
                  </a:solidFill>
                  <a:latin typeface="+mn-lt"/>
                  <a:ea typeface="+mn-ea"/>
                  <a:cs typeface="+mn-cs"/>
                </a:rPr>
                <a:t>Sub-sub-bullets (12 pt.)</a:t>
              </a:r>
            </a:p>
          </p:txBody>
        </p:sp>
        <p:cxnSp>
          <p:nvCxnSpPr>
            <p:cNvPr id="106" name="Rechte verbindingslijn 105"/>
            <p:cNvCxnSpPr/>
            <p:nvPr userDrawn="1"/>
          </p:nvCxnSpPr>
          <p:spPr>
            <a:xfrm>
              <a:off x="-2959100" y="274900"/>
              <a:ext cx="2674470" cy="0"/>
            </a:xfrm>
            <a:prstGeom prst="line">
              <a:avLst/>
            </a:prstGeom>
            <a:noFill/>
            <a:ln w="9525" cap="flat" cmpd="sng" algn="ctr">
              <a:solidFill>
                <a:schemeClr val="accent1"/>
              </a:solidFill>
              <a:prstDash val="solid"/>
            </a:ln>
            <a:effectLst/>
          </p:spPr>
        </p:cxnSp>
        <p:cxnSp>
          <p:nvCxnSpPr>
            <p:cNvPr id="107" name="Rechte verbindingslijn 106"/>
            <p:cNvCxnSpPr/>
            <p:nvPr userDrawn="1"/>
          </p:nvCxnSpPr>
          <p:spPr>
            <a:xfrm>
              <a:off x="-2959100" y="1841989"/>
              <a:ext cx="2661379" cy="0"/>
            </a:xfrm>
            <a:prstGeom prst="line">
              <a:avLst/>
            </a:prstGeom>
            <a:noFill/>
            <a:ln w="9525" cap="flat" cmpd="sng" algn="ctr">
              <a:solidFill>
                <a:schemeClr val="accent1"/>
              </a:solidFill>
              <a:prstDash val="solid"/>
            </a:ln>
            <a:effectLst/>
          </p:spPr>
        </p:cxnSp>
        <p:cxnSp>
          <p:nvCxnSpPr>
            <p:cNvPr id="108" name="Rechte verbindingslijn 107"/>
            <p:cNvCxnSpPr/>
            <p:nvPr userDrawn="1"/>
          </p:nvCxnSpPr>
          <p:spPr>
            <a:xfrm>
              <a:off x="-2959100" y="5249278"/>
              <a:ext cx="2661379" cy="0"/>
            </a:xfrm>
            <a:prstGeom prst="line">
              <a:avLst/>
            </a:prstGeom>
            <a:noFill/>
            <a:ln w="9525" cap="flat" cmpd="sng" algn="ctr">
              <a:solidFill>
                <a:schemeClr val="accent1"/>
              </a:solidFill>
              <a:prstDash val="solid"/>
            </a:ln>
            <a:effectLst/>
          </p:spPr>
        </p:cxnSp>
        <p:grpSp>
          <p:nvGrpSpPr>
            <p:cNvPr id="109" name="Groep 108"/>
            <p:cNvGrpSpPr/>
            <p:nvPr userDrawn="1"/>
          </p:nvGrpSpPr>
          <p:grpSpPr>
            <a:xfrm>
              <a:off x="-1948476" y="816741"/>
              <a:ext cx="409108" cy="427699"/>
              <a:chOff x="-1085063" y="758027"/>
              <a:chExt cx="633799" cy="622540"/>
            </a:xfrm>
          </p:grpSpPr>
          <p:sp>
            <p:nvSpPr>
              <p:cNvPr id="165" name="Afgeronde rechthoek 164"/>
              <p:cNvSpPr/>
              <p:nvPr userDrawn="1"/>
            </p:nvSpPr>
            <p:spPr>
              <a:xfrm>
                <a:off x="-108506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166" name="Groep 165"/>
              <p:cNvGrpSpPr/>
              <p:nvPr userDrawn="1"/>
            </p:nvGrpSpPr>
            <p:grpSpPr>
              <a:xfrm>
                <a:off x="-977739" y="864082"/>
                <a:ext cx="419168" cy="410429"/>
                <a:chOff x="6366933" y="309013"/>
                <a:chExt cx="1901295" cy="1861668"/>
              </a:xfrm>
              <a:solidFill>
                <a:srgbClr val="000000"/>
              </a:solidFill>
            </p:grpSpPr>
            <p:sp>
              <p:nvSpPr>
                <p:cNvPr id="167" name="Rechthoek 166"/>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8" name="Rechthoek 167"/>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9" name="Rechthoek 168"/>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70" name="Rechthoek 169"/>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71" name="Rechthoek 170"/>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72" name="Rechthoek 171"/>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73" name="Rechthoek 172"/>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74" name="Rechthoek 173"/>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75" name="Rechthoek 174"/>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76" name="Rechthoek 175"/>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77" name="Vrije vorm 176"/>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nvGrpSpPr>
            <p:cNvPr id="110" name="Groep 109"/>
            <p:cNvGrpSpPr/>
            <p:nvPr userDrawn="1"/>
          </p:nvGrpSpPr>
          <p:grpSpPr>
            <a:xfrm>
              <a:off x="-2950232" y="1207835"/>
              <a:ext cx="532929" cy="509563"/>
              <a:chOff x="-2880382" y="802341"/>
              <a:chExt cx="532929" cy="509563"/>
            </a:xfrm>
          </p:grpSpPr>
          <p:sp>
            <p:nvSpPr>
              <p:cNvPr id="143" name="Rechthoek 142"/>
              <p:cNvSpPr/>
              <p:nvPr userDrawn="1"/>
            </p:nvSpPr>
            <p:spPr>
              <a:xfrm>
                <a:off x="-2880382" y="802341"/>
                <a:ext cx="532929" cy="509563"/>
              </a:xfrm>
              <a:prstGeom prst="rect">
                <a:avLst/>
              </a:prstGeom>
              <a:solidFill>
                <a:sysClr val="window" lastClr="FFFFFF"/>
              </a:soli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pic>
            <p:nvPicPr>
              <p:cNvPr id="14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635852" y="822181"/>
                <a:ext cx="226442" cy="208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5"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848026" y="822181"/>
                <a:ext cx="207168" cy="213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46" name="Groep 145"/>
              <p:cNvGrpSpPr/>
              <p:nvPr userDrawn="1"/>
            </p:nvGrpSpPr>
            <p:grpSpPr>
              <a:xfrm>
                <a:off x="-2802433" y="1123442"/>
                <a:ext cx="132915" cy="104889"/>
                <a:chOff x="-2796392" y="1123442"/>
                <a:chExt cx="120832" cy="104889"/>
              </a:xfrm>
            </p:grpSpPr>
            <p:sp>
              <p:nvSpPr>
                <p:cNvPr id="160" name="Rechthoek 159"/>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1" name="Rechthoek 160"/>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2" name="Rechthoek 161"/>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3" name="Rechthoek 162"/>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4" name="Rechthoek 163"/>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147" name="Groep 146"/>
              <p:cNvGrpSpPr/>
              <p:nvPr userDrawn="1"/>
            </p:nvGrpSpPr>
            <p:grpSpPr>
              <a:xfrm>
                <a:off x="-2575417" y="1123442"/>
                <a:ext cx="133930" cy="104889"/>
                <a:chOff x="-2556734" y="1123442"/>
                <a:chExt cx="147324" cy="104889"/>
              </a:xfrm>
            </p:grpSpPr>
            <p:grpSp>
              <p:nvGrpSpPr>
                <p:cNvPr id="148" name="Groep 147"/>
                <p:cNvGrpSpPr/>
                <p:nvPr userDrawn="1"/>
              </p:nvGrpSpPr>
              <p:grpSpPr>
                <a:xfrm>
                  <a:off x="-2556734" y="1123442"/>
                  <a:ext cx="68206" cy="104889"/>
                  <a:chOff x="-2796392" y="1123442"/>
                  <a:chExt cx="120832" cy="104889"/>
                </a:xfrm>
              </p:grpSpPr>
              <p:sp>
                <p:nvSpPr>
                  <p:cNvPr id="155" name="Rechthoek 154"/>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56" name="Rechthoek 155"/>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57" name="Rechthoek 156"/>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58" name="Rechthoek 157"/>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59" name="Rechthoek 158"/>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149" name="Groep 148"/>
                <p:cNvGrpSpPr/>
                <p:nvPr userDrawn="1"/>
              </p:nvGrpSpPr>
              <p:grpSpPr>
                <a:xfrm>
                  <a:off x="-2477616" y="1123442"/>
                  <a:ext cx="68206" cy="104889"/>
                  <a:chOff x="-2796392" y="1123442"/>
                  <a:chExt cx="120832" cy="104889"/>
                </a:xfrm>
              </p:grpSpPr>
              <p:sp>
                <p:nvSpPr>
                  <p:cNvPr id="150" name="Rechthoek 149"/>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51" name="Rechthoek 150"/>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52" name="Rechthoek 151"/>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53" name="Rechthoek 152"/>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54" name="Rechthoek 153"/>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grpSp>
          <p:nvGrpSpPr>
            <p:cNvPr id="111" name="Groep 110"/>
            <p:cNvGrpSpPr/>
            <p:nvPr userDrawn="1"/>
          </p:nvGrpSpPr>
          <p:grpSpPr>
            <a:xfrm>
              <a:off x="-1948476" y="1281164"/>
              <a:ext cx="413704" cy="427699"/>
              <a:chOff x="-1845083" y="758027"/>
              <a:chExt cx="633799" cy="622540"/>
            </a:xfrm>
          </p:grpSpPr>
          <p:sp>
            <p:nvSpPr>
              <p:cNvPr id="130" name="Afgeronde rechthoek 129"/>
              <p:cNvSpPr/>
              <p:nvPr userDrawn="1"/>
            </p:nvSpPr>
            <p:spPr>
              <a:xfrm>
                <a:off x="-184508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131" name="Groep 130"/>
              <p:cNvGrpSpPr/>
              <p:nvPr userDrawn="1"/>
            </p:nvGrpSpPr>
            <p:grpSpPr>
              <a:xfrm>
                <a:off x="-1737762" y="864082"/>
                <a:ext cx="419168" cy="410429"/>
                <a:chOff x="3708400" y="309013"/>
                <a:chExt cx="1901295" cy="1861668"/>
              </a:xfrm>
              <a:solidFill>
                <a:srgbClr val="000000"/>
              </a:solidFill>
            </p:grpSpPr>
            <p:sp>
              <p:nvSpPr>
                <p:cNvPr id="132" name="Rechthoek 131"/>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33" name="Rechthoek 132"/>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34" name="Rechthoek 133"/>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35" name="Rechthoek 134"/>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36" name="Rechthoek 135"/>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37" name="Rechthoek 136"/>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38" name="Rechthoek 137"/>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39" name="Rechthoek 138"/>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40" name="Rechthoek 139"/>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41" name="Rechthoek 140"/>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42" name="Vrije vorm 141"/>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cxnSp>
          <p:nvCxnSpPr>
            <p:cNvPr id="112" name="Rechte verbindingslijn 111"/>
            <p:cNvCxnSpPr/>
            <p:nvPr userDrawn="1"/>
          </p:nvCxnSpPr>
          <p:spPr>
            <a:xfrm>
              <a:off x="-2814292" y="1441193"/>
              <a:ext cx="865816" cy="53821"/>
            </a:xfrm>
            <a:prstGeom prst="line">
              <a:avLst/>
            </a:prstGeom>
            <a:noFill/>
            <a:ln w="9525" cap="flat" cmpd="sng" algn="ctr">
              <a:solidFill>
                <a:schemeClr val="accent1"/>
              </a:solidFill>
              <a:prstDash val="solid"/>
              <a:headEnd type="oval"/>
            </a:ln>
            <a:effectLst/>
          </p:spPr>
        </p:cxnSp>
        <p:cxnSp>
          <p:nvCxnSpPr>
            <p:cNvPr id="113" name="Rechte verbindingslijn 112"/>
            <p:cNvCxnSpPr/>
            <p:nvPr userDrawn="1"/>
          </p:nvCxnSpPr>
          <p:spPr>
            <a:xfrm flipV="1">
              <a:off x="-2453902" y="1030591"/>
              <a:ext cx="505426" cy="283623"/>
            </a:xfrm>
            <a:prstGeom prst="line">
              <a:avLst/>
            </a:prstGeom>
            <a:noFill/>
            <a:ln w="9525" cap="flat" cmpd="sng" algn="ctr">
              <a:solidFill>
                <a:schemeClr val="accent1"/>
              </a:solidFill>
              <a:prstDash val="solid"/>
              <a:headEnd type="oval"/>
            </a:ln>
            <a:effectLst/>
          </p:spPr>
        </p:cxnSp>
        <p:sp>
          <p:nvSpPr>
            <p:cNvPr id="114" name="Textfield placeholder"/>
            <p:cNvSpPr txBox="1">
              <a:spLocks/>
            </p:cNvSpPr>
            <p:nvPr userDrawn="1"/>
          </p:nvSpPr>
          <p:spPr>
            <a:xfrm>
              <a:off x="-1341598" y="816743"/>
              <a:ext cx="1056968" cy="427698"/>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hoog</a:t>
              </a:r>
            </a:p>
          </p:txBody>
        </p:sp>
        <p:sp>
          <p:nvSpPr>
            <p:cNvPr id="115" name="Textfield placeholder"/>
            <p:cNvSpPr txBox="1">
              <a:spLocks/>
            </p:cNvSpPr>
            <p:nvPr userDrawn="1"/>
          </p:nvSpPr>
          <p:spPr>
            <a:xfrm>
              <a:off x="-1341599" y="1281164"/>
              <a:ext cx="1070223" cy="427699"/>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laag</a:t>
              </a:r>
            </a:p>
          </p:txBody>
        </p:sp>
        <p:sp>
          <p:nvSpPr>
            <p:cNvPr id="116" name="Ovaal 115"/>
            <p:cNvSpPr/>
            <p:nvPr userDrawn="1"/>
          </p:nvSpPr>
          <p:spPr>
            <a:xfrm>
              <a:off x="-2959433" y="338208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5</a:t>
              </a:r>
            </a:p>
          </p:txBody>
        </p:sp>
        <p:sp>
          <p:nvSpPr>
            <p:cNvPr id="117" name="Textfield placeholder"/>
            <p:cNvSpPr txBox="1">
              <a:spLocks/>
            </p:cNvSpPr>
            <p:nvPr userDrawn="1"/>
          </p:nvSpPr>
          <p:spPr>
            <a:xfrm>
              <a:off x="-2571950" y="3382082"/>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60000" lvl="4" indent="-360000" defTabSz="179388">
                <a:lnSpc>
                  <a:spcPct val="120000"/>
                </a:lnSpc>
                <a:spcBef>
                  <a:spcPts val="0"/>
                </a:spcBef>
                <a:spcAft>
                  <a:spcPts val="900"/>
                </a:spcAft>
                <a:buClr>
                  <a:srgbClr val="ED1A3B"/>
                </a:buClr>
                <a:buFont typeface="+mj-lt"/>
                <a:buAutoNum type="arabicPeriod"/>
                <a:defRPr/>
              </a:pPr>
              <a:r>
                <a:rPr lang="nl-NL" sz="1200" b="0" dirty="0">
                  <a:solidFill>
                    <a:srgbClr val="404040"/>
                  </a:solidFill>
                </a:rPr>
                <a:t>Numeriek (12 pt.)</a:t>
              </a:r>
            </a:p>
          </p:txBody>
        </p:sp>
        <p:grpSp>
          <p:nvGrpSpPr>
            <p:cNvPr id="118" name="Groep 117"/>
            <p:cNvGrpSpPr/>
            <p:nvPr userDrawn="1"/>
          </p:nvGrpSpPr>
          <p:grpSpPr>
            <a:xfrm>
              <a:off x="-2950232" y="816050"/>
              <a:ext cx="528695" cy="344202"/>
              <a:chOff x="-2880382" y="410556"/>
              <a:chExt cx="528695" cy="344202"/>
            </a:xfrm>
          </p:grpSpPr>
          <p:sp>
            <p:nvSpPr>
              <p:cNvPr id="128" name="Afgeronde rechthoek 127"/>
              <p:cNvSpPr/>
              <p:nvPr userDrawn="1"/>
            </p:nvSpPr>
            <p:spPr>
              <a:xfrm>
                <a:off x="-2874214" y="410556"/>
                <a:ext cx="522527" cy="339183"/>
              </a:xfrm>
              <a:prstGeom prst="roundRect">
                <a:avLst>
                  <a:gd name="adj" fmla="val 7565"/>
                </a:avLst>
              </a:prstGeom>
              <a:gradFill>
                <a:gsLst>
                  <a:gs pos="0">
                    <a:srgbClr val="FFEC8F"/>
                  </a:gs>
                  <a:gs pos="100000">
                    <a:srgbClr val="FFFFFF"/>
                  </a:gs>
                </a:gsLst>
                <a:lin ang="5400000" scaled="0"/>
              </a:gra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sp>
            <p:nvSpPr>
              <p:cNvPr id="129" name="Vrije vorm 128"/>
              <p:cNvSpPr/>
              <p:nvPr userDrawn="1"/>
            </p:nvSpPr>
            <p:spPr>
              <a:xfrm>
                <a:off x="-2880382" y="452699"/>
                <a:ext cx="528695" cy="302059"/>
              </a:xfrm>
              <a:custGeom>
                <a:avLst/>
                <a:gdLst>
                  <a:gd name="connsiteX0" fmla="*/ 55524 w 528695"/>
                  <a:gd name="connsiteY0" fmla="*/ 0 h 302059"/>
                  <a:gd name="connsiteX1" fmla="*/ 455496 w 528695"/>
                  <a:gd name="connsiteY1" fmla="*/ 0 h 302059"/>
                  <a:gd name="connsiteX2" fmla="*/ 475205 w 528695"/>
                  <a:gd name="connsiteY2" fmla="*/ 19709 h 302059"/>
                  <a:gd name="connsiteX3" fmla="*/ 475205 w 528695"/>
                  <a:gd name="connsiteY3" fmla="*/ 230056 h 302059"/>
                  <a:gd name="connsiteX4" fmla="*/ 516694 w 528695"/>
                  <a:gd name="connsiteY4" fmla="*/ 230056 h 302059"/>
                  <a:gd name="connsiteX5" fmla="*/ 528695 w 528695"/>
                  <a:gd name="connsiteY5" fmla="*/ 242057 h 302059"/>
                  <a:gd name="connsiteX6" fmla="*/ 528695 w 528695"/>
                  <a:gd name="connsiteY6" fmla="*/ 290058 h 302059"/>
                  <a:gd name="connsiteX7" fmla="*/ 516694 w 528695"/>
                  <a:gd name="connsiteY7" fmla="*/ 302059 h 302059"/>
                  <a:gd name="connsiteX8" fmla="*/ 12001 w 528695"/>
                  <a:gd name="connsiteY8" fmla="*/ 302059 h 302059"/>
                  <a:gd name="connsiteX9" fmla="*/ 0 w 528695"/>
                  <a:gd name="connsiteY9" fmla="*/ 290058 h 302059"/>
                  <a:gd name="connsiteX10" fmla="*/ 0 w 528695"/>
                  <a:gd name="connsiteY10" fmla="*/ 242057 h 302059"/>
                  <a:gd name="connsiteX11" fmla="*/ 12001 w 528695"/>
                  <a:gd name="connsiteY11" fmla="*/ 230056 h 302059"/>
                  <a:gd name="connsiteX12" fmla="*/ 35815 w 528695"/>
                  <a:gd name="connsiteY12" fmla="*/ 230056 h 302059"/>
                  <a:gd name="connsiteX13" fmla="*/ 35815 w 528695"/>
                  <a:gd name="connsiteY13" fmla="*/ 19709 h 302059"/>
                  <a:gd name="connsiteX14" fmla="*/ 55524 w 528695"/>
                  <a:gd name="connsiteY14" fmla="*/ 0 h 3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8695" h="302059">
                    <a:moveTo>
                      <a:pt x="55524" y="0"/>
                    </a:moveTo>
                    <a:lnTo>
                      <a:pt x="455496" y="0"/>
                    </a:lnTo>
                    <a:cubicBezTo>
                      <a:pt x="466381" y="0"/>
                      <a:pt x="475205" y="8824"/>
                      <a:pt x="475205" y="19709"/>
                    </a:cubicBezTo>
                    <a:lnTo>
                      <a:pt x="475205" y="230056"/>
                    </a:lnTo>
                    <a:lnTo>
                      <a:pt x="516694" y="230056"/>
                    </a:lnTo>
                    <a:cubicBezTo>
                      <a:pt x="523322" y="230056"/>
                      <a:pt x="528695" y="235429"/>
                      <a:pt x="528695" y="242057"/>
                    </a:cubicBezTo>
                    <a:lnTo>
                      <a:pt x="528695" y="290058"/>
                    </a:lnTo>
                    <a:cubicBezTo>
                      <a:pt x="528695" y="296686"/>
                      <a:pt x="523322" y="302059"/>
                      <a:pt x="516694" y="302059"/>
                    </a:cubicBezTo>
                    <a:lnTo>
                      <a:pt x="12001" y="302059"/>
                    </a:lnTo>
                    <a:cubicBezTo>
                      <a:pt x="5373" y="302059"/>
                      <a:pt x="0" y="296686"/>
                      <a:pt x="0" y="290058"/>
                    </a:cubicBezTo>
                    <a:lnTo>
                      <a:pt x="0" y="242057"/>
                    </a:lnTo>
                    <a:cubicBezTo>
                      <a:pt x="0" y="235429"/>
                      <a:pt x="5373" y="230056"/>
                      <a:pt x="12001" y="230056"/>
                    </a:cubicBezTo>
                    <a:lnTo>
                      <a:pt x="35815" y="230056"/>
                    </a:lnTo>
                    <a:lnTo>
                      <a:pt x="35815" y="19709"/>
                    </a:lnTo>
                    <a:cubicBezTo>
                      <a:pt x="35815" y="8824"/>
                      <a:pt x="44639" y="0"/>
                      <a:pt x="55524" y="0"/>
                    </a:cubicBezTo>
                    <a:close/>
                  </a:path>
                </a:pathLst>
              </a:custGeom>
              <a:solidFill>
                <a:sysClr val="window" lastClr="FFFFFF">
                  <a:lumMod val="95000"/>
                </a:sysClr>
              </a:solidFill>
              <a:ln w="9525" cap="flat" cmpd="sng" algn="ctr">
                <a:solidFill>
                  <a:srgbClr val="FFFFFF">
                    <a:lumMod val="90000"/>
                  </a:srgbClr>
                </a:solidFill>
                <a:prstDash val="solid"/>
                <a:miter lim="800000"/>
              </a:ln>
              <a:effectLst/>
            </p:spPr>
            <p:txBody>
              <a:bodyPr rot="0" spcFirstLastPara="0" vert="horz" wrap="square" lIns="108000" tIns="36000" rIns="108000" bIns="10800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900" dirty="0">
                    <a:solidFill>
                      <a:prstClr val="black"/>
                    </a:solidFill>
                    <a:latin typeface="Segoe UI Light"/>
                  </a:rPr>
                  <a:t>Start</a:t>
                </a:r>
              </a:p>
            </p:txBody>
          </p:sp>
        </p:grpSp>
        <p:sp>
          <p:nvSpPr>
            <p:cNvPr id="119" name="Tekstvak 65"/>
            <p:cNvSpPr txBox="1"/>
            <p:nvPr userDrawn="1"/>
          </p:nvSpPr>
          <p:spPr>
            <a:xfrm>
              <a:off x="-2959433" y="372104"/>
              <a:ext cx="2679887" cy="453396"/>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nl-NL" sz="1200" kern="0" dirty="0">
                  <a:solidFill>
                    <a:srgbClr val="000000"/>
                  </a:solidFill>
                  <a:latin typeface="Segoe UI Light" panose="020B0502040204020203" pitchFamily="34" charset="0"/>
                  <a:cs typeface="Segoe UI Light" panose="020B0502040204020203" pitchFamily="34" charset="0"/>
                </a:rPr>
                <a:t>Ga naar de tab </a:t>
              </a:r>
              <a:r>
                <a:rPr lang="nl-NL" sz="1200" b="1" kern="0" dirty="0">
                  <a:solidFill>
                    <a:srgbClr val="000000"/>
                  </a:solidFill>
                  <a:latin typeface="Segoe UI Light" panose="020B0502040204020203" pitchFamily="34" charset="0"/>
                  <a:cs typeface="Segoe UI Light" panose="020B0502040204020203" pitchFamily="34" charset="0"/>
                </a:rPr>
                <a:t>Start’ </a:t>
              </a:r>
              <a:r>
                <a:rPr lang="nl-NL" sz="1200" kern="0" dirty="0">
                  <a:solidFill>
                    <a:srgbClr val="000000"/>
                  </a:solidFill>
                  <a:latin typeface="Segoe UI Light" panose="020B0502040204020203" pitchFamily="34" charset="0"/>
                  <a:cs typeface="Segoe UI Light" panose="020B0502040204020203" pitchFamily="34" charset="0"/>
                </a:rPr>
                <a:t>en vind onderstaande knoppen onder </a:t>
              </a:r>
              <a:r>
                <a:rPr lang="nl-NL" sz="1200" b="1" kern="0" dirty="0">
                  <a:solidFill>
                    <a:srgbClr val="000000"/>
                  </a:solidFill>
                  <a:latin typeface="Segoe UI Light" panose="020B0502040204020203" pitchFamily="34" charset="0"/>
                  <a:cs typeface="Segoe UI Light" panose="020B0502040204020203" pitchFamily="34" charset="0"/>
                </a:rPr>
                <a:t>‘Alinea’</a:t>
              </a:r>
            </a:p>
          </p:txBody>
        </p:sp>
        <p:sp>
          <p:nvSpPr>
            <p:cNvPr id="120" name="Ovaal 119"/>
            <p:cNvSpPr/>
            <p:nvPr userDrawn="1"/>
          </p:nvSpPr>
          <p:spPr>
            <a:xfrm>
              <a:off x="-2959433" y="375153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6</a:t>
              </a:r>
            </a:p>
          </p:txBody>
        </p:sp>
        <p:sp>
          <p:nvSpPr>
            <p:cNvPr id="121" name="Textfield placeholder"/>
            <p:cNvSpPr txBox="1">
              <a:spLocks/>
            </p:cNvSpPr>
            <p:nvPr userDrawn="1"/>
          </p:nvSpPr>
          <p:spPr>
            <a:xfrm>
              <a:off x="-2571950" y="3751536"/>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0000" lvl="5" indent="-270000" defTabSz="179388">
                <a:lnSpc>
                  <a:spcPct val="120000"/>
                </a:lnSpc>
                <a:spcAft>
                  <a:spcPts val="900"/>
                </a:spcAft>
                <a:buClr>
                  <a:srgbClr val="ED1A3B"/>
                </a:buClr>
                <a:buSzPct val="80000"/>
                <a:buFont typeface="Wingdings 3" panose="05040102010807070707" pitchFamily="18" charset="2"/>
                <a:buChar char=""/>
                <a:defRPr/>
              </a:pPr>
              <a:r>
                <a:rPr lang="nl-NL" sz="1200" cap="none" dirty="0">
                  <a:solidFill>
                    <a:srgbClr val="535353"/>
                  </a:solidFill>
                </a:rPr>
                <a:t># Bullets (12 pt.)</a:t>
              </a:r>
            </a:p>
          </p:txBody>
        </p:sp>
        <p:sp>
          <p:nvSpPr>
            <p:cNvPr id="122" name="Ovaal 121"/>
            <p:cNvSpPr/>
            <p:nvPr userDrawn="1"/>
          </p:nvSpPr>
          <p:spPr>
            <a:xfrm>
              <a:off x="-2959433" y="414870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7</a:t>
              </a:r>
            </a:p>
          </p:txBody>
        </p:sp>
        <p:sp>
          <p:nvSpPr>
            <p:cNvPr id="123" name="Textfield placeholder"/>
            <p:cNvSpPr txBox="1">
              <a:spLocks/>
            </p:cNvSpPr>
            <p:nvPr userDrawn="1"/>
          </p:nvSpPr>
          <p:spPr>
            <a:xfrm>
              <a:off x="-2571950" y="414870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6" indent="0" defTabSz="179388">
                <a:lnSpc>
                  <a:spcPct val="120000"/>
                </a:lnSpc>
                <a:spcBef>
                  <a:spcPts val="0"/>
                </a:spcBef>
                <a:spcAft>
                  <a:spcPts val="900"/>
                </a:spcAft>
                <a:buClr>
                  <a:srgbClr val="ED1A3B"/>
                </a:buClr>
                <a:buSzPct val="90000"/>
                <a:buFont typeface="+mj-lt"/>
                <a:buNone/>
                <a:defRPr/>
              </a:pPr>
              <a:r>
                <a:rPr lang="nl-NL" sz="1200" i="1" dirty="0">
                  <a:solidFill>
                    <a:srgbClr val="404040"/>
                  </a:solidFill>
                </a:rPr>
                <a:t>Cursief donker (12 pt.)</a:t>
              </a:r>
            </a:p>
          </p:txBody>
        </p:sp>
        <p:sp>
          <p:nvSpPr>
            <p:cNvPr id="124" name="Ovaal 123"/>
            <p:cNvSpPr/>
            <p:nvPr userDrawn="1"/>
          </p:nvSpPr>
          <p:spPr>
            <a:xfrm>
              <a:off x="-2959433" y="454586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8</a:t>
              </a:r>
            </a:p>
          </p:txBody>
        </p:sp>
        <p:sp>
          <p:nvSpPr>
            <p:cNvPr id="125" name="Textfield placeholder"/>
            <p:cNvSpPr txBox="1">
              <a:spLocks/>
            </p:cNvSpPr>
            <p:nvPr userDrawn="1"/>
          </p:nvSpPr>
          <p:spPr>
            <a:xfrm>
              <a:off x="-2571950" y="4545864"/>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7" indent="0" defTabSz="179388">
                <a:lnSpc>
                  <a:spcPct val="80000"/>
                </a:lnSpc>
                <a:spcBef>
                  <a:spcPts val="0"/>
                </a:spcBef>
                <a:spcAft>
                  <a:spcPts val="900"/>
                </a:spcAft>
                <a:buClr>
                  <a:srgbClr val="ED1A3B"/>
                </a:buClr>
                <a:buFont typeface="Arial" pitchFamily="34" charset="0"/>
                <a:buNone/>
                <a:defRPr/>
              </a:pPr>
              <a:r>
                <a:rPr lang="nl-NL" sz="1200" i="1" dirty="0">
                  <a:solidFill>
                    <a:srgbClr val="A3B0C0"/>
                  </a:solidFill>
                </a:rPr>
                <a:t>Cursief Licht (12 pt.)</a:t>
              </a:r>
            </a:p>
          </p:txBody>
        </p:sp>
        <p:sp>
          <p:nvSpPr>
            <p:cNvPr id="126" name="Ovaal 125"/>
            <p:cNvSpPr/>
            <p:nvPr userDrawn="1"/>
          </p:nvSpPr>
          <p:spPr>
            <a:xfrm>
              <a:off x="-2959433" y="488761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9</a:t>
              </a:r>
            </a:p>
          </p:txBody>
        </p:sp>
        <p:sp>
          <p:nvSpPr>
            <p:cNvPr id="127" name="Textfield placeholder"/>
            <p:cNvSpPr txBox="1">
              <a:spLocks/>
            </p:cNvSpPr>
            <p:nvPr userDrawn="1"/>
          </p:nvSpPr>
          <p:spPr>
            <a:xfrm>
              <a:off x="-2571950" y="488761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8" indent="0" defTabSz="179388">
                <a:lnSpc>
                  <a:spcPct val="80000"/>
                </a:lnSpc>
                <a:spcBef>
                  <a:spcPts val="0"/>
                </a:spcBef>
                <a:spcAft>
                  <a:spcPts val="900"/>
                </a:spcAft>
                <a:buClr>
                  <a:srgbClr val="ED1A3B"/>
                </a:buClr>
                <a:buFont typeface="Arial" pitchFamily="34" charset="0"/>
                <a:buNone/>
                <a:defRPr/>
              </a:pPr>
              <a:r>
                <a:rPr lang="nl-NL" sz="1400" b="1" dirty="0">
                  <a:solidFill>
                    <a:srgbClr val="ED1A3B"/>
                  </a:solidFill>
                </a:rPr>
                <a:t>Subtitel (14 pt.)</a:t>
              </a:r>
            </a:p>
          </p:txBody>
        </p:sp>
      </p:grpSp>
      <p:sp>
        <p:nvSpPr>
          <p:cNvPr id="91" name="Hyperlink - Inhoudsopgave">
            <a:hlinkClick r:id="rId4" action="ppaction://hlinksldjump"/>
          </p:cNvPr>
          <p:cNvSpPr/>
          <p:nvPr userDrawn="1"/>
        </p:nvSpPr>
        <p:spPr>
          <a:xfrm>
            <a:off x="10197856" y="5889801"/>
            <a:ext cx="2000494" cy="968199"/>
          </a:xfrm>
          <a:prstGeom prst="rect">
            <a:avLst/>
          </a:prstGeom>
          <a:solidFill>
            <a:srgbClr val="ED1A3B">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cxnSp>
        <p:nvCxnSpPr>
          <p:cNvPr id="98" name="Grijze lijn - boven"/>
          <p:cNvCxnSpPr/>
          <p:nvPr userDrawn="1"/>
        </p:nvCxnSpPr>
        <p:spPr>
          <a:xfrm flipH="1">
            <a:off x="664804" y="1358670"/>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95" name="Tijdelijke aanduiding voor Dianummer"/>
          <p:cNvSpPr>
            <a:spLocks noGrp="1"/>
          </p:cNvSpPr>
          <p:nvPr>
            <p:ph type="sldNum" sz="quarter" idx="4"/>
          </p:nvPr>
        </p:nvSpPr>
        <p:spPr>
          <a:xfrm>
            <a:off x="5770549" y="6295992"/>
            <a:ext cx="657251" cy="365125"/>
          </a:xfrm>
          <a:prstGeom prst="rect">
            <a:avLst/>
          </a:prstGeom>
        </p:spPr>
        <p:txBody>
          <a:bodyPr vert="horz" lIns="91440" tIns="45720" rIns="91440" bIns="45720" rtlCol="0" anchor="ctr"/>
          <a:lstStyle>
            <a:lvl1pPr algn="ctr">
              <a:defRPr sz="800">
                <a:solidFill>
                  <a:schemeClr val="tx1">
                    <a:tint val="75000"/>
                  </a:schemeClr>
                </a:solidFill>
              </a:defRPr>
            </a:lvl1pPr>
          </a:lstStyle>
          <a:p>
            <a:fld id="{1B3FA67A-C720-417A-A072-0CD211FD8662}" type="slidenum">
              <a:rPr lang="nl-NL" smtClean="0">
                <a:solidFill>
                  <a:srgbClr val="000000">
                    <a:tint val="75000"/>
                  </a:srgbClr>
                </a:solidFill>
              </a:rPr>
              <a:pPr/>
              <a:t>‹nr.›</a:t>
            </a:fld>
            <a:endParaRPr lang="nl-NL" dirty="0">
              <a:solidFill>
                <a:srgbClr val="000000">
                  <a:tint val="75000"/>
                </a:srgbClr>
              </a:solidFill>
            </a:endParaRPr>
          </a:p>
        </p:txBody>
      </p:sp>
      <p:sp>
        <p:nvSpPr>
          <p:cNvPr id="96" name="Tijdelijke aanduiding voor Tekst"/>
          <p:cNvSpPr>
            <a:spLocks noGrp="1"/>
          </p:cNvSpPr>
          <p:nvPr>
            <p:ph type="body" orient="vert" idx="15" hasCustomPrompt="1"/>
          </p:nvPr>
        </p:nvSpPr>
        <p:spPr>
          <a:xfrm>
            <a:off x="664109" y="1720867"/>
            <a:ext cx="10871230" cy="3693600"/>
          </a:xfrm>
        </p:spPr>
        <p:txBody>
          <a:bodyPr vert="horz" lIns="0" tIns="0" rIns="0" bIns="0" numCol="3" spcCol="360000"/>
          <a:lstStyle>
            <a:lvl1pPr>
              <a:defRPr sz="1200"/>
            </a:lvl1pPr>
            <a:lvl2pPr marL="180975" indent="-180975">
              <a:defRPr sz="1200"/>
            </a:lvl2pPr>
            <a:lvl3pPr marL="360363" indent="-179388">
              <a:defRPr sz="1200"/>
            </a:lvl3pPr>
            <a:lvl4pPr marL="541338" indent="-180975">
              <a:defRPr sz="1200"/>
            </a:lvl4pPr>
            <a:lvl5pPr marL="265113" indent="-265113">
              <a:defRPr sz="1200"/>
            </a:lvl5pPr>
            <a:lvl6pPr marL="444500" indent="-179388">
              <a:defRPr sz="1200"/>
            </a:lvl6pPr>
            <a:lvl7pPr>
              <a:defRPr sz="1200"/>
            </a:lvl7pPr>
            <a:lvl8pPr>
              <a:defRPr sz="1200"/>
            </a:lvl8pPr>
            <a:lvl9pPr>
              <a:defRPr sz="1400"/>
            </a:lvl9pPr>
          </a:lstStyle>
          <a:p>
            <a:pPr lvl="0"/>
            <a:r>
              <a:rPr lang="nl-NL" dirty="0"/>
              <a:t>Leestekst</a:t>
            </a:r>
          </a:p>
          <a:p>
            <a:pPr lvl="1"/>
            <a:r>
              <a:rPr lang="nl-NL" dirty="0"/>
              <a:t>Bullets</a:t>
            </a:r>
          </a:p>
          <a:p>
            <a:pPr lvl="2"/>
            <a:r>
              <a:rPr lang="nl-NL" dirty="0"/>
              <a:t>Sub-bullets</a:t>
            </a:r>
          </a:p>
          <a:p>
            <a:pPr lvl="3"/>
            <a:r>
              <a:rPr lang="nl-NL" dirty="0"/>
              <a:t>Sub-sub-bullets</a:t>
            </a:r>
          </a:p>
          <a:p>
            <a:pPr lvl="4"/>
            <a:r>
              <a:rPr lang="nl-NL" dirty="0"/>
              <a:t>Numeriek</a:t>
            </a:r>
          </a:p>
          <a:p>
            <a:pPr lvl="5"/>
            <a:r>
              <a:rPr lang="nl-NL" dirty="0"/>
              <a:t># Bullets</a:t>
            </a:r>
          </a:p>
          <a:p>
            <a:pPr lvl="6"/>
            <a:r>
              <a:rPr lang="nl-NL" dirty="0"/>
              <a:t>Cursief donker</a:t>
            </a:r>
          </a:p>
          <a:p>
            <a:pPr lvl="7"/>
            <a:r>
              <a:rPr lang="nl-NL" dirty="0"/>
              <a:t>Cursief licht</a:t>
            </a:r>
          </a:p>
          <a:p>
            <a:pPr lvl="8"/>
            <a:r>
              <a:rPr lang="nl-NL" dirty="0"/>
              <a:t>Subtitel</a:t>
            </a:r>
          </a:p>
        </p:txBody>
      </p:sp>
      <p:sp>
        <p:nvSpPr>
          <p:cNvPr id="11" name="Tijdelijke aanduiding voor Subtitel"/>
          <p:cNvSpPr>
            <a:spLocks noGrp="1"/>
          </p:cNvSpPr>
          <p:nvPr>
            <p:ph type="body" idx="14"/>
          </p:nvPr>
        </p:nvSpPr>
        <p:spPr>
          <a:xfrm>
            <a:off x="664109" y="1001348"/>
            <a:ext cx="10870131" cy="317758"/>
          </a:xfrm>
        </p:spPr>
        <p:txBody>
          <a:bodyPr bIns="72000" anchor="t" anchorCtr="0"/>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2" name="Tijdelijke aanduiding voor Titel"/>
          <p:cNvSpPr>
            <a:spLocks noGrp="1"/>
          </p:cNvSpPr>
          <p:nvPr>
            <p:ph type="title"/>
          </p:nvPr>
        </p:nvSpPr>
        <p:spPr>
          <a:xfrm>
            <a:off x="664109" y="464521"/>
            <a:ext cx="10870131" cy="533219"/>
          </a:xfrm>
        </p:spPr>
        <p:txBody>
          <a:bodyPr/>
          <a:lstStyle/>
          <a:p>
            <a:r>
              <a:rPr lang="nl-NL"/>
              <a:t>Klik om stijl te bewerken</a:t>
            </a:r>
            <a:endParaRPr lang="nl-NL" dirty="0"/>
          </a:p>
        </p:txBody>
      </p:sp>
    </p:spTree>
    <p:extLst>
      <p:ext uri="{BB962C8B-B14F-4D97-AF65-F5344CB8AC3E}">
        <p14:creationId xmlns:p14="http://schemas.microsoft.com/office/powerpoint/2010/main" val="3055744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3 Kolommen tekst (inclusief streep onder)">
    <p:spTree>
      <p:nvGrpSpPr>
        <p:cNvPr id="1" name=""/>
        <p:cNvGrpSpPr/>
        <p:nvPr/>
      </p:nvGrpSpPr>
      <p:grpSpPr>
        <a:xfrm>
          <a:off x="0" y="0"/>
          <a:ext cx="0" cy="0"/>
          <a:chOff x="0" y="0"/>
          <a:chExt cx="0" cy="0"/>
        </a:xfrm>
      </p:grpSpPr>
      <p:sp>
        <p:nvSpPr>
          <p:cNvPr id="97" name="Naam indeling - 3 Kolommen tekst (inclusief streep onder)"/>
          <p:cNvSpPr txBox="1"/>
          <p:nvPr userDrawn="1"/>
        </p:nvSpPr>
        <p:spPr>
          <a:xfrm>
            <a:off x="0" y="-453266"/>
            <a:ext cx="4506508" cy="276999"/>
          </a:xfrm>
          <a:prstGeom prst="rect">
            <a:avLst/>
          </a:prstGeom>
          <a:noFill/>
        </p:spPr>
        <p:txBody>
          <a:bodyPr wrap="square" lIns="0" tIns="0" rIns="0" bIns="0" rtlCol="0">
            <a:spAutoFit/>
          </a:bodyPr>
          <a:lstStyle/>
          <a:p>
            <a:pPr defTabSz="914112"/>
            <a:r>
              <a:rPr lang="nl-NL" dirty="0">
                <a:solidFill>
                  <a:srgbClr val="404040"/>
                </a:solidFill>
                <a:latin typeface="Calibri" panose="020F0502020204030204" pitchFamily="34" charset="0"/>
              </a:rPr>
              <a:t>3 Kolommen tekst (inclusief streep onder)</a:t>
            </a:r>
            <a:endParaRPr lang="en-GB" dirty="0">
              <a:solidFill>
                <a:srgbClr val="404040"/>
              </a:solidFill>
              <a:latin typeface="Calibri" panose="020F0502020204030204" pitchFamily="34" charset="0"/>
            </a:endParaRPr>
          </a:p>
        </p:txBody>
      </p:sp>
      <p:grpSp>
        <p:nvGrpSpPr>
          <p:cNvPr id="94" name="Instructie - Tekst niveaus"/>
          <p:cNvGrpSpPr/>
          <p:nvPr userDrawn="1"/>
        </p:nvGrpSpPr>
        <p:grpSpPr>
          <a:xfrm>
            <a:off x="-3117849" y="365"/>
            <a:ext cx="2823358" cy="5254722"/>
            <a:chOff x="-2959433" y="-5444"/>
            <a:chExt cx="2822623" cy="5254722"/>
          </a:xfrm>
        </p:grpSpPr>
        <p:sp>
          <p:nvSpPr>
            <p:cNvPr id="100" name="Rechthoek 99"/>
            <p:cNvSpPr/>
            <p:nvPr userDrawn="1"/>
          </p:nvSpPr>
          <p:spPr>
            <a:xfrm>
              <a:off x="-2959433" y="-5444"/>
              <a:ext cx="2572469" cy="280344"/>
            </a:xfrm>
            <a:prstGeom prst="rect">
              <a:avLst/>
            </a:prstGeom>
            <a:noFill/>
            <a:ln w="25400" cap="flat" cmpd="sng" algn="ctr">
              <a:noFill/>
              <a:prstDash val="solid"/>
            </a:ln>
            <a:effectLst/>
          </p:spPr>
          <p:txBody>
            <a:bodyPr lIns="0" tIns="0" rIns="0" bIns="0" rtlCol="0" anchor="t"/>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nl-NL" sz="1600" b="1" kern="0" dirty="0">
                  <a:solidFill>
                    <a:srgbClr val="ED1A3B"/>
                  </a:solidFill>
                  <a:cs typeface="Segoe UI Light" panose="020B0502040204020203" pitchFamily="34" charset="0"/>
                </a:rPr>
                <a:t>TEKST NIVEAUS</a:t>
              </a:r>
            </a:p>
          </p:txBody>
        </p:sp>
        <p:sp>
          <p:nvSpPr>
            <p:cNvPr id="101" name="Textfield placeholder"/>
            <p:cNvSpPr txBox="1">
              <a:spLocks/>
            </p:cNvSpPr>
            <p:nvPr userDrawn="1"/>
          </p:nvSpPr>
          <p:spPr>
            <a:xfrm>
              <a:off x="-2587337" y="2675411"/>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0" lvl="2"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a:solidFill>
                    <a:srgbClr val="404040"/>
                  </a:solidFill>
                </a:rPr>
                <a:t>Sub-bullets (12 pt.)</a:t>
              </a:r>
            </a:p>
          </p:txBody>
        </p:sp>
        <p:sp>
          <p:nvSpPr>
            <p:cNvPr id="102" name="Ovaal 101"/>
            <p:cNvSpPr/>
            <p:nvPr userDrawn="1"/>
          </p:nvSpPr>
          <p:spPr>
            <a:xfrm>
              <a:off x="-2959433" y="196874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1</a:t>
              </a:r>
            </a:p>
          </p:txBody>
        </p:sp>
        <p:sp>
          <p:nvSpPr>
            <p:cNvPr id="103" name="Ovaal 102"/>
            <p:cNvSpPr/>
            <p:nvPr userDrawn="1"/>
          </p:nvSpPr>
          <p:spPr>
            <a:xfrm>
              <a:off x="-2959433" y="232207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2</a:t>
              </a:r>
            </a:p>
          </p:txBody>
        </p:sp>
        <p:sp>
          <p:nvSpPr>
            <p:cNvPr id="104" name="Ovaal 103"/>
            <p:cNvSpPr/>
            <p:nvPr userDrawn="1"/>
          </p:nvSpPr>
          <p:spPr>
            <a:xfrm>
              <a:off x="-2959433" y="267541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3</a:t>
              </a:r>
            </a:p>
          </p:txBody>
        </p:sp>
        <p:sp>
          <p:nvSpPr>
            <p:cNvPr id="105" name="Ovaal 104"/>
            <p:cNvSpPr/>
            <p:nvPr userDrawn="1"/>
          </p:nvSpPr>
          <p:spPr>
            <a:xfrm>
              <a:off x="-2959433" y="302874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4</a:t>
              </a:r>
            </a:p>
          </p:txBody>
        </p:sp>
        <p:sp>
          <p:nvSpPr>
            <p:cNvPr id="106" name="Textfield placeholder"/>
            <p:cNvSpPr txBox="1">
              <a:spLocks/>
            </p:cNvSpPr>
            <p:nvPr userDrawn="1"/>
          </p:nvSpPr>
          <p:spPr>
            <a:xfrm>
              <a:off x="-2571950" y="1966925"/>
              <a:ext cx="2163709" cy="261500"/>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79388">
                <a:lnSpc>
                  <a:spcPct val="120000"/>
                </a:lnSpc>
                <a:spcBef>
                  <a:spcPts val="0"/>
                </a:spcBef>
                <a:spcAft>
                  <a:spcPts val="900"/>
                </a:spcAft>
                <a:buClr>
                  <a:srgbClr val="000000"/>
                </a:buClr>
                <a:buSzPct val="100000"/>
                <a:buFont typeface="Arial" pitchFamily="34" charset="0"/>
                <a:buNone/>
                <a:defRPr/>
              </a:pPr>
              <a:r>
                <a:rPr lang="nl-NL" sz="1200" dirty="0">
                  <a:solidFill>
                    <a:srgbClr val="535353"/>
                  </a:solidFill>
                </a:rPr>
                <a:t>Leestekst (12 pt.)</a:t>
              </a:r>
            </a:p>
          </p:txBody>
        </p:sp>
        <p:sp>
          <p:nvSpPr>
            <p:cNvPr id="107" name="Textfield placeholder"/>
            <p:cNvSpPr txBox="1">
              <a:spLocks/>
            </p:cNvSpPr>
            <p:nvPr userDrawn="1"/>
          </p:nvSpPr>
          <p:spPr>
            <a:xfrm>
              <a:off x="-2571950" y="2322077"/>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70000" lvl="1"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err="1">
                  <a:solidFill>
                    <a:srgbClr val="535353"/>
                  </a:solidFill>
                </a:rPr>
                <a:t>Bullets</a:t>
              </a:r>
              <a:r>
                <a:rPr lang="nl-NL" sz="1200" dirty="0">
                  <a:solidFill>
                    <a:srgbClr val="535353"/>
                  </a:solidFill>
                </a:rPr>
                <a:t> (12 </a:t>
              </a:r>
              <a:r>
                <a:rPr lang="nl-NL" sz="1200" dirty="0" err="1">
                  <a:solidFill>
                    <a:srgbClr val="535353"/>
                  </a:solidFill>
                </a:rPr>
                <a:t>pt</a:t>
              </a:r>
              <a:r>
                <a:rPr lang="nl-NL" sz="1200" dirty="0">
                  <a:solidFill>
                    <a:srgbClr val="535353"/>
                  </a:solidFill>
                </a:rPr>
                <a:t>.)</a:t>
              </a:r>
            </a:p>
          </p:txBody>
        </p:sp>
        <p:sp>
          <p:nvSpPr>
            <p:cNvPr id="108" name="Textfield placeholder"/>
            <p:cNvSpPr txBox="1">
              <a:spLocks/>
            </p:cNvSpPr>
            <p:nvPr userDrawn="1"/>
          </p:nvSpPr>
          <p:spPr>
            <a:xfrm>
              <a:off x="-2571951" y="3028747"/>
              <a:ext cx="2435141"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10000" lvl="3" indent="-270000" algn="l" defTabSz="179388" rtl="0" eaLnBrk="1" latinLnBrk="0" hangingPunct="1">
                <a:lnSpc>
                  <a:spcPct val="120000"/>
                </a:lnSpc>
                <a:spcBef>
                  <a:spcPts val="0"/>
                </a:spcBef>
                <a:spcAft>
                  <a:spcPts val="900"/>
                </a:spcAft>
                <a:buClr>
                  <a:schemeClr val="accent2"/>
                </a:buClr>
                <a:buSzPct val="80000"/>
                <a:buFont typeface="Wingdings 3" panose="05040102010807070707" pitchFamily="18" charset="2"/>
                <a:buChar char=""/>
                <a:defRPr/>
              </a:pPr>
              <a:r>
                <a:rPr lang="nl-NL" sz="1200" b="0" kern="1200" dirty="0">
                  <a:solidFill>
                    <a:srgbClr val="404040"/>
                  </a:solidFill>
                  <a:latin typeface="+mn-lt"/>
                  <a:ea typeface="+mn-ea"/>
                  <a:cs typeface="+mn-cs"/>
                </a:rPr>
                <a:t>Sub-sub-bullets (12 pt.)</a:t>
              </a:r>
            </a:p>
          </p:txBody>
        </p:sp>
        <p:cxnSp>
          <p:nvCxnSpPr>
            <p:cNvPr id="109" name="Rechte verbindingslijn 108"/>
            <p:cNvCxnSpPr/>
            <p:nvPr userDrawn="1"/>
          </p:nvCxnSpPr>
          <p:spPr>
            <a:xfrm>
              <a:off x="-2959100" y="274900"/>
              <a:ext cx="2674470" cy="0"/>
            </a:xfrm>
            <a:prstGeom prst="line">
              <a:avLst/>
            </a:prstGeom>
            <a:noFill/>
            <a:ln w="9525" cap="flat" cmpd="sng" algn="ctr">
              <a:solidFill>
                <a:schemeClr val="accent1"/>
              </a:solidFill>
              <a:prstDash val="solid"/>
            </a:ln>
            <a:effectLst/>
          </p:spPr>
        </p:cxnSp>
        <p:cxnSp>
          <p:nvCxnSpPr>
            <p:cNvPr id="110" name="Rechte verbindingslijn 109"/>
            <p:cNvCxnSpPr/>
            <p:nvPr userDrawn="1"/>
          </p:nvCxnSpPr>
          <p:spPr>
            <a:xfrm>
              <a:off x="-2959100" y="1841989"/>
              <a:ext cx="2661379" cy="0"/>
            </a:xfrm>
            <a:prstGeom prst="line">
              <a:avLst/>
            </a:prstGeom>
            <a:noFill/>
            <a:ln w="9525" cap="flat" cmpd="sng" algn="ctr">
              <a:solidFill>
                <a:schemeClr val="accent1"/>
              </a:solidFill>
              <a:prstDash val="solid"/>
            </a:ln>
            <a:effectLst/>
          </p:spPr>
        </p:cxnSp>
        <p:cxnSp>
          <p:nvCxnSpPr>
            <p:cNvPr id="111" name="Rechte verbindingslijn 110"/>
            <p:cNvCxnSpPr/>
            <p:nvPr userDrawn="1"/>
          </p:nvCxnSpPr>
          <p:spPr>
            <a:xfrm>
              <a:off x="-2959100" y="5249278"/>
              <a:ext cx="2661379" cy="0"/>
            </a:xfrm>
            <a:prstGeom prst="line">
              <a:avLst/>
            </a:prstGeom>
            <a:noFill/>
            <a:ln w="9525" cap="flat" cmpd="sng" algn="ctr">
              <a:solidFill>
                <a:schemeClr val="accent1"/>
              </a:solidFill>
              <a:prstDash val="solid"/>
            </a:ln>
            <a:effectLst/>
          </p:spPr>
        </p:cxnSp>
        <p:grpSp>
          <p:nvGrpSpPr>
            <p:cNvPr id="112" name="Groep 111"/>
            <p:cNvGrpSpPr/>
            <p:nvPr userDrawn="1"/>
          </p:nvGrpSpPr>
          <p:grpSpPr>
            <a:xfrm>
              <a:off x="-1948476" y="816741"/>
              <a:ext cx="409108" cy="427699"/>
              <a:chOff x="-1085063" y="758027"/>
              <a:chExt cx="633799" cy="622540"/>
            </a:xfrm>
          </p:grpSpPr>
          <p:sp>
            <p:nvSpPr>
              <p:cNvPr id="168" name="Afgeronde rechthoek 167"/>
              <p:cNvSpPr/>
              <p:nvPr userDrawn="1"/>
            </p:nvSpPr>
            <p:spPr>
              <a:xfrm>
                <a:off x="-108506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169" name="Groep 168"/>
              <p:cNvGrpSpPr/>
              <p:nvPr userDrawn="1"/>
            </p:nvGrpSpPr>
            <p:grpSpPr>
              <a:xfrm>
                <a:off x="-977739" y="864082"/>
                <a:ext cx="419168" cy="410429"/>
                <a:chOff x="6366933" y="309013"/>
                <a:chExt cx="1901295" cy="1861668"/>
              </a:xfrm>
              <a:solidFill>
                <a:srgbClr val="000000"/>
              </a:solidFill>
            </p:grpSpPr>
            <p:sp>
              <p:nvSpPr>
                <p:cNvPr id="170" name="Rechthoek 169"/>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71" name="Rechthoek 170"/>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72" name="Rechthoek 171"/>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73" name="Rechthoek 172"/>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74" name="Rechthoek 173"/>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75" name="Rechthoek 174"/>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76" name="Rechthoek 175"/>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77" name="Rechthoek 176"/>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78" name="Rechthoek 177"/>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79" name="Rechthoek 178"/>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80" name="Vrije vorm 179"/>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nvGrpSpPr>
            <p:cNvPr id="113" name="Groep 112"/>
            <p:cNvGrpSpPr/>
            <p:nvPr userDrawn="1"/>
          </p:nvGrpSpPr>
          <p:grpSpPr>
            <a:xfrm>
              <a:off x="-2950232" y="1207835"/>
              <a:ext cx="532929" cy="509563"/>
              <a:chOff x="-2880382" y="802341"/>
              <a:chExt cx="532929" cy="509563"/>
            </a:xfrm>
          </p:grpSpPr>
          <p:sp>
            <p:nvSpPr>
              <p:cNvPr id="146" name="Rechthoek 145"/>
              <p:cNvSpPr/>
              <p:nvPr userDrawn="1"/>
            </p:nvSpPr>
            <p:spPr>
              <a:xfrm>
                <a:off x="-2880382" y="802341"/>
                <a:ext cx="532929" cy="509563"/>
              </a:xfrm>
              <a:prstGeom prst="rect">
                <a:avLst/>
              </a:prstGeom>
              <a:solidFill>
                <a:sysClr val="window" lastClr="FFFFFF"/>
              </a:soli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pic>
            <p:nvPicPr>
              <p:cNvPr id="147"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635852" y="822181"/>
                <a:ext cx="226442" cy="208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8"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848026" y="822181"/>
                <a:ext cx="207168" cy="213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49" name="Groep 148"/>
              <p:cNvGrpSpPr/>
              <p:nvPr userDrawn="1"/>
            </p:nvGrpSpPr>
            <p:grpSpPr>
              <a:xfrm>
                <a:off x="-2802433" y="1123442"/>
                <a:ext cx="132915" cy="104889"/>
                <a:chOff x="-2796392" y="1123442"/>
                <a:chExt cx="120832" cy="104889"/>
              </a:xfrm>
            </p:grpSpPr>
            <p:sp>
              <p:nvSpPr>
                <p:cNvPr id="163" name="Rechthoek 162"/>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4" name="Rechthoek 163"/>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5" name="Rechthoek 164"/>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6" name="Rechthoek 165"/>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7" name="Rechthoek 166"/>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150" name="Groep 149"/>
              <p:cNvGrpSpPr/>
              <p:nvPr userDrawn="1"/>
            </p:nvGrpSpPr>
            <p:grpSpPr>
              <a:xfrm>
                <a:off x="-2575417" y="1123442"/>
                <a:ext cx="133930" cy="104889"/>
                <a:chOff x="-2556734" y="1123442"/>
                <a:chExt cx="147324" cy="104889"/>
              </a:xfrm>
            </p:grpSpPr>
            <p:grpSp>
              <p:nvGrpSpPr>
                <p:cNvPr id="151" name="Groep 150"/>
                <p:cNvGrpSpPr/>
                <p:nvPr userDrawn="1"/>
              </p:nvGrpSpPr>
              <p:grpSpPr>
                <a:xfrm>
                  <a:off x="-2556734" y="1123442"/>
                  <a:ext cx="68206" cy="104889"/>
                  <a:chOff x="-2796392" y="1123442"/>
                  <a:chExt cx="120832" cy="104889"/>
                </a:xfrm>
              </p:grpSpPr>
              <p:sp>
                <p:nvSpPr>
                  <p:cNvPr id="158" name="Rechthoek 157"/>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59" name="Rechthoek 158"/>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0" name="Rechthoek 159"/>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1" name="Rechthoek 160"/>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62" name="Rechthoek 161"/>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152" name="Groep 151"/>
                <p:cNvGrpSpPr/>
                <p:nvPr userDrawn="1"/>
              </p:nvGrpSpPr>
              <p:grpSpPr>
                <a:xfrm>
                  <a:off x="-2477616" y="1123442"/>
                  <a:ext cx="68206" cy="104889"/>
                  <a:chOff x="-2796392" y="1123442"/>
                  <a:chExt cx="120832" cy="104889"/>
                </a:xfrm>
              </p:grpSpPr>
              <p:sp>
                <p:nvSpPr>
                  <p:cNvPr id="153" name="Rechthoek 152"/>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54" name="Rechthoek 153"/>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55" name="Rechthoek 154"/>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56" name="Rechthoek 155"/>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57" name="Rechthoek 156"/>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grpSp>
          <p:nvGrpSpPr>
            <p:cNvPr id="114" name="Groep 113"/>
            <p:cNvGrpSpPr/>
            <p:nvPr userDrawn="1"/>
          </p:nvGrpSpPr>
          <p:grpSpPr>
            <a:xfrm>
              <a:off x="-1948476" y="1281164"/>
              <a:ext cx="413704" cy="427699"/>
              <a:chOff x="-1845083" y="758027"/>
              <a:chExt cx="633799" cy="622540"/>
            </a:xfrm>
          </p:grpSpPr>
          <p:sp>
            <p:nvSpPr>
              <p:cNvPr id="133" name="Afgeronde rechthoek 132"/>
              <p:cNvSpPr/>
              <p:nvPr userDrawn="1"/>
            </p:nvSpPr>
            <p:spPr>
              <a:xfrm>
                <a:off x="-184508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134" name="Groep 133"/>
              <p:cNvGrpSpPr/>
              <p:nvPr userDrawn="1"/>
            </p:nvGrpSpPr>
            <p:grpSpPr>
              <a:xfrm>
                <a:off x="-1737762" y="864082"/>
                <a:ext cx="419168" cy="410429"/>
                <a:chOff x="3708400" y="309013"/>
                <a:chExt cx="1901295" cy="1861668"/>
              </a:xfrm>
              <a:solidFill>
                <a:srgbClr val="000000"/>
              </a:solidFill>
            </p:grpSpPr>
            <p:sp>
              <p:nvSpPr>
                <p:cNvPr id="135" name="Rechthoek 134"/>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36" name="Rechthoek 135"/>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37" name="Rechthoek 136"/>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38" name="Rechthoek 137"/>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39" name="Rechthoek 138"/>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40" name="Rechthoek 139"/>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41" name="Rechthoek 140"/>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42" name="Rechthoek 141"/>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43" name="Rechthoek 142"/>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44" name="Rechthoek 143"/>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45" name="Vrije vorm 144"/>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cxnSp>
          <p:nvCxnSpPr>
            <p:cNvPr id="115" name="Rechte verbindingslijn 114"/>
            <p:cNvCxnSpPr/>
            <p:nvPr userDrawn="1"/>
          </p:nvCxnSpPr>
          <p:spPr>
            <a:xfrm>
              <a:off x="-2814292" y="1441193"/>
              <a:ext cx="865816" cy="53821"/>
            </a:xfrm>
            <a:prstGeom prst="line">
              <a:avLst/>
            </a:prstGeom>
            <a:noFill/>
            <a:ln w="9525" cap="flat" cmpd="sng" algn="ctr">
              <a:solidFill>
                <a:schemeClr val="accent1"/>
              </a:solidFill>
              <a:prstDash val="solid"/>
              <a:headEnd type="oval"/>
            </a:ln>
            <a:effectLst/>
          </p:spPr>
        </p:cxnSp>
        <p:cxnSp>
          <p:nvCxnSpPr>
            <p:cNvPr id="116" name="Rechte verbindingslijn 115"/>
            <p:cNvCxnSpPr/>
            <p:nvPr userDrawn="1"/>
          </p:nvCxnSpPr>
          <p:spPr>
            <a:xfrm flipV="1">
              <a:off x="-2453902" y="1030591"/>
              <a:ext cx="505426" cy="283623"/>
            </a:xfrm>
            <a:prstGeom prst="line">
              <a:avLst/>
            </a:prstGeom>
            <a:noFill/>
            <a:ln w="9525" cap="flat" cmpd="sng" algn="ctr">
              <a:solidFill>
                <a:schemeClr val="accent1"/>
              </a:solidFill>
              <a:prstDash val="solid"/>
              <a:headEnd type="oval"/>
            </a:ln>
            <a:effectLst/>
          </p:spPr>
        </p:cxnSp>
        <p:sp>
          <p:nvSpPr>
            <p:cNvPr id="117" name="Textfield placeholder"/>
            <p:cNvSpPr txBox="1">
              <a:spLocks/>
            </p:cNvSpPr>
            <p:nvPr userDrawn="1"/>
          </p:nvSpPr>
          <p:spPr>
            <a:xfrm>
              <a:off x="-1341598" y="816743"/>
              <a:ext cx="1056968" cy="427698"/>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hoog</a:t>
              </a:r>
            </a:p>
          </p:txBody>
        </p:sp>
        <p:sp>
          <p:nvSpPr>
            <p:cNvPr id="118" name="Textfield placeholder"/>
            <p:cNvSpPr txBox="1">
              <a:spLocks/>
            </p:cNvSpPr>
            <p:nvPr userDrawn="1"/>
          </p:nvSpPr>
          <p:spPr>
            <a:xfrm>
              <a:off x="-1341599" y="1281164"/>
              <a:ext cx="1070223" cy="427699"/>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laag</a:t>
              </a:r>
            </a:p>
          </p:txBody>
        </p:sp>
        <p:sp>
          <p:nvSpPr>
            <p:cNvPr id="119" name="Ovaal 118"/>
            <p:cNvSpPr/>
            <p:nvPr userDrawn="1"/>
          </p:nvSpPr>
          <p:spPr>
            <a:xfrm>
              <a:off x="-2959433" y="338208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5</a:t>
              </a:r>
            </a:p>
          </p:txBody>
        </p:sp>
        <p:sp>
          <p:nvSpPr>
            <p:cNvPr id="120" name="Textfield placeholder"/>
            <p:cNvSpPr txBox="1">
              <a:spLocks/>
            </p:cNvSpPr>
            <p:nvPr userDrawn="1"/>
          </p:nvSpPr>
          <p:spPr>
            <a:xfrm>
              <a:off x="-2571950" y="3382082"/>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60000" lvl="4" indent="-360000" defTabSz="179388">
                <a:lnSpc>
                  <a:spcPct val="120000"/>
                </a:lnSpc>
                <a:spcBef>
                  <a:spcPts val="0"/>
                </a:spcBef>
                <a:spcAft>
                  <a:spcPts val="900"/>
                </a:spcAft>
                <a:buClr>
                  <a:srgbClr val="ED1A3B"/>
                </a:buClr>
                <a:buFont typeface="+mj-lt"/>
                <a:buAutoNum type="arabicPeriod"/>
                <a:defRPr/>
              </a:pPr>
              <a:r>
                <a:rPr lang="nl-NL" sz="1200" b="0" dirty="0">
                  <a:solidFill>
                    <a:srgbClr val="404040"/>
                  </a:solidFill>
                </a:rPr>
                <a:t>Numeriek (12 pt.)</a:t>
              </a:r>
            </a:p>
          </p:txBody>
        </p:sp>
        <p:grpSp>
          <p:nvGrpSpPr>
            <p:cNvPr id="121" name="Groep 120"/>
            <p:cNvGrpSpPr/>
            <p:nvPr userDrawn="1"/>
          </p:nvGrpSpPr>
          <p:grpSpPr>
            <a:xfrm>
              <a:off x="-2950232" y="816050"/>
              <a:ext cx="528695" cy="344202"/>
              <a:chOff x="-2880382" y="410556"/>
              <a:chExt cx="528695" cy="344202"/>
            </a:xfrm>
          </p:grpSpPr>
          <p:sp>
            <p:nvSpPr>
              <p:cNvPr id="131" name="Afgeronde rechthoek 130"/>
              <p:cNvSpPr/>
              <p:nvPr userDrawn="1"/>
            </p:nvSpPr>
            <p:spPr>
              <a:xfrm>
                <a:off x="-2874214" y="410556"/>
                <a:ext cx="522527" cy="339183"/>
              </a:xfrm>
              <a:prstGeom prst="roundRect">
                <a:avLst>
                  <a:gd name="adj" fmla="val 7565"/>
                </a:avLst>
              </a:prstGeom>
              <a:gradFill>
                <a:gsLst>
                  <a:gs pos="0">
                    <a:srgbClr val="FFEC8F"/>
                  </a:gs>
                  <a:gs pos="100000">
                    <a:srgbClr val="FFFFFF"/>
                  </a:gs>
                </a:gsLst>
                <a:lin ang="5400000" scaled="0"/>
              </a:gra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sp>
            <p:nvSpPr>
              <p:cNvPr id="132" name="Vrije vorm 131"/>
              <p:cNvSpPr/>
              <p:nvPr userDrawn="1"/>
            </p:nvSpPr>
            <p:spPr>
              <a:xfrm>
                <a:off x="-2880382" y="452699"/>
                <a:ext cx="528695" cy="302059"/>
              </a:xfrm>
              <a:custGeom>
                <a:avLst/>
                <a:gdLst>
                  <a:gd name="connsiteX0" fmla="*/ 55524 w 528695"/>
                  <a:gd name="connsiteY0" fmla="*/ 0 h 302059"/>
                  <a:gd name="connsiteX1" fmla="*/ 455496 w 528695"/>
                  <a:gd name="connsiteY1" fmla="*/ 0 h 302059"/>
                  <a:gd name="connsiteX2" fmla="*/ 475205 w 528695"/>
                  <a:gd name="connsiteY2" fmla="*/ 19709 h 302059"/>
                  <a:gd name="connsiteX3" fmla="*/ 475205 w 528695"/>
                  <a:gd name="connsiteY3" fmla="*/ 230056 h 302059"/>
                  <a:gd name="connsiteX4" fmla="*/ 516694 w 528695"/>
                  <a:gd name="connsiteY4" fmla="*/ 230056 h 302059"/>
                  <a:gd name="connsiteX5" fmla="*/ 528695 w 528695"/>
                  <a:gd name="connsiteY5" fmla="*/ 242057 h 302059"/>
                  <a:gd name="connsiteX6" fmla="*/ 528695 w 528695"/>
                  <a:gd name="connsiteY6" fmla="*/ 290058 h 302059"/>
                  <a:gd name="connsiteX7" fmla="*/ 516694 w 528695"/>
                  <a:gd name="connsiteY7" fmla="*/ 302059 h 302059"/>
                  <a:gd name="connsiteX8" fmla="*/ 12001 w 528695"/>
                  <a:gd name="connsiteY8" fmla="*/ 302059 h 302059"/>
                  <a:gd name="connsiteX9" fmla="*/ 0 w 528695"/>
                  <a:gd name="connsiteY9" fmla="*/ 290058 h 302059"/>
                  <a:gd name="connsiteX10" fmla="*/ 0 w 528695"/>
                  <a:gd name="connsiteY10" fmla="*/ 242057 h 302059"/>
                  <a:gd name="connsiteX11" fmla="*/ 12001 w 528695"/>
                  <a:gd name="connsiteY11" fmla="*/ 230056 h 302059"/>
                  <a:gd name="connsiteX12" fmla="*/ 35815 w 528695"/>
                  <a:gd name="connsiteY12" fmla="*/ 230056 h 302059"/>
                  <a:gd name="connsiteX13" fmla="*/ 35815 w 528695"/>
                  <a:gd name="connsiteY13" fmla="*/ 19709 h 302059"/>
                  <a:gd name="connsiteX14" fmla="*/ 55524 w 528695"/>
                  <a:gd name="connsiteY14" fmla="*/ 0 h 3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8695" h="302059">
                    <a:moveTo>
                      <a:pt x="55524" y="0"/>
                    </a:moveTo>
                    <a:lnTo>
                      <a:pt x="455496" y="0"/>
                    </a:lnTo>
                    <a:cubicBezTo>
                      <a:pt x="466381" y="0"/>
                      <a:pt x="475205" y="8824"/>
                      <a:pt x="475205" y="19709"/>
                    </a:cubicBezTo>
                    <a:lnTo>
                      <a:pt x="475205" y="230056"/>
                    </a:lnTo>
                    <a:lnTo>
                      <a:pt x="516694" y="230056"/>
                    </a:lnTo>
                    <a:cubicBezTo>
                      <a:pt x="523322" y="230056"/>
                      <a:pt x="528695" y="235429"/>
                      <a:pt x="528695" y="242057"/>
                    </a:cubicBezTo>
                    <a:lnTo>
                      <a:pt x="528695" y="290058"/>
                    </a:lnTo>
                    <a:cubicBezTo>
                      <a:pt x="528695" y="296686"/>
                      <a:pt x="523322" y="302059"/>
                      <a:pt x="516694" y="302059"/>
                    </a:cubicBezTo>
                    <a:lnTo>
                      <a:pt x="12001" y="302059"/>
                    </a:lnTo>
                    <a:cubicBezTo>
                      <a:pt x="5373" y="302059"/>
                      <a:pt x="0" y="296686"/>
                      <a:pt x="0" y="290058"/>
                    </a:cubicBezTo>
                    <a:lnTo>
                      <a:pt x="0" y="242057"/>
                    </a:lnTo>
                    <a:cubicBezTo>
                      <a:pt x="0" y="235429"/>
                      <a:pt x="5373" y="230056"/>
                      <a:pt x="12001" y="230056"/>
                    </a:cubicBezTo>
                    <a:lnTo>
                      <a:pt x="35815" y="230056"/>
                    </a:lnTo>
                    <a:lnTo>
                      <a:pt x="35815" y="19709"/>
                    </a:lnTo>
                    <a:cubicBezTo>
                      <a:pt x="35815" y="8824"/>
                      <a:pt x="44639" y="0"/>
                      <a:pt x="55524" y="0"/>
                    </a:cubicBezTo>
                    <a:close/>
                  </a:path>
                </a:pathLst>
              </a:custGeom>
              <a:solidFill>
                <a:sysClr val="window" lastClr="FFFFFF">
                  <a:lumMod val="95000"/>
                </a:sysClr>
              </a:solidFill>
              <a:ln w="9525" cap="flat" cmpd="sng" algn="ctr">
                <a:solidFill>
                  <a:srgbClr val="FFFFFF">
                    <a:lumMod val="90000"/>
                  </a:srgbClr>
                </a:solidFill>
                <a:prstDash val="solid"/>
                <a:miter lim="800000"/>
              </a:ln>
              <a:effectLst/>
            </p:spPr>
            <p:txBody>
              <a:bodyPr rot="0" spcFirstLastPara="0" vert="horz" wrap="square" lIns="108000" tIns="36000" rIns="108000" bIns="10800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900" dirty="0">
                    <a:solidFill>
                      <a:prstClr val="black"/>
                    </a:solidFill>
                    <a:latin typeface="Segoe UI Light"/>
                  </a:rPr>
                  <a:t>Start</a:t>
                </a:r>
              </a:p>
            </p:txBody>
          </p:sp>
        </p:grpSp>
        <p:sp>
          <p:nvSpPr>
            <p:cNvPr id="122" name="Tekstvak 65"/>
            <p:cNvSpPr txBox="1"/>
            <p:nvPr userDrawn="1"/>
          </p:nvSpPr>
          <p:spPr>
            <a:xfrm>
              <a:off x="-2959433" y="372104"/>
              <a:ext cx="2679887" cy="453396"/>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nl-NL" sz="1200" kern="0" dirty="0">
                  <a:solidFill>
                    <a:srgbClr val="000000"/>
                  </a:solidFill>
                  <a:latin typeface="Segoe UI Light" panose="020B0502040204020203" pitchFamily="34" charset="0"/>
                  <a:cs typeface="Segoe UI Light" panose="020B0502040204020203" pitchFamily="34" charset="0"/>
                </a:rPr>
                <a:t>Ga naar de tab </a:t>
              </a:r>
              <a:r>
                <a:rPr lang="nl-NL" sz="1200" b="1" kern="0" dirty="0">
                  <a:solidFill>
                    <a:srgbClr val="000000"/>
                  </a:solidFill>
                  <a:latin typeface="Segoe UI Light" panose="020B0502040204020203" pitchFamily="34" charset="0"/>
                  <a:cs typeface="Segoe UI Light" panose="020B0502040204020203" pitchFamily="34" charset="0"/>
                </a:rPr>
                <a:t>Start’ </a:t>
              </a:r>
              <a:r>
                <a:rPr lang="nl-NL" sz="1200" kern="0" dirty="0">
                  <a:solidFill>
                    <a:srgbClr val="000000"/>
                  </a:solidFill>
                  <a:latin typeface="Segoe UI Light" panose="020B0502040204020203" pitchFamily="34" charset="0"/>
                  <a:cs typeface="Segoe UI Light" panose="020B0502040204020203" pitchFamily="34" charset="0"/>
                </a:rPr>
                <a:t>en vind onderstaande knoppen onder </a:t>
              </a:r>
              <a:r>
                <a:rPr lang="nl-NL" sz="1200" b="1" kern="0" dirty="0">
                  <a:solidFill>
                    <a:srgbClr val="000000"/>
                  </a:solidFill>
                  <a:latin typeface="Segoe UI Light" panose="020B0502040204020203" pitchFamily="34" charset="0"/>
                  <a:cs typeface="Segoe UI Light" panose="020B0502040204020203" pitchFamily="34" charset="0"/>
                </a:rPr>
                <a:t>‘Alinea’</a:t>
              </a:r>
            </a:p>
          </p:txBody>
        </p:sp>
        <p:sp>
          <p:nvSpPr>
            <p:cNvPr id="123" name="Ovaal 122"/>
            <p:cNvSpPr/>
            <p:nvPr userDrawn="1"/>
          </p:nvSpPr>
          <p:spPr>
            <a:xfrm>
              <a:off x="-2959433" y="375153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6</a:t>
              </a:r>
            </a:p>
          </p:txBody>
        </p:sp>
        <p:sp>
          <p:nvSpPr>
            <p:cNvPr id="124" name="Textfield placeholder"/>
            <p:cNvSpPr txBox="1">
              <a:spLocks/>
            </p:cNvSpPr>
            <p:nvPr userDrawn="1"/>
          </p:nvSpPr>
          <p:spPr>
            <a:xfrm>
              <a:off x="-2571950" y="3751536"/>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0000" lvl="5" indent="-270000" defTabSz="179388">
                <a:lnSpc>
                  <a:spcPct val="120000"/>
                </a:lnSpc>
                <a:spcAft>
                  <a:spcPts val="900"/>
                </a:spcAft>
                <a:buClr>
                  <a:srgbClr val="ED1A3B"/>
                </a:buClr>
                <a:buSzPct val="80000"/>
                <a:buFont typeface="Wingdings 3" panose="05040102010807070707" pitchFamily="18" charset="2"/>
                <a:buChar char=""/>
                <a:defRPr/>
              </a:pPr>
              <a:r>
                <a:rPr lang="nl-NL" sz="1200" cap="none" dirty="0">
                  <a:solidFill>
                    <a:srgbClr val="535353"/>
                  </a:solidFill>
                </a:rPr>
                <a:t># Bullets (12 pt.)</a:t>
              </a:r>
            </a:p>
          </p:txBody>
        </p:sp>
        <p:sp>
          <p:nvSpPr>
            <p:cNvPr id="125" name="Ovaal 124"/>
            <p:cNvSpPr/>
            <p:nvPr userDrawn="1"/>
          </p:nvSpPr>
          <p:spPr>
            <a:xfrm>
              <a:off x="-2959433" y="414870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7</a:t>
              </a:r>
            </a:p>
          </p:txBody>
        </p:sp>
        <p:sp>
          <p:nvSpPr>
            <p:cNvPr id="126" name="Textfield placeholder"/>
            <p:cNvSpPr txBox="1">
              <a:spLocks/>
            </p:cNvSpPr>
            <p:nvPr userDrawn="1"/>
          </p:nvSpPr>
          <p:spPr>
            <a:xfrm>
              <a:off x="-2571950" y="414870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6" indent="0" defTabSz="179388">
                <a:lnSpc>
                  <a:spcPct val="120000"/>
                </a:lnSpc>
                <a:spcBef>
                  <a:spcPts val="0"/>
                </a:spcBef>
                <a:spcAft>
                  <a:spcPts val="900"/>
                </a:spcAft>
                <a:buClr>
                  <a:srgbClr val="ED1A3B"/>
                </a:buClr>
                <a:buSzPct val="90000"/>
                <a:buFont typeface="+mj-lt"/>
                <a:buNone/>
                <a:defRPr/>
              </a:pPr>
              <a:r>
                <a:rPr lang="nl-NL" sz="1200" i="1" dirty="0">
                  <a:solidFill>
                    <a:srgbClr val="404040"/>
                  </a:solidFill>
                </a:rPr>
                <a:t>Cursief donker (12 pt.)</a:t>
              </a:r>
            </a:p>
          </p:txBody>
        </p:sp>
        <p:sp>
          <p:nvSpPr>
            <p:cNvPr id="127" name="Ovaal 126"/>
            <p:cNvSpPr/>
            <p:nvPr userDrawn="1"/>
          </p:nvSpPr>
          <p:spPr>
            <a:xfrm>
              <a:off x="-2959433" y="454586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8</a:t>
              </a:r>
            </a:p>
          </p:txBody>
        </p:sp>
        <p:sp>
          <p:nvSpPr>
            <p:cNvPr id="128" name="Textfield placeholder"/>
            <p:cNvSpPr txBox="1">
              <a:spLocks/>
            </p:cNvSpPr>
            <p:nvPr userDrawn="1"/>
          </p:nvSpPr>
          <p:spPr>
            <a:xfrm>
              <a:off x="-2571950" y="4545864"/>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7" indent="0" defTabSz="179388">
                <a:lnSpc>
                  <a:spcPct val="80000"/>
                </a:lnSpc>
                <a:spcBef>
                  <a:spcPts val="0"/>
                </a:spcBef>
                <a:spcAft>
                  <a:spcPts val="900"/>
                </a:spcAft>
                <a:buClr>
                  <a:srgbClr val="ED1A3B"/>
                </a:buClr>
                <a:buFont typeface="Arial" pitchFamily="34" charset="0"/>
                <a:buNone/>
                <a:defRPr/>
              </a:pPr>
              <a:r>
                <a:rPr lang="nl-NL" sz="1200" i="1" dirty="0">
                  <a:solidFill>
                    <a:srgbClr val="A3B0C0"/>
                  </a:solidFill>
                </a:rPr>
                <a:t>Cursief Licht (12 pt.)</a:t>
              </a:r>
            </a:p>
          </p:txBody>
        </p:sp>
        <p:sp>
          <p:nvSpPr>
            <p:cNvPr id="129" name="Ovaal 128"/>
            <p:cNvSpPr/>
            <p:nvPr userDrawn="1"/>
          </p:nvSpPr>
          <p:spPr>
            <a:xfrm>
              <a:off x="-2959433" y="488761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9</a:t>
              </a:r>
            </a:p>
          </p:txBody>
        </p:sp>
        <p:sp>
          <p:nvSpPr>
            <p:cNvPr id="130" name="Textfield placeholder"/>
            <p:cNvSpPr txBox="1">
              <a:spLocks/>
            </p:cNvSpPr>
            <p:nvPr userDrawn="1"/>
          </p:nvSpPr>
          <p:spPr>
            <a:xfrm>
              <a:off x="-2571950" y="488761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8" indent="0" defTabSz="179388">
                <a:lnSpc>
                  <a:spcPct val="80000"/>
                </a:lnSpc>
                <a:spcBef>
                  <a:spcPts val="0"/>
                </a:spcBef>
                <a:spcAft>
                  <a:spcPts val="900"/>
                </a:spcAft>
                <a:buClr>
                  <a:srgbClr val="ED1A3B"/>
                </a:buClr>
                <a:buFont typeface="Arial" pitchFamily="34" charset="0"/>
                <a:buNone/>
                <a:defRPr/>
              </a:pPr>
              <a:r>
                <a:rPr lang="nl-NL" sz="1400" b="1" dirty="0">
                  <a:solidFill>
                    <a:srgbClr val="ED1A3B"/>
                  </a:solidFill>
                </a:rPr>
                <a:t>Subtitel (14 pt.)</a:t>
              </a:r>
            </a:p>
          </p:txBody>
        </p:sp>
      </p:grpSp>
      <p:sp>
        <p:nvSpPr>
          <p:cNvPr id="92" name="Hyperlink - Inhoudsopgave">
            <a:hlinkClick r:id="rId4" action="ppaction://hlinksldjump"/>
          </p:cNvPr>
          <p:cNvSpPr/>
          <p:nvPr userDrawn="1"/>
        </p:nvSpPr>
        <p:spPr>
          <a:xfrm>
            <a:off x="10197856" y="5889801"/>
            <a:ext cx="2000494" cy="968199"/>
          </a:xfrm>
          <a:prstGeom prst="rect">
            <a:avLst/>
          </a:prstGeom>
          <a:solidFill>
            <a:srgbClr val="ED1A3B">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cxnSp>
        <p:nvCxnSpPr>
          <p:cNvPr id="98" name="Grijze lijn - onder"/>
          <p:cNvCxnSpPr/>
          <p:nvPr userDrawn="1"/>
        </p:nvCxnSpPr>
        <p:spPr>
          <a:xfrm flipH="1">
            <a:off x="664804" y="5776291"/>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9" name="Grijze lijn - boven"/>
          <p:cNvCxnSpPr/>
          <p:nvPr userDrawn="1"/>
        </p:nvCxnSpPr>
        <p:spPr>
          <a:xfrm flipH="1">
            <a:off x="664804" y="1358670"/>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95" name="Tijdelijke aanduiding voor Dianummer"/>
          <p:cNvSpPr>
            <a:spLocks noGrp="1"/>
          </p:cNvSpPr>
          <p:nvPr>
            <p:ph type="sldNum" sz="quarter" idx="4"/>
          </p:nvPr>
        </p:nvSpPr>
        <p:spPr>
          <a:xfrm>
            <a:off x="5770549" y="6295992"/>
            <a:ext cx="657251" cy="365125"/>
          </a:xfrm>
          <a:prstGeom prst="rect">
            <a:avLst/>
          </a:prstGeom>
        </p:spPr>
        <p:txBody>
          <a:bodyPr vert="horz" lIns="91440" tIns="45720" rIns="91440" bIns="45720" rtlCol="0" anchor="ctr"/>
          <a:lstStyle>
            <a:lvl1pPr algn="ctr">
              <a:defRPr sz="800">
                <a:solidFill>
                  <a:schemeClr val="tx1">
                    <a:tint val="75000"/>
                  </a:schemeClr>
                </a:solidFill>
              </a:defRPr>
            </a:lvl1pPr>
          </a:lstStyle>
          <a:p>
            <a:fld id="{1B3FA67A-C720-417A-A072-0CD211FD8662}" type="slidenum">
              <a:rPr lang="nl-NL" smtClean="0">
                <a:solidFill>
                  <a:srgbClr val="000000">
                    <a:tint val="75000"/>
                  </a:srgbClr>
                </a:solidFill>
              </a:rPr>
              <a:pPr/>
              <a:t>‹nr.›</a:t>
            </a:fld>
            <a:endParaRPr lang="nl-NL" dirty="0">
              <a:solidFill>
                <a:srgbClr val="000000">
                  <a:tint val="75000"/>
                </a:srgbClr>
              </a:solidFill>
            </a:endParaRPr>
          </a:p>
        </p:txBody>
      </p:sp>
      <p:sp>
        <p:nvSpPr>
          <p:cNvPr id="96" name="Tijdelijke aanduiding voor Tekst"/>
          <p:cNvSpPr>
            <a:spLocks noGrp="1"/>
          </p:cNvSpPr>
          <p:nvPr>
            <p:ph type="body" orient="vert" idx="15" hasCustomPrompt="1"/>
          </p:nvPr>
        </p:nvSpPr>
        <p:spPr>
          <a:xfrm>
            <a:off x="664109" y="1720867"/>
            <a:ext cx="10871230" cy="3693600"/>
          </a:xfrm>
        </p:spPr>
        <p:txBody>
          <a:bodyPr vert="horz" lIns="0" tIns="0" rIns="0" bIns="0" numCol="3" spcCol="360000"/>
          <a:lstStyle>
            <a:lvl1pPr>
              <a:defRPr sz="1200"/>
            </a:lvl1pPr>
            <a:lvl2pPr marL="180975" indent="-180975">
              <a:defRPr sz="1200"/>
            </a:lvl2pPr>
            <a:lvl3pPr marL="360363" indent="-179388">
              <a:defRPr sz="1200"/>
            </a:lvl3pPr>
            <a:lvl4pPr marL="541338" indent="-180975">
              <a:defRPr sz="1200"/>
            </a:lvl4pPr>
            <a:lvl5pPr marL="265113" indent="-265113">
              <a:defRPr sz="1200"/>
            </a:lvl5pPr>
            <a:lvl6pPr marL="444500" indent="-179388">
              <a:defRPr sz="1200"/>
            </a:lvl6pPr>
            <a:lvl7pPr>
              <a:defRPr sz="1200"/>
            </a:lvl7pPr>
            <a:lvl8pPr>
              <a:defRPr sz="1200"/>
            </a:lvl8pPr>
            <a:lvl9pPr>
              <a:defRPr sz="1400"/>
            </a:lvl9pPr>
          </a:lstStyle>
          <a:p>
            <a:pPr lvl="0"/>
            <a:r>
              <a:rPr lang="nl-NL" dirty="0"/>
              <a:t>Leestekst</a:t>
            </a:r>
          </a:p>
          <a:p>
            <a:pPr lvl="1"/>
            <a:r>
              <a:rPr lang="nl-NL" dirty="0"/>
              <a:t>Bullets</a:t>
            </a:r>
          </a:p>
          <a:p>
            <a:pPr lvl="2"/>
            <a:r>
              <a:rPr lang="nl-NL" dirty="0"/>
              <a:t>Sub-bullets</a:t>
            </a:r>
          </a:p>
          <a:p>
            <a:pPr lvl="3"/>
            <a:r>
              <a:rPr lang="nl-NL" dirty="0"/>
              <a:t>Sub-sub-bullets</a:t>
            </a:r>
          </a:p>
          <a:p>
            <a:pPr lvl="4"/>
            <a:r>
              <a:rPr lang="nl-NL" dirty="0"/>
              <a:t>Numeriek</a:t>
            </a:r>
          </a:p>
          <a:p>
            <a:pPr lvl="5"/>
            <a:r>
              <a:rPr lang="nl-NL" dirty="0"/>
              <a:t># Bullets</a:t>
            </a:r>
          </a:p>
          <a:p>
            <a:pPr lvl="6"/>
            <a:r>
              <a:rPr lang="nl-NL" dirty="0"/>
              <a:t>Cursief donker</a:t>
            </a:r>
          </a:p>
          <a:p>
            <a:pPr lvl="7"/>
            <a:r>
              <a:rPr lang="nl-NL" dirty="0"/>
              <a:t>Cursief licht</a:t>
            </a:r>
          </a:p>
          <a:p>
            <a:pPr lvl="8"/>
            <a:r>
              <a:rPr lang="nl-NL" dirty="0"/>
              <a:t>Subtitel</a:t>
            </a:r>
          </a:p>
        </p:txBody>
      </p:sp>
      <p:sp>
        <p:nvSpPr>
          <p:cNvPr id="11" name="Tijdelijke aanduiding voor Subtitel"/>
          <p:cNvSpPr>
            <a:spLocks noGrp="1"/>
          </p:cNvSpPr>
          <p:nvPr>
            <p:ph type="body" idx="14"/>
          </p:nvPr>
        </p:nvSpPr>
        <p:spPr>
          <a:xfrm>
            <a:off x="664109" y="1001348"/>
            <a:ext cx="10870131" cy="317758"/>
          </a:xfrm>
        </p:spPr>
        <p:txBody>
          <a:bodyPr bIns="72000" anchor="t" anchorCtr="0"/>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2" name="Tijdelijke aanduiding voor Titel"/>
          <p:cNvSpPr>
            <a:spLocks noGrp="1"/>
          </p:cNvSpPr>
          <p:nvPr>
            <p:ph type="title"/>
          </p:nvPr>
        </p:nvSpPr>
        <p:spPr>
          <a:xfrm>
            <a:off x="664109" y="464521"/>
            <a:ext cx="10870131" cy="533219"/>
          </a:xfrm>
        </p:spPr>
        <p:txBody>
          <a:bodyPr/>
          <a:lstStyle/>
          <a:p>
            <a:r>
              <a:rPr lang="nl-NL"/>
              <a:t>Klik om stijl te bewerken</a:t>
            </a:r>
            <a:endParaRPr lang="nl-NL" dirty="0"/>
          </a:p>
        </p:txBody>
      </p:sp>
    </p:spTree>
    <p:extLst>
      <p:ext uri="{BB962C8B-B14F-4D97-AF65-F5344CB8AC3E}">
        <p14:creationId xmlns:p14="http://schemas.microsoft.com/office/powerpoint/2010/main" val="2798661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lleen titel">
    <p:spTree>
      <p:nvGrpSpPr>
        <p:cNvPr id="1" name=""/>
        <p:cNvGrpSpPr/>
        <p:nvPr/>
      </p:nvGrpSpPr>
      <p:grpSpPr>
        <a:xfrm>
          <a:off x="0" y="0"/>
          <a:ext cx="0" cy="0"/>
          <a:chOff x="0" y="0"/>
          <a:chExt cx="0" cy="0"/>
        </a:xfrm>
      </p:grpSpPr>
      <p:sp>
        <p:nvSpPr>
          <p:cNvPr id="8" name="Naam indeling - Alleen titel"/>
          <p:cNvSpPr txBox="1"/>
          <p:nvPr/>
        </p:nvSpPr>
        <p:spPr>
          <a:xfrm>
            <a:off x="1" y="-453266"/>
            <a:ext cx="3582333" cy="276999"/>
          </a:xfrm>
          <a:prstGeom prst="rect">
            <a:avLst/>
          </a:prstGeom>
          <a:noFill/>
        </p:spPr>
        <p:txBody>
          <a:bodyPr wrap="square" lIns="0" tIns="0" rIns="0" bIns="0" rtlCol="0">
            <a:spAutoFit/>
          </a:bodyPr>
          <a:lstStyle/>
          <a:p>
            <a:pPr defTabSz="914112"/>
            <a:r>
              <a:rPr lang="nl-NL" dirty="0">
                <a:solidFill>
                  <a:srgbClr val="404040"/>
                </a:solidFill>
                <a:latin typeface="Calibri" panose="020F0502020204030204" pitchFamily="34" charset="0"/>
              </a:rPr>
              <a:t>Alleen titel</a:t>
            </a:r>
            <a:endParaRPr lang="en-GB" dirty="0">
              <a:solidFill>
                <a:srgbClr val="404040"/>
              </a:solidFill>
              <a:latin typeface="Calibri" panose="020F0502020204030204" pitchFamily="34" charset="0"/>
            </a:endParaRPr>
          </a:p>
        </p:txBody>
      </p:sp>
      <p:grpSp>
        <p:nvGrpSpPr>
          <p:cNvPr id="13" name="Instructie - Tekst niveaus"/>
          <p:cNvGrpSpPr/>
          <p:nvPr userDrawn="1"/>
        </p:nvGrpSpPr>
        <p:grpSpPr>
          <a:xfrm>
            <a:off x="-3117849" y="365"/>
            <a:ext cx="2823358" cy="5254722"/>
            <a:chOff x="-2959433" y="-5444"/>
            <a:chExt cx="2822623" cy="5254722"/>
          </a:xfrm>
        </p:grpSpPr>
        <p:sp>
          <p:nvSpPr>
            <p:cNvPr id="14" name="Rechthoek 13"/>
            <p:cNvSpPr/>
            <p:nvPr userDrawn="1"/>
          </p:nvSpPr>
          <p:spPr>
            <a:xfrm>
              <a:off x="-2959433" y="-5444"/>
              <a:ext cx="2572469" cy="280344"/>
            </a:xfrm>
            <a:prstGeom prst="rect">
              <a:avLst/>
            </a:prstGeom>
            <a:noFill/>
            <a:ln w="25400" cap="flat" cmpd="sng" algn="ctr">
              <a:noFill/>
              <a:prstDash val="solid"/>
            </a:ln>
            <a:effectLst/>
          </p:spPr>
          <p:txBody>
            <a:bodyPr lIns="0" tIns="0" rIns="0" bIns="0" rtlCol="0" anchor="t"/>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nl-NL" sz="1600" b="1" kern="0" dirty="0">
                  <a:solidFill>
                    <a:srgbClr val="ED1A3B"/>
                  </a:solidFill>
                  <a:cs typeface="Segoe UI Light" panose="020B0502040204020203" pitchFamily="34" charset="0"/>
                </a:rPr>
                <a:t>TEKST NIVEAUS</a:t>
              </a:r>
            </a:p>
          </p:txBody>
        </p:sp>
        <p:sp>
          <p:nvSpPr>
            <p:cNvPr id="15" name="Textfield placeholder"/>
            <p:cNvSpPr txBox="1">
              <a:spLocks/>
            </p:cNvSpPr>
            <p:nvPr userDrawn="1"/>
          </p:nvSpPr>
          <p:spPr>
            <a:xfrm>
              <a:off x="-2587337" y="2675411"/>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0" lvl="2"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a:solidFill>
                    <a:srgbClr val="404040"/>
                  </a:solidFill>
                </a:rPr>
                <a:t>Sub-bullets (16 pt.)</a:t>
              </a:r>
            </a:p>
          </p:txBody>
        </p:sp>
        <p:sp>
          <p:nvSpPr>
            <p:cNvPr id="16" name="Ovaal 15"/>
            <p:cNvSpPr/>
            <p:nvPr userDrawn="1"/>
          </p:nvSpPr>
          <p:spPr>
            <a:xfrm>
              <a:off x="-2959433" y="196874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1</a:t>
              </a:r>
            </a:p>
          </p:txBody>
        </p:sp>
        <p:sp>
          <p:nvSpPr>
            <p:cNvPr id="17" name="Ovaal 16"/>
            <p:cNvSpPr/>
            <p:nvPr userDrawn="1"/>
          </p:nvSpPr>
          <p:spPr>
            <a:xfrm>
              <a:off x="-2959433" y="232207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2</a:t>
              </a:r>
            </a:p>
          </p:txBody>
        </p:sp>
        <p:sp>
          <p:nvSpPr>
            <p:cNvPr id="18" name="Ovaal 17"/>
            <p:cNvSpPr/>
            <p:nvPr userDrawn="1"/>
          </p:nvSpPr>
          <p:spPr>
            <a:xfrm>
              <a:off x="-2959433" y="267541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3</a:t>
              </a:r>
            </a:p>
          </p:txBody>
        </p:sp>
        <p:sp>
          <p:nvSpPr>
            <p:cNvPr id="19" name="Ovaal 18"/>
            <p:cNvSpPr/>
            <p:nvPr userDrawn="1"/>
          </p:nvSpPr>
          <p:spPr>
            <a:xfrm>
              <a:off x="-2959433" y="302874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4</a:t>
              </a:r>
            </a:p>
          </p:txBody>
        </p:sp>
        <p:sp>
          <p:nvSpPr>
            <p:cNvPr id="20" name="Textfield placeholder"/>
            <p:cNvSpPr txBox="1">
              <a:spLocks/>
            </p:cNvSpPr>
            <p:nvPr userDrawn="1"/>
          </p:nvSpPr>
          <p:spPr>
            <a:xfrm>
              <a:off x="-2571950" y="1966925"/>
              <a:ext cx="2163709" cy="261500"/>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79388">
                <a:lnSpc>
                  <a:spcPct val="120000"/>
                </a:lnSpc>
                <a:spcBef>
                  <a:spcPts val="0"/>
                </a:spcBef>
                <a:spcAft>
                  <a:spcPts val="900"/>
                </a:spcAft>
                <a:buClr>
                  <a:srgbClr val="000000"/>
                </a:buClr>
                <a:buSzPct val="100000"/>
                <a:buFont typeface="Arial" pitchFamily="34" charset="0"/>
                <a:buNone/>
                <a:defRPr/>
              </a:pPr>
              <a:r>
                <a:rPr lang="nl-NL" sz="1200" dirty="0">
                  <a:solidFill>
                    <a:srgbClr val="535353"/>
                  </a:solidFill>
                </a:rPr>
                <a:t>Leestekst (16 pt.)</a:t>
              </a:r>
            </a:p>
          </p:txBody>
        </p:sp>
        <p:sp>
          <p:nvSpPr>
            <p:cNvPr id="21" name="Textfield placeholder"/>
            <p:cNvSpPr txBox="1">
              <a:spLocks/>
            </p:cNvSpPr>
            <p:nvPr userDrawn="1"/>
          </p:nvSpPr>
          <p:spPr>
            <a:xfrm>
              <a:off x="-2571950" y="2322077"/>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70000" lvl="1"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err="1">
                  <a:solidFill>
                    <a:srgbClr val="535353"/>
                  </a:solidFill>
                </a:rPr>
                <a:t>Bullets</a:t>
              </a:r>
              <a:r>
                <a:rPr lang="nl-NL" sz="1200" dirty="0">
                  <a:solidFill>
                    <a:srgbClr val="535353"/>
                  </a:solidFill>
                </a:rPr>
                <a:t> (16 </a:t>
              </a:r>
              <a:r>
                <a:rPr lang="nl-NL" sz="1200" dirty="0" err="1">
                  <a:solidFill>
                    <a:srgbClr val="535353"/>
                  </a:solidFill>
                </a:rPr>
                <a:t>pt</a:t>
              </a:r>
              <a:r>
                <a:rPr lang="nl-NL" sz="1200" dirty="0">
                  <a:solidFill>
                    <a:srgbClr val="535353"/>
                  </a:solidFill>
                </a:rPr>
                <a:t>.)</a:t>
              </a:r>
            </a:p>
          </p:txBody>
        </p:sp>
        <p:sp>
          <p:nvSpPr>
            <p:cNvPr id="22" name="Textfield placeholder"/>
            <p:cNvSpPr txBox="1">
              <a:spLocks/>
            </p:cNvSpPr>
            <p:nvPr userDrawn="1"/>
          </p:nvSpPr>
          <p:spPr>
            <a:xfrm>
              <a:off x="-2571951" y="3028747"/>
              <a:ext cx="2435141"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10000" lvl="3" indent="-270000" defTabSz="179388">
                <a:lnSpc>
                  <a:spcPct val="120000"/>
                </a:lnSpc>
                <a:spcBef>
                  <a:spcPts val="0"/>
                </a:spcBef>
                <a:spcAft>
                  <a:spcPts val="900"/>
                </a:spcAft>
                <a:buClr>
                  <a:schemeClr val="accent2"/>
                </a:buClr>
                <a:buSzPct val="80000"/>
                <a:buFont typeface="Wingdings 3" panose="05040102010807070707" pitchFamily="18" charset="2"/>
                <a:buChar char=""/>
                <a:defRPr/>
              </a:pPr>
              <a:r>
                <a:rPr lang="nl-NL" sz="1200" b="0" dirty="0">
                  <a:solidFill>
                    <a:srgbClr val="404040"/>
                  </a:solidFill>
                </a:rPr>
                <a:t>Sub-sub-bullets (16 pt.)</a:t>
              </a:r>
            </a:p>
          </p:txBody>
        </p:sp>
        <p:cxnSp>
          <p:nvCxnSpPr>
            <p:cNvPr id="23" name="Rechte verbindingslijn 22"/>
            <p:cNvCxnSpPr/>
            <p:nvPr userDrawn="1"/>
          </p:nvCxnSpPr>
          <p:spPr>
            <a:xfrm>
              <a:off x="-2959100" y="274900"/>
              <a:ext cx="2674470" cy="0"/>
            </a:xfrm>
            <a:prstGeom prst="line">
              <a:avLst/>
            </a:prstGeom>
            <a:noFill/>
            <a:ln w="9525" cap="flat" cmpd="sng" algn="ctr">
              <a:solidFill>
                <a:schemeClr val="accent1"/>
              </a:solidFill>
              <a:prstDash val="solid"/>
            </a:ln>
            <a:effectLst/>
          </p:spPr>
        </p:cxnSp>
        <p:cxnSp>
          <p:nvCxnSpPr>
            <p:cNvPr id="24" name="Rechte verbindingslijn 23"/>
            <p:cNvCxnSpPr/>
            <p:nvPr userDrawn="1"/>
          </p:nvCxnSpPr>
          <p:spPr>
            <a:xfrm>
              <a:off x="-2959100" y="1841989"/>
              <a:ext cx="2661379" cy="0"/>
            </a:xfrm>
            <a:prstGeom prst="line">
              <a:avLst/>
            </a:prstGeom>
            <a:noFill/>
            <a:ln w="9525" cap="flat" cmpd="sng" algn="ctr">
              <a:solidFill>
                <a:schemeClr val="accent1"/>
              </a:solidFill>
              <a:prstDash val="solid"/>
            </a:ln>
            <a:effectLst/>
          </p:spPr>
        </p:cxnSp>
        <p:cxnSp>
          <p:nvCxnSpPr>
            <p:cNvPr id="25" name="Rechte verbindingslijn 24"/>
            <p:cNvCxnSpPr/>
            <p:nvPr userDrawn="1"/>
          </p:nvCxnSpPr>
          <p:spPr>
            <a:xfrm>
              <a:off x="-2959100" y="5249278"/>
              <a:ext cx="2661379" cy="0"/>
            </a:xfrm>
            <a:prstGeom prst="line">
              <a:avLst/>
            </a:prstGeom>
            <a:noFill/>
            <a:ln w="9525" cap="flat" cmpd="sng" algn="ctr">
              <a:solidFill>
                <a:schemeClr val="accent1"/>
              </a:solidFill>
              <a:prstDash val="solid"/>
            </a:ln>
            <a:effectLst/>
          </p:spPr>
        </p:cxnSp>
        <p:grpSp>
          <p:nvGrpSpPr>
            <p:cNvPr id="26" name="Groep 25"/>
            <p:cNvGrpSpPr/>
            <p:nvPr userDrawn="1"/>
          </p:nvGrpSpPr>
          <p:grpSpPr>
            <a:xfrm>
              <a:off x="-1948476" y="816741"/>
              <a:ext cx="409108" cy="427699"/>
              <a:chOff x="-1085063" y="758027"/>
              <a:chExt cx="633799" cy="622540"/>
            </a:xfrm>
          </p:grpSpPr>
          <p:sp>
            <p:nvSpPr>
              <p:cNvPr id="82" name="Afgeronde rechthoek 81"/>
              <p:cNvSpPr/>
              <p:nvPr userDrawn="1"/>
            </p:nvSpPr>
            <p:spPr>
              <a:xfrm>
                <a:off x="-108506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83" name="Groep 82"/>
              <p:cNvGrpSpPr/>
              <p:nvPr userDrawn="1"/>
            </p:nvGrpSpPr>
            <p:grpSpPr>
              <a:xfrm>
                <a:off x="-977739" y="864082"/>
                <a:ext cx="419168" cy="410429"/>
                <a:chOff x="6366933" y="309013"/>
                <a:chExt cx="1901295" cy="1861668"/>
              </a:xfrm>
              <a:solidFill>
                <a:srgbClr val="000000"/>
              </a:solidFill>
            </p:grpSpPr>
            <p:sp>
              <p:nvSpPr>
                <p:cNvPr id="84" name="Rechthoek 83"/>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85" name="Rechthoek 84"/>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86" name="Rechthoek 85"/>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87" name="Rechthoek 86"/>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88" name="Rechthoek 87"/>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89" name="Rechthoek 88"/>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90" name="Rechthoek 89"/>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91" name="Rechthoek 90"/>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92" name="Rechthoek 91"/>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93" name="Rechthoek 92"/>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94" name="Vrije vorm 93"/>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nvGrpSpPr>
            <p:cNvPr id="27" name="Groep 26"/>
            <p:cNvGrpSpPr/>
            <p:nvPr userDrawn="1"/>
          </p:nvGrpSpPr>
          <p:grpSpPr>
            <a:xfrm>
              <a:off x="-2950232" y="1207835"/>
              <a:ext cx="532929" cy="509563"/>
              <a:chOff x="-2880382" y="802341"/>
              <a:chExt cx="532929" cy="509563"/>
            </a:xfrm>
          </p:grpSpPr>
          <p:sp>
            <p:nvSpPr>
              <p:cNvPr id="60" name="Rechthoek 59"/>
              <p:cNvSpPr/>
              <p:nvPr userDrawn="1"/>
            </p:nvSpPr>
            <p:spPr>
              <a:xfrm>
                <a:off x="-2880382" y="802341"/>
                <a:ext cx="532929" cy="509563"/>
              </a:xfrm>
              <a:prstGeom prst="rect">
                <a:avLst/>
              </a:prstGeom>
              <a:solidFill>
                <a:sysClr val="window" lastClr="FFFFFF"/>
              </a:soli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pic>
            <p:nvPicPr>
              <p:cNvPr id="61"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635852" y="822181"/>
                <a:ext cx="226442" cy="208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2"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848026" y="822181"/>
                <a:ext cx="207168" cy="213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63" name="Groep 62"/>
              <p:cNvGrpSpPr/>
              <p:nvPr userDrawn="1"/>
            </p:nvGrpSpPr>
            <p:grpSpPr>
              <a:xfrm>
                <a:off x="-2802433" y="1123442"/>
                <a:ext cx="132915" cy="104889"/>
                <a:chOff x="-2796392" y="1123442"/>
                <a:chExt cx="120832" cy="104889"/>
              </a:xfrm>
            </p:grpSpPr>
            <p:sp>
              <p:nvSpPr>
                <p:cNvPr id="77" name="Rechthoek 76"/>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78" name="Rechthoek 77"/>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79" name="Rechthoek 78"/>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80" name="Rechthoek 79"/>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81" name="Rechthoek 80"/>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64" name="Groep 63"/>
              <p:cNvGrpSpPr/>
              <p:nvPr userDrawn="1"/>
            </p:nvGrpSpPr>
            <p:grpSpPr>
              <a:xfrm>
                <a:off x="-2575417" y="1123442"/>
                <a:ext cx="133930" cy="104889"/>
                <a:chOff x="-2556734" y="1123442"/>
                <a:chExt cx="147324" cy="104889"/>
              </a:xfrm>
            </p:grpSpPr>
            <p:grpSp>
              <p:nvGrpSpPr>
                <p:cNvPr id="65" name="Groep 64"/>
                <p:cNvGrpSpPr/>
                <p:nvPr userDrawn="1"/>
              </p:nvGrpSpPr>
              <p:grpSpPr>
                <a:xfrm>
                  <a:off x="-2556734" y="1123442"/>
                  <a:ext cx="68206" cy="104889"/>
                  <a:chOff x="-2796392" y="1123442"/>
                  <a:chExt cx="120832" cy="104889"/>
                </a:xfrm>
              </p:grpSpPr>
              <p:sp>
                <p:nvSpPr>
                  <p:cNvPr id="72" name="Rechthoek 71"/>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73" name="Rechthoek 72"/>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74" name="Rechthoek 73"/>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75" name="Rechthoek 74"/>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76" name="Rechthoek 75"/>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66" name="Groep 65"/>
                <p:cNvGrpSpPr/>
                <p:nvPr userDrawn="1"/>
              </p:nvGrpSpPr>
              <p:grpSpPr>
                <a:xfrm>
                  <a:off x="-2477616" y="1123442"/>
                  <a:ext cx="68206" cy="104889"/>
                  <a:chOff x="-2796392" y="1123442"/>
                  <a:chExt cx="120832" cy="104889"/>
                </a:xfrm>
              </p:grpSpPr>
              <p:sp>
                <p:nvSpPr>
                  <p:cNvPr id="67" name="Rechthoek 66"/>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68" name="Rechthoek 67"/>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69" name="Rechthoek 68"/>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70" name="Rechthoek 69"/>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71" name="Rechthoek 70"/>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grpSp>
          <p:nvGrpSpPr>
            <p:cNvPr id="28" name="Groep 27"/>
            <p:cNvGrpSpPr/>
            <p:nvPr userDrawn="1"/>
          </p:nvGrpSpPr>
          <p:grpSpPr>
            <a:xfrm>
              <a:off x="-1948476" y="1281164"/>
              <a:ext cx="413704" cy="427699"/>
              <a:chOff x="-1845083" y="758027"/>
              <a:chExt cx="633799" cy="622540"/>
            </a:xfrm>
          </p:grpSpPr>
          <p:sp>
            <p:nvSpPr>
              <p:cNvPr id="47" name="Afgeronde rechthoek 46"/>
              <p:cNvSpPr/>
              <p:nvPr userDrawn="1"/>
            </p:nvSpPr>
            <p:spPr>
              <a:xfrm>
                <a:off x="-184508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48" name="Groep 47"/>
              <p:cNvGrpSpPr/>
              <p:nvPr userDrawn="1"/>
            </p:nvGrpSpPr>
            <p:grpSpPr>
              <a:xfrm>
                <a:off x="-1737762" y="864082"/>
                <a:ext cx="419168" cy="410429"/>
                <a:chOff x="3708400" y="309013"/>
                <a:chExt cx="1901295" cy="1861668"/>
              </a:xfrm>
              <a:solidFill>
                <a:srgbClr val="000000"/>
              </a:solidFill>
            </p:grpSpPr>
            <p:sp>
              <p:nvSpPr>
                <p:cNvPr id="49" name="Rechthoek 48"/>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50" name="Rechthoek 49"/>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51" name="Rechthoek 50"/>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52" name="Rechthoek 51"/>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53" name="Rechthoek 52"/>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54" name="Rechthoek 53"/>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55" name="Rechthoek 54"/>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56" name="Rechthoek 55"/>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57" name="Rechthoek 56"/>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58" name="Rechthoek 57"/>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59" name="Vrije vorm 58"/>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cxnSp>
          <p:nvCxnSpPr>
            <p:cNvPr id="29" name="Rechte verbindingslijn 28"/>
            <p:cNvCxnSpPr/>
            <p:nvPr userDrawn="1"/>
          </p:nvCxnSpPr>
          <p:spPr>
            <a:xfrm>
              <a:off x="-2814292" y="1441193"/>
              <a:ext cx="865816" cy="53821"/>
            </a:xfrm>
            <a:prstGeom prst="line">
              <a:avLst/>
            </a:prstGeom>
            <a:noFill/>
            <a:ln w="9525" cap="flat" cmpd="sng" algn="ctr">
              <a:solidFill>
                <a:schemeClr val="accent1"/>
              </a:solidFill>
              <a:prstDash val="solid"/>
              <a:headEnd type="oval"/>
            </a:ln>
            <a:effectLst/>
          </p:spPr>
        </p:cxnSp>
        <p:cxnSp>
          <p:nvCxnSpPr>
            <p:cNvPr id="30" name="Rechte verbindingslijn 29"/>
            <p:cNvCxnSpPr/>
            <p:nvPr userDrawn="1"/>
          </p:nvCxnSpPr>
          <p:spPr>
            <a:xfrm flipV="1">
              <a:off x="-2453902" y="1030591"/>
              <a:ext cx="505426" cy="283623"/>
            </a:xfrm>
            <a:prstGeom prst="line">
              <a:avLst/>
            </a:prstGeom>
            <a:noFill/>
            <a:ln w="9525" cap="flat" cmpd="sng" algn="ctr">
              <a:solidFill>
                <a:schemeClr val="accent1"/>
              </a:solidFill>
              <a:prstDash val="solid"/>
              <a:headEnd type="oval"/>
            </a:ln>
            <a:effectLst/>
          </p:spPr>
        </p:cxnSp>
        <p:sp>
          <p:nvSpPr>
            <p:cNvPr id="31" name="Textfield placeholder"/>
            <p:cNvSpPr txBox="1">
              <a:spLocks/>
            </p:cNvSpPr>
            <p:nvPr userDrawn="1"/>
          </p:nvSpPr>
          <p:spPr>
            <a:xfrm>
              <a:off x="-1341598" y="816743"/>
              <a:ext cx="1056968" cy="427698"/>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hoog</a:t>
              </a:r>
            </a:p>
          </p:txBody>
        </p:sp>
        <p:sp>
          <p:nvSpPr>
            <p:cNvPr id="32" name="Textfield placeholder"/>
            <p:cNvSpPr txBox="1">
              <a:spLocks/>
            </p:cNvSpPr>
            <p:nvPr userDrawn="1"/>
          </p:nvSpPr>
          <p:spPr>
            <a:xfrm>
              <a:off x="-1341599" y="1281164"/>
              <a:ext cx="1070223" cy="427699"/>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laag</a:t>
              </a:r>
            </a:p>
          </p:txBody>
        </p:sp>
        <p:sp>
          <p:nvSpPr>
            <p:cNvPr id="33" name="Ovaal 32"/>
            <p:cNvSpPr/>
            <p:nvPr userDrawn="1"/>
          </p:nvSpPr>
          <p:spPr>
            <a:xfrm>
              <a:off x="-2959433" y="338208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5</a:t>
              </a:r>
            </a:p>
          </p:txBody>
        </p:sp>
        <p:sp>
          <p:nvSpPr>
            <p:cNvPr id="34" name="Textfield placeholder"/>
            <p:cNvSpPr txBox="1">
              <a:spLocks/>
            </p:cNvSpPr>
            <p:nvPr userDrawn="1"/>
          </p:nvSpPr>
          <p:spPr>
            <a:xfrm>
              <a:off x="-2571950" y="3382082"/>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60000" lvl="4" indent="-360000" defTabSz="179388">
                <a:lnSpc>
                  <a:spcPct val="120000"/>
                </a:lnSpc>
                <a:spcBef>
                  <a:spcPts val="0"/>
                </a:spcBef>
                <a:spcAft>
                  <a:spcPts val="900"/>
                </a:spcAft>
                <a:buClr>
                  <a:srgbClr val="ED1A3B"/>
                </a:buClr>
                <a:buFont typeface="+mj-lt"/>
                <a:buAutoNum type="arabicPeriod"/>
                <a:defRPr/>
              </a:pPr>
              <a:r>
                <a:rPr lang="nl-NL" sz="1200" b="0" dirty="0">
                  <a:solidFill>
                    <a:srgbClr val="404040"/>
                  </a:solidFill>
                </a:rPr>
                <a:t>Numeriek (16 pt.)</a:t>
              </a:r>
            </a:p>
          </p:txBody>
        </p:sp>
        <p:grpSp>
          <p:nvGrpSpPr>
            <p:cNvPr id="35" name="Groep 34"/>
            <p:cNvGrpSpPr/>
            <p:nvPr userDrawn="1"/>
          </p:nvGrpSpPr>
          <p:grpSpPr>
            <a:xfrm>
              <a:off x="-2950232" y="816050"/>
              <a:ext cx="528695" cy="344202"/>
              <a:chOff x="-2880382" y="410556"/>
              <a:chExt cx="528695" cy="344202"/>
            </a:xfrm>
          </p:grpSpPr>
          <p:sp>
            <p:nvSpPr>
              <p:cNvPr id="45" name="Afgeronde rechthoek 44"/>
              <p:cNvSpPr/>
              <p:nvPr userDrawn="1"/>
            </p:nvSpPr>
            <p:spPr>
              <a:xfrm>
                <a:off x="-2874214" y="410556"/>
                <a:ext cx="522527" cy="339183"/>
              </a:xfrm>
              <a:prstGeom prst="roundRect">
                <a:avLst>
                  <a:gd name="adj" fmla="val 7565"/>
                </a:avLst>
              </a:prstGeom>
              <a:gradFill>
                <a:gsLst>
                  <a:gs pos="0">
                    <a:srgbClr val="FFEC8F"/>
                  </a:gs>
                  <a:gs pos="100000">
                    <a:srgbClr val="FFFFFF"/>
                  </a:gs>
                </a:gsLst>
                <a:lin ang="5400000" scaled="0"/>
              </a:gra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sp>
            <p:nvSpPr>
              <p:cNvPr id="46" name="Vrije vorm 45"/>
              <p:cNvSpPr/>
              <p:nvPr userDrawn="1"/>
            </p:nvSpPr>
            <p:spPr>
              <a:xfrm>
                <a:off x="-2880382" y="452699"/>
                <a:ext cx="528695" cy="302059"/>
              </a:xfrm>
              <a:custGeom>
                <a:avLst/>
                <a:gdLst>
                  <a:gd name="connsiteX0" fmla="*/ 55524 w 528695"/>
                  <a:gd name="connsiteY0" fmla="*/ 0 h 302059"/>
                  <a:gd name="connsiteX1" fmla="*/ 455496 w 528695"/>
                  <a:gd name="connsiteY1" fmla="*/ 0 h 302059"/>
                  <a:gd name="connsiteX2" fmla="*/ 475205 w 528695"/>
                  <a:gd name="connsiteY2" fmla="*/ 19709 h 302059"/>
                  <a:gd name="connsiteX3" fmla="*/ 475205 w 528695"/>
                  <a:gd name="connsiteY3" fmla="*/ 230056 h 302059"/>
                  <a:gd name="connsiteX4" fmla="*/ 516694 w 528695"/>
                  <a:gd name="connsiteY4" fmla="*/ 230056 h 302059"/>
                  <a:gd name="connsiteX5" fmla="*/ 528695 w 528695"/>
                  <a:gd name="connsiteY5" fmla="*/ 242057 h 302059"/>
                  <a:gd name="connsiteX6" fmla="*/ 528695 w 528695"/>
                  <a:gd name="connsiteY6" fmla="*/ 290058 h 302059"/>
                  <a:gd name="connsiteX7" fmla="*/ 516694 w 528695"/>
                  <a:gd name="connsiteY7" fmla="*/ 302059 h 302059"/>
                  <a:gd name="connsiteX8" fmla="*/ 12001 w 528695"/>
                  <a:gd name="connsiteY8" fmla="*/ 302059 h 302059"/>
                  <a:gd name="connsiteX9" fmla="*/ 0 w 528695"/>
                  <a:gd name="connsiteY9" fmla="*/ 290058 h 302059"/>
                  <a:gd name="connsiteX10" fmla="*/ 0 w 528695"/>
                  <a:gd name="connsiteY10" fmla="*/ 242057 h 302059"/>
                  <a:gd name="connsiteX11" fmla="*/ 12001 w 528695"/>
                  <a:gd name="connsiteY11" fmla="*/ 230056 h 302059"/>
                  <a:gd name="connsiteX12" fmla="*/ 35815 w 528695"/>
                  <a:gd name="connsiteY12" fmla="*/ 230056 h 302059"/>
                  <a:gd name="connsiteX13" fmla="*/ 35815 w 528695"/>
                  <a:gd name="connsiteY13" fmla="*/ 19709 h 302059"/>
                  <a:gd name="connsiteX14" fmla="*/ 55524 w 528695"/>
                  <a:gd name="connsiteY14" fmla="*/ 0 h 3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8695" h="302059">
                    <a:moveTo>
                      <a:pt x="55524" y="0"/>
                    </a:moveTo>
                    <a:lnTo>
                      <a:pt x="455496" y="0"/>
                    </a:lnTo>
                    <a:cubicBezTo>
                      <a:pt x="466381" y="0"/>
                      <a:pt x="475205" y="8824"/>
                      <a:pt x="475205" y="19709"/>
                    </a:cubicBezTo>
                    <a:lnTo>
                      <a:pt x="475205" y="230056"/>
                    </a:lnTo>
                    <a:lnTo>
                      <a:pt x="516694" y="230056"/>
                    </a:lnTo>
                    <a:cubicBezTo>
                      <a:pt x="523322" y="230056"/>
                      <a:pt x="528695" y="235429"/>
                      <a:pt x="528695" y="242057"/>
                    </a:cubicBezTo>
                    <a:lnTo>
                      <a:pt x="528695" y="290058"/>
                    </a:lnTo>
                    <a:cubicBezTo>
                      <a:pt x="528695" y="296686"/>
                      <a:pt x="523322" y="302059"/>
                      <a:pt x="516694" y="302059"/>
                    </a:cubicBezTo>
                    <a:lnTo>
                      <a:pt x="12001" y="302059"/>
                    </a:lnTo>
                    <a:cubicBezTo>
                      <a:pt x="5373" y="302059"/>
                      <a:pt x="0" y="296686"/>
                      <a:pt x="0" y="290058"/>
                    </a:cubicBezTo>
                    <a:lnTo>
                      <a:pt x="0" y="242057"/>
                    </a:lnTo>
                    <a:cubicBezTo>
                      <a:pt x="0" y="235429"/>
                      <a:pt x="5373" y="230056"/>
                      <a:pt x="12001" y="230056"/>
                    </a:cubicBezTo>
                    <a:lnTo>
                      <a:pt x="35815" y="230056"/>
                    </a:lnTo>
                    <a:lnTo>
                      <a:pt x="35815" y="19709"/>
                    </a:lnTo>
                    <a:cubicBezTo>
                      <a:pt x="35815" y="8824"/>
                      <a:pt x="44639" y="0"/>
                      <a:pt x="55524" y="0"/>
                    </a:cubicBezTo>
                    <a:close/>
                  </a:path>
                </a:pathLst>
              </a:custGeom>
              <a:solidFill>
                <a:sysClr val="window" lastClr="FFFFFF">
                  <a:lumMod val="95000"/>
                </a:sysClr>
              </a:solidFill>
              <a:ln w="9525" cap="flat" cmpd="sng" algn="ctr">
                <a:solidFill>
                  <a:srgbClr val="FFFFFF">
                    <a:lumMod val="90000"/>
                  </a:srgbClr>
                </a:solidFill>
                <a:prstDash val="solid"/>
                <a:miter lim="800000"/>
              </a:ln>
              <a:effectLst/>
            </p:spPr>
            <p:txBody>
              <a:bodyPr rot="0" spcFirstLastPara="0" vert="horz" wrap="square" lIns="108000" tIns="36000" rIns="108000" bIns="10800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900" dirty="0">
                    <a:solidFill>
                      <a:prstClr val="black"/>
                    </a:solidFill>
                    <a:latin typeface="Segoe UI Light"/>
                  </a:rPr>
                  <a:t>Start</a:t>
                </a:r>
              </a:p>
            </p:txBody>
          </p:sp>
        </p:grpSp>
        <p:sp>
          <p:nvSpPr>
            <p:cNvPr id="36" name="Tekstvak 65"/>
            <p:cNvSpPr txBox="1"/>
            <p:nvPr userDrawn="1"/>
          </p:nvSpPr>
          <p:spPr>
            <a:xfrm>
              <a:off x="-2959433" y="372104"/>
              <a:ext cx="2679887" cy="453396"/>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nl-NL" sz="1200" kern="0" dirty="0">
                  <a:solidFill>
                    <a:srgbClr val="000000"/>
                  </a:solidFill>
                  <a:latin typeface="Segoe UI Light" panose="020B0502040204020203" pitchFamily="34" charset="0"/>
                  <a:cs typeface="Segoe UI Light" panose="020B0502040204020203" pitchFamily="34" charset="0"/>
                </a:rPr>
                <a:t>Ga naar de tab </a:t>
              </a:r>
              <a:r>
                <a:rPr lang="nl-NL" sz="1200" b="1" kern="0" dirty="0">
                  <a:solidFill>
                    <a:srgbClr val="000000"/>
                  </a:solidFill>
                  <a:latin typeface="Segoe UI Light" panose="020B0502040204020203" pitchFamily="34" charset="0"/>
                  <a:cs typeface="Segoe UI Light" panose="020B0502040204020203" pitchFamily="34" charset="0"/>
                </a:rPr>
                <a:t>Start’ </a:t>
              </a:r>
              <a:r>
                <a:rPr lang="nl-NL" sz="1200" kern="0" dirty="0">
                  <a:solidFill>
                    <a:srgbClr val="000000"/>
                  </a:solidFill>
                  <a:latin typeface="Segoe UI Light" panose="020B0502040204020203" pitchFamily="34" charset="0"/>
                  <a:cs typeface="Segoe UI Light" panose="020B0502040204020203" pitchFamily="34" charset="0"/>
                </a:rPr>
                <a:t>en vind onderstaande knoppen onder </a:t>
              </a:r>
              <a:r>
                <a:rPr lang="nl-NL" sz="1200" b="1" kern="0" dirty="0">
                  <a:solidFill>
                    <a:srgbClr val="000000"/>
                  </a:solidFill>
                  <a:latin typeface="Segoe UI Light" panose="020B0502040204020203" pitchFamily="34" charset="0"/>
                  <a:cs typeface="Segoe UI Light" panose="020B0502040204020203" pitchFamily="34" charset="0"/>
                </a:rPr>
                <a:t>‘Alinea’</a:t>
              </a:r>
            </a:p>
          </p:txBody>
        </p:sp>
        <p:sp>
          <p:nvSpPr>
            <p:cNvPr id="37" name="Ovaal 36"/>
            <p:cNvSpPr/>
            <p:nvPr userDrawn="1"/>
          </p:nvSpPr>
          <p:spPr>
            <a:xfrm>
              <a:off x="-2959433" y="375153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6</a:t>
              </a:r>
            </a:p>
          </p:txBody>
        </p:sp>
        <p:sp>
          <p:nvSpPr>
            <p:cNvPr id="38" name="Textfield placeholder"/>
            <p:cNvSpPr txBox="1">
              <a:spLocks/>
            </p:cNvSpPr>
            <p:nvPr userDrawn="1"/>
          </p:nvSpPr>
          <p:spPr>
            <a:xfrm>
              <a:off x="-2571950" y="3751536"/>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0000" lvl="5" indent="-270000" defTabSz="179388">
                <a:lnSpc>
                  <a:spcPct val="120000"/>
                </a:lnSpc>
                <a:spcAft>
                  <a:spcPts val="900"/>
                </a:spcAft>
                <a:buClr>
                  <a:srgbClr val="ED1A3B"/>
                </a:buClr>
                <a:buSzPct val="80000"/>
                <a:buFont typeface="Wingdings 3" panose="05040102010807070707" pitchFamily="18" charset="2"/>
                <a:buChar char=""/>
                <a:defRPr/>
              </a:pPr>
              <a:r>
                <a:rPr lang="nl-NL" sz="1200" cap="none" dirty="0">
                  <a:solidFill>
                    <a:srgbClr val="535353"/>
                  </a:solidFill>
                </a:rPr>
                <a:t># Bullets (16 pt.)</a:t>
              </a:r>
            </a:p>
          </p:txBody>
        </p:sp>
        <p:sp>
          <p:nvSpPr>
            <p:cNvPr id="39" name="Ovaal 38"/>
            <p:cNvSpPr/>
            <p:nvPr userDrawn="1"/>
          </p:nvSpPr>
          <p:spPr>
            <a:xfrm>
              <a:off x="-2959433" y="414870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7</a:t>
              </a:r>
            </a:p>
          </p:txBody>
        </p:sp>
        <p:sp>
          <p:nvSpPr>
            <p:cNvPr id="40" name="Textfield placeholder"/>
            <p:cNvSpPr txBox="1">
              <a:spLocks/>
            </p:cNvSpPr>
            <p:nvPr userDrawn="1"/>
          </p:nvSpPr>
          <p:spPr>
            <a:xfrm>
              <a:off x="-2571950" y="414870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6" indent="0" defTabSz="179388">
                <a:lnSpc>
                  <a:spcPct val="120000"/>
                </a:lnSpc>
                <a:spcBef>
                  <a:spcPts val="0"/>
                </a:spcBef>
                <a:spcAft>
                  <a:spcPts val="900"/>
                </a:spcAft>
                <a:buClr>
                  <a:srgbClr val="ED1A3B"/>
                </a:buClr>
                <a:buSzPct val="90000"/>
                <a:buFont typeface="+mj-lt"/>
                <a:buNone/>
                <a:defRPr/>
              </a:pPr>
              <a:r>
                <a:rPr lang="nl-NL" sz="1200" i="1" dirty="0">
                  <a:solidFill>
                    <a:srgbClr val="404040"/>
                  </a:solidFill>
                </a:rPr>
                <a:t>Cursief donker (16 pt.)</a:t>
              </a:r>
            </a:p>
          </p:txBody>
        </p:sp>
        <p:sp>
          <p:nvSpPr>
            <p:cNvPr id="41" name="Ovaal 40"/>
            <p:cNvSpPr/>
            <p:nvPr userDrawn="1"/>
          </p:nvSpPr>
          <p:spPr>
            <a:xfrm>
              <a:off x="-2959433" y="454586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8</a:t>
              </a:r>
            </a:p>
          </p:txBody>
        </p:sp>
        <p:sp>
          <p:nvSpPr>
            <p:cNvPr id="42" name="Textfield placeholder"/>
            <p:cNvSpPr txBox="1">
              <a:spLocks/>
            </p:cNvSpPr>
            <p:nvPr userDrawn="1"/>
          </p:nvSpPr>
          <p:spPr>
            <a:xfrm>
              <a:off x="-2571950" y="4545864"/>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7" indent="0" defTabSz="179388">
                <a:lnSpc>
                  <a:spcPct val="80000"/>
                </a:lnSpc>
                <a:spcBef>
                  <a:spcPts val="0"/>
                </a:spcBef>
                <a:spcAft>
                  <a:spcPts val="900"/>
                </a:spcAft>
                <a:buClr>
                  <a:srgbClr val="ED1A3B"/>
                </a:buClr>
                <a:buFont typeface="Arial" pitchFamily="34" charset="0"/>
                <a:buNone/>
                <a:defRPr/>
              </a:pPr>
              <a:r>
                <a:rPr lang="nl-NL" sz="1200" i="1" dirty="0">
                  <a:solidFill>
                    <a:srgbClr val="A3B0C0"/>
                  </a:solidFill>
                </a:rPr>
                <a:t>Cursief Licht (16 pt.)</a:t>
              </a:r>
            </a:p>
          </p:txBody>
        </p:sp>
        <p:sp>
          <p:nvSpPr>
            <p:cNvPr id="43" name="Ovaal 42"/>
            <p:cNvSpPr/>
            <p:nvPr userDrawn="1"/>
          </p:nvSpPr>
          <p:spPr>
            <a:xfrm>
              <a:off x="-2959433" y="488761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9</a:t>
              </a:r>
            </a:p>
          </p:txBody>
        </p:sp>
        <p:sp>
          <p:nvSpPr>
            <p:cNvPr id="44" name="Textfield placeholder"/>
            <p:cNvSpPr txBox="1">
              <a:spLocks/>
            </p:cNvSpPr>
            <p:nvPr userDrawn="1"/>
          </p:nvSpPr>
          <p:spPr>
            <a:xfrm>
              <a:off x="-2571950" y="488761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8" indent="0" defTabSz="179388">
                <a:lnSpc>
                  <a:spcPct val="80000"/>
                </a:lnSpc>
                <a:spcBef>
                  <a:spcPts val="0"/>
                </a:spcBef>
                <a:spcAft>
                  <a:spcPts val="900"/>
                </a:spcAft>
                <a:buClr>
                  <a:srgbClr val="ED1A3B"/>
                </a:buClr>
                <a:buFont typeface="Arial" pitchFamily="34" charset="0"/>
                <a:buNone/>
                <a:defRPr/>
              </a:pPr>
              <a:r>
                <a:rPr lang="nl-NL" sz="1400" b="1" dirty="0">
                  <a:solidFill>
                    <a:srgbClr val="ED1A3B"/>
                  </a:solidFill>
                </a:rPr>
                <a:t>Subtitel (18 pt.)</a:t>
              </a:r>
            </a:p>
          </p:txBody>
        </p:sp>
      </p:grpSp>
      <p:sp>
        <p:nvSpPr>
          <p:cNvPr id="96" name="Hyperlink - Inhoudsopgave">
            <a:hlinkClick r:id="rId4" action="ppaction://hlinksldjump"/>
          </p:cNvPr>
          <p:cNvSpPr/>
          <p:nvPr userDrawn="1"/>
        </p:nvSpPr>
        <p:spPr>
          <a:xfrm>
            <a:off x="10197856" y="5889801"/>
            <a:ext cx="2000494" cy="968199"/>
          </a:xfrm>
          <a:prstGeom prst="rect">
            <a:avLst/>
          </a:prstGeom>
          <a:solidFill>
            <a:srgbClr val="ED1A3B">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cxnSp>
        <p:nvCxnSpPr>
          <p:cNvPr id="11" name="Grijze lijn - boven"/>
          <p:cNvCxnSpPr/>
          <p:nvPr/>
        </p:nvCxnSpPr>
        <p:spPr>
          <a:xfrm flipH="1">
            <a:off x="664804" y="1358670"/>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6" name="Tijdelijke aanduiding voor Dianummer"/>
          <p:cNvSpPr>
            <a:spLocks noGrp="1"/>
          </p:cNvSpPr>
          <p:nvPr>
            <p:ph type="sldNum" sz="quarter" idx="4"/>
          </p:nvPr>
        </p:nvSpPr>
        <p:spPr>
          <a:xfrm>
            <a:off x="5770549" y="6295992"/>
            <a:ext cx="657251" cy="365125"/>
          </a:xfrm>
          <a:prstGeom prst="rect">
            <a:avLst/>
          </a:prstGeom>
        </p:spPr>
        <p:txBody>
          <a:bodyPr vert="horz" lIns="91440" tIns="45720" rIns="91440" bIns="45720" rtlCol="0" anchor="ctr"/>
          <a:lstStyle>
            <a:lvl1pPr algn="ctr">
              <a:defRPr sz="800">
                <a:solidFill>
                  <a:schemeClr val="tx1">
                    <a:tint val="75000"/>
                  </a:schemeClr>
                </a:solidFill>
              </a:defRPr>
            </a:lvl1pPr>
          </a:lstStyle>
          <a:p>
            <a:fld id="{1B3FA67A-C720-417A-A072-0CD211FD8662}" type="slidenum">
              <a:rPr lang="nl-NL" smtClean="0">
                <a:solidFill>
                  <a:srgbClr val="000000">
                    <a:tint val="75000"/>
                  </a:srgbClr>
                </a:solidFill>
              </a:rPr>
              <a:pPr/>
              <a:t>‹nr.›</a:t>
            </a:fld>
            <a:endParaRPr lang="nl-NL" dirty="0">
              <a:solidFill>
                <a:srgbClr val="000000">
                  <a:tint val="75000"/>
                </a:srgbClr>
              </a:solidFill>
            </a:endParaRPr>
          </a:p>
        </p:txBody>
      </p:sp>
      <p:sp>
        <p:nvSpPr>
          <p:cNvPr id="10" name="Tijdelijke aanduiding voor Subtitel"/>
          <p:cNvSpPr>
            <a:spLocks noGrp="1"/>
          </p:cNvSpPr>
          <p:nvPr>
            <p:ph type="body" idx="14"/>
          </p:nvPr>
        </p:nvSpPr>
        <p:spPr>
          <a:xfrm>
            <a:off x="664109" y="1001348"/>
            <a:ext cx="10870131" cy="317758"/>
          </a:xfrm>
        </p:spPr>
        <p:txBody>
          <a:bodyPr bIns="72000" anchor="t" anchorCtr="0"/>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9" name="Tijdelijke aanduiding voor Titel"/>
          <p:cNvSpPr>
            <a:spLocks noGrp="1"/>
          </p:cNvSpPr>
          <p:nvPr>
            <p:ph type="title"/>
          </p:nvPr>
        </p:nvSpPr>
        <p:spPr>
          <a:xfrm>
            <a:off x="664109" y="464521"/>
            <a:ext cx="10870131" cy="533219"/>
          </a:xfrm>
        </p:spPr>
        <p:txBody>
          <a:bodyPr/>
          <a:lstStyle/>
          <a:p>
            <a:r>
              <a:rPr lang="nl-NL"/>
              <a:t>Klik om stijl te bewerken</a:t>
            </a:r>
            <a:endParaRPr lang="nl-NL" dirty="0"/>
          </a:p>
        </p:txBody>
      </p:sp>
    </p:spTree>
    <p:extLst>
      <p:ext uri="{BB962C8B-B14F-4D97-AF65-F5344CB8AC3E}">
        <p14:creationId xmlns:p14="http://schemas.microsoft.com/office/powerpoint/2010/main" val="1130013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Smart-art 25%">
    <p:spTree>
      <p:nvGrpSpPr>
        <p:cNvPr id="1" name=""/>
        <p:cNvGrpSpPr/>
        <p:nvPr/>
      </p:nvGrpSpPr>
      <p:grpSpPr>
        <a:xfrm>
          <a:off x="0" y="0"/>
          <a:ext cx="0" cy="0"/>
          <a:chOff x="0" y="0"/>
          <a:chExt cx="0" cy="0"/>
        </a:xfrm>
      </p:grpSpPr>
      <p:sp>
        <p:nvSpPr>
          <p:cNvPr id="144" name="Naam indeling - Smart-art 25%"/>
          <p:cNvSpPr txBox="1"/>
          <p:nvPr userDrawn="1"/>
        </p:nvSpPr>
        <p:spPr>
          <a:xfrm>
            <a:off x="1" y="-453266"/>
            <a:ext cx="3582333" cy="276999"/>
          </a:xfrm>
          <a:prstGeom prst="rect">
            <a:avLst/>
          </a:prstGeom>
          <a:noFill/>
        </p:spPr>
        <p:txBody>
          <a:bodyPr wrap="square" lIns="0" tIns="0" rIns="0" bIns="0" rtlCol="0">
            <a:spAutoFit/>
          </a:bodyPr>
          <a:lstStyle/>
          <a:p>
            <a:pPr defTabSz="914112"/>
            <a:r>
              <a:rPr lang="nl-NL" dirty="0">
                <a:solidFill>
                  <a:srgbClr val="404040"/>
                </a:solidFill>
                <a:latin typeface="Calibri" panose="020F0502020204030204" pitchFamily="34" charset="0"/>
              </a:rPr>
              <a:t>Smart-art 25%</a:t>
            </a:r>
            <a:endParaRPr lang="en-GB" dirty="0">
              <a:solidFill>
                <a:srgbClr val="404040"/>
              </a:solidFill>
              <a:latin typeface="Calibri" panose="020F0502020204030204" pitchFamily="34" charset="0"/>
            </a:endParaRPr>
          </a:p>
        </p:txBody>
      </p:sp>
      <p:grpSp>
        <p:nvGrpSpPr>
          <p:cNvPr id="227" name="Instructie - SmartArt invoegen"/>
          <p:cNvGrpSpPr/>
          <p:nvPr userDrawn="1"/>
        </p:nvGrpSpPr>
        <p:grpSpPr>
          <a:xfrm>
            <a:off x="12563365" y="-29362"/>
            <a:ext cx="2711112" cy="3676571"/>
            <a:chOff x="12441149" y="14897"/>
            <a:chExt cx="2710406" cy="3676571"/>
          </a:xfrm>
        </p:grpSpPr>
        <p:sp>
          <p:nvSpPr>
            <p:cNvPr id="228" name="Rechthoek 227"/>
            <p:cNvSpPr/>
            <p:nvPr/>
          </p:nvSpPr>
          <p:spPr>
            <a:xfrm>
              <a:off x="12441150" y="14897"/>
              <a:ext cx="2696270" cy="161771"/>
            </a:xfrm>
            <a:prstGeom prst="rect">
              <a:avLst/>
            </a:prstGeom>
            <a:noFill/>
            <a:ln w="25400" cap="flat" cmpd="sng" algn="ctr">
              <a:noFill/>
              <a:prstDash val="solid"/>
            </a:ln>
            <a:effectLst/>
          </p:spPr>
          <p:txBody>
            <a:bodyPr lIns="0" tIns="0" rIns="0" bIns="0" rtlCol="0" anchor="t"/>
            <a:lstStyle/>
            <a:p>
              <a:pPr defTabSz="914112">
                <a:lnSpc>
                  <a:spcPct val="80000"/>
                </a:lnSpc>
              </a:pPr>
              <a:r>
                <a:rPr lang="nl-NL" sz="1600" b="1" kern="0" cap="all" dirty="0">
                  <a:solidFill>
                    <a:srgbClr val="ED1A3B"/>
                  </a:solidFill>
                  <a:cs typeface="Segoe UI Light" panose="020B0502040204020203" pitchFamily="34" charset="0"/>
                </a:rPr>
                <a:t>SmartArt INVOEGEN</a:t>
              </a:r>
            </a:p>
          </p:txBody>
        </p:sp>
        <p:sp>
          <p:nvSpPr>
            <p:cNvPr id="229" name="Tekstvak 33"/>
            <p:cNvSpPr txBox="1"/>
            <p:nvPr/>
          </p:nvSpPr>
          <p:spPr>
            <a:xfrm>
              <a:off x="12441149" y="814239"/>
              <a:ext cx="2710405" cy="719877"/>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Indien nodig, verwijder de bestaande SmartArt. Klik op het pictogram om </a:t>
              </a:r>
              <a:br>
                <a:rPr lang="nl-NL" sz="1200" kern="0" dirty="0">
                  <a:solidFill>
                    <a:srgbClr val="000000"/>
                  </a:solidFill>
                  <a:latin typeface="Trebuchet MS"/>
                  <a:cs typeface="Segoe UI Light" panose="020B0502040204020203" pitchFamily="34" charset="0"/>
                </a:rPr>
              </a:br>
              <a:r>
                <a:rPr lang="nl-NL" sz="1200" kern="0" dirty="0">
                  <a:solidFill>
                    <a:srgbClr val="000000"/>
                  </a:solidFill>
                  <a:latin typeface="Trebuchet MS"/>
                  <a:cs typeface="Segoe UI Light" panose="020B0502040204020203" pitchFamily="34" charset="0"/>
                </a:rPr>
                <a:t>nieuwe SmartArt in te voegen</a:t>
              </a:r>
              <a:br>
                <a:rPr lang="nl-NL" sz="1200" kern="0" dirty="0">
                  <a:solidFill>
                    <a:srgbClr val="000000"/>
                  </a:solidFill>
                  <a:latin typeface="Trebuchet MS"/>
                  <a:cs typeface="Segoe UI Light" panose="020B0502040204020203" pitchFamily="34" charset="0"/>
                </a:rPr>
              </a:br>
              <a:r>
                <a:rPr lang="nl-NL" sz="1100" i="1" kern="0" dirty="0">
                  <a:solidFill>
                    <a:srgbClr val="000000"/>
                  </a:solidFill>
                  <a:latin typeface="Trebuchet MS"/>
                  <a:cs typeface="Segoe UI Light" panose="020B0502040204020203" pitchFamily="34" charset="0"/>
                </a:rPr>
                <a:t>(zie onderstaand voorbeeld).</a:t>
              </a:r>
            </a:p>
          </p:txBody>
        </p:sp>
        <p:sp>
          <p:nvSpPr>
            <p:cNvPr id="230" name="Tekstvak 33"/>
            <p:cNvSpPr txBox="1"/>
            <p:nvPr/>
          </p:nvSpPr>
          <p:spPr>
            <a:xfrm>
              <a:off x="12441149" y="2793904"/>
              <a:ext cx="2710405" cy="395943"/>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Selecteer de SmartArt die u wilt invoegen en klik op </a:t>
              </a:r>
              <a:r>
                <a:rPr lang="nl-NL" sz="1200" b="1" kern="0" dirty="0">
                  <a:solidFill>
                    <a:srgbClr val="000000"/>
                  </a:solidFill>
                  <a:latin typeface="Trebuchet MS"/>
                  <a:cs typeface="Segoe UI Light" panose="020B0502040204020203" pitchFamily="34" charset="0"/>
                </a:rPr>
                <a:t>‘Invoegen’</a:t>
              </a:r>
            </a:p>
          </p:txBody>
        </p:sp>
        <p:sp>
          <p:nvSpPr>
            <p:cNvPr id="231" name="Ovaal 230"/>
            <p:cNvSpPr/>
            <p:nvPr/>
          </p:nvSpPr>
          <p:spPr>
            <a:xfrm>
              <a:off x="12441150" y="379292"/>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1</a:t>
              </a:r>
            </a:p>
          </p:txBody>
        </p:sp>
        <p:sp>
          <p:nvSpPr>
            <p:cNvPr id="232" name="Ovaal 231"/>
            <p:cNvSpPr/>
            <p:nvPr/>
          </p:nvSpPr>
          <p:spPr>
            <a:xfrm>
              <a:off x="12441150" y="2337208"/>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2</a:t>
              </a:r>
            </a:p>
          </p:txBody>
        </p:sp>
        <p:cxnSp>
          <p:nvCxnSpPr>
            <p:cNvPr id="233" name="Rechte verbindingslijn 232"/>
            <p:cNvCxnSpPr/>
            <p:nvPr/>
          </p:nvCxnSpPr>
          <p:spPr>
            <a:xfrm>
              <a:off x="12441150" y="248176"/>
              <a:ext cx="2710405" cy="0"/>
            </a:xfrm>
            <a:prstGeom prst="line">
              <a:avLst/>
            </a:prstGeom>
            <a:noFill/>
            <a:ln w="9525" cap="flat" cmpd="sng" algn="ctr">
              <a:solidFill>
                <a:schemeClr val="accent1"/>
              </a:solidFill>
              <a:prstDash val="solid"/>
            </a:ln>
            <a:effectLst/>
          </p:spPr>
        </p:cxnSp>
        <p:cxnSp>
          <p:nvCxnSpPr>
            <p:cNvPr id="234" name="Rechte verbindingslijn 233"/>
            <p:cNvCxnSpPr/>
            <p:nvPr/>
          </p:nvCxnSpPr>
          <p:spPr>
            <a:xfrm>
              <a:off x="12441149" y="2212830"/>
              <a:ext cx="2710405" cy="0"/>
            </a:xfrm>
            <a:prstGeom prst="line">
              <a:avLst/>
            </a:prstGeom>
            <a:noFill/>
            <a:ln w="9525" cap="flat" cmpd="sng" algn="ctr">
              <a:solidFill>
                <a:schemeClr val="accent1"/>
              </a:solidFill>
              <a:prstDash val="solid"/>
            </a:ln>
            <a:effectLst/>
          </p:spPr>
        </p:cxnSp>
        <p:cxnSp>
          <p:nvCxnSpPr>
            <p:cNvPr id="235" name="Rechte verbindingslijn 234"/>
            <p:cNvCxnSpPr/>
            <p:nvPr/>
          </p:nvCxnSpPr>
          <p:spPr>
            <a:xfrm>
              <a:off x="12444679" y="3691468"/>
              <a:ext cx="2706875" cy="0"/>
            </a:xfrm>
            <a:prstGeom prst="line">
              <a:avLst/>
            </a:prstGeom>
            <a:noFill/>
            <a:ln w="9525" cap="flat" cmpd="sng" algn="ctr">
              <a:solidFill>
                <a:schemeClr val="accent1"/>
              </a:solidFill>
              <a:prstDash val="solid"/>
            </a:ln>
            <a:effectLst/>
          </p:spPr>
        </p:cxnSp>
        <p:grpSp>
          <p:nvGrpSpPr>
            <p:cNvPr id="236" name="Groep 235"/>
            <p:cNvGrpSpPr/>
            <p:nvPr/>
          </p:nvGrpSpPr>
          <p:grpSpPr>
            <a:xfrm>
              <a:off x="12450571" y="3301369"/>
              <a:ext cx="1002992" cy="267962"/>
              <a:chOff x="13560784" y="3471416"/>
              <a:chExt cx="1114138" cy="297656"/>
            </a:xfrm>
          </p:grpSpPr>
          <p:sp>
            <p:nvSpPr>
              <p:cNvPr id="247" name="Afgeronde rechthoek 88"/>
              <p:cNvSpPr/>
              <p:nvPr/>
            </p:nvSpPr>
            <p:spPr>
              <a:xfrm>
                <a:off x="13560784" y="3471416"/>
                <a:ext cx="1114138" cy="297656"/>
              </a:xfrm>
              <a:prstGeom prst="roundRect">
                <a:avLst/>
              </a:prstGeom>
              <a:gradFill flip="none" rotWithShape="1">
                <a:gsLst>
                  <a:gs pos="4000">
                    <a:srgbClr val="00B0F0"/>
                  </a:gs>
                  <a:gs pos="0">
                    <a:srgbClr val="0070C0"/>
                  </a:gs>
                  <a:gs pos="100000">
                    <a:srgbClr val="0070C0"/>
                  </a:gs>
                  <a:gs pos="12000">
                    <a:srgbClr val="D1EAFF"/>
                  </a:gs>
                  <a:gs pos="96000">
                    <a:srgbClr val="00B0F0"/>
                  </a:gs>
                  <a:gs pos="89000">
                    <a:srgbClr val="DDF4FF"/>
                  </a:gs>
                  <a:gs pos="43000">
                    <a:srgbClr val="D1EAFF"/>
                  </a:gs>
                  <a:gs pos="51000">
                    <a:srgbClr val="DDF4FF"/>
                  </a:gs>
                </a:gsLst>
                <a:lin ang="16200000" scaled="1"/>
                <a:tileRect/>
              </a:gradFill>
              <a:ln w="63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dirty="0">
                  <a:solidFill>
                    <a:srgbClr val="FFFFFF"/>
                  </a:solidFill>
                </a:endParaRPr>
              </a:p>
            </p:txBody>
          </p:sp>
          <p:sp>
            <p:nvSpPr>
              <p:cNvPr id="248" name="Tekstvak 247"/>
              <p:cNvSpPr txBox="1"/>
              <p:nvPr/>
            </p:nvSpPr>
            <p:spPr>
              <a:xfrm>
                <a:off x="13573594" y="3488254"/>
                <a:ext cx="888311" cy="273506"/>
              </a:xfrm>
              <a:prstGeom prst="rect">
                <a:avLst/>
              </a:prstGeom>
              <a:noFill/>
            </p:spPr>
            <p:txBody>
              <a:bodyPr wrap="square" rtlCol="0" anchor="ctr">
                <a:spAutoFit/>
              </a:bodyPr>
              <a:lstStyle>
                <a:defPPr>
                  <a:defRPr lang="nl-NL"/>
                </a:defPPr>
                <a:lvl1pPr marR="0" lvl="0" indent="0" algn="ctr" fontAlgn="auto">
                  <a:lnSpc>
                    <a:spcPct val="100000"/>
                  </a:lnSpc>
                  <a:spcBef>
                    <a:spcPts val="0"/>
                  </a:spcBef>
                  <a:spcAft>
                    <a:spcPts val="0"/>
                  </a:spcAft>
                  <a:buClrTx/>
                  <a:buSzTx/>
                  <a:buFontTx/>
                  <a:buNone/>
                  <a:tabLst/>
                  <a:defRPr kumimoji="0" sz="900" i="0" u="none" strike="noStrike" kern="0" cap="none" spc="0" normalizeH="0" baseline="0">
                    <a:ln>
                      <a:noFill/>
                    </a:ln>
                    <a:effectLst>
                      <a:outerShdw blurRad="25400" algn="ctr" rotWithShape="0">
                        <a:prstClr val="white"/>
                      </a:outerShdw>
                    </a:effectLst>
                    <a:uLnTx/>
                    <a:uFillTx/>
                    <a:latin typeface="Segoe UI Light" panose="020B0502040204020203" pitchFamily="34" charset="0"/>
                    <a:cs typeface="Segoe UI Light" panose="020B0502040204020203" pitchFamily="34" charset="0"/>
                  </a:defRPr>
                </a:lvl1pPr>
                <a:lvl2pPr fontAlgn="base">
                  <a:spcBef>
                    <a:spcPct val="0"/>
                  </a:spcBef>
                  <a:spcAft>
                    <a:spcPct val="0"/>
                  </a:spcAft>
                  <a:defRPr>
                    <a:latin typeface="Arial" charset="0"/>
                    <a:cs typeface="Arial" charset="0"/>
                  </a:defRPr>
                </a:lvl2pPr>
                <a:lvl3pPr fontAlgn="base">
                  <a:spcBef>
                    <a:spcPct val="0"/>
                  </a:spcBef>
                  <a:spcAft>
                    <a:spcPct val="0"/>
                  </a:spcAft>
                  <a:defRPr>
                    <a:latin typeface="Arial" charset="0"/>
                    <a:cs typeface="Arial" charset="0"/>
                  </a:defRPr>
                </a:lvl3pPr>
                <a:lvl4pPr fontAlgn="base">
                  <a:spcBef>
                    <a:spcPct val="0"/>
                  </a:spcBef>
                  <a:spcAft>
                    <a:spcPct val="0"/>
                  </a:spcAft>
                  <a:defRPr>
                    <a:latin typeface="Arial" charset="0"/>
                    <a:cs typeface="Arial" charset="0"/>
                  </a:defRPr>
                </a:lvl4pPr>
                <a:lvl5pPr fontAlgn="base">
                  <a:spcBef>
                    <a:spcPct val="0"/>
                  </a:spcBef>
                  <a:spcAft>
                    <a:spcPct val="0"/>
                  </a:spcAft>
                  <a:defRPr>
                    <a:latin typeface="Arial" charset="0"/>
                    <a:cs typeface="Arial" charset="0"/>
                  </a:defRPr>
                </a:lvl5pPr>
                <a:lvl6pPr>
                  <a:defRPr>
                    <a:latin typeface="Arial" charset="0"/>
                    <a:cs typeface="Arial" charset="0"/>
                  </a:defRPr>
                </a:lvl6pPr>
                <a:lvl7pPr>
                  <a:defRPr>
                    <a:latin typeface="Arial" charset="0"/>
                    <a:cs typeface="Arial" charset="0"/>
                  </a:defRPr>
                </a:lvl7pPr>
                <a:lvl8pPr>
                  <a:defRPr>
                    <a:latin typeface="Arial" charset="0"/>
                    <a:cs typeface="Arial" charset="0"/>
                  </a:defRPr>
                </a:lvl8pPr>
                <a:lvl9pPr>
                  <a:defRPr>
                    <a:latin typeface="Arial" charset="0"/>
                    <a:cs typeface="Arial" charset="0"/>
                  </a:defRPr>
                </a:lvl9pPr>
              </a:lstStyle>
              <a:p>
                <a:pPr defTabSz="914112"/>
                <a:r>
                  <a:rPr lang="nl-NL" sz="1000" dirty="0">
                    <a:solidFill>
                      <a:srgbClr val="000000"/>
                    </a:solidFill>
                    <a:latin typeface="Trebuchet MS"/>
                  </a:rPr>
                  <a:t>Invoegen</a:t>
                </a:r>
              </a:p>
            </p:txBody>
          </p:sp>
          <p:cxnSp>
            <p:nvCxnSpPr>
              <p:cNvPr id="249" name="Rechte verbindingslijn 248"/>
              <p:cNvCxnSpPr/>
              <p:nvPr/>
            </p:nvCxnSpPr>
            <p:spPr>
              <a:xfrm>
                <a:off x="14461905" y="3507058"/>
                <a:ext cx="0" cy="224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0" name="Gelijkbenige driehoek 249"/>
              <p:cNvSpPr/>
              <p:nvPr/>
            </p:nvSpPr>
            <p:spPr>
              <a:xfrm rot="10800000">
                <a:off x="14518584" y="3600521"/>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112"/>
                <a:endParaRPr lang="nl-NL" dirty="0">
                  <a:solidFill>
                    <a:srgbClr val="FFFFFF"/>
                  </a:solidFill>
                </a:endParaRPr>
              </a:p>
            </p:txBody>
          </p:sp>
        </p:grpSp>
        <p:grpSp>
          <p:nvGrpSpPr>
            <p:cNvPr id="237" name="Groep 236"/>
            <p:cNvGrpSpPr/>
            <p:nvPr userDrawn="1"/>
          </p:nvGrpSpPr>
          <p:grpSpPr>
            <a:xfrm>
              <a:off x="12441149" y="1706094"/>
              <a:ext cx="471148" cy="391787"/>
              <a:chOff x="6072045" y="3463504"/>
              <a:chExt cx="1299544" cy="1080647"/>
            </a:xfrm>
          </p:grpSpPr>
          <p:sp>
            <p:nvSpPr>
              <p:cNvPr id="238" name="Pijl: punthaak 111"/>
              <p:cNvSpPr/>
              <p:nvPr userDrawn="1"/>
            </p:nvSpPr>
            <p:spPr>
              <a:xfrm>
                <a:off x="6072045" y="3463504"/>
                <a:ext cx="1132964" cy="700764"/>
              </a:xfrm>
              <a:prstGeom prst="chevron">
                <a:avLst>
                  <a:gd name="adj" fmla="val 36022"/>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239" name="Rechthoek: afgeronde hoeken 112"/>
              <p:cNvSpPr/>
              <p:nvPr userDrawn="1"/>
            </p:nvSpPr>
            <p:spPr>
              <a:xfrm>
                <a:off x="6421681" y="3761674"/>
                <a:ext cx="949908" cy="782477"/>
              </a:xfrm>
              <a:prstGeom prst="roundRect">
                <a:avLst>
                  <a:gd name="adj" fmla="val 3237"/>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cxnSp>
            <p:nvCxnSpPr>
              <p:cNvPr id="240" name="Rechte verbindingslijn 239"/>
              <p:cNvCxnSpPr/>
              <p:nvPr userDrawn="1"/>
            </p:nvCxnSpPr>
            <p:spPr>
              <a:xfrm flipH="1">
                <a:off x="6813724" y="4013477"/>
                <a:ext cx="318470" cy="0"/>
              </a:xfrm>
              <a:prstGeom prst="line">
                <a:avLst/>
              </a:prstGeom>
              <a:ln w="15875" cap="rnd">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241" name="Rechte verbindingslijn 240"/>
              <p:cNvCxnSpPr/>
              <p:nvPr userDrawn="1"/>
            </p:nvCxnSpPr>
            <p:spPr>
              <a:xfrm flipH="1">
                <a:off x="6813724" y="4157326"/>
                <a:ext cx="318470" cy="0"/>
              </a:xfrm>
              <a:prstGeom prst="line">
                <a:avLst/>
              </a:prstGeom>
              <a:ln w="15875" cap="rnd">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242" name="Rechte verbindingslijn 241"/>
              <p:cNvCxnSpPr/>
              <p:nvPr userDrawn="1"/>
            </p:nvCxnSpPr>
            <p:spPr>
              <a:xfrm flipH="1">
                <a:off x="6813724" y="4301174"/>
                <a:ext cx="318470" cy="0"/>
              </a:xfrm>
              <a:prstGeom prst="line">
                <a:avLst/>
              </a:prstGeom>
              <a:ln w="15875" cap="rnd">
                <a:solidFill>
                  <a:srgbClr val="B5B5B5"/>
                </a:solidFill>
              </a:ln>
            </p:spPr>
            <p:style>
              <a:lnRef idx="1">
                <a:schemeClr val="accent1"/>
              </a:lnRef>
              <a:fillRef idx="0">
                <a:schemeClr val="accent1"/>
              </a:fillRef>
              <a:effectRef idx="0">
                <a:schemeClr val="accent1"/>
              </a:effectRef>
              <a:fontRef idx="minor">
                <a:schemeClr val="tx1"/>
              </a:fontRef>
            </p:style>
          </p:cxnSp>
          <p:sp>
            <p:nvSpPr>
              <p:cNvPr id="243" name="Rechthoek 242"/>
              <p:cNvSpPr/>
              <p:nvPr userDrawn="1"/>
            </p:nvSpPr>
            <p:spPr>
              <a:xfrm>
                <a:off x="6493301" y="3820673"/>
                <a:ext cx="806658" cy="664477"/>
              </a:xfrm>
              <a:prstGeom prst="rect">
                <a:avLst/>
              </a:prstGeom>
              <a:noFill/>
              <a:ln w="1905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cxnSp>
            <p:nvCxnSpPr>
              <p:cNvPr id="244" name="Rechte verbindingslijn 243"/>
              <p:cNvCxnSpPr/>
              <p:nvPr userDrawn="1"/>
            </p:nvCxnSpPr>
            <p:spPr>
              <a:xfrm flipH="1">
                <a:off x="6678347" y="4013477"/>
                <a:ext cx="47340" cy="0"/>
              </a:xfrm>
              <a:prstGeom prst="line">
                <a:avLst/>
              </a:prstGeom>
              <a:ln w="15875" cap="rnd">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245" name="Rechte verbindingslijn 244"/>
              <p:cNvCxnSpPr/>
              <p:nvPr userDrawn="1"/>
            </p:nvCxnSpPr>
            <p:spPr>
              <a:xfrm flipH="1">
                <a:off x="6678347" y="4157326"/>
                <a:ext cx="47340" cy="0"/>
              </a:xfrm>
              <a:prstGeom prst="line">
                <a:avLst/>
              </a:prstGeom>
              <a:ln w="15875" cap="rnd">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246" name="Rechte verbindingslijn 245"/>
              <p:cNvCxnSpPr/>
              <p:nvPr userDrawn="1"/>
            </p:nvCxnSpPr>
            <p:spPr>
              <a:xfrm flipH="1">
                <a:off x="6678347" y="4301174"/>
                <a:ext cx="47340" cy="0"/>
              </a:xfrm>
              <a:prstGeom prst="line">
                <a:avLst/>
              </a:prstGeom>
              <a:ln w="15875" cap="rnd">
                <a:solidFill>
                  <a:srgbClr val="B5B5B5"/>
                </a:solidFill>
              </a:ln>
            </p:spPr>
            <p:style>
              <a:lnRef idx="1">
                <a:schemeClr val="accent1"/>
              </a:lnRef>
              <a:fillRef idx="0">
                <a:schemeClr val="accent1"/>
              </a:fillRef>
              <a:effectRef idx="0">
                <a:schemeClr val="accent1"/>
              </a:effectRef>
              <a:fontRef idx="minor">
                <a:schemeClr val="tx1"/>
              </a:fontRef>
            </p:style>
          </p:cxnSp>
        </p:grpSp>
      </p:grpSp>
      <p:grpSp>
        <p:nvGrpSpPr>
          <p:cNvPr id="251" name="Instructie - Tekst niveuas"/>
          <p:cNvGrpSpPr/>
          <p:nvPr userDrawn="1"/>
        </p:nvGrpSpPr>
        <p:grpSpPr>
          <a:xfrm>
            <a:off x="-3117849" y="365"/>
            <a:ext cx="2823358" cy="5254722"/>
            <a:chOff x="-2959433" y="-5444"/>
            <a:chExt cx="2822623" cy="5254722"/>
          </a:xfrm>
        </p:grpSpPr>
        <p:sp>
          <p:nvSpPr>
            <p:cNvPr id="252" name="Rechthoek 251"/>
            <p:cNvSpPr/>
            <p:nvPr userDrawn="1"/>
          </p:nvSpPr>
          <p:spPr>
            <a:xfrm>
              <a:off x="-2959433" y="-5444"/>
              <a:ext cx="2572469" cy="280344"/>
            </a:xfrm>
            <a:prstGeom prst="rect">
              <a:avLst/>
            </a:prstGeom>
            <a:noFill/>
            <a:ln w="25400" cap="flat" cmpd="sng" algn="ctr">
              <a:noFill/>
              <a:prstDash val="solid"/>
            </a:ln>
            <a:effectLst/>
          </p:spPr>
          <p:txBody>
            <a:bodyPr lIns="0" tIns="0" rIns="0" bIns="0" rtlCol="0" anchor="t"/>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nl-NL" sz="1600" b="1" kern="0" dirty="0">
                  <a:solidFill>
                    <a:srgbClr val="ED1A3B"/>
                  </a:solidFill>
                  <a:cs typeface="Segoe UI Light" panose="020B0502040204020203" pitchFamily="34" charset="0"/>
                </a:rPr>
                <a:t>TEKST NIVEAUS</a:t>
              </a:r>
            </a:p>
          </p:txBody>
        </p:sp>
        <p:sp>
          <p:nvSpPr>
            <p:cNvPr id="253" name="Textfield placeholder"/>
            <p:cNvSpPr txBox="1">
              <a:spLocks/>
            </p:cNvSpPr>
            <p:nvPr userDrawn="1"/>
          </p:nvSpPr>
          <p:spPr>
            <a:xfrm>
              <a:off x="-2587337" y="2675411"/>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0" lvl="2"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a:solidFill>
                    <a:srgbClr val="404040"/>
                  </a:solidFill>
                </a:rPr>
                <a:t>Sub-bullets (16 pt.)</a:t>
              </a:r>
            </a:p>
          </p:txBody>
        </p:sp>
        <p:sp>
          <p:nvSpPr>
            <p:cNvPr id="254" name="Ovaal 253"/>
            <p:cNvSpPr/>
            <p:nvPr userDrawn="1"/>
          </p:nvSpPr>
          <p:spPr>
            <a:xfrm>
              <a:off x="-2959433" y="196874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1</a:t>
              </a:r>
            </a:p>
          </p:txBody>
        </p:sp>
        <p:sp>
          <p:nvSpPr>
            <p:cNvPr id="255" name="Ovaal 254"/>
            <p:cNvSpPr/>
            <p:nvPr userDrawn="1"/>
          </p:nvSpPr>
          <p:spPr>
            <a:xfrm>
              <a:off x="-2959433" y="232207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2</a:t>
              </a:r>
            </a:p>
          </p:txBody>
        </p:sp>
        <p:sp>
          <p:nvSpPr>
            <p:cNvPr id="256" name="Ovaal 255"/>
            <p:cNvSpPr/>
            <p:nvPr userDrawn="1"/>
          </p:nvSpPr>
          <p:spPr>
            <a:xfrm>
              <a:off x="-2959433" y="267541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3</a:t>
              </a:r>
            </a:p>
          </p:txBody>
        </p:sp>
        <p:sp>
          <p:nvSpPr>
            <p:cNvPr id="257" name="Ovaal 256"/>
            <p:cNvSpPr/>
            <p:nvPr userDrawn="1"/>
          </p:nvSpPr>
          <p:spPr>
            <a:xfrm>
              <a:off x="-2959433" y="302874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4</a:t>
              </a:r>
            </a:p>
          </p:txBody>
        </p:sp>
        <p:sp>
          <p:nvSpPr>
            <p:cNvPr id="258" name="Textfield placeholder"/>
            <p:cNvSpPr txBox="1">
              <a:spLocks/>
            </p:cNvSpPr>
            <p:nvPr userDrawn="1"/>
          </p:nvSpPr>
          <p:spPr>
            <a:xfrm>
              <a:off x="-2571950" y="1966925"/>
              <a:ext cx="2163709" cy="261500"/>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79388">
                <a:lnSpc>
                  <a:spcPct val="120000"/>
                </a:lnSpc>
                <a:spcBef>
                  <a:spcPts val="0"/>
                </a:spcBef>
                <a:spcAft>
                  <a:spcPts val="900"/>
                </a:spcAft>
                <a:buClr>
                  <a:srgbClr val="000000"/>
                </a:buClr>
                <a:buSzPct val="100000"/>
                <a:buFont typeface="Arial" pitchFamily="34" charset="0"/>
                <a:buNone/>
                <a:defRPr/>
              </a:pPr>
              <a:r>
                <a:rPr lang="nl-NL" sz="1200" dirty="0">
                  <a:solidFill>
                    <a:srgbClr val="535353"/>
                  </a:solidFill>
                </a:rPr>
                <a:t>Leestekst (16 pt.)</a:t>
              </a:r>
            </a:p>
          </p:txBody>
        </p:sp>
        <p:sp>
          <p:nvSpPr>
            <p:cNvPr id="259" name="Textfield placeholder"/>
            <p:cNvSpPr txBox="1">
              <a:spLocks/>
            </p:cNvSpPr>
            <p:nvPr userDrawn="1"/>
          </p:nvSpPr>
          <p:spPr>
            <a:xfrm>
              <a:off x="-2571950" y="2322077"/>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70000" lvl="1"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err="1">
                  <a:solidFill>
                    <a:srgbClr val="535353"/>
                  </a:solidFill>
                </a:rPr>
                <a:t>Bullets</a:t>
              </a:r>
              <a:r>
                <a:rPr lang="nl-NL" sz="1200" dirty="0">
                  <a:solidFill>
                    <a:srgbClr val="535353"/>
                  </a:solidFill>
                </a:rPr>
                <a:t> (16 </a:t>
              </a:r>
              <a:r>
                <a:rPr lang="nl-NL" sz="1200" dirty="0" err="1">
                  <a:solidFill>
                    <a:srgbClr val="535353"/>
                  </a:solidFill>
                </a:rPr>
                <a:t>pt</a:t>
              </a:r>
              <a:r>
                <a:rPr lang="nl-NL" sz="1200" dirty="0">
                  <a:solidFill>
                    <a:srgbClr val="535353"/>
                  </a:solidFill>
                </a:rPr>
                <a:t>.)</a:t>
              </a:r>
            </a:p>
          </p:txBody>
        </p:sp>
        <p:sp>
          <p:nvSpPr>
            <p:cNvPr id="260" name="Textfield placeholder"/>
            <p:cNvSpPr txBox="1">
              <a:spLocks/>
            </p:cNvSpPr>
            <p:nvPr userDrawn="1"/>
          </p:nvSpPr>
          <p:spPr>
            <a:xfrm>
              <a:off x="-2571951" y="3028747"/>
              <a:ext cx="2435141"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10000" lvl="3" indent="-270000" algn="l" defTabSz="179388" rtl="0" eaLnBrk="1" latinLnBrk="0" hangingPunct="1">
                <a:lnSpc>
                  <a:spcPct val="120000"/>
                </a:lnSpc>
                <a:spcBef>
                  <a:spcPts val="0"/>
                </a:spcBef>
                <a:spcAft>
                  <a:spcPts val="900"/>
                </a:spcAft>
                <a:buClr>
                  <a:schemeClr val="accent2"/>
                </a:buClr>
                <a:buSzPct val="80000"/>
                <a:buFont typeface="Wingdings 3" panose="05040102010807070707" pitchFamily="18" charset="2"/>
                <a:buChar char=""/>
                <a:defRPr/>
              </a:pPr>
              <a:r>
                <a:rPr lang="nl-NL" sz="1200" b="0" kern="1200" dirty="0">
                  <a:solidFill>
                    <a:srgbClr val="404040"/>
                  </a:solidFill>
                  <a:latin typeface="+mn-lt"/>
                  <a:ea typeface="+mn-ea"/>
                  <a:cs typeface="+mn-cs"/>
                </a:rPr>
                <a:t>Sub-sub-bullets (16 pt.)</a:t>
              </a:r>
            </a:p>
          </p:txBody>
        </p:sp>
        <p:cxnSp>
          <p:nvCxnSpPr>
            <p:cNvPr id="261" name="Rechte verbindingslijn 260"/>
            <p:cNvCxnSpPr/>
            <p:nvPr userDrawn="1"/>
          </p:nvCxnSpPr>
          <p:spPr>
            <a:xfrm>
              <a:off x="-2959100" y="274900"/>
              <a:ext cx="2674470" cy="0"/>
            </a:xfrm>
            <a:prstGeom prst="line">
              <a:avLst/>
            </a:prstGeom>
            <a:noFill/>
            <a:ln w="9525" cap="flat" cmpd="sng" algn="ctr">
              <a:solidFill>
                <a:schemeClr val="accent1"/>
              </a:solidFill>
              <a:prstDash val="solid"/>
            </a:ln>
            <a:effectLst/>
          </p:spPr>
        </p:cxnSp>
        <p:cxnSp>
          <p:nvCxnSpPr>
            <p:cNvPr id="262" name="Rechte verbindingslijn 261"/>
            <p:cNvCxnSpPr/>
            <p:nvPr userDrawn="1"/>
          </p:nvCxnSpPr>
          <p:spPr>
            <a:xfrm>
              <a:off x="-2959100" y="1841989"/>
              <a:ext cx="2661379" cy="0"/>
            </a:xfrm>
            <a:prstGeom prst="line">
              <a:avLst/>
            </a:prstGeom>
            <a:noFill/>
            <a:ln w="9525" cap="flat" cmpd="sng" algn="ctr">
              <a:solidFill>
                <a:schemeClr val="accent1"/>
              </a:solidFill>
              <a:prstDash val="solid"/>
            </a:ln>
            <a:effectLst/>
          </p:spPr>
        </p:cxnSp>
        <p:cxnSp>
          <p:nvCxnSpPr>
            <p:cNvPr id="263" name="Rechte verbindingslijn 262"/>
            <p:cNvCxnSpPr/>
            <p:nvPr userDrawn="1"/>
          </p:nvCxnSpPr>
          <p:spPr>
            <a:xfrm>
              <a:off x="-2959100" y="5249278"/>
              <a:ext cx="2661379" cy="0"/>
            </a:xfrm>
            <a:prstGeom prst="line">
              <a:avLst/>
            </a:prstGeom>
            <a:noFill/>
            <a:ln w="9525" cap="flat" cmpd="sng" algn="ctr">
              <a:solidFill>
                <a:schemeClr val="accent1"/>
              </a:solidFill>
              <a:prstDash val="solid"/>
            </a:ln>
            <a:effectLst/>
          </p:spPr>
        </p:cxnSp>
        <p:grpSp>
          <p:nvGrpSpPr>
            <p:cNvPr id="264" name="Groep 263"/>
            <p:cNvGrpSpPr/>
            <p:nvPr userDrawn="1"/>
          </p:nvGrpSpPr>
          <p:grpSpPr>
            <a:xfrm>
              <a:off x="-1948476" y="816741"/>
              <a:ext cx="409108" cy="427699"/>
              <a:chOff x="-1085063" y="758027"/>
              <a:chExt cx="633799" cy="622540"/>
            </a:xfrm>
          </p:grpSpPr>
          <p:sp>
            <p:nvSpPr>
              <p:cNvPr id="320" name="Afgeronde rechthoek 319"/>
              <p:cNvSpPr/>
              <p:nvPr userDrawn="1"/>
            </p:nvSpPr>
            <p:spPr>
              <a:xfrm>
                <a:off x="-108506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321" name="Groep 320"/>
              <p:cNvGrpSpPr/>
              <p:nvPr userDrawn="1"/>
            </p:nvGrpSpPr>
            <p:grpSpPr>
              <a:xfrm>
                <a:off x="-977739" y="864082"/>
                <a:ext cx="419168" cy="410429"/>
                <a:chOff x="6366933" y="309013"/>
                <a:chExt cx="1901295" cy="1861668"/>
              </a:xfrm>
              <a:solidFill>
                <a:srgbClr val="000000"/>
              </a:solidFill>
            </p:grpSpPr>
            <p:sp>
              <p:nvSpPr>
                <p:cNvPr id="322" name="Rechthoek 321"/>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23" name="Rechthoek 322"/>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24" name="Rechthoek 323"/>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25" name="Rechthoek 324"/>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26" name="Rechthoek 325"/>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27" name="Rechthoek 326"/>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28" name="Rechthoek 327"/>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29" name="Rechthoek 328"/>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30" name="Rechthoek 329"/>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31" name="Rechthoek 330"/>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32" name="Vrije vorm 331"/>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nvGrpSpPr>
            <p:cNvPr id="265" name="Groep 264"/>
            <p:cNvGrpSpPr/>
            <p:nvPr userDrawn="1"/>
          </p:nvGrpSpPr>
          <p:grpSpPr>
            <a:xfrm>
              <a:off x="-2950232" y="1207835"/>
              <a:ext cx="532929" cy="509563"/>
              <a:chOff x="-2880382" y="802341"/>
              <a:chExt cx="532929" cy="509563"/>
            </a:xfrm>
          </p:grpSpPr>
          <p:sp>
            <p:nvSpPr>
              <p:cNvPr id="298" name="Rechthoek 297"/>
              <p:cNvSpPr/>
              <p:nvPr userDrawn="1"/>
            </p:nvSpPr>
            <p:spPr>
              <a:xfrm>
                <a:off x="-2880382" y="802341"/>
                <a:ext cx="532929" cy="509563"/>
              </a:xfrm>
              <a:prstGeom prst="rect">
                <a:avLst/>
              </a:prstGeom>
              <a:solidFill>
                <a:sysClr val="window" lastClr="FFFFFF"/>
              </a:soli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pic>
            <p:nvPicPr>
              <p:cNvPr id="299"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635852" y="822181"/>
                <a:ext cx="226442" cy="208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0"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848026" y="822181"/>
                <a:ext cx="207168" cy="213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01" name="Groep 300"/>
              <p:cNvGrpSpPr/>
              <p:nvPr userDrawn="1"/>
            </p:nvGrpSpPr>
            <p:grpSpPr>
              <a:xfrm>
                <a:off x="-2802433" y="1123442"/>
                <a:ext cx="132915" cy="104889"/>
                <a:chOff x="-2796392" y="1123442"/>
                <a:chExt cx="120832" cy="104889"/>
              </a:xfrm>
            </p:grpSpPr>
            <p:sp>
              <p:nvSpPr>
                <p:cNvPr id="315" name="Rechthoek 314"/>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6" name="Rechthoek 315"/>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7" name="Rechthoek 316"/>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8" name="Rechthoek 317"/>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9" name="Rechthoek 318"/>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302" name="Groep 301"/>
              <p:cNvGrpSpPr/>
              <p:nvPr userDrawn="1"/>
            </p:nvGrpSpPr>
            <p:grpSpPr>
              <a:xfrm>
                <a:off x="-2575417" y="1123442"/>
                <a:ext cx="133930" cy="104889"/>
                <a:chOff x="-2556734" y="1123442"/>
                <a:chExt cx="147324" cy="104889"/>
              </a:xfrm>
            </p:grpSpPr>
            <p:grpSp>
              <p:nvGrpSpPr>
                <p:cNvPr id="303" name="Groep 302"/>
                <p:cNvGrpSpPr/>
                <p:nvPr userDrawn="1"/>
              </p:nvGrpSpPr>
              <p:grpSpPr>
                <a:xfrm>
                  <a:off x="-2556734" y="1123442"/>
                  <a:ext cx="68206" cy="104889"/>
                  <a:chOff x="-2796392" y="1123442"/>
                  <a:chExt cx="120832" cy="104889"/>
                </a:xfrm>
              </p:grpSpPr>
              <p:sp>
                <p:nvSpPr>
                  <p:cNvPr id="310" name="Rechthoek 309"/>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1" name="Rechthoek 310"/>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2" name="Rechthoek 311"/>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3" name="Rechthoek 312"/>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4" name="Rechthoek 313"/>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304" name="Groep 303"/>
                <p:cNvGrpSpPr/>
                <p:nvPr userDrawn="1"/>
              </p:nvGrpSpPr>
              <p:grpSpPr>
                <a:xfrm>
                  <a:off x="-2477616" y="1123442"/>
                  <a:ext cx="68206" cy="104889"/>
                  <a:chOff x="-2796392" y="1123442"/>
                  <a:chExt cx="120832" cy="104889"/>
                </a:xfrm>
              </p:grpSpPr>
              <p:sp>
                <p:nvSpPr>
                  <p:cNvPr id="305" name="Rechthoek 304"/>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6" name="Rechthoek 305"/>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7" name="Rechthoek 306"/>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8" name="Rechthoek 307"/>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9" name="Rechthoek 308"/>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grpSp>
          <p:nvGrpSpPr>
            <p:cNvPr id="266" name="Groep 265"/>
            <p:cNvGrpSpPr/>
            <p:nvPr userDrawn="1"/>
          </p:nvGrpSpPr>
          <p:grpSpPr>
            <a:xfrm>
              <a:off x="-1948476" y="1281164"/>
              <a:ext cx="413704" cy="427699"/>
              <a:chOff x="-1845083" y="758027"/>
              <a:chExt cx="633799" cy="622540"/>
            </a:xfrm>
          </p:grpSpPr>
          <p:sp>
            <p:nvSpPr>
              <p:cNvPr id="285" name="Afgeronde rechthoek 284"/>
              <p:cNvSpPr/>
              <p:nvPr userDrawn="1"/>
            </p:nvSpPr>
            <p:spPr>
              <a:xfrm>
                <a:off x="-184508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286" name="Groep 285"/>
              <p:cNvGrpSpPr/>
              <p:nvPr userDrawn="1"/>
            </p:nvGrpSpPr>
            <p:grpSpPr>
              <a:xfrm>
                <a:off x="-1737762" y="864082"/>
                <a:ext cx="419168" cy="410429"/>
                <a:chOff x="3708400" y="309013"/>
                <a:chExt cx="1901295" cy="1861668"/>
              </a:xfrm>
              <a:solidFill>
                <a:srgbClr val="000000"/>
              </a:solidFill>
            </p:grpSpPr>
            <p:sp>
              <p:nvSpPr>
                <p:cNvPr id="287" name="Rechthoek 286"/>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8" name="Rechthoek 287"/>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9" name="Rechthoek 288"/>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0" name="Rechthoek 289"/>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1" name="Rechthoek 290"/>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2" name="Rechthoek 291"/>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3" name="Rechthoek 292"/>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4" name="Rechthoek 293"/>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5" name="Rechthoek 294"/>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6" name="Rechthoek 295"/>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7" name="Vrije vorm 296"/>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cxnSp>
          <p:nvCxnSpPr>
            <p:cNvPr id="267" name="Rechte verbindingslijn 266"/>
            <p:cNvCxnSpPr/>
            <p:nvPr userDrawn="1"/>
          </p:nvCxnSpPr>
          <p:spPr>
            <a:xfrm>
              <a:off x="-2814292" y="1441193"/>
              <a:ext cx="865816" cy="53821"/>
            </a:xfrm>
            <a:prstGeom prst="line">
              <a:avLst/>
            </a:prstGeom>
            <a:noFill/>
            <a:ln w="9525" cap="flat" cmpd="sng" algn="ctr">
              <a:solidFill>
                <a:schemeClr val="accent1"/>
              </a:solidFill>
              <a:prstDash val="solid"/>
              <a:headEnd type="oval"/>
            </a:ln>
            <a:effectLst/>
          </p:spPr>
        </p:cxnSp>
        <p:cxnSp>
          <p:nvCxnSpPr>
            <p:cNvPr id="268" name="Rechte verbindingslijn 267"/>
            <p:cNvCxnSpPr/>
            <p:nvPr userDrawn="1"/>
          </p:nvCxnSpPr>
          <p:spPr>
            <a:xfrm flipV="1">
              <a:off x="-2453902" y="1030591"/>
              <a:ext cx="505426" cy="283623"/>
            </a:xfrm>
            <a:prstGeom prst="line">
              <a:avLst/>
            </a:prstGeom>
            <a:noFill/>
            <a:ln w="9525" cap="flat" cmpd="sng" algn="ctr">
              <a:solidFill>
                <a:schemeClr val="accent1"/>
              </a:solidFill>
              <a:prstDash val="solid"/>
              <a:headEnd type="oval"/>
            </a:ln>
            <a:effectLst/>
          </p:spPr>
        </p:cxnSp>
        <p:sp>
          <p:nvSpPr>
            <p:cNvPr id="269" name="Textfield placeholder"/>
            <p:cNvSpPr txBox="1">
              <a:spLocks/>
            </p:cNvSpPr>
            <p:nvPr userDrawn="1"/>
          </p:nvSpPr>
          <p:spPr>
            <a:xfrm>
              <a:off x="-1341598" y="816743"/>
              <a:ext cx="1056968" cy="427698"/>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hoog</a:t>
              </a:r>
            </a:p>
          </p:txBody>
        </p:sp>
        <p:sp>
          <p:nvSpPr>
            <p:cNvPr id="270" name="Textfield placeholder"/>
            <p:cNvSpPr txBox="1">
              <a:spLocks/>
            </p:cNvSpPr>
            <p:nvPr userDrawn="1"/>
          </p:nvSpPr>
          <p:spPr>
            <a:xfrm>
              <a:off x="-1341599" y="1281164"/>
              <a:ext cx="1070223" cy="427699"/>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laag</a:t>
              </a:r>
            </a:p>
          </p:txBody>
        </p:sp>
        <p:sp>
          <p:nvSpPr>
            <p:cNvPr id="271" name="Ovaal 270"/>
            <p:cNvSpPr/>
            <p:nvPr userDrawn="1"/>
          </p:nvSpPr>
          <p:spPr>
            <a:xfrm>
              <a:off x="-2959433" y="338208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5</a:t>
              </a:r>
            </a:p>
          </p:txBody>
        </p:sp>
        <p:sp>
          <p:nvSpPr>
            <p:cNvPr id="272" name="Textfield placeholder"/>
            <p:cNvSpPr txBox="1">
              <a:spLocks/>
            </p:cNvSpPr>
            <p:nvPr userDrawn="1"/>
          </p:nvSpPr>
          <p:spPr>
            <a:xfrm>
              <a:off x="-2571950" y="3382082"/>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60000" lvl="4" indent="-360000" defTabSz="179388">
                <a:lnSpc>
                  <a:spcPct val="120000"/>
                </a:lnSpc>
                <a:spcBef>
                  <a:spcPts val="0"/>
                </a:spcBef>
                <a:spcAft>
                  <a:spcPts val="900"/>
                </a:spcAft>
                <a:buClr>
                  <a:srgbClr val="ED1A3B"/>
                </a:buClr>
                <a:buFont typeface="+mj-lt"/>
                <a:buAutoNum type="arabicPeriod"/>
                <a:defRPr/>
              </a:pPr>
              <a:r>
                <a:rPr lang="nl-NL" sz="1200" b="0" dirty="0">
                  <a:solidFill>
                    <a:srgbClr val="404040"/>
                  </a:solidFill>
                </a:rPr>
                <a:t>Numeriek (16 pt.)</a:t>
              </a:r>
            </a:p>
          </p:txBody>
        </p:sp>
        <p:grpSp>
          <p:nvGrpSpPr>
            <p:cNvPr id="273" name="Groep 272"/>
            <p:cNvGrpSpPr/>
            <p:nvPr userDrawn="1"/>
          </p:nvGrpSpPr>
          <p:grpSpPr>
            <a:xfrm>
              <a:off x="-2950232" y="816050"/>
              <a:ext cx="528695" cy="344202"/>
              <a:chOff x="-2880382" y="410556"/>
              <a:chExt cx="528695" cy="344202"/>
            </a:xfrm>
          </p:grpSpPr>
          <p:sp>
            <p:nvSpPr>
              <p:cNvPr id="283" name="Afgeronde rechthoek 282"/>
              <p:cNvSpPr/>
              <p:nvPr userDrawn="1"/>
            </p:nvSpPr>
            <p:spPr>
              <a:xfrm>
                <a:off x="-2874214" y="410556"/>
                <a:ext cx="522527" cy="339183"/>
              </a:xfrm>
              <a:prstGeom prst="roundRect">
                <a:avLst>
                  <a:gd name="adj" fmla="val 7565"/>
                </a:avLst>
              </a:prstGeom>
              <a:gradFill>
                <a:gsLst>
                  <a:gs pos="0">
                    <a:srgbClr val="FFEC8F"/>
                  </a:gs>
                  <a:gs pos="100000">
                    <a:srgbClr val="FFFFFF"/>
                  </a:gs>
                </a:gsLst>
                <a:lin ang="5400000" scaled="0"/>
              </a:gra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sp>
            <p:nvSpPr>
              <p:cNvPr id="284" name="Vrije vorm 283"/>
              <p:cNvSpPr/>
              <p:nvPr userDrawn="1"/>
            </p:nvSpPr>
            <p:spPr>
              <a:xfrm>
                <a:off x="-2880382" y="452699"/>
                <a:ext cx="528695" cy="302059"/>
              </a:xfrm>
              <a:custGeom>
                <a:avLst/>
                <a:gdLst>
                  <a:gd name="connsiteX0" fmla="*/ 55524 w 528695"/>
                  <a:gd name="connsiteY0" fmla="*/ 0 h 302059"/>
                  <a:gd name="connsiteX1" fmla="*/ 455496 w 528695"/>
                  <a:gd name="connsiteY1" fmla="*/ 0 h 302059"/>
                  <a:gd name="connsiteX2" fmla="*/ 475205 w 528695"/>
                  <a:gd name="connsiteY2" fmla="*/ 19709 h 302059"/>
                  <a:gd name="connsiteX3" fmla="*/ 475205 w 528695"/>
                  <a:gd name="connsiteY3" fmla="*/ 230056 h 302059"/>
                  <a:gd name="connsiteX4" fmla="*/ 516694 w 528695"/>
                  <a:gd name="connsiteY4" fmla="*/ 230056 h 302059"/>
                  <a:gd name="connsiteX5" fmla="*/ 528695 w 528695"/>
                  <a:gd name="connsiteY5" fmla="*/ 242057 h 302059"/>
                  <a:gd name="connsiteX6" fmla="*/ 528695 w 528695"/>
                  <a:gd name="connsiteY6" fmla="*/ 290058 h 302059"/>
                  <a:gd name="connsiteX7" fmla="*/ 516694 w 528695"/>
                  <a:gd name="connsiteY7" fmla="*/ 302059 h 302059"/>
                  <a:gd name="connsiteX8" fmla="*/ 12001 w 528695"/>
                  <a:gd name="connsiteY8" fmla="*/ 302059 h 302059"/>
                  <a:gd name="connsiteX9" fmla="*/ 0 w 528695"/>
                  <a:gd name="connsiteY9" fmla="*/ 290058 h 302059"/>
                  <a:gd name="connsiteX10" fmla="*/ 0 w 528695"/>
                  <a:gd name="connsiteY10" fmla="*/ 242057 h 302059"/>
                  <a:gd name="connsiteX11" fmla="*/ 12001 w 528695"/>
                  <a:gd name="connsiteY11" fmla="*/ 230056 h 302059"/>
                  <a:gd name="connsiteX12" fmla="*/ 35815 w 528695"/>
                  <a:gd name="connsiteY12" fmla="*/ 230056 h 302059"/>
                  <a:gd name="connsiteX13" fmla="*/ 35815 w 528695"/>
                  <a:gd name="connsiteY13" fmla="*/ 19709 h 302059"/>
                  <a:gd name="connsiteX14" fmla="*/ 55524 w 528695"/>
                  <a:gd name="connsiteY14" fmla="*/ 0 h 3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8695" h="302059">
                    <a:moveTo>
                      <a:pt x="55524" y="0"/>
                    </a:moveTo>
                    <a:lnTo>
                      <a:pt x="455496" y="0"/>
                    </a:lnTo>
                    <a:cubicBezTo>
                      <a:pt x="466381" y="0"/>
                      <a:pt x="475205" y="8824"/>
                      <a:pt x="475205" y="19709"/>
                    </a:cubicBezTo>
                    <a:lnTo>
                      <a:pt x="475205" y="230056"/>
                    </a:lnTo>
                    <a:lnTo>
                      <a:pt x="516694" y="230056"/>
                    </a:lnTo>
                    <a:cubicBezTo>
                      <a:pt x="523322" y="230056"/>
                      <a:pt x="528695" y="235429"/>
                      <a:pt x="528695" y="242057"/>
                    </a:cubicBezTo>
                    <a:lnTo>
                      <a:pt x="528695" y="290058"/>
                    </a:lnTo>
                    <a:cubicBezTo>
                      <a:pt x="528695" y="296686"/>
                      <a:pt x="523322" y="302059"/>
                      <a:pt x="516694" y="302059"/>
                    </a:cubicBezTo>
                    <a:lnTo>
                      <a:pt x="12001" y="302059"/>
                    </a:lnTo>
                    <a:cubicBezTo>
                      <a:pt x="5373" y="302059"/>
                      <a:pt x="0" y="296686"/>
                      <a:pt x="0" y="290058"/>
                    </a:cubicBezTo>
                    <a:lnTo>
                      <a:pt x="0" y="242057"/>
                    </a:lnTo>
                    <a:cubicBezTo>
                      <a:pt x="0" y="235429"/>
                      <a:pt x="5373" y="230056"/>
                      <a:pt x="12001" y="230056"/>
                    </a:cubicBezTo>
                    <a:lnTo>
                      <a:pt x="35815" y="230056"/>
                    </a:lnTo>
                    <a:lnTo>
                      <a:pt x="35815" y="19709"/>
                    </a:lnTo>
                    <a:cubicBezTo>
                      <a:pt x="35815" y="8824"/>
                      <a:pt x="44639" y="0"/>
                      <a:pt x="55524" y="0"/>
                    </a:cubicBezTo>
                    <a:close/>
                  </a:path>
                </a:pathLst>
              </a:custGeom>
              <a:solidFill>
                <a:sysClr val="window" lastClr="FFFFFF">
                  <a:lumMod val="95000"/>
                </a:sysClr>
              </a:solidFill>
              <a:ln w="9525" cap="flat" cmpd="sng" algn="ctr">
                <a:solidFill>
                  <a:srgbClr val="FFFFFF">
                    <a:lumMod val="90000"/>
                  </a:srgbClr>
                </a:solidFill>
                <a:prstDash val="solid"/>
                <a:miter lim="800000"/>
              </a:ln>
              <a:effectLst/>
            </p:spPr>
            <p:txBody>
              <a:bodyPr rot="0" spcFirstLastPara="0" vert="horz" wrap="square" lIns="108000" tIns="36000" rIns="108000" bIns="10800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900" dirty="0">
                    <a:solidFill>
                      <a:prstClr val="black"/>
                    </a:solidFill>
                    <a:latin typeface="Segoe UI Light"/>
                  </a:rPr>
                  <a:t>Start</a:t>
                </a:r>
              </a:p>
            </p:txBody>
          </p:sp>
        </p:grpSp>
        <p:sp>
          <p:nvSpPr>
            <p:cNvPr id="274" name="Tekstvak 65"/>
            <p:cNvSpPr txBox="1"/>
            <p:nvPr userDrawn="1"/>
          </p:nvSpPr>
          <p:spPr>
            <a:xfrm>
              <a:off x="-2959433" y="372104"/>
              <a:ext cx="2679887" cy="453396"/>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nl-NL" sz="1200" kern="0" dirty="0">
                  <a:solidFill>
                    <a:srgbClr val="000000"/>
                  </a:solidFill>
                  <a:latin typeface="Segoe UI Light" panose="020B0502040204020203" pitchFamily="34" charset="0"/>
                  <a:cs typeface="Segoe UI Light" panose="020B0502040204020203" pitchFamily="34" charset="0"/>
                </a:rPr>
                <a:t>Ga naar de tab </a:t>
              </a:r>
              <a:r>
                <a:rPr lang="nl-NL" sz="1200" b="1" kern="0" dirty="0">
                  <a:solidFill>
                    <a:srgbClr val="000000"/>
                  </a:solidFill>
                  <a:latin typeface="Segoe UI Light" panose="020B0502040204020203" pitchFamily="34" charset="0"/>
                  <a:cs typeface="Segoe UI Light" panose="020B0502040204020203" pitchFamily="34" charset="0"/>
                </a:rPr>
                <a:t>Start’ </a:t>
              </a:r>
              <a:r>
                <a:rPr lang="nl-NL" sz="1200" kern="0" dirty="0">
                  <a:solidFill>
                    <a:srgbClr val="000000"/>
                  </a:solidFill>
                  <a:latin typeface="Segoe UI Light" panose="020B0502040204020203" pitchFamily="34" charset="0"/>
                  <a:cs typeface="Segoe UI Light" panose="020B0502040204020203" pitchFamily="34" charset="0"/>
                </a:rPr>
                <a:t>en vind onderstaande knoppen onder </a:t>
              </a:r>
              <a:r>
                <a:rPr lang="nl-NL" sz="1200" b="1" kern="0" dirty="0">
                  <a:solidFill>
                    <a:srgbClr val="000000"/>
                  </a:solidFill>
                  <a:latin typeface="Segoe UI Light" panose="020B0502040204020203" pitchFamily="34" charset="0"/>
                  <a:cs typeface="Segoe UI Light" panose="020B0502040204020203" pitchFamily="34" charset="0"/>
                </a:rPr>
                <a:t>‘Alinea’</a:t>
              </a:r>
            </a:p>
          </p:txBody>
        </p:sp>
        <p:sp>
          <p:nvSpPr>
            <p:cNvPr id="275" name="Ovaal 274"/>
            <p:cNvSpPr/>
            <p:nvPr userDrawn="1"/>
          </p:nvSpPr>
          <p:spPr>
            <a:xfrm>
              <a:off x="-2959433" y="375153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6</a:t>
              </a:r>
            </a:p>
          </p:txBody>
        </p:sp>
        <p:sp>
          <p:nvSpPr>
            <p:cNvPr id="276" name="Textfield placeholder"/>
            <p:cNvSpPr txBox="1">
              <a:spLocks/>
            </p:cNvSpPr>
            <p:nvPr userDrawn="1"/>
          </p:nvSpPr>
          <p:spPr>
            <a:xfrm>
              <a:off x="-2571950" y="3751536"/>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0000" lvl="5" indent="-270000" defTabSz="179388">
                <a:lnSpc>
                  <a:spcPct val="120000"/>
                </a:lnSpc>
                <a:spcAft>
                  <a:spcPts val="900"/>
                </a:spcAft>
                <a:buClr>
                  <a:srgbClr val="ED1A3B"/>
                </a:buClr>
                <a:buSzPct val="80000"/>
                <a:buFont typeface="Wingdings 3" panose="05040102010807070707" pitchFamily="18" charset="2"/>
                <a:buChar char=""/>
                <a:defRPr/>
              </a:pPr>
              <a:r>
                <a:rPr lang="nl-NL" sz="1200" cap="none" dirty="0">
                  <a:solidFill>
                    <a:srgbClr val="535353"/>
                  </a:solidFill>
                </a:rPr>
                <a:t># Bullets (16 pt.)</a:t>
              </a:r>
            </a:p>
          </p:txBody>
        </p:sp>
        <p:sp>
          <p:nvSpPr>
            <p:cNvPr id="277" name="Ovaal 276"/>
            <p:cNvSpPr/>
            <p:nvPr userDrawn="1"/>
          </p:nvSpPr>
          <p:spPr>
            <a:xfrm>
              <a:off x="-2959433" y="414870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7</a:t>
              </a:r>
            </a:p>
          </p:txBody>
        </p:sp>
        <p:sp>
          <p:nvSpPr>
            <p:cNvPr id="278" name="Textfield placeholder"/>
            <p:cNvSpPr txBox="1">
              <a:spLocks/>
            </p:cNvSpPr>
            <p:nvPr userDrawn="1"/>
          </p:nvSpPr>
          <p:spPr>
            <a:xfrm>
              <a:off x="-2571950" y="414870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6" indent="0" defTabSz="179388">
                <a:lnSpc>
                  <a:spcPct val="120000"/>
                </a:lnSpc>
                <a:spcBef>
                  <a:spcPts val="0"/>
                </a:spcBef>
                <a:spcAft>
                  <a:spcPts val="900"/>
                </a:spcAft>
                <a:buClr>
                  <a:srgbClr val="ED1A3B"/>
                </a:buClr>
                <a:buSzPct val="90000"/>
                <a:buFont typeface="+mj-lt"/>
                <a:buNone/>
                <a:defRPr/>
              </a:pPr>
              <a:r>
                <a:rPr lang="nl-NL" sz="1200" i="1" dirty="0">
                  <a:solidFill>
                    <a:srgbClr val="404040"/>
                  </a:solidFill>
                </a:rPr>
                <a:t>Cursief donker (16 pt.)</a:t>
              </a:r>
            </a:p>
          </p:txBody>
        </p:sp>
        <p:sp>
          <p:nvSpPr>
            <p:cNvPr id="279" name="Ovaal 278"/>
            <p:cNvSpPr/>
            <p:nvPr userDrawn="1"/>
          </p:nvSpPr>
          <p:spPr>
            <a:xfrm>
              <a:off x="-2959433" y="454586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8</a:t>
              </a:r>
            </a:p>
          </p:txBody>
        </p:sp>
        <p:sp>
          <p:nvSpPr>
            <p:cNvPr id="280" name="Textfield placeholder"/>
            <p:cNvSpPr txBox="1">
              <a:spLocks/>
            </p:cNvSpPr>
            <p:nvPr userDrawn="1"/>
          </p:nvSpPr>
          <p:spPr>
            <a:xfrm>
              <a:off x="-2571950" y="4545864"/>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7" indent="0" defTabSz="179388">
                <a:lnSpc>
                  <a:spcPct val="80000"/>
                </a:lnSpc>
                <a:spcBef>
                  <a:spcPts val="0"/>
                </a:spcBef>
                <a:spcAft>
                  <a:spcPts val="900"/>
                </a:spcAft>
                <a:buClr>
                  <a:srgbClr val="ED1A3B"/>
                </a:buClr>
                <a:buFont typeface="Arial" pitchFamily="34" charset="0"/>
                <a:buNone/>
                <a:defRPr/>
              </a:pPr>
              <a:r>
                <a:rPr lang="nl-NL" sz="1200" i="1" dirty="0">
                  <a:solidFill>
                    <a:srgbClr val="A3B0C0"/>
                  </a:solidFill>
                </a:rPr>
                <a:t>Cursief Licht (16 pt.)</a:t>
              </a:r>
            </a:p>
          </p:txBody>
        </p:sp>
        <p:sp>
          <p:nvSpPr>
            <p:cNvPr id="281" name="Ovaal 280"/>
            <p:cNvSpPr/>
            <p:nvPr userDrawn="1"/>
          </p:nvSpPr>
          <p:spPr>
            <a:xfrm>
              <a:off x="-2959433" y="488761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9</a:t>
              </a:r>
            </a:p>
          </p:txBody>
        </p:sp>
        <p:sp>
          <p:nvSpPr>
            <p:cNvPr id="282" name="Textfield placeholder"/>
            <p:cNvSpPr txBox="1">
              <a:spLocks/>
            </p:cNvSpPr>
            <p:nvPr userDrawn="1"/>
          </p:nvSpPr>
          <p:spPr>
            <a:xfrm>
              <a:off x="-2571950" y="488761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8" indent="0" defTabSz="179388">
                <a:lnSpc>
                  <a:spcPct val="80000"/>
                </a:lnSpc>
                <a:spcBef>
                  <a:spcPts val="0"/>
                </a:spcBef>
                <a:spcAft>
                  <a:spcPts val="900"/>
                </a:spcAft>
                <a:buClr>
                  <a:srgbClr val="ED1A3B"/>
                </a:buClr>
                <a:buFont typeface="Arial" pitchFamily="34" charset="0"/>
                <a:buNone/>
                <a:defRPr/>
              </a:pPr>
              <a:r>
                <a:rPr lang="nl-NL" sz="1400" b="1" dirty="0">
                  <a:solidFill>
                    <a:srgbClr val="ED1A3B"/>
                  </a:solidFill>
                </a:rPr>
                <a:t>Subtitel (18 pt.)</a:t>
              </a:r>
            </a:p>
          </p:txBody>
        </p:sp>
      </p:grpSp>
      <p:sp>
        <p:nvSpPr>
          <p:cNvPr id="118" name="Hyperlink - Inhoudsopgave">
            <a:hlinkClick r:id="rId4" action="ppaction://hlinksldjump"/>
          </p:cNvPr>
          <p:cNvSpPr/>
          <p:nvPr userDrawn="1"/>
        </p:nvSpPr>
        <p:spPr>
          <a:xfrm>
            <a:off x="10197856" y="5889801"/>
            <a:ext cx="2000494" cy="968199"/>
          </a:xfrm>
          <a:prstGeom prst="rect">
            <a:avLst/>
          </a:prstGeom>
          <a:solidFill>
            <a:srgbClr val="ED1A3B">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24" name="Grijze achtergrond"/>
          <p:cNvSpPr/>
          <p:nvPr/>
        </p:nvSpPr>
        <p:spPr>
          <a:xfrm>
            <a:off x="7933303" y="1358671"/>
            <a:ext cx="3600937" cy="444046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en-GB">
              <a:solidFill>
                <a:srgbClr val="FFFFFF"/>
              </a:solidFill>
            </a:endParaRPr>
          </a:p>
        </p:txBody>
      </p:sp>
      <p:cxnSp>
        <p:nvCxnSpPr>
          <p:cNvPr id="142" name="Grijze lijn - onder"/>
          <p:cNvCxnSpPr/>
          <p:nvPr userDrawn="1"/>
        </p:nvCxnSpPr>
        <p:spPr>
          <a:xfrm flipH="1">
            <a:off x="7933303" y="5776291"/>
            <a:ext cx="3600937"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3" name="Grijze lijn - boven"/>
          <p:cNvCxnSpPr/>
          <p:nvPr userDrawn="1"/>
        </p:nvCxnSpPr>
        <p:spPr>
          <a:xfrm flipH="1">
            <a:off x="664804" y="1358670"/>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40" name="Tijdelijke aanduiding voor Dianummer"/>
          <p:cNvSpPr>
            <a:spLocks noGrp="1"/>
          </p:cNvSpPr>
          <p:nvPr>
            <p:ph type="sldNum" sz="quarter" idx="4"/>
          </p:nvPr>
        </p:nvSpPr>
        <p:spPr>
          <a:xfrm>
            <a:off x="5770549" y="6295992"/>
            <a:ext cx="657251" cy="365125"/>
          </a:xfrm>
          <a:prstGeom prst="rect">
            <a:avLst/>
          </a:prstGeom>
        </p:spPr>
        <p:txBody>
          <a:bodyPr vert="horz" lIns="91440" tIns="45720" rIns="91440" bIns="45720" rtlCol="0" anchor="ctr"/>
          <a:lstStyle>
            <a:lvl1pPr algn="ctr">
              <a:defRPr sz="800">
                <a:solidFill>
                  <a:schemeClr val="tx1">
                    <a:tint val="75000"/>
                  </a:schemeClr>
                </a:solidFill>
              </a:defRPr>
            </a:lvl1pPr>
          </a:lstStyle>
          <a:p>
            <a:fld id="{1B3FA67A-C720-417A-A072-0CD211FD8662}" type="slidenum">
              <a:rPr lang="nl-NL" smtClean="0">
                <a:solidFill>
                  <a:srgbClr val="000000">
                    <a:tint val="75000"/>
                  </a:srgbClr>
                </a:solidFill>
              </a:rPr>
              <a:pPr/>
              <a:t>‹nr.›</a:t>
            </a:fld>
            <a:endParaRPr lang="nl-NL" dirty="0">
              <a:solidFill>
                <a:srgbClr val="000000">
                  <a:tint val="75000"/>
                </a:srgbClr>
              </a:solidFill>
            </a:endParaRPr>
          </a:p>
        </p:txBody>
      </p:sp>
      <p:sp>
        <p:nvSpPr>
          <p:cNvPr id="12" name="Tijdelijke aanduiding voor SmartArt"/>
          <p:cNvSpPr>
            <a:spLocks noGrp="1"/>
          </p:cNvSpPr>
          <p:nvPr>
            <p:ph type="dgm" sz="quarter" idx="15"/>
          </p:nvPr>
        </p:nvSpPr>
        <p:spPr>
          <a:xfrm>
            <a:off x="8273592" y="1720867"/>
            <a:ext cx="2920360" cy="3693600"/>
          </a:xfrm>
        </p:spPr>
        <p:txBody>
          <a:bodyPr anchor="ctr"/>
          <a:lstStyle>
            <a:lvl1pPr algn="ctr">
              <a:defRPr/>
            </a:lvl1pPr>
          </a:lstStyle>
          <a:p>
            <a:r>
              <a:rPr lang="nl-NL"/>
              <a:t>Klik op het pictogram om een SmartArt-graphic toe te voegen</a:t>
            </a:r>
            <a:endParaRPr lang="en-GB"/>
          </a:p>
        </p:txBody>
      </p:sp>
      <p:sp>
        <p:nvSpPr>
          <p:cNvPr id="3" name="Tijdelijke aanduiding voor Tekst"/>
          <p:cNvSpPr>
            <a:spLocks noGrp="1"/>
          </p:cNvSpPr>
          <p:nvPr>
            <p:ph type="body" orient="vert" idx="1" hasCustomPrompt="1"/>
          </p:nvPr>
        </p:nvSpPr>
        <p:spPr>
          <a:xfrm>
            <a:off x="664109" y="1720867"/>
            <a:ext cx="6841781" cy="3693600"/>
          </a:xfrm>
        </p:spPr>
        <p:txBody>
          <a:bodyPr vert="horz"/>
          <a:lstStyle>
            <a:lvl1pPr>
              <a:defRPr sz="1600"/>
            </a:lvl1pPr>
            <a:lvl2pPr>
              <a:defRPr sz="1600"/>
            </a:lvl2pPr>
            <a:lvl3pPr>
              <a:defRPr sz="1600"/>
            </a:lvl3pPr>
            <a:lvl4pPr>
              <a:defRPr sz="1600"/>
            </a:lvl4pPr>
            <a:lvl5pPr>
              <a:defRPr sz="1600"/>
            </a:lvl5pPr>
            <a:lvl6pPr>
              <a:defRPr sz="1600"/>
            </a:lvl6pPr>
            <a:lvl7pPr>
              <a:defRPr sz="1600"/>
            </a:lvl7pPr>
            <a:lvl8pPr>
              <a:defRPr sz="1600"/>
            </a:lvl8pPr>
          </a:lstStyle>
          <a:p>
            <a:pPr lvl="0"/>
            <a:r>
              <a:rPr lang="nl-NL" dirty="0"/>
              <a:t>Leestekst</a:t>
            </a:r>
          </a:p>
          <a:p>
            <a:pPr lvl="1"/>
            <a:r>
              <a:rPr lang="nl-NL" dirty="0"/>
              <a:t>Bullets</a:t>
            </a:r>
          </a:p>
          <a:p>
            <a:pPr lvl="2"/>
            <a:r>
              <a:rPr lang="nl-NL" dirty="0"/>
              <a:t>Sub-bullets</a:t>
            </a:r>
          </a:p>
          <a:p>
            <a:pPr lvl="3"/>
            <a:r>
              <a:rPr lang="nl-NL" dirty="0"/>
              <a:t>Sub-sub-bullets</a:t>
            </a:r>
          </a:p>
          <a:p>
            <a:pPr lvl="4"/>
            <a:r>
              <a:rPr lang="nl-NL" dirty="0"/>
              <a:t>Numeriek</a:t>
            </a:r>
          </a:p>
          <a:p>
            <a:pPr lvl="5"/>
            <a:r>
              <a:rPr lang="nl-NL" dirty="0"/>
              <a:t># Bullets</a:t>
            </a:r>
          </a:p>
          <a:p>
            <a:pPr lvl="6"/>
            <a:r>
              <a:rPr lang="nl-NL" dirty="0"/>
              <a:t>Cursief donker</a:t>
            </a:r>
          </a:p>
          <a:p>
            <a:pPr lvl="7"/>
            <a:r>
              <a:rPr lang="nl-NL" dirty="0"/>
              <a:t>Cursief licht</a:t>
            </a:r>
          </a:p>
          <a:p>
            <a:pPr lvl="8"/>
            <a:r>
              <a:rPr lang="nl-NL" dirty="0"/>
              <a:t>Subtitel</a:t>
            </a:r>
          </a:p>
        </p:txBody>
      </p:sp>
      <p:sp>
        <p:nvSpPr>
          <p:cNvPr id="14" name="Tijdelijke aanduiding voor Subtitel"/>
          <p:cNvSpPr>
            <a:spLocks noGrp="1"/>
          </p:cNvSpPr>
          <p:nvPr>
            <p:ph type="body" idx="14"/>
          </p:nvPr>
        </p:nvSpPr>
        <p:spPr>
          <a:xfrm>
            <a:off x="664109" y="1001348"/>
            <a:ext cx="10870131" cy="317758"/>
          </a:xfrm>
        </p:spPr>
        <p:txBody>
          <a:bodyPr bIns="72000" anchor="t" anchorCtr="0"/>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15" name="Tijdelijke aanduiding voor Titel"/>
          <p:cNvSpPr>
            <a:spLocks noGrp="1"/>
          </p:cNvSpPr>
          <p:nvPr>
            <p:ph type="title"/>
          </p:nvPr>
        </p:nvSpPr>
        <p:spPr>
          <a:xfrm>
            <a:off x="664109" y="464521"/>
            <a:ext cx="10870131" cy="533219"/>
          </a:xfrm>
        </p:spPr>
        <p:txBody>
          <a:bodyPr/>
          <a:lstStyle/>
          <a:p>
            <a:r>
              <a:rPr lang="nl-NL"/>
              <a:t>Klik om stijl te bewerken</a:t>
            </a:r>
            <a:endParaRPr lang="nl-NL" dirty="0"/>
          </a:p>
        </p:txBody>
      </p:sp>
    </p:spTree>
    <p:extLst>
      <p:ext uri="{BB962C8B-B14F-4D97-AF65-F5344CB8AC3E}">
        <p14:creationId xmlns:p14="http://schemas.microsoft.com/office/powerpoint/2010/main" val="2514635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mart-art 50%">
    <p:spTree>
      <p:nvGrpSpPr>
        <p:cNvPr id="1" name=""/>
        <p:cNvGrpSpPr/>
        <p:nvPr/>
      </p:nvGrpSpPr>
      <p:grpSpPr>
        <a:xfrm>
          <a:off x="0" y="0"/>
          <a:ext cx="0" cy="0"/>
          <a:chOff x="0" y="0"/>
          <a:chExt cx="0" cy="0"/>
        </a:xfrm>
      </p:grpSpPr>
      <p:sp>
        <p:nvSpPr>
          <p:cNvPr id="129" name="Naam indeling - Smart-art 50%"/>
          <p:cNvSpPr txBox="1"/>
          <p:nvPr userDrawn="1"/>
        </p:nvSpPr>
        <p:spPr>
          <a:xfrm>
            <a:off x="1" y="-453266"/>
            <a:ext cx="3582333" cy="276999"/>
          </a:xfrm>
          <a:prstGeom prst="rect">
            <a:avLst/>
          </a:prstGeom>
          <a:noFill/>
        </p:spPr>
        <p:txBody>
          <a:bodyPr wrap="square" lIns="0" tIns="0" rIns="0" bIns="0" rtlCol="0">
            <a:spAutoFit/>
          </a:bodyPr>
          <a:lstStyle/>
          <a:p>
            <a:pPr defTabSz="914112"/>
            <a:r>
              <a:rPr lang="nl-NL" dirty="0">
                <a:solidFill>
                  <a:srgbClr val="404040"/>
                </a:solidFill>
                <a:latin typeface="Calibri" panose="020F0502020204030204" pitchFamily="34" charset="0"/>
              </a:rPr>
              <a:t>Smart-art 50%</a:t>
            </a:r>
            <a:endParaRPr lang="en-GB" dirty="0">
              <a:solidFill>
                <a:srgbClr val="404040"/>
              </a:solidFill>
              <a:latin typeface="Calibri" panose="020F0502020204030204" pitchFamily="34" charset="0"/>
            </a:endParaRPr>
          </a:p>
        </p:txBody>
      </p:sp>
      <p:grpSp>
        <p:nvGrpSpPr>
          <p:cNvPr id="212" name="Instructie - SmartArt invoegen"/>
          <p:cNvGrpSpPr/>
          <p:nvPr userDrawn="1"/>
        </p:nvGrpSpPr>
        <p:grpSpPr>
          <a:xfrm>
            <a:off x="12563365" y="-29362"/>
            <a:ext cx="2711112" cy="3676571"/>
            <a:chOff x="12441149" y="14897"/>
            <a:chExt cx="2710406" cy="3676571"/>
          </a:xfrm>
        </p:grpSpPr>
        <p:sp>
          <p:nvSpPr>
            <p:cNvPr id="213" name="Rechthoek 212"/>
            <p:cNvSpPr/>
            <p:nvPr/>
          </p:nvSpPr>
          <p:spPr>
            <a:xfrm>
              <a:off x="12441150" y="14897"/>
              <a:ext cx="2696270" cy="161771"/>
            </a:xfrm>
            <a:prstGeom prst="rect">
              <a:avLst/>
            </a:prstGeom>
            <a:noFill/>
            <a:ln w="25400" cap="flat" cmpd="sng" algn="ctr">
              <a:noFill/>
              <a:prstDash val="solid"/>
            </a:ln>
            <a:effectLst/>
          </p:spPr>
          <p:txBody>
            <a:bodyPr lIns="0" tIns="0" rIns="0" bIns="0" rtlCol="0" anchor="t"/>
            <a:lstStyle/>
            <a:p>
              <a:pPr defTabSz="914112">
                <a:lnSpc>
                  <a:spcPct val="80000"/>
                </a:lnSpc>
              </a:pPr>
              <a:r>
                <a:rPr lang="nl-NL" sz="1600" b="1" kern="0" cap="all" dirty="0">
                  <a:solidFill>
                    <a:srgbClr val="ED1A3B"/>
                  </a:solidFill>
                  <a:cs typeface="Segoe UI Light" panose="020B0502040204020203" pitchFamily="34" charset="0"/>
                </a:rPr>
                <a:t>SmartArt INVOEGEN</a:t>
              </a:r>
            </a:p>
          </p:txBody>
        </p:sp>
        <p:sp>
          <p:nvSpPr>
            <p:cNvPr id="214" name="Tekstvak 33"/>
            <p:cNvSpPr txBox="1"/>
            <p:nvPr/>
          </p:nvSpPr>
          <p:spPr>
            <a:xfrm>
              <a:off x="12441149" y="814239"/>
              <a:ext cx="2710405" cy="719877"/>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Indien nodig, verwijder de bestaande SmartArt. Klik op het pictogram om </a:t>
              </a:r>
              <a:br>
                <a:rPr lang="nl-NL" sz="1200" kern="0" dirty="0">
                  <a:solidFill>
                    <a:srgbClr val="000000"/>
                  </a:solidFill>
                  <a:latin typeface="Trebuchet MS"/>
                  <a:cs typeface="Segoe UI Light" panose="020B0502040204020203" pitchFamily="34" charset="0"/>
                </a:rPr>
              </a:br>
              <a:r>
                <a:rPr lang="nl-NL" sz="1200" kern="0" dirty="0">
                  <a:solidFill>
                    <a:srgbClr val="000000"/>
                  </a:solidFill>
                  <a:latin typeface="Trebuchet MS"/>
                  <a:cs typeface="Segoe UI Light" panose="020B0502040204020203" pitchFamily="34" charset="0"/>
                </a:rPr>
                <a:t>nieuwe SmartArt in te voegen</a:t>
              </a:r>
              <a:br>
                <a:rPr lang="nl-NL" sz="1200" kern="0" dirty="0">
                  <a:solidFill>
                    <a:srgbClr val="000000"/>
                  </a:solidFill>
                  <a:latin typeface="Trebuchet MS"/>
                  <a:cs typeface="Segoe UI Light" panose="020B0502040204020203" pitchFamily="34" charset="0"/>
                </a:rPr>
              </a:br>
              <a:r>
                <a:rPr lang="nl-NL" sz="1100" i="1" kern="0" dirty="0">
                  <a:solidFill>
                    <a:srgbClr val="000000"/>
                  </a:solidFill>
                  <a:latin typeface="Trebuchet MS"/>
                  <a:cs typeface="Segoe UI Light" panose="020B0502040204020203" pitchFamily="34" charset="0"/>
                </a:rPr>
                <a:t>(zie onderstaand voorbeeld).</a:t>
              </a:r>
            </a:p>
          </p:txBody>
        </p:sp>
        <p:sp>
          <p:nvSpPr>
            <p:cNvPr id="215" name="Tekstvak 33"/>
            <p:cNvSpPr txBox="1"/>
            <p:nvPr/>
          </p:nvSpPr>
          <p:spPr>
            <a:xfrm>
              <a:off x="12441149" y="2793904"/>
              <a:ext cx="2710405" cy="395943"/>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Selecteer de SmartArt die u wilt invoegen en klik op </a:t>
              </a:r>
              <a:r>
                <a:rPr lang="nl-NL" sz="1200" b="1" kern="0" dirty="0">
                  <a:solidFill>
                    <a:srgbClr val="000000"/>
                  </a:solidFill>
                  <a:latin typeface="Trebuchet MS"/>
                  <a:cs typeface="Segoe UI Light" panose="020B0502040204020203" pitchFamily="34" charset="0"/>
                </a:rPr>
                <a:t>‘Invoegen’</a:t>
              </a:r>
            </a:p>
          </p:txBody>
        </p:sp>
        <p:sp>
          <p:nvSpPr>
            <p:cNvPr id="216" name="Ovaal 215"/>
            <p:cNvSpPr/>
            <p:nvPr/>
          </p:nvSpPr>
          <p:spPr>
            <a:xfrm>
              <a:off x="12441150" y="379292"/>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1</a:t>
              </a:r>
            </a:p>
          </p:txBody>
        </p:sp>
        <p:sp>
          <p:nvSpPr>
            <p:cNvPr id="217" name="Ovaal 216"/>
            <p:cNvSpPr/>
            <p:nvPr/>
          </p:nvSpPr>
          <p:spPr>
            <a:xfrm>
              <a:off x="12441150" y="2337208"/>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2</a:t>
              </a:r>
            </a:p>
          </p:txBody>
        </p:sp>
        <p:cxnSp>
          <p:nvCxnSpPr>
            <p:cNvPr id="218" name="Rechte verbindingslijn 217"/>
            <p:cNvCxnSpPr/>
            <p:nvPr/>
          </p:nvCxnSpPr>
          <p:spPr>
            <a:xfrm>
              <a:off x="12441150" y="248176"/>
              <a:ext cx="2710405" cy="0"/>
            </a:xfrm>
            <a:prstGeom prst="line">
              <a:avLst/>
            </a:prstGeom>
            <a:noFill/>
            <a:ln w="9525" cap="flat" cmpd="sng" algn="ctr">
              <a:solidFill>
                <a:schemeClr val="accent1"/>
              </a:solidFill>
              <a:prstDash val="solid"/>
            </a:ln>
            <a:effectLst/>
          </p:spPr>
        </p:cxnSp>
        <p:cxnSp>
          <p:nvCxnSpPr>
            <p:cNvPr id="219" name="Rechte verbindingslijn 218"/>
            <p:cNvCxnSpPr/>
            <p:nvPr/>
          </p:nvCxnSpPr>
          <p:spPr>
            <a:xfrm>
              <a:off x="12441149" y="2212830"/>
              <a:ext cx="2710405" cy="0"/>
            </a:xfrm>
            <a:prstGeom prst="line">
              <a:avLst/>
            </a:prstGeom>
            <a:noFill/>
            <a:ln w="9525" cap="flat" cmpd="sng" algn="ctr">
              <a:solidFill>
                <a:schemeClr val="accent1"/>
              </a:solidFill>
              <a:prstDash val="solid"/>
            </a:ln>
            <a:effectLst/>
          </p:spPr>
        </p:cxnSp>
        <p:cxnSp>
          <p:nvCxnSpPr>
            <p:cNvPr id="220" name="Rechte verbindingslijn 219"/>
            <p:cNvCxnSpPr/>
            <p:nvPr/>
          </p:nvCxnSpPr>
          <p:spPr>
            <a:xfrm>
              <a:off x="12444679" y="3691468"/>
              <a:ext cx="2706875" cy="0"/>
            </a:xfrm>
            <a:prstGeom prst="line">
              <a:avLst/>
            </a:prstGeom>
            <a:noFill/>
            <a:ln w="9525" cap="flat" cmpd="sng" algn="ctr">
              <a:solidFill>
                <a:schemeClr val="accent1"/>
              </a:solidFill>
              <a:prstDash val="solid"/>
            </a:ln>
            <a:effectLst/>
          </p:spPr>
        </p:cxnSp>
        <p:grpSp>
          <p:nvGrpSpPr>
            <p:cNvPr id="221" name="Groep 220"/>
            <p:cNvGrpSpPr/>
            <p:nvPr/>
          </p:nvGrpSpPr>
          <p:grpSpPr>
            <a:xfrm>
              <a:off x="12450571" y="3301369"/>
              <a:ext cx="1002992" cy="267962"/>
              <a:chOff x="13560784" y="3471416"/>
              <a:chExt cx="1114138" cy="297656"/>
            </a:xfrm>
          </p:grpSpPr>
          <p:sp>
            <p:nvSpPr>
              <p:cNvPr id="232" name="Afgeronde rechthoek 88"/>
              <p:cNvSpPr/>
              <p:nvPr/>
            </p:nvSpPr>
            <p:spPr>
              <a:xfrm>
                <a:off x="13560784" y="3471416"/>
                <a:ext cx="1114138" cy="297656"/>
              </a:xfrm>
              <a:prstGeom prst="roundRect">
                <a:avLst/>
              </a:prstGeom>
              <a:gradFill flip="none" rotWithShape="1">
                <a:gsLst>
                  <a:gs pos="4000">
                    <a:srgbClr val="00B0F0"/>
                  </a:gs>
                  <a:gs pos="0">
                    <a:srgbClr val="0070C0"/>
                  </a:gs>
                  <a:gs pos="100000">
                    <a:srgbClr val="0070C0"/>
                  </a:gs>
                  <a:gs pos="12000">
                    <a:srgbClr val="D1EAFF"/>
                  </a:gs>
                  <a:gs pos="96000">
                    <a:srgbClr val="00B0F0"/>
                  </a:gs>
                  <a:gs pos="89000">
                    <a:srgbClr val="DDF4FF"/>
                  </a:gs>
                  <a:gs pos="43000">
                    <a:srgbClr val="D1EAFF"/>
                  </a:gs>
                  <a:gs pos="51000">
                    <a:srgbClr val="DDF4FF"/>
                  </a:gs>
                </a:gsLst>
                <a:lin ang="16200000" scaled="1"/>
                <a:tileRect/>
              </a:gradFill>
              <a:ln w="63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dirty="0">
                  <a:solidFill>
                    <a:srgbClr val="FFFFFF"/>
                  </a:solidFill>
                </a:endParaRPr>
              </a:p>
            </p:txBody>
          </p:sp>
          <p:sp>
            <p:nvSpPr>
              <p:cNvPr id="233" name="Tekstvak 232"/>
              <p:cNvSpPr txBox="1"/>
              <p:nvPr/>
            </p:nvSpPr>
            <p:spPr>
              <a:xfrm>
                <a:off x="13573594" y="3488254"/>
                <a:ext cx="888311" cy="273506"/>
              </a:xfrm>
              <a:prstGeom prst="rect">
                <a:avLst/>
              </a:prstGeom>
              <a:noFill/>
            </p:spPr>
            <p:txBody>
              <a:bodyPr wrap="square" rtlCol="0" anchor="ctr">
                <a:spAutoFit/>
              </a:bodyPr>
              <a:lstStyle>
                <a:defPPr>
                  <a:defRPr lang="nl-NL"/>
                </a:defPPr>
                <a:lvl1pPr marR="0" lvl="0" indent="0" algn="ctr" fontAlgn="auto">
                  <a:lnSpc>
                    <a:spcPct val="100000"/>
                  </a:lnSpc>
                  <a:spcBef>
                    <a:spcPts val="0"/>
                  </a:spcBef>
                  <a:spcAft>
                    <a:spcPts val="0"/>
                  </a:spcAft>
                  <a:buClrTx/>
                  <a:buSzTx/>
                  <a:buFontTx/>
                  <a:buNone/>
                  <a:tabLst/>
                  <a:defRPr kumimoji="0" sz="900" i="0" u="none" strike="noStrike" kern="0" cap="none" spc="0" normalizeH="0" baseline="0">
                    <a:ln>
                      <a:noFill/>
                    </a:ln>
                    <a:effectLst>
                      <a:outerShdw blurRad="25400" algn="ctr" rotWithShape="0">
                        <a:prstClr val="white"/>
                      </a:outerShdw>
                    </a:effectLst>
                    <a:uLnTx/>
                    <a:uFillTx/>
                    <a:latin typeface="Segoe UI Light" panose="020B0502040204020203" pitchFamily="34" charset="0"/>
                    <a:cs typeface="Segoe UI Light" panose="020B0502040204020203" pitchFamily="34" charset="0"/>
                  </a:defRPr>
                </a:lvl1pPr>
                <a:lvl2pPr fontAlgn="base">
                  <a:spcBef>
                    <a:spcPct val="0"/>
                  </a:spcBef>
                  <a:spcAft>
                    <a:spcPct val="0"/>
                  </a:spcAft>
                  <a:defRPr>
                    <a:latin typeface="Arial" charset="0"/>
                    <a:cs typeface="Arial" charset="0"/>
                  </a:defRPr>
                </a:lvl2pPr>
                <a:lvl3pPr fontAlgn="base">
                  <a:spcBef>
                    <a:spcPct val="0"/>
                  </a:spcBef>
                  <a:spcAft>
                    <a:spcPct val="0"/>
                  </a:spcAft>
                  <a:defRPr>
                    <a:latin typeface="Arial" charset="0"/>
                    <a:cs typeface="Arial" charset="0"/>
                  </a:defRPr>
                </a:lvl3pPr>
                <a:lvl4pPr fontAlgn="base">
                  <a:spcBef>
                    <a:spcPct val="0"/>
                  </a:spcBef>
                  <a:spcAft>
                    <a:spcPct val="0"/>
                  </a:spcAft>
                  <a:defRPr>
                    <a:latin typeface="Arial" charset="0"/>
                    <a:cs typeface="Arial" charset="0"/>
                  </a:defRPr>
                </a:lvl4pPr>
                <a:lvl5pPr fontAlgn="base">
                  <a:spcBef>
                    <a:spcPct val="0"/>
                  </a:spcBef>
                  <a:spcAft>
                    <a:spcPct val="0"/>
                  </a:spcAft>
                  <a:defRPr>
                    <a:latin typeface="Arial" charset="0"/>
                    <a:cs typeface="Arial" charset="0"/>
                  </a:defRPr>
                </a:lvl5pPr>
                <a:lvl6pPr>
                  <a:defRPr>
                    <a:latin typeface="Arial" charset="0"/>
                    <a:cs typeface="Arial" charset="0"/>
                  </a:defRPr>
                </a:lvl6pPr>
                <a:lvl7pPr>
                  <a:defRPr>
                    <a:latin typeface="Arial" charset="0"/>
                    <a:cs typeface="Arial" charset="0"/>
                  </a:defRPr>
                </a:lvl7pPr>
                <a:lvl8pPr>
                  <a:defRPr>
                    <a:latin typeface="Arial" charset="0"/>
                    <a:cs typeface="Arial" charset="0"/>
                  </a:defRPr>
                </a:lvl8pPr>
                <a:lvl9pPr>
                  <a:defRPr>
                    <a:latin typeface="Arial" charset="0"/>
                    <a:cs typeface="Arial" charset="0"/>
                  </a:defRPr>
                </a:lvl9pPr>
              </a:lstStyle>
              <a:p>
                <a:pPr defTabSz="914112"/>
                <a:r>
                  <a:rPr lang="nl-NL" sz="1000" dirty="0">
                    <a:solidFill>
                      <a:srgbClr val="000000"/>
                    </a:solidFill>
                    <a:latin typeface="Trebuchet MS"/>
                  </a:rPr>
                  <a:t>Invoegen</a:t>
                </a:r>
              </a:p>
            </p:txBody>
          </p:sp>
          <p:cxnSp>
            <p:nvCxnSpPr>
              <p:cNvPr id="234" name="Rechte verbindingslijn 233"/>
              <p:cNvCxnSpPr/>
              <p:nvPr/>
            </p:nvCxnSpPr>
            <p:spPr>
              <a:xfrm>
                <a:off x="14461905" y="3507058"/>
                <a:ext cx="0" cy="224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5" name="Gelijkbenige driehoek 234"/>
              <p:cNvSpPr/>
              <p:nvPr/>
            </p:nvSpPr>
            <p:spPr>
              <a:xfrm rot="10800000">
                <a:off x="14518584" y="3600521"/>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112"/>
                <a:endParaRPr lang="nl-NL" dirty="0">
                  <a:solidFill>
                    <a:srgbClr val="FFFFFF"/>
                  </a:solidFill>
                </a:endParaRPr>
              </a:p>
            </p:txBody>
          </p:sp>
        </p:grpSp>
        <p:grpSp>
          <p:nvGrpSpPr>
            <p:cNvPr id="222" name="Groep 221"/>
            <p:cNvGrpSpPr/>
            <p:nvPr userDrawn="1"/>
          </p:nvGrpSpPr>
          <p:grpSpPr>
            <a:xfrm>
              <a:off x="12441149" y="1706094"/>
              <a:ext cx="471148" cy="391787"/>
              <a:chOff x="6072045" y="3463504"/>
              <a:chExt cx="1299544" cy="1080647"/>
            </a:xfrm>
          </p:grpSpPr>
          <p:sp>
            <p:nvSpPr>
              <p:cNvPr id="223" name="Pijl: punthaak 222"/>
              <p:cNvSpPr/>
              <p:nvPr userDrawn="1"/>
            </p:nvSpPr>
            <p:spPr>
              <a:xfrm>
                <a:off x="6072045" y="3463504"/>
                <a:ext cx="1132964" cy="700764"/>
              </a:xfrm>
              <a:prstGeom prst="chevron">
                <a:avLst>
                  <a:gd name="adj" fmla="val 36022"/>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224" name="Rechthoek: afgeronde hoeken 223"/>
              <p:cNvSpPr/>
              <p:nvPr userDrawn="1"/>
            </p:nvSpPr>
            <p:spPr>
              <a:xfrm>
                <a:off x="6421681" y="3761674"/>
                <a:ext cx="949908" cy="782477"/>
              </a:xfrm>
              <a:prstGeom prst="roundRect">
                <a:avLst>
                  <a:gd name="adj" fmla="val 3237"/>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cxnSp>
            <p:nvCxnSpPr>
              <p:cNvPr id="225" name="Rechte verbindingslijn 224"/>
              <p:cNvCxnSpPr/>
              <p:nvPr userDrawn="1"/>
            </p:nvCxnSpPr>
            <p:spPr>
              <a:xfrm flipH="1">
                <a:off x="6813724" y="4013477"/>
                <a:ext cx="318470" cy="0"/>
              </a:xfrm>
              <a:prstGeom prst="line">
                <a:avLst/>
              </a:prstGeom>
              <a:ln w="15875" cap="rnd">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226" name="Rechte verbindingslijn 225"/>
              <p:cNvCxnSpPr/>
              <p:nvPr userDrawn="1"/>
            </p:nvCxnSpPr>
            <p:spPr>
              <a:xfrm flipH="1">
                <a:off x="6813724" y="4157326"/>
                <a:ext cx="318470" cy="0"/>
              </a:xfrm>
              <a:prstGeom prst="line">
                <a:avLst/>
              </a:prstGeom>
              <a:ln w="15875" cap="rnd">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227" name="Rechte verbindingslijn 226"/>
              <p:cNvCxnSpPr/>
              <p:nvPr userDrawn="1"/>
            </p:nvCxnSpPr>
            <p:spPr>
              <a:xfrm flipH="1">
                <a:off x="6813724" y="4301174"/>
                <a:ext cx="318470" cy="0"/>
              </a:xfrm>
              <a:prstGeom prst="line">
                <a:avLst/>
              </a:prstGeom>
              <a:ln w="15875" cap="rnd">
                <a:solidFill>
                  <a:srgbClr val="B5B5B5"/>
                </a:solidFill>
              </a:ln>
            </p:spPr>
            <p:style>
              <a:lnRef idx="1">
                <a:schemeClr val="accent1"/>
              </a:lnRef>
              <a:fillRef idx="0">
                <a:schemeClr val="accent1"/>
              </a:fillRef>
              <a:effectRef idx="0">
                <a:schemeClr val="accent1"/>
              </a:effectRef>
              <a:fontRef idx="minor">
                <a:schemeClr val="tx1"/>
              </a:fontRef>
            </p:style>
          </p:cxnSp>
          <p:sp>
            <p:nvSpPr>
              <p:cNvPr id="228" name="Rechthoek 227"/>
              <p:cNvSpPr/>
              <p:nvPr userDrawn="1"/>
            </p:nvSpPr>
            <p:spPr>
              <a:xfrm>
                <a:off x="6493301" y="3820673"/>
                <a:ext cx="806658" cy="664477"/>
              </a:xfrm>
              <a:prstGeom prst="rect">
                <a:avLst/>
              </a:prstGeom>
              <a:noFill/>
              <a:ln w="1905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cxnSp>
            <p:nvCxnSpPr>
              <p:cNvPr id="229" name="Rechte verbindingslijn 228"/>
              <p:cNvCxnSpPr/>
              <p:nvPr userDrawn="1"/>
            </p:nvCxnSpPr>
            <p:spPr>
              <a:xfrm flipH="1">
                <a:off x="6678347" y="4013477"/>
                <a:ext cx="47340" cy="0"/>
              </a:xfrm>
              <a:prstGeom prst="line">
                <a:avLst/>
              </a:prstGeom>
              <a:ln w="15875" cap="rnd">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230" name="Rechte verbindingslijn 229"/>
              <p:cNvCxnSpPr/>
              <p:nvPr userDrawn="1"/>
            </p:nvCxnSpPr>
            <p:spPr>
              <a:xfrm flipH="1">
                <a:off x="6678347" y="4157326"/>
                <a:ext cx="47340" cy="0"/>
              </a:xfrm>
              <a:prstGeom prst="line">
                <a:avLst/>
              </a:prstGeom>
              <a:ln w="15875" cap="rnd">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231" name="Rechte verbindingslijn 230"/>
              <p:cNvCxnSpPr/>
              <p:nvPr userDrawn="1"/>
            </p:nvCxnSpPr>
            <p:spPr>
              <a:xfrm flipH="1">
                <a:off x="6678347" y="4301174"/>
                <a:ext cx="47340" cy="0"/>
              </a:xfrm>
              <a:prstGeom prst="line">
                <a:avLst/>
              </a:prstGeom>
              <a:ln w="15875" cap="rnd">
                <a:solidFill>
                  <a:srgbClr val="B5B5B5"/>
                </a:solidFill>
              </a:ln>
            </p:spPr>
            <p:style>
              <a:lnRef idx="1">
                <a:schemeClr val="accent1"/>
              </a:lnRef>
              <a:fillRef idx="0">
                <a:schemeClr val="accent1"/>
              </a:fillRef>
              <a:effectRef idx="0">
                <a:schemeClr val="accent1"/>
              </a:effectRef>
              <a:fontRef idx="minor">
                <a:schemeClr val="tx1"/>
              </a:fontRef>
            </p:style>
          </p:cxnSp>
        </p:grpSp>
      </p:grpSp>
      <p:grpSp>
        <p:nvGrpSpPr>
          <p:cNvPr id="236" name="Instructie - Tekst niveaus"/>
          <p:cNvGrpSpPr/>
          <p:nvPr userDrawn="1"/>
        </p:nvGrpSpPr>
        <p:grpSpPr>
          <a:xfrm>
            <a:off x="-3117849" y="365"/>
            <a:ext cx="2823358" cy="5254722"/>
            <a:chOff x="-2959433" y="-5444"/>
            <a:chExt cx="2822623" cy="5254722"/>
          </a:xfrm>
        </p:grpSpPr>
        <p:sp>
          <p:nvSpPr>
            <p:cNvPr id="237" name="Rechthoek 236"/>
            <p:cNvSpPr/>
            <p:nvPr userDrawn="1"/>
          </p:nvSpPr>
          <p:spPr>
            <a:xfrm>
              <a:off x="-2959433" y="-5444"/>
              <a:ext cx="2572469" cy="280344"/>
            </a:xfrm>
            <a:prstGeom prst="rect">
              <a:avLst/>
            </a:prstGeom>
            <a:noFill/>
            <a:ln w="25400" cap="flat" cmpd="sng" algn="ctr">
              <a:noFill/>
              <a:prstDash val="solid"/>
            </a:ln>
            <a:effectLst/>
          </p:spPr>
          <p:txBody>
            <a:bodyPr lIns="0" tIns="0" rIns="0" bIns="0" rtlCol="0" anchor="t"/>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nl-NL" sz="1600" b="1" kern="0" dirty="0">
                  <a:solidFill>
                    <a:srgbClr val="ED1A3B"/>
                  </a:solidFill>
                  <a:cs typeface="Segoe UI Light" panose="020B0502040204020203" pitchFamily="34" charset="0"/>
                </a:rPr>
                <a:t>TEKST NIVEAUS</a:t>
              </a:r>
            </a:p>
          </p:txBody>
        </p:sp>
        <p:sp>
          <p:nvSpPr>
            <p:cNvPr id="238" name="Textfield placeholder"/>
            <p:cNvSpPr txBox="1">
              <a:spLocks/>
            </p:cNvSpPr>
            <p:nvPr userDrawn="1"/>
          </p:nvSpPr>
          <p:spPr>
            <a:xfrm>
              <a:off x="-2587337" y="2675411"/>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0" lvl="2"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a:solidFill>
                    <a:srgbClr val="404040"/>
                  </a:solidFill>
                </a:rPr>
                <a:t>Sub-bullets (16 pt.)</a:t>
              </a:r>
            </a:p>
          </p:txBody>
        </p:sp>
        <p:sp>
          <p:nvSpPr>
            <p:cNvPr id="239" name="Ovaal 238"/>
            <p:cNvSpPr/>
            <p:nvPr userDrawn="1"/>
          </p:nvSpPr>
          <p:spPr>
            <a:xfrm>
              <a:off x="-2959433" y="196874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1</a:t>
              </a:r>
            </a:p>
          </p:txBody>
        </p:sp>
        <p:sp>
          <p:nvSpPr>
            <p:cNvPr id="240" name="Ovaal 239"/>
            <p:cNvSpPr/>
            <p:nvPr userDrawn="1"/>
          </p:nvSpPr>
          <p:spPr>
            <a:xfrm>
              <a:off x="-2959433" y="232207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2</a:t>
              </a:r>
            </a:p>
          </p:txBody>
        </p:sp>
        <p:sp>
          <p:nvSpPr>
            <p:cNvPr id="241" name="Ovaal 240"/>
            <p:cNvSpPr/>
            <p:nvPr userDrawn="1"/>
          </p:nvSpPr>
          <p:spPr>
            <a:xfrm>
              <a:off x="-2959433" y="267541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3</a:t>
              </a:r>
            </a:p>
          </p:txBody>
        </p:sp>
        <p:sp>
          <p:nvSpPr>
            <p:cNvPr id="242" name="Ovaal 241"/>
            <p:cNvSpPr/>
            <p:nvPr userDrawn="1"/>
          </p:nvSpPr>
          <p:spPr>
            <a:xfrm>
              <a:off x="-2959433" y="302874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4</a:t>
              </a:r>
            </a:p>
          </p:txBody>
        </p:sp>
        <p:sp>
          <p:nvSpPr>
            <p:cNvPr id="243" name="Textfield placeholder"/>
            <p:cNvSpPr txBox="1">
              <a:spLocks/>
            </p:cNvSpPr>
            <p:nvPr userDrawn="1"/>
          </p:nvSpPr>
          <p:spPr>
            <a:xfrm>
              <a:off x="-2571950" y="1966925"/>
              <a:ext cx="2163709" cy="261500"/>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79388">
                <a:lnSpc>
                  <a:spcPct val="120000"/>
                </a:lnSpc>
                <a:spcBef>
                  <a:spcPts val="0"/>
                </a:spcBef>
                <a:spcAft>
                  <a:spcPts val="900"/>
                </a:spcAft>
                <a:buClr>
                  <a:srgbClr val="000000"/>
                </a:buClr>
                <a:buSzPct val="100000"/>
                <a:buFont typeface="Arial" pitchFamily="34" charset="0"/>
                <a:buNone/>
                <a:defRPr/>
              </a:pPr>
              <a:r>
                <a:rPr lang="nl-NL" sz="1200" dirty="0">
                  <a:solidFill>
                    <a:srgbClr val="535353"/>
                  </a:solidFill>
                </a:rPr>
                <a:t>Leestekst (16 pt.)</a:t>
              </a:r>
            </a:p>
          </p:txBody>
        </p:sp>
        <p:sp>
          <p:nvSpPr>
            <p:cNvPr id="244" name="Textfield placeholder"/>
            <p:cNvSpPr txBox="1">
              <a:spLocks/>
            </p:cNvSpPr>
            <p:nvPr userDrawn="1"/>
          </p:nvSpPr>
          <p:spPr>
            <a:xfrm>
              <a:off x="-2571950" y="2322077"/>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70000" lvl="1"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err="1">
                  <a:solidFill>
                    <a:srgbClr val="535353"/>
                  </a:solidFill>
                </a:rPr>
                <a:t>Bullets</a:t>
              </a:r>
              <a:r>
                <a:rPr lang="nl-NL" sz="1200" dirty="0">
                  <a:solidFill>
                    <a:srgbClr val="535353"/>
                  </a:solidFill>
                </a:rPr>
                <a:t> (16 </a:t>
              </a:r>
              <a:r>
                <a:rPr lang="nl-NL" sz="1200" dirty="0" err="1">
                  <a:solidFill>
                    <a:srgbClr val="535353"/>
                  </a:solidFill>
                </a:rPr>
                <a:t>pt</a:t>
              </a:r>
              <a:r>
                <a:rPr lang="nl-NL" sz="1200" dirty="0">
                  <a:solidFill>
                    <a:srgbClr val="535353"/>
                  </a:solidFill>
                </a:rPr>
                <a:t>.)</a:t>
              </a:r>
            </a:p>
          </p:txBody>
        </p:sp>
        <p:sp>
          <p:nvSpPr>
            <p:cNvPr id="245" name="Textfield placeholder"/>
            <p:cNvSpPr txBox="1">
              <a:spLocks/>
            </p:cNvSpPr>
            <p:nvPr userDrawn="1"/>
          </p:nvSpPr>
          <p:spPr>
            <a:xfrm>
              <a:off x="-2571951" y="3028747"/>
              <a:ext cx="2435141"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10000" lvl="3" indent="-270000" algn="l" defTabSz="179388" rtl="0" eaLnBrk="1" latinLnBrk="0" hangingPunct="1">
                <a:lnSpc>
                  <a:spcPct val="120000"/>
                </a:lnSpc>
                <a:spcBef>
                  <a:spcPts val="0"/>
                </a:spcBef>
                <a:spcAft>
                  <a:spcPts val="900"/>
                </a:spcAft>
                <a:buClr>
                  <a:schemeClr val="accent2"/>
                </a:buClr>
                <a:buSzPct val="80000"/>
                <a:buFont typeface="Wingdings 3" panose="05040102010807070707" pitchFamily="18" charset="2"/>
                <a:buChar char=""/>
                <a:defRPr/>
              </a:pPr>
              <a:r>
                <a:rPr lang="nl-NL" sz="1200" b="0" kern="1200" dirty="0">
                  <a:solidFill>
                    <a:srgbClr val="404040"/>
                  </a:solidFill>
                  <a:latin typeface="+mn-lt"/>
                  <a:ea typeface="+mn-ea"/>
                  <a:cs typeface="+mn-cs"/>
                </a:rPr>
                <a:t>Sub-sub-bullets (16 pt.)</a:t>
              </a:r>
            </a:p>
          </p:txBody>
        </p:sp>
        <p:cxnSp>
          <p:nvCxnSpPr>
            <p:cNvPr id="246" name="Rechte verbindingslijn 245"/>
            <p:cNvCxnSpPr/>
            <p:nvPr userDrawn="1"/>
          </p:nvCxnSpPr>
          <p:spPr>
            <a:xfrm>
              <a:off x="-2959100" y="274900"/>
              <a:ext cx="2674470" cy="0"/>
            </a:xfrm>
            <a:prstGeom prst="line">
              <a:avLst/>
            </a:prstGeom>
            <a:noFill/>
            <a:ln w="9525" cap="flat" cmpd="sng" algn="ctr">
              <a:solidFill>
                <a:schemeClr val="accent1"/>
              </a:solidFill>
              <a:prstDash val="solid"/>
            </a:ln>
            <a:effectLst/>
          </p:spPr>
        </p:cxnSp>
        <p:cxnSp>
          <p:nvCxnSpPr>
            <p:cNvPr id="247" name="Rechte verbindingslijn 246"/>
            <p:cNvCxnSpPr/>
            <p:nvPr userDrawn="1"/>
          </p:nvCxnSpPr>
          <p:spPr>
            <a:xfrm>
              <a:off x="-2959100" y="1841989"/>
              <a:ext cx="2661379" cy="0"/>
            </a:xfrm>
            <a:prstGeom prst="line">
              <a:avLst/>
            </a:prstGeom>
            <a:noFill/>
            <a:ln w="9525" cap="flat" cmpd="sng" algn="ctr">
              <a:solidFill>
                <a:schemeClr val="accent1"/>
              </a:solidFill>
              <a:prstDash val="solid"/>
            </a:ln>
            <a:effectLst/>
          </p:spPr>
        </p:cxnSp>
        <p:cxnSp>
          <p:nvCxnSpPr>
            <p:cNvPr id="248" name="Rechte verbindingslijn 247"/>
            <p:cNvCxnSpPr/>
            <p:nvPr userDrawn="1"/>
          </p:nvCxnSpPr>
          <p:spPr>
            <a:xfrm>
              <a:off x="-2959100" y="5249278"/>
              <a:ext cx="2661379" cy="0"/>
            </a:xfrm>
            <a:prstGeom prst="line">
              <a:avLst/>
            </a:prstGeom>
            <a:noFill/>
            <a:ln w="9525" cap="flat" cmpd="sng" algn="ctr">
              <a:solidFill>
                <a:schemeClr val="accent1"/>
              </a:solidFill>
              <a:prstDash val="solid"/>
            </a:ln>
            <a:effectLst/>
          </p:spPr>
        </p:cxnSp>
        <p:grpSp>
          <p:nvGrpSpPr>
            <p:cNvPr id="249" name="Groep 248"/>
            <p:cNvGrpSpPr/>
            <p:nvPr userDrawn="1"/>
          </p:nvGrpSpPr>
          <p:grpSpPr>
            <a:xfrm>
              <a:off x="-1948476" y="816741"/>
              <a:ext cx="409108" cy="427699"/>
              <a:chOff x="-1085063" y="758027"/>
              <a:chExt cx="633799" cy="622540"/>
            </a:xfrm>
          </p:grpSpPr>
          <p:sp>
            <p:nvSpPr>
              <p:cNvPr id="305" name="Afgeronde rechthoek 304"/>
              <p:cNvSpPr/>
              <p:nvPr userDrawn="1"/>
            </p:nvSpPr>
            <p:spPr>
              <a:xfrm>
                <a:off x="-108506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306" name="Groep 305"/>
              <p:cNvGrpSpPr/>
              <p:nvPr userDrawn="1"/>
            </p:nvGrpSpPr>
            <p:grpSpPr>
              <a:xfrm>
                <a:off x="-977739" y="864082"/>
                <a:ext cx="419168" cy="410429"/>
                <a:chOff x="6366933" y="309013"/>
                <a:chExt cx="1901295" cy="1861668"/>
              </a:xfrm>
              <a:solidFill>
                <a:srgbClr val="000000"/>
              </a:solidFill>
            </p:grpSpPr>
            <p:sp>
              <p:nvSpPr>
                <p:cNvPr id="307" name="Rechthoek 306"/>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8" name="Rechthoek 307"/>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9" name="Rechthoek 308"/>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0" name="Rechthoek 309"/>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1" name="Rechthoek 310"/>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2" name="Rechthoek 311"/>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3" name="Rechthoek 312"/>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4" name="Rechthoek 313"/>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5" name="Rechthoek 314"/>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6" name="Rechthoek 315"/>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7" name="Vrije vorm 316"/>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nvGrpSpPr>
            <p:cNvPr id="250" name="Groep 249"/>
            <p:cNvGrpSpPr/>
            <p:nvPr userDrawn="1"/>
          </p:nvGrpSpPr>
          <p:grpSpPr>
            <a:xfrm>
              <a:off x="-2950232" y="1207835"/>
              <a:ext cx="532929" cy="509563"/>
              <a:chOff x="-2880382" y="802341"/>
              <a:chExt cx="532929" cy="509563"/>
            </a:xfrm>
          </p:grpSpPr>
          <p:sp>
            <p:nvSpPr>
              <p:cNvPr id="283" name="Rechthoek 282"/>
              <p:cNvSpPr/>
              <p:nvPr userDrawn="1"/>
            </p:nvSpPr>
            <p:spPr>
              <a:xfrm>
                <a:off x="-2880382" y="802341"/>
                <a:ext cx="532929" cy="509563"/>
              </a:xfrm>
              <a:prstGeom prst="rect">
                <a:avLst/>
              </a:prstGeom>
              <a:solidFill>
                <a:sysClr val="window" lastClr="FFFFFF"/>
              </a:soli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pic>
            <p:nvPicPr>
              <p:cNvPr id="28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635852" y="822181"/>
                <a:ext cx="226442" cy="208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5"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848026" y="822181"/>
                <a:ext cx="207168" cy="213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86" name="Groep 285"/>
              <p:cNvGrpSpPr/>
              <p:nvPr userDrawn="1"/>
            </p:nvGrpSpPr>
            <p:grpSpPr>
              <a:xfrm>
                <a:off x="-2802433" y="1123442"/>
                <a:ext cx="132915" cy="104889"/>
                <a:chOff x="-2796392" y="1123442"/>
                <a:chExt cx="120832" cy="104889"/>
              </a:xfrm>
            </p:grpSpPr>
            <p:sp>
              <p:nvSpPr>
                <p:cNvPr id="300" name="Rechthoek 299"/>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1" name="Rechthoek 300"/>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2" name="Rechthoek 301"/>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3" name="Rechthoek 302"/>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4" name="Rechthoek 303"/>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287" name="Groep 286"/>
              <p:cNvGrpSpPr/>
              <p:nvPr userDrawn="1"/>
            </p:nvGrpSpPr>
            <p:grpSpPr>
              <a:xfrm>
                <a:off x="-2575417" y="1123442"/>
                <a:ext cx="133930" cy="104889"/>
                <a:chOff x="-2556734" y="1123442"/>
                <a:chExt cx="147324" cy="104889"/>
              </a:xfrm>
            </p:grpSpPr>
            <p:grpSp>
              <p:nvGrpSpPr>
                <p:cNvPr id="288" name="Groep 287"/>
                <p:cNvGrpSpPr/>
                <p:nvPr userDrawn="1"/>
              </p:nvGrpSpPr>
              <p:grpSpPr>
                <a:xfrm>
                  <a:off x="-2556734" y="1123442"/>
                  <a:ext cx="68206" cy="104889"/>
                  <a:chOff x="-2796392" y="1123442"/>
                  <a:chExt cx="120832" cy="104889"/>
                </a:xfrm>
              </p:grpSpPr>
              <p:sp>
                <p:nvSpPr>
                  <p:cNvPr id="295" name="Rechthoek 294"/>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6" name="Rechthoek 295"/>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7" name="Rechthoek 296"/>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8" name="Rechthoek 297"/>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9" name="Rechthoek 298"/>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289" name="Groep 288"/>
                <p:cNvGrpSpPr/>
                <p:nvPr userDrawn="1"/>
              </p:nvGrpSpPr>
              <p:grpSpPr>
                <a:xfrm>
                  <a:off x="-2477616" y="1123442"/>
                  <a:ext cx="68206" cy="104889"/>
                  <a:chOff x="-2796392" y="1123442"/>
                  <a:chExt cx="120832" cy="104889"/>
                </a:xfrm>
              </p:grpSpPr>
              <p:sp>
                <p:nvSpPr>
                  <p:cNvPr id="290" name="Rechthoek 289"/>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1" name="Rechthoek 290"/>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2" name="Rechthoek 291"/>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3" name="Rechthoek 292"/>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4" name="Rechthoek 293"/>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grpSp>
          <p:nvGrpSpPr>
            <p:cNvPr id="251" name="Groep 250"/>
            <p:cNvGrpSpPr/>
            <p:nvPr userDrawn="1"/>
          </p:nvGrpSpPr>
          <p:grpSpPr>
            <a:xfrm>
              <a:off x="-1948476" y="1281164"/>
              <a:ext cx="413704" cy="427699"/>
              <a:chOff x="-1845083" y="758027"/>
              <a:chExt cx="633799" cy="622540"/>
            </a:xfrm>
          </p:grpSpPr>
          <p:sp>
            <p:nvSpPr>
              <p:cNvPr id="270" name="Afgeronde rechthoek 269"/>
              <p:cNvSpPr/>
              <p:nvPr userDrawn="1"/>
            </p:nvSpPr>
            <p:spPr>
              <a:xfrm>
                <a:off x="-184508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271" name="Groep 270"/>
              <p:cNvGrpSpPr/>
              <p:nvPr userDrawn="1"/>
            </p:nvGrpSpPr>
            <p:grpSpPr>
              <a:xfrm>
                <a:off x="-1737762" y="864082"/>
                <a:ext cx="419168" cy="410429"/>
                <a:chOff x="3708400" y="309013"/>
                <a:chExt cx="1901295" cy="1861668"/>
              </a:xfrm>
              <a:solidFill>
                <a:srgbClr val="000000"/>
              </a:solidFill>
            </p:grpSpPr>
            <p:sp>
              <p:nvSpPr>
                <p:cNvPr id="272" name="Rechthoek 271"/>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3" name="Rechthoek 272"/>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4" name="Rechthoek 273"/>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5" name="Rechthoek 274"/>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6" name="Rechthoek 275"/>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7" name="Rechthoek 276"/>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8" name="Rechthoek 277"/>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9" name="Rechthoek 278"/>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0" name="Rechthoek 279"/>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1" name="Rechthoek 280"/>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2" name="Vrije vorm 281"/>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cxnSp>
          <p:nvCxnSpPr>
            <p:cNvPr id="252" name="Rechte verbindingslijn 251"/>
            <p:cNvCxnSpPr/>
            <p:nvPr userDrawn="1"/>
          </p:nvCxnSpPr>
          <p:spPr>
            <a:xfrm>
              <a:off x="-2814292" y="1441193"/>
              <a:ext cx="865816" cy="53821"/>
            </a:xfrm>
            <a:prstGeom prst="line">
              <a:avLst/>
            </a:prstGeom>
            <a:noFill/>
            <a:ln w="9525" cap="flat" cmpd="sng" algn="ctr">
              <a:solidFill>
                <a:schemeClr val="accent1"/>
              </a:solidFill>
              <a:prstDash val="solid"/>
              <a:headEnd type="oval"/>
            </a:ln>
            <a:effectLst/>
          </p:spPr>
        </p:cxnSp>
        <p:cxnSp>
          <p:nvCxnSpPr>
            <p:cNvPr id="253" name="Rechte verbindingslijn 252"/>
            <p:cNvCxnSpPr/>
            <p:nvPr userDrawn="1"/>
          </p:nvCxnSpPr>
          <p:spPr>
            <a:xfrm flipV="1">
              <a:off x="-2453902" y="1030591"/>
              <a:ext cx="505426" cy="283623"/>
            </a:xfrm>
            <a:prstGeom prst="line">
              <a:avLst/>
            </a:prstGeom>
            <a:noFill/>
            <a:ln w="9525" cap="flat" cmpd="sng" algn="ctr">
              <a:solidFill>
                <a:schemeClr val="accent1"/>
              </a:solidFill>
              <a:prstDash val="solid"/>
              <a:headEnd type="oval"/>
            </a:ln>
            <a:effectLst/>
          </p:spPr>
        </p:cxnSp>
        <p:sp>
          <p:nvSpPr>
            <p:cNvPr id="254" name="Textfield placeholder"/>
            <p:cNvSpPr txBox="1">
              <a:spLocks/>
            </p:cNvSpPr>
            <p:nvPr userDrawn="1"/>
          </p:nvSpPr>
          <p:spPr>
            <a:xfrm>
              <a:off x="-1341598" y="816743"/>
              <a:ext cx="1056968" cy="427698"/>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hoog</a:t>
              </a:r>
            </a:p>
          </p:txBody>
        </p:sp>
        <p:sp>
          <p:nvSpPr>
            <p:cNvPr id="255" name="Textfield placeholder"/>
            <p:cNvSpPr txBox="1">
              <a:spLocks/>
            </p:cNvSpPr>
            <p:nvPr userDrawn="1"/>
          </p:nvSpPr>
          <p:spPr>
            <a:xfrm>
              <a:off x="-1341599" y="1281164"/>
              <a:ext cx="1070223" cy="427699"/>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laag</a:t>
              </a:r>
            </a:p>
          </p:txBody>
        </p:sp>
        <p:sp>
          <p:nvSpPr>
            <p:cNvPr id="256" name="Ovaal 255"/>
            <p:cNvSpPr/>
            <p:nvPr userDrawn="1"/>
          </p:nvSpPr>
          <p:spPr>
            <a:xfrm>
              <a:off x="-2959433" y="338208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5</a:t>
              </a:r>
            </a:p>
          </p:txBody>
        </p:sp>
        <p:sp>
          <p:nvSpPr>
            <p:cNvPr id="257" name="Textfield placeholder"/>
            <p:cNvSpPr txBox="1">
              <a:spLocks/>
            </p:cNvSpPr>
            <p:nvPr userDrawn="1"/>
          </p:nvSpPr>
          <p:spPr>
            <a:xfrm>
              <a:off x="-2571950" y="3382082"/>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60000" lvl="4" indent="-360000" defTabSz="179388">
                <a:lnSpc>
                  <a:spcPct val="120000"/>
                </a:lnSpc>
                <a:spcBef>
                  <a:spcPts val="0"/>
                </a:spcBef>
                <a:spcAft>
                  <a:spcPts val="900"/>
                </a:spcAft>
                <a:buClr>
                  <a:srgbClr val="ED1A3B"/>
                </a:buClr>
                <a:buFont typeface="+mj-lt"/>
                <a:buAutoNum type="arabicPeriod"/>
                <a:defRPr/>
              </a:pPr>
              <a:r>
                <a:rPr lang="nl-NL" sz="1200" b="0" dirty="0">
                  <a:solidFill>
                    <a:srgbClr val="404040"/>
                  </a:solidFill>
                </a:rPr>
                <a:t>Numeriek (16 pt.)</a:t>
              </a:r>
            </a:p>
          </p:txBody>
        </p:sp>
        <p:grpSp>
          <p:nvGrpSpPr>
            <p:cNvPr id="258" name="Groep 257"/>
            <p:cNvGrpSpPr/>
            <p:nvPr userDrawn="1"/>
          </p:nvGrpSpPr>
          <p:grpSpPr>
            <a:xfrm>
              <a:off x="-2950232" y="816050"/>
              <a:ext cx="528695" cy="344202"/>
              <a:chOff x="-2880382" y="410556"/>
              <a:chExt cx="528695" cy="344202"/>
            </a:xfrm>
          </p:grpSpPr>
          <p:sp>
            <p:nvSpPr>
              <p:cNvPr id="268" name="Afgeronde rechthoek 267"/>
              <p:cNvSpPr/>
              <p:nvPr userDrawn="1"/>
            </p:nvSpPr>
            <p:spPr>
              <a:xfrm>
                <a:off x="-2874214" y="410556"/>
                <a:ext cx="522527" cy="339183"/>
              </a:xfrm>
              <a:prstGeom prst="roundRect">
                <a:avLst>
                  <a:gd name="adj" fmla="val 7565"/>
                </a:avLst>
              </a:prstGeom>
              <a:gradFill>
                <a:gsLst>
                  <a:gs pos="0">
                    <a:srgbClr val="FFEC8F"/>
                  </a:gs>
                  <a:gs pos="100000">
                    <a:srgbClr val="FFFFFF"/>
                  </a:gs>
                </a:gsLst>
                <a:lin ang="5400000" scaled="0"/>
              </a:gra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sp>
            <p:nvSpPr>
              <p:cNvPr id="269" name="Vrije vorm 268"/>
              <p:cNvSpPr/>
              <p:nvPr userDrawn="1"/>
            </p:nvSpPr>
            <p:spPr>
              <a:xfrm>
                <a:off x="-2880382" y="452699"/>
                <a:ext cx="528695" cy="302059"/>
              </a:xfrm>
              <a:custGeom>
                <a:avLst/>
                <a:gdLst>
                  <a:gd name="connsiteX0" fmla="*/ 55524 w 528695"/>
                  <a:gd name="connsiteY0" fmla="*/ 0 h 302059"/>
                  <a:gd name="connsiteX1" fmla="*/ 455496 w 528695"/>
                  <a:gd name="connsiteY1" fmla="*/ 0 h 302059"/>
                  <a:gd name="connsiteX2" fmla="*/ 475205 w 528695"/>
                  <a:gd name="connsiteY2" fmla="*/ 19709 h 302059"/>
                  <a:gd name="connsiteX3" fmla="*/ 475205 w 528695"/>
                  <a:gd name="connsiteY3" fmla="*/ 230056 h 302059"/>
                  <a:gd name="connsiteX4" fmla="*/ 516694 w 528695"/>
                  <a:gd name="connsiteY4" fmla="*/ 230056 h 302059"/>
                  <a:gd name="connsiteX5" fmla="*/ 528695 w 528695"/>
                  <a:gd name="connsiteY5" fmla="*/ 242057 h 302059"/>
                  <a:gd name="connsiteX6" fmla="*/ 528695 w 528695"/>
                  <a:gd name="connsiteY6" fmla="*/ 290058 h 302059"/>
                  <a:gd name="connsiteX7" fmla="*/ 516694 w 528695"/>
                  <a:gd name="connsiteY7" fmla="*/ 302059 h 302059"/>
                  <a:gd name="connsiteX8" fmla="*/ 12001 w 528695"/>
                  <a:gd name="connsiteY8" fmla="*/ 302059 h 302059"/>
                  <a:gd name="connsiteX9" fmla="*/ 0 w 528695"/>
                  <a:gd name="connsiteY9" fmla="*/ 290058 h 302059"/>
                  <a:gd name="connsiteX10" fmla="*/ 0 w 528695"/>
                  <a:gd name="connsiteY10" fmla="*/ 242057 h 302059"/>
                  <a:gd name="connsiteX11" fmla="*/ 12001 w 528695"/>
                  <a:gd name="connsiteY11" fmla="*/ 230056 h 302059"/>
                  <a:gd name="connsiteX12" fmla="*/ 35815 w 528695"/>
                  <a:gd name="connsiteY12" fmla="*/ 230056 h 302059"/>
                  <a:gd name="connsiteX13" fmla="*/ 35815 w 528695"/>
                  <a:gd name="connsiteY13" fmla="*/ 19709 h 302059"/>
                  <a:gd name="connsiteX14" fmla="*/ 55524 w 528695"/>
                  <a:gd name="connsiteY14" fmla="*/ 0 h 3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8695" h="302059">
                    <a:moveTo>
                      <a:pt x="55524" y="0"/>
                    </a:moveTo>
                    <a:lnTo>
                      <a:pt x="455496" y="0"/>
                    </a:lnTo>
                    <a:cubicBezTo>
                      <a:pt x="466381" y="0"/>
                      <a:pt x="475205" y="8824"/>
                      <a:pt x="475205" y="19709"/>
                    </a:cubicBezTo>
                    <a:lnTo>
                      <a:pt x="475205" y="230056"/>
                    </a:lnTo>
                    <a:lnTo>
                      <a:pt x="516694" y="230056"/>
                    </a:lnTo>
                    <a:cubicBezTo>
                      <a:pt x="523322" y="230056"/>
                      <a:pt x="528695" y="235429"/>
                      <a:pt x="528695" y="242057"/>
                    </a:cubicBezTo>
                    <a:lnTo>
                      <a:pt x="528695" y="290058"/>
                    </a:lnTo>
                    <a:cubicBezTo>
                      <a:pt x="528695" y="296686"/>
                      <a:pt x="523322" y="302059"/>
                      <a:pt x="516694" y="302059"/>
                    </a:cubicBezTo>
                    <a:lnTo>
                      <a:pt x="12001" y="302059"/>
                    </a:lnTo>
                    <a:cubicBezTo>
                      <a:pt x="5373" y="302059"/>
                      <a:pt x="0" y="296686"/>
                      <a:pt x="0" y="290058"/>
                    </a:cubicBezTo>
                    <a:lnTo>
                      <a:pt x="0" y="242057"/>
                    </a:lnTo>
                    <a:cubicBezTo>
                      <a:pt x="0" y="235429"/>
                      <a:pt x="5373" y="230056"/>
                      <a:pt x="12001" y="230056"/>
                    </a:cubicBezTo>
                    <a:lnTo>
                      <a:pt x="35815" y="230056"/>
                    </a:lnTo>
                    <a:lnTo>
                      <a:pt x="35815" y="19709"/>
                    </a:lnTo>
                    <a:cubicBezTo>
                      <a:pt x="35815" y="8824"/>
                      <a:pt x="44639" y="0"/>
                      <a:pt x="55524" y="0"/>
                    </a:cubicBezTo>
                    <a:close/>
                  </a:path>
                </a:pathLst>
              </a:custGeom>
              <a:solidFill>
                <a:sysClr val="window" lastClr="FFFFFF">
                  <a:lumMod val="95000"/>
                </a:sysClr>
              </a:solidFill>
              <a:ln w="9525" cap="flat" cmpd="sng" algn="ctr">
                <a:solidFill>
                  <a:srgbClr val="FFFFFF">
                    <a:lumMod val="90000"/>
                  </a:srgbClr>
                </a:solidFill>
                <a:prstDash val="solid"/>
                <a:miter lim="800000"/>
              </a:ln>
              <a:effectLst/>
            </p:spPr>
            <p:txBody>
              <a:bodyPr rot="0" spcFirstLastPara="0" vert="horz" wrap="square" lIns="108000" tIns="36000" rIns="108000" bIns="10800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900" dirty="0">
                    <a:solidFill>
                      <a:prstClr val="black"/>
                    </a:solidFill>
                    <a:latin typeface="Segoe UI Light"/>
                  </a:rPr>
                  <a:t>Start</a:t>
                </a:r>
              </a:p>
            </p:txBody>
          </p:sp>
        </p:grpSp>
        <p:sp>
          <p:nvSpPr>
            <p:cNvPr id="259" name="Tekstvak 65"/>
            <p:cNvSpPr txBox="1"/>
            <p:nvPr userDrawn="1"/>
          </p:nvSpPr>
          <p:spPr>
            <a:xfrm>
              <a:off x="-2959433" y="372104"/>
              <a:ext cx="2679887" cy="453396"/>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nl-NL" sz="1200" kern="0" dirty="0">
                  <a:solidFill>
                    <a:srgbClr val="000000"/>
                  </a:solidFill>
                  <a:latin typeface="Segoe UI Light" panose="020B0502040204020203" pitchFamily="34" charset="0"/>
                  <a:cs typeface="Segoe UI Light" panose="020B0502040204020203" pitchFamily="34" charset="0"/>
                </a:rPr>
                <a:t>Ga naar de tab </a:t>
              </a:r>
              <a:r>
                <a:rPr lang="nl-NL" sz="1200" b="1" kern="0" dirty="0">
                  <a:solidFill>
                    <a:srgbClr val="000000"/>
                  </a:solidFill>
                  <a:latin typeface="Segoe UI Light" panose="020B0502040204020203" pitchFamily="34" charset="0"/>
                  <a:cs typeface="Segoe UI Light" panose="020B0502040204020203" pitchFamily="34" charset="0"/>
                </a:rPr>
                <a:t>Start’ </a:t>
              </a:r>
              <a:r>
                <a:rPr lang="nl-NL" sz="1200" kern="0" dirty="0">
                  <a:solidFill>
                    <a:srgbClr val="000000"/>
                  </a:solidFill>
                  <a:latin typeface="Segoe UI Light" panose="020B0502040204020203" pitchFamily="34" charset="0"/>
                  <a:cs typeface="Segoe UI Light" panose="020B0502040204020203" pitchFamily="34" charset="0"/>
                </a:rPr>
                <a:t>en vind onderstaande knoppen onder </a:t>
              </a:r>
              <a:r>
                <a:rPr lang="nl-NL" sz="1200" b="1" kern="0" dirty="0">
                  <a:solidFill>
                    <a:srgbClr val="000000"/>
                  </a:solidFill>
                  <a:latin typeface="Segoe UI Light" panose="020B0502040204020203" pitchFamily="34" charset="0"/>
                  <a:cs typeface="Segoe UI Light" panose="020B0502040204020203" pitchFamily="34" charset="0"/>
                </a:rPr>
                <a:t>‘Alinea’</a:t>
              </a:r>
            </a:p>
          </p:txBody>
        </p:sp>
        <p:sp>
          <p:nvSpPr>
            <p:cNvPr id="260" name="Ovaal 259"/>
            <p:cNvSpPr/>
            <p:nvPr userDrawn="1"/>
          </p:nvSpPr>
          <p:spPr>
            <a:xfrm>
              <a:off x="-2959433" y="375153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6</a:t>
              </a:r>
            </a:p>
          </p:txBody>
        </p:sp>
        <p:sp>
          <p:nvSpPr>
            <p:cNvPr id="261" name="Textfield placeholder"/>
            <p:cNvSpPr txBox="1">
              <a:spLocks/>
            </p:cNvSpPr>
            <p:nvPr userDrawn="1"/>
          </p:nvSpPr>
          <p:spPr>
            <a:xfrm>
              <a:off x="-2571950" y="3751536"/>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0000" lvl="5" indent="-270000" defTabSz="179388">
                <a:lnSpc>
                  <a:spcPct val="120000"/>
                </a:lnSpc>
                <a:spcAft>
                  <a:spcPts val="900"/>
                </a:spcAft>
                <a:buClr>
                  <a:srgbClr val="ED1A3B"/>
                </a:buClr>
                <a:buSzPct val="80000"/>
                <a:buFont typeface="Wingdings 3" panose="05040102010807070707" pitchFamily="18" charset="2"/>
                <a:buChar char=""/>
                <a:defRPr/>
              </a:pPr>
              <a:r>
                <a:rPr lang="nl-NL" sz="1200" cap="none" dirty="0">
                  <a:solidFill>
                    <a:srgbClr val="535353"/>
                  </a:solidFill>
                </a:rPr>
                <a:t># Bullets (16 pt.)</a:t>
              </a:r>
            </a:p>
          </p:txBody>
        </p:sp>
        <p:sp>
          <p:nvSpPr>
            <p:cNvPr id="262" name="Ovaal 261"/>
            <p:cNvSpPr/>
            <p:nvPr userDrawn="1"/>
          </p:nvSpPr>
          <p:spPr>
            <a:xfrm>
              <a:off x="-2959433" y="414870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7</a:t>
              </a:r>
            </a:p>
          </p:txBody>
        </p:sp>
        <p:sp>
          <p:nvSpPr>
            <p:cNvPr id="263" name="Textfield placeholder"/>
            <p:cNvSpPr txBox="1">
              <a:spLocks/>
            </p:cNvSpPr>
            <p:nvPr userDrawn="1"/>
          </p:nvSpPr>
          <p:spPr>
            <a:xfrm>
              <a:off x="-2571950" y="414870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6" indent="0" defTabSz="179388">
                <a:lnSpc>
                  <a:spcPct val="120000"/>
                </a:lnSpc>
                <a:spcBef>
                  <a:spcPts val="0"/>
                </a:spcBef>
                <a:spcAft>
                  <a:spcPts val="900"/>
                </a:spcAft>
                <a:buClr>
                  <a:srgbClr val="ED1A3B"/>
                </a:buClr>
                <a:buSzPct val="90000"/>
                <a:buFont typeface="+mj-lt"/>
                <a:buNone/>
                <a:defRPr/>
              </a:pPr>
              <a:r>
                <a:rPr lang="nl-NL" sz="1200" i="1" dirty="0">
                  <a:solidFill>
                    <a:srgbClr val="404040"/>
                  </a:solidFill>
                </a:rPr>
                <a:t>Cursief donker (16 pt.)</a:t>
              </a:r>
            </a:p>
          </p:txBody>
        </p:sp>
        <p:sp>
          <p:nvSpPr>
            <p:cNvPr id="264" name="Ovaal 263"/>
            <p:cNvSpPr/>
            <p:nvPr userDrawn="1"/>
          </p:nvSpPr>
          <p:spPr>
            <a:xfrm>
              <a:off x="-2959433" y="454586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8</a:t>
              </a:r>
            </a:p>
          </p:txBody>
        </p:sp>
        <p:sp>
          <p:nvSpPr>
            <p:cNvPr id="265" name="Textfield placeholder"/>
            <p:cNvSpPr txBox="1">
              <a:spLocks/>
            </p:cNvSpPr>
            <p:nvPr userDrawn="1"/>
          </p:nvSpPr>
          <p:spPr>
            <a:xfrm>
              <a:off x="-2571950" y="4545864"/>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7" indent="0" defTabSz="179388">
                <a:lnSpc>
                  <a:spcPct val="80000"/>
                </a:lnSpc>
                <a:spcBef>
                  <a:spcPts val="0"/>
                </a:spcBef>
                <a:spcAft>
                  <a:spcPts val="900"/>
                </a:spcAft>
                <a:buClr>
                  <a:srgbClr val="ED1A3B"/>
                </a:buClr>
                <a:buFont typeface="Arial" pitchFamily="34" charset="0"/>
                <a:buNone/>
                <a:defRPr/>
              </a:pPr>
              <a:r>
                <a:rPr lang="nl-NL" sz="1200" i="1" dirty="0">
                  <a:solidFill>
                    <a:srgbClr val="A3B0C0"/>
                  </a:solidFill>
                </a:rPr>
                <a:t>Cursief Licht (16 pt.)</a:t>
              </a:r>
            </a:p>
          </p:txBody>
        </p:sp>
        <p:sp>
          <p:nvSpPr>
            <p:cNvPr id="266" name="Ovaal 265"/>
            <p:cNvSpPr/>
            <p:nvPr userDrawn="1"/>
          </p:nvSpPr>
          <p:spPr>
            <a:xfrm>
              <a:off x="-2959433" y="488761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9</a:t>
              </a:r>
            </a:p>
          </p:txBody>
        </p:sp>
        <p:sp>
          <p:nvSpPr>
            <p:cNvPr id="267" name="Textfield placeholder"/>
            <p:cNvSpPr txBox="1">
              <a:spLocks/>
            </p:cNvSpPr>
            <p:nvPr userDrawn="1"/>
          </p:nvSpPr>
          <p:spPr>
            <a:xfrm>
              <a:off x="-2571950" y="488761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8" indent="0" defTabSz="179388">
                <a:lnSpc>
                  <a:spcPct val="80000"/>
                </a:lnSpc>
                <a:spcBef>
                  <a:spcPts val="0"/>
                </a:spcBef>
                <a:spcAft>
                  <a:spcPts val="900"/>
                </a:spcAft>
                <a:buClr>
                  <a:srgbClr val="ED1A3B"/>
                </a:buClr>
                <a:buFont typeface="Arial" pitchFamily="34" charset="0"/>
                <a:buNone/>
                <a:defRPr/>
              </a:pPr>
              <a:r>
                <a:rPr lang="nl-NL" sz="1400" b="1" dirty="0">
                  <a:solidFill>
                    <a:srgbClr val="ED1A3B"/>
                  </a:solidFill>
                </a:rPr>
                <a:t>Subtitel (18 pt.)</a:t>
              </a:r>
            </a:p>
          </p:txBody>
        </p:sp>
      </p:grpSp>
      <p:sp>
        <p:nvSpPr>
          <p:cNvPr id="118" name="Hyperlink - Inhoudsopgave">
            <a:hlinkClick r:id="rId4" action="ppaction://hlinksldjump"/>
          </p:cNvPr>
          <p:cNvSpPr/>
          <p:nvPr userDrawn="1"/>
        </p:nvSpPr>
        <p:spPr>
          <a:xfrm>
            <a:off x="10197856" y="5889801"/>
            <a:ext cx="2000494" cy="968199"/>
          </a:xfrm>
          <a:prstGeom prst="rect">
            <a:avLst/>
          </a:prstGeom>
          <a:solidFill>
            <a:srgbClr val="ED1A3B">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22" name="Grijze achtergrond"/>
          <p:cNvSpPr/>
          <p:nvPr/>
        </p:nvSpPr>
        <p:spPr>
          <a:xfrm>
            <a:off x="6504455" y="1358671"/>
            <a:ext cx="5030147" cy="444046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en-GB">
              <a:solidFill>
                <a:srgbClr val="FFFFFF"/>
              </a:solidFill>
            </a:endParaRPr>
          </a:p>
        </p:txBody>
      </p:sp>
      <p:cxnSp>
        <p:nvCxnSpPr>
          <p:cNvPr id="127" name="Grijze lijn - onder"/>
          <p:cNvCxnSpPr/>
          <p:nvPr userDrawn="1"/>
        </p:nvCxnSpPr>
        <p:spPr>
          <a:xfrm flipH="1">
            <a:off x="6504093" y="5776291"/>
            <a:ext cx="5030509"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8" name="Grijze lijn - boven"/>
          <p:cNvCxnSpPr/>
          <p:nvPr userDrawn="1"/>
        </p:nvCxnSpPr>
        <p:spPr>
          <a:xfrm flipH="1">
            <a:off x="664804" y="1358670"/>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25" name="Tijdelijke aanduiding voor Dianummer"/>
          <p:cNvSpPr>
            <a:spLocks noGrp="1"/>
          </p:cNvSpPr>
          <p:nvPr>
            <p:ph type="sldNum" sz="quarter" idx="4"/>
          </p:nvPr>
        </p:nvSpPr>
        <p:spPr>
          <a:xfrm>
            <a:off x="5770549" y="6295992"/>
            <a:ext cx="657251" cy="365125"/>
          </a:xfrm>
          <a:prstGeom prst="rect">
            <a:avLst/>
          </a:prstGeom>
        </p:spPr>
        <p:txBody>
          <a:bodyPr vert="horz" lIns="91440" tIns="45720" rIns="91440" bIns="45720" rtlCol="0" anchor="ctr"/>
          <a:lstStyle>
            <a:lvl1pPr algn="ctr">
              <a:defRPr sz="800">
                <a:solidFill>
                  <a:schemeClr val="tx1">
                    <a:tint val="75000"/>
                  </a:schemeClr>
                </a:solidFill>
              </a:defRPr>
            </a:lvl1pPr>
          </a:lstStyle>
          <a:p>
            <a:fld id="{1B3FA67A-C720-417A-A072-0CD211FD8662}" type="slidenum">
              <a:rPr lang="nl-NL" smtClean="0">
                <a:solidFill>
                  <a:srgbClr val="000000">
                    <a:tint val="75000"/>
                  </a:srgbClr>
                </a:solidFill>
              </a:rPr>
              <a:pPr/>
              <a:t>‹nr.›</a:t>
            </a:fld>
            <a:endParaRPr lang="nl-NL" dirty="0">
              <a:solidFill>
                <a:srgbClr val="000000">
                  <a:tint val="75000"/>
                </a:srgbClr>
              </a:solidFill>
            </a:endParaRPr>
          </a:p>
        </p:txBody>
      </p:sp>
      <p:sp>
        <p:nvSpPr>
          <p:cNvPr id="12" name="Tijdelijke aanduiding voor SmartArt"/>
          <p:cNvSpPr>
            <a:spLocks noGrp="1"/>
          </p:cNvSpPr>
          <p:nvPr>
            <p:ph type="dgm" sz="quarter" idx="15"/>
          </p:nvPr>
        </p:nvSpPr>
        <p:spPr>
          <a:xfrm>
            <a:off x="6844201" y="1720867"/>
            <a:ext cx="4349932" cy="3693600"/>
          </a:xfrm>
        </p:spPr>
        <p:txBody>
          <a:bodyPr anchor="ctr"/>
          <a:lstStyle>
            <a:lvl1pPr algn="ctr">
              <a:defRPr/>
            </a:lvl1pPr>
          </a:lstStyle>
          <a:p>
            <a:r>
              <a:rPr lang="nl-NL"/>
              <a:t>Klik op het pictogram om een SmartArt-graphic toe te voegen</a:t>
            </a:r>
            <a:endParaRPr lang="en-GB"/>
          </a:p>
        </p:txBody>
      </p:sp>
      <p:sp>
        <p:nvSpPr>
          <p:cNvPr id="2" name="Tijdelijke aanduiding voor Titel"/>
          <p:cNvSpPr>
            <a:spLocks noGrp="1"/>
          </p:cNvSpPr>
          <p:nvPr>
            <p:ph type="title"/>
          </p:nvPr>
        </p:nvSpPr>
        <p:spPr/>
        <p:txBody>
          <a:bodyPr/>
          <a:lstStyle/>
          <a:p>
            <a:r>
              <a:rPr lang="nl-NL"/>
              <a:t>Klik om stijl te bewerken</a:t>
            </a:r>
          </a:p>
        </p:txBody>
      </p:sp>
      <p:sp>
        <p:nvSpPr>
          <p:cNvPr id="14" name="Tijdelijke aanduiding voor Subtitel"/>
          <p:cNvSpPr>
            <a:spLocks noGrp="1"/>
          </p:cNvSpPr>
          <p:nvPr>
            <p:ph type="body" idx="14"/>
          </p:nvPr>
        </p:nvSpPr>
        <p:spPr>
          <a:xfrm>
            <a:off x="664109" y="1001348"/>
            <a:ext cx="10870131" cy="317758"/>
          </a:xfrm>
        </p:spPr>
        <p:txBody>
          <a:bodyPr bIns="72000" anchor="t" anchorCtr="0"/>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3" name="Tijdelijke aanduiding voor Tekst"/>
          <p:cNvSpPr>
            <a:spLocks noGrp="1"/>
          </p:cNvSpPr>
          <p:nvPr>
            <p:ph type="body" orient="vert" idx="1" hasCustomPrompt="1"/>
          </p:nvPr>
        </p:nvSpPr>
        <p:spPr>
          <a:xfrm>
            <a:off x="664109" y="1720867"/>
            <a:ext cx="5393497" cy="3693600"/>
          </a:xfrm>
        </p:spPr>
        <p:txBody>
          <a:bodyPr vert="horz"/>
          <a:lstStyle>
            <a:lvl1pPr>
              <a:defRPr sz="1600"/>
            </a:lvl1pPr>
            <a:lvl2pPr>
              <a:defRPr sz="1600"/>
            </a:lvl2pPr>
            <a:lvl3pPr>
              <a:defRPr sz="1600"/>
            </a:lvl3pPr>
            <a:lvl4pPr>
              <a:defRPr sz="1600"/>
            </a:lvl4pPr>
            <a:lvl5pPr>
              <a:defRPr sz="1600"/>
            </a:lvl5pPr>
            <a:lvl6pPr>
              <a:defRPr sz="1600"/>
            </a:lvl6pPr>
            <a:lvl7pPr>
              <a:defRPr sz="1600"/>
            </a:lvl7pPr>
            <a:lvl8pPr>
              <a:defRPr sz="1600"/>
            </a:lvl8pPr>
          </a:lstStyle>
          <a:p>
            <a:pPr lvl="0"/>
            <a:r>
              <a:rPr lang="nl-NL" dirty="0"/>
              <a:t>Leestekst</a:t>
            </a:r>
          </a:p>
          <a:p>
            <a:pPr lvl="1"/>
            <a:r>
              <a:rPr lang="nl-NL" dirty="0"/>
              <a:t>Bullets</a:t>
            </a:r>
          </a:p>
          <a:p>
            <a:pPr lvl="2"/>
            <a:r>
              <a:rPr lang="nl-NL" dirty="0"/>
              <a:t>Sub-bullets</a:t>
            </a:r>
          </a:p>
          <a:p>
            <a:pPr lvl="3"/>
            <a:r>
              <a:rPr lang="nl-NL" dirty="0"/>
              <a:t>Sub-sub-bullets</a:t>
            </a:r>
          </a:p>
          <a:p>
            <a:pPr lvl="4"/>
            <a:r>
              <a:rPr lang="nl-NL" dirty="0"/>
              <a:t>Numeriek</a:t>
            </a:r>
          </a:p>
          <a:p>
            <a:pPr lvl="5"/>
            <a:r>
              <a:rPr lang="nl-NL" dirty="0"/>
              <a:t># Bullets</a:t>
            </a:r>
          </a:p>
          <a:p>
            <a:pPr lvl="6"/>
            <a:r>
              <a:rPr lang="nl-NL" dirty="0"/>
              <a:t>Cursief donker</a:t>
            </a:r>
          </a:p>
          <a:p>
            <a:pPr lvl="7"/>
            <a:r>
              <a:rPr lang="nl-NL" dirty="0"/>
              <a:t>Cursief licht</a:t>
            </a:r>
          </a:p>
          <a:p>
            <a:pPr lvl="8"/>
            <a:r>
              <a:rPr lang="nl-NL" dirty="0"/>
              <a:t>Subtitel</a:t>
            </a:r>
          </a:p>
        </p:txBody>
      </p:sp>
    </p:spTree>
    <p:extLst>
      <p:ext uri="{BB962C8B-B14F-4D97-AF65-F5344CB8AC3E}">
        <p14:creationId xmlns:p14="http://schemas.microsoft.com/office/powerpoint/2010/main" val="150041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Smart-art 75%">
    <p:spTree>
      <p:nvGrpSpPr>
        <p:cNvPr id="1" name=""/>
        <p:cNvGrpSpPr/>
        <p:nvPr/>
      </p:nvGrpSpPr>
      <p:grpSpPr>
        <a:xfrm>
          <a:off x="0" y="0"/>
          <a:ext cx="0" cy="0"/>
          <a:chOff x="0" y="0"/>
          <a:chExt cx="0" cy="0"/>
        </a:xfrm>
      </p:grpSpPr>
      <p:sp>
        <p:nvSpPr>
          <p:cNvPr id="131" name="Naam indeling - Smart-art 75%"/>
          <p:cNvSpPr txBox="1"/>
          <p:nvPr userDrawn="1"/>
        </p:nvSpPr>
        <p:spPr>
          <a:xfrm>
            <a:off x="1" y="-453266"/>
            <a:ext cx="3582333" cy="276999"/>
          </a:xfrm>
          <a:prstGeom prst="rect">
            <a:avLst/>
          </a:prstGeom>
          <a:noFill/>
        </p:spPr>
        <p:txBody>
          <a:bodyPr wrap="square" lIns="0" tIns="0" rIns="0" bIns="0" rtlCol="0">
            <a:spAutoFit/>
          </a:bodyPr>
          <a:lstStyle/>
          <a:p>
            <a:pPr defTabSz="914112"/>
            <a:r>
              <a:rPr lang="nl-NL" dirty="0">
                <a:solidFill>
                  <a:srgbClr val="404040"/>
                </a:solidFill>
                <a:latin typeface="Calibri" panose="020F0502020204030204" pitchFamily="34" charset="0"/>
              </a:rPr>
              <a:t>Smart-art 75%</a:t>
            </a:r>
            <a:endParaRPr lang="en-GB" dirty="0">
              <a:solidFill>
                <a:srgbClr val="404040"/>
              </a:solidFill>
              <a:latin typeface="Calibri" panose="020F0502020204030204" pitchFamily="34" charset="0"/>
            </a:endParaRPr>
          </a:p>
        </p:txBody>
      </p:sp>
      <p:grpSp>
        <p:nvGrpSpPr>
          <p:cNvPr id="214" name="Instructie - SmartArt invoegen"/>
          <p:cNvGrpSpPr/>
          <p:nvPr userDrawn="1"/>
        </p:nvGrpSpPr>
        <p:grpSpPr>
          <a:xfrm>
            <a:off x="12563365" y="-29362"/>
            <a:ext cx="2711112" cy="3676571"/>
            <a:chOff x="12441149" y="14897"/>
            <a:chExt cx="2710406" cy="3676571"/>
          </a:xfrm>
        </p:grpSpPr>
        <p:sp>
          <p:nvSpPr>
            <p:cNvPr id="215" name="Rechthoek 214"/>
            <p:cNvSpPr/>
            <p:nvPr/>
          </p:nvSpPr>
          <p:spPr>
            <a:xfrm>
              <a:off x="12441150" y="14897"/>
              <a:ext cx="2696270" cy="161771"/>
            </a:xfrm>
            <a:prstGeom prst="rect">
              <a:avLst/>
            </a:prstGeom>
            <a:noFill/>
            <a:ln w="25400" cap="flat" cmpd="sng" algn="ctr">
              <a:noFill/>
              <a:prstDash val="solid"/>
            </a:ln>
            <a:effectLst/>
          </p:spPr>
          <p:txBody>
            <a:bodyPr lIns="0" tIns="0" rIns="0" bIns="0" rtlCol="0" anchor="t"/>
            <a:lstStyle/>
            <a:p>
              <a:pPr defTabSz="914112">
                <a:lnSpc>
                  <a:spcPct val="80000"/>
                </a:lnSpc>
              </a:pPr>
              <a:r>
                <a:rPr lang="nl-NL" sz="1600" b="1" kern="0" cap="all" dirty="0">
                  <a:solidFill>
                    <a:srgbClr val="ED1A3B"/>
                  </a:solidFill>
                  <a:cs typeface="Segoe UI Light" panose="020B0502040204020203" pitchFamily="34" charset="0"/>
                </a:rPr>
                <a:t>SmartArt INVOEGEN</a:t>
              </a:r>
            </a:p>
          </p:txBody>
        </p:sp>
        <p:sp>
          <p:nvSpPr>
            <p:cNvPr id="216" name="Tekstvak 33"/>
            <p:cNvSpPr txBox="1"/>
            <p:nvPr/>
          </p:nvSpPr>
          <p:spPr>
            <a:xfrm>
              <a:off x="12441149" y="814239"/>
              <a:ext cx="2710405" cy="719877"/>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Indien nodig, verwijder de bestaande SmartArt. Klik op het pictogram om </a:t>
              </a:r>
              <a:br>
                <a:rPr lang="nl-NL" sz="1200" kern="0" dirty="0">
                  <a:solidFill>
                    <a:srgbClr val="000000"/>
                  </a:solidFill>
                  <a:latin typeface="Trebuchet MS"/>
                  <a:cs typeface="Segoe UI Light" panose="020B0502040204020203" pitchFamily="34" charset="0"/>
                </a:rPr>
              </a:br>
              <a:r>
                <a:rPr lang="nl-NL" sz="1200" kern="0" dirty="0">
                  <a:solidFill>
                    <a:srgbClr val="000000"/>
                  </a:solidFill>
                  <a:latin typeface="Trebuchet MS"/>
                  <a:cs typeface="Segoe UI Light" panose="020B0502040204020203" pitchFamily="34" charset="0"/>
                </a:rPr>
                <a:t>nieuwe SmartArt in te voegen</a:t>
              </a:r>
              <a:br>
                <a:rPr lang="nl-NL" sz="1200" kern="0" dirty="0">
                  <a:solidFill>
                    <a:srgbClr val="000000"/>
                  </a:solidFill>
                  <a:latin typeface="Trebuchet MS"/>
                  <a:cs typeface="Segoe UI Light" panose="020B0502040204020203" pitchFamily="34" charset="0"/>
                </a:rPr>
              </a:br>
              <a:r>
                <a:rPr lang="nl-NL" sz="1100" i="1" kern="0" dirty="0">
                  <a:solidFill>
                    <a:srgbClr val="000000"/>
                  </a:solidFill>
                  <a:latin typeface="Trebuchet MS"/>
                  <a:cs typeface="Segoe UI Light" panose="020B0502040204020203" pitchFamily="34" charset="0"/>
                </a:rPr>
                <a:t>(zie onderstaand voorbeeld).</a:t>
              </a:r>
            </a:p>
          </p:txBody>
        </p:sp>
        <p:sp>
          <p:nvSpPr>
            <p:cNvPr id="217" name="Tekstvak 33"/>
            <p:cNvSpPr txBox="1"/>
            <p:nvPr/>
          </p:nvSpPr>
          <p:spPr>
            <a:xfrm>
              <a:off x="12441149" y="2793904"/>
              <a:ext cx="2710405" cy="395943"/>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Selecteer de SmartArt die u wilt invoegen en klik op </a:t>
              </a:r>
              <a:r>
                <a:rPr lang="nl-NL" sz="1200" b="1" kern="0" dirty="0">
                  <a:solidFill>
                    <a:srgbClr val="000000"/>
                  </a:solidFill>
                  <a:latin typeface="Trebuchet MS"/>
                  <a:cs typeface="Segoe UI Light" panose="020B0502040204020203" pitchFamily="34" charset="0"/>
                </a:rPr>
                <a:t>‘Invoegen’</a:t>
              </a:r>
            </a:p>
          </p:txBody>
        </p:sp>
        <p:sp>
          <p:nvSpPr>
            <p:cNvPr id="218" name="Ovaal 217"/>
            <p:cNvSpPr/>
            <p:nvPr/>
          </p:nvSpPr>
          <p:spPr>
            <a:xfrm>
              <a:off x="12441150" y="379292"/>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1</a:t>
              </a:r>
            </a:p>
          </p:txBody>
        </p:sp>
        <p:sp>
          <p:nvSpPr>
            <p:cNvPr id="219" name="Ovaal 218"/>
            <p:cNvSpPr/>
            <p:nvPr/>
          </p:nvSpPr>
          <p:spPr>
            <a:xfrm>
              <a:off x="12441150" y="2337208"/>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2</a:t>
              </a:r>
            </a:p>
          </p:txBody>
        </p:sp>
        <p:cxnSp>
          <p:nvCxnSpPr>
            <p:cNvPr id="220" name="Rechte verbindingslijn 219"/>
            <p:cNvCxnSpPr/>
            <p:nvPr/>
          </p:nvCxnSpPr>
          <p:spPr>
            <a:xfrm>
              <a:off x="12441150" y="248176"/>
              <a:ext cx="2710405" cy="0"/>
            </a:xfrm>
            <a:prstGeom prst="line">
              <a:avLst/>
            </a:prstGeom>
            <a:noFill/>
            <a:ln w="9525" cap="flat" cmpd="sng" algn="ctr">
              <a:solidFill>
                <a:schemeClr val="accent1"/>
              </a:solidFill>
              <a:prstDash val="solid"/>
            </a:ln>
            <a:effectLst/>
          </p:spPr>
        </p:cxnSp>
        <p:cxnSp>
          <p:nvCxnSpPr>
            <p:cNvPr id="221" name="Rechte verbindingslijn 220"/>
            <p:cNvCxnSpPr/>
            <p:nvPr/>
          </p:nvCxnSpPr>
          <p:spPr>
            <a:xfrm>
              <a:off x="12441149" y="2212830"/>
              <a:ext cx="2710405" cy="0"/>
            </a:xfrm>
            <a:prstGeom prst="line">
              <a:avLst/>
            </a:prstGeom>
            <a:noFill/>
            <a:ln w="9525" cap="flat" cmpd="sng" algn="ctr">
              <a:solidFill>
                <a:schemeClr val="accent1"/>
              </a:solidFill>
              <a:prstDash val="solid"/>
            </a:ln>
            <a:effectLst/>
          </p:spPr>
        </p:cxnSp>
        <p:cxnSp>
          <p:nvCxnSpPr>
            <p:cNvPr id="222" name="Rechte verbindingslijn 221"/>
            <p:cNvCxnSpPr/>
            <p:nvPr/>
          </p:nvCxnSpPr>
          <p:spPr>
            <a:xfrm>
              <a:off x="12444679" y="3691468"/>
              <a:ext cx="2706875" cy="0"/>
            </a:xfrm>
            <a:prstGeom prst="line">
              <a:avLst/>
            </a:prstGeom>
            <a:noFill/>
            <a:ln w="9525" cap="flat" cmpd="sng" algn="ctr">
              <a:solidFill>
                <a:schemeClr val="accent1"/>
              </a:solidFill>
              <a:prstDash val="solid"/>
            </a:ln>
            <a:effectLst/>
          </p:spPr>
        </p:cxnSp>
        <p:grpSp>
          <p:nvGrpSpPr>
            <p:cNvPr id="223" name="Groep 222"/>
            <p:cNvGrpSpPr/>
            <p:nvPr/>
          </p:nvGrpSpPr>
          <p:grpSpPr>
            <a:xfrm>
              <a:off x="12450571" y="3301369"/>
              <a:ext cx="1002992" cy="267962"/>
              <a:chOff x="13560784" y="3471416"/>
              <a:chExt cx="1114138" cy="297656"/>
            </a:xfrm>
          </p:grpSpPr>
          <p:sp>
            <p:nvSpPr>
              <p:cNvPr id="234" name="Afgeronde rechthoek 88"/>
              <p:cNvSpPr/>
              <p:nvPr/>
            </p:nvSpPr>
            <p:spPr>
              <a:xfrm>
                <a:off x="13560784" y="3471416"/>
                <a:ext cx="1114138" cy="297656"/>
              </a:xfrm>
              <a:prstGeom prst="roundRect">
                <a:avLst/>
              </a:prstGeom>
              <a:gradFill flip="none" rotWithShape="1">
                <a:gsLst>
                  <a:gs pos="4000">
                    <a:srgbClr val="00B0F0"/>
                  </a:gs>
                  <a:gs pos="0">
                    <a:srgbClr val="0070C0"/>
                  </a:gs>
                  <a:gs pos="100000">
                    <a:srgbClr val="0070C0"/>
                  </a:gs>
                  <a:gs pos="12000">
                    <a:srgbClr val="D1EAFF"/>
                  </a:gs>
                  <a:gs pos="96000">
                    <a:srgbClr val="00B0F0"/>
                  </a:gs>
                  <a:gs pos="89000">
                    <a:srgbClr val="DDF4FF"/>
                  </a:gs>
                  <a:gs pos="43000">
                    <a:srgbClr val="D1EAFF"/>
                  </a:gs>
                  <a:gs pos="51000">
                    <a:srgbClr val="DDF4FF"/>
                  </a:gs>
                </a:gsLst>
                <a:lin ang="16200000" scaled="1"/>
                <a:tileRect/>
              </a:gradFill>
              <a:ln w="63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dirty="0">
                  <a:solidFill>
                    <a:srgbClr val="FFFFFF"/>
                  </a:solidFill>
                </a:endParaRPr>
              </a:p>
            </p:txBody>
          </p:sp>
          <p:sp>
            <p:nvSpPr>
              <p:cNvPr id="235" name="Tekstvak 234"/>
              <p:cNvSpPr txBox="1"/>
              <p:nvPr/>
            </p:nvSpPr>
            <p:spPr>
              <a:xfrm>
                <a:off x="13573594" y="3488254"/>
                <a:ext cx="888311" cy="273506"/>
              </a:xfrm>
              <a:prstGeom prst="rect">
                <a:avLst/>
              </a:prstGeom>
              <a:noFill/>
            </p:spPr>
            <p:txBody>
              <a:bodyPr wrap="square" rtlCol="0" anchor="ctr">
                <a:spAutoFit/>
              </a:bodyPr>
              <a:lstStyle>
                <a:defPPr>
                  <a:defRPr lang="nl-NL"/>
                </a:defPPr>
                <a:lvl1pPr marR="0" lvl="0" indent="0" algn="ctr" fontAlgn="auto">
                  <a:lnSpc>
                    <a:spcPct val="100000"/>
                  </a:lnSpc>
                  <a:spcBef>
                    <a:spcPts val="0"/>
                  </a:spcBef>
                  <a:spcAft>
                    <a:spcPts val="0"/>
                  </a:spcAft>
                  <a:buClrTx/>
                  <a:buSzTx/>
                  <a:buFontTx/>
                  <a:buNone/>
                  <a:tabLst/>
                  <a:defRPr kumimoji="0" sz="900" i="0" u="none" strike="noStrike" kern="0" cap="none" spc="0" normalizeH="0" baseline="0">
                    <a:ln>
                      <a:noFill/>
                    </a:ln>
                    <a:effectLst>
                      <a:outerShdw blurRad="25400" algn="ctr" rotWithShape="0">
                        <a:prstClr val="white"/>
                      </a:outerShdw>
                    </a:effectLst>
                    <a:uLnTx/>
                    <a:uFillTx/>
                    <a:latin typeface="Segoe UI Light" panose="020B0502040204020203" pitchFamily="34" charset="0"/>
                    <a:cs typeface="Segoe UI Light" panose="020B0502040204020203" pitchFamily="34" charset="0"/>
                  </a:defRPr>
                </a:lvl1pPr>
                <a:lvl2pPr fontAlgn="base">
                  <a:spcBef>
                    <a:spcPct val="0"/>
                  </a:spcBef>
                  <a:spcAft>
                    <a:spcPct val="0"/>
                  </a:spcAft>
                  <a:defRPr>
                    <a:latin typeface="Arial" charset="0"/>
                    <a:cs typeface="Arial" charset="0"/>
                  </a:defRPr>
                </a:lvl2pPr>
                <a:lvl3pPr fontAlgn="base">
                  <a:spcBef>
                    <a:spcPct val="0"/>
                  </a:spcBef>
                  <a:spcAft>
                    <a:spcPct val="0"/>
                  </a:spcAft>
                  <a:defRPr>
                    <a:latin typeface="Arial" charset="0"/>
                    <a:cs typeface="Arial" charset="0"/>
                  </a:defRPr>
                </a:lvl3pPr>
                <a:lvl4pPr fontAlgn="base">
                  <a:spcBef>
                    <a:spcPct val="0"/>
                  </a:spcBef>
                  <a:spcAft>
                    <a:spcPct val="0"/>
                  </a:spcAft>
                  <a:defRPr>
                    <a:latin typeface="Arial" charset="0"/>
                    <a:cs typeface="Arial" charset="0"/>
                  </a:defRPr>
                </a:lvl4pPr>
                <a:lvl5pPr fontAlgn="base">
                  <a:spcBef>
                    <a:spcPct val="0"/>
                  </a:spcBef>
                  <a:spcAft>
                    <a:spcPct val="0"/>
                  </a:spcAft>
                  <a:defRPr>
                    <a:latin typeface="Arial" charset="0"/>
                    <a:cs typeface="Arial" charset="0"/>
                  </a:defRPr>
                </a:lvl5pPr>
                <a:lvl6pPr>
                  <a:defRPr>
                    <a:latin typeface="Arial" charset="0"/>
                    <a:cs typeface="Arial" charset="0"/>
                  </a:defRPr>
                </a:lvl6pPr>
                <a:lvl7pPr>
                  <a:defRPr>
                    <a:latin typeface="Arial" charset="0"/>
                    <a:cs typeface="Arial" charset="0"/>
                  </a:defRPr>
                </a:lvl7pPr>
                <a:lvl8pPr>
                  <a:defRPr>
                    <a:latin typeface="Arial" charset="0"/>
                    <a:cs typeface="Arial" charset="0"/>
                  </a:defRPr>
                </a:lvl8pPr>
                <a:lvl9pPr>
                  <a:defRPr>
                    <a:latin typeface="Arial" charset="0"/>
                    <a:cs typeface="Arial" charset="0"/>
                  </a:defRPr>
                </a:lvl9pPr>
              </a:lstStyle>
              <a:p>
                <a:pPr defTabSz="914112"/>
                <a:r>
                  <a:rPr lang="nl-NL" sz="1000" dirty="0">
                    <a:solidFill>
                      <a:srgbClr val="000000"/>
                    </a:solidFill>
                    <a:latin typeface="Trebuchet MS"/>
                  </a:rPr>
                  <a:t>Invoegen</a:t>
                </a:r>
              </a:p>
            </p:txBody>
          </p:sp>
          <p:cxnSp>
            <p:nvCxnSpPr>
              <p:cNvPr id="236" name="Rechte verbindingslijn 235"/>
              <p:cNvCxnSpPr/>
              <p:nvPr/>
            </p:nvCxnSpPr>
            <p:spPr>
              <a:xfrm>
                <a:off x="14461905" y="3507058"/>
                <a:ext cx="0" cy="224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7" name="Gelijkbenige driehoek 236"/>
              <p:cNvSpPr/>
              <p:nvPr/>
            </p:nvSpPr>
            <p:spPr>
              <a:xfrm rot="10800000">
                <a:off x="14518584" y="3600521"/>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112"/>
                <a:endParaRPr lang="nl-NL" dirty="0">
                  <a:solidFill>
                    <a:srgbClr val="FFFFFF"/>
                  </a:solidFill>
                </a:endParaRPr>
              </a:p>
            </p:txBody>
          </p:sp>
        </p:grpSp>
        <p:grpSp>
          <p:nvGrpSpPr>
            <p:cNvPr id="224" name="Groep 223"/>
            <p:cNvGrpSpPr/>
            <p:nvPr userDrawn="1"/>
          </p:nvGrpSpPr>
          <p:grpSpPr>
            <a:xfrm>
              <a:off x="12441149" y="1706094"/>
              <a:ext cx="471148" cy="391787"/>
              <a:chOff x="6072045" y="3463504"/>
              <a:chExt cx="1299544" cy="1080647"/>
            </a:xfrm>
          </p:grpSpPr>
          <p:sp>
            <p:nvSpPr>
              <p:cNvPr id="225" name="Pijl: punthaak 224"/>
              <p:cNvSpPr/>
              <p:nvPr userDrawn="1"/>
            </p:nvSpPr>
            <p:spPr>
              <a:xfrm>
                <a:off x="6072045" y="3463504"/>
                <a:ext cx="1132964" cy="700764"/>
              </a:xfrm>
              <a:prstGeom prst="chevron">
                <a:avLst>
                  <a:gd name="adj" fmla="val 36022"/>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226" name="Rechthoek: afgeronde hoeken 225"/>
              <p:cNvSpPr/>
              <p:nvPr userDrawn="1"/>
            </p:nvSpPr>
            <p:spPr>
              <a:xfrm>
                <a:off x="6421681" y="3761674"/>
                <a:ext cx="949908" cy="782477"/>
              </a:xfrm>
              <a:prstGeom prst="roundRect">
                <a:avLst>
                  <a:gd name="adj" fmla="val 3237"/>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cxnSp>
            <p:nvCxnSpPr>
              <p:cNvPr id="227" name="Rechte verbindingslijn 226"/>
              <p:cNvCxnSpPr/>
              <p:nvPr userDrawn="1"/>
            </p:nvCxnSpPr>
            <p:spPr>
              <a:xfrm flipH="1">
                <a:off x="6813724" y="4013477"/>
                <a:ext cx="318470" cy="0"/>
              </a:xfrm>
              <a:prstGeom prst="line">
                <a:avLst/>
              </a:prstGeom>
              <a:ln w="15875" cap="rnd">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228" name="Rechte verbindingslijn 227"/>
              <p:cNvCxnSpPr/>
              <p:nvPr userDrawn="1"/>
            </p:nvCxnSpPr>
            <p:spPr>
              <a:xfrm flipH="1">
                <a:off x="6813724" y="4157326"/>
                <a:ext cx="318470" cy="0"/>
              </a:xfrm>
              <a:prstGeom prst="line">
                <a:avLst/>
              </a:prstGeom>
              <a:ln w="15875" cap="rnd">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229" name="Rechte verbindingslijn 228"/>
              <p:cNvCxnSpPr/>
              <p:nvPr userDrawn="1"/>
            </p:nvCxnSpPr>
            <p:spPr>
              <a:xfrm flipH="1">
                <a:off x="6813724" y="4301174"/>
                <a:ext cx="318470" cy="0"/>
              </a:xfrm>
              <a:prstGeom prst="line">
                <a:avLst/>
              </a:prstGeom>
              <a:ln w="15875" cap="rnd">
                <a:solidFill>
                  <a:srgbClr val="B5B5B5"/>
                </a:solidFill>
              </a:ln>
            </p:spPr>
            <p:style>
              <a:lnRef idx="1">
                <a:schemeClr val="accent1"/>
              </a:lnRef>
              <a:fillRef idx="0">
                <a:schemeClr val="accent1"/>
              </a:fillRef>
              <a:effectRef idx="0">
                <a:schemeClr val="accent1"/>
              </a:effectRef>
              <a:fontRef idx="minor">
                <a:schemeClr val="tx1"/>
              </a:fontRef>
            </p:style>
          </p:cxnSp>
          <p:sp>
            <p:nvSpPr>
              <p:cNvPr id="230" name="Rechthoek 229"/>
              <p:cNvSpPr/>
              <p:nvPr userDrawn="1"/>
            </p:nvSpPr>
            <p:spPr>
              <a:xfrm>
                <a:off x="6493301" y="3820673"/>
                <a:ext cx="806658" cy="664477"/>
              </a:xfrm>
              <a:prstGeom prst="rect">
                <a:avLst/>
              </a:prstGeom>
              <a:noFill/>
              <a:ln w="1905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cxnSp>
            <p:nvCxnSpPr>
              <p:cNvPr id="231" name="Rechte verbindingslijn 230"/>
              <p:cNvCxnSpPr/>
              <p:nvPr userDrawn="1"/>
            </p:nvCxnSpPr>
            <p:spPr>
              <a:xfrm flipH="1">
                <a:off x="6678347" y="4013477"/>
                <a:ext cx="47340" cy="0"/>
              </a:xfrm>
              <a:prstGeom prst="line">
                <a:avLst/>
              </a:prstGeom>
              <a:ln w="15875" cap="rnd">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232" name="Rechte verbindingslijn 231"/>
              <p:cNvCxnSpPr/>
              <p:nvPr userDrawn="1"/>
            </p:nvCxnSpPr>
            <p:spPr>
              <a:xfrm flipH="1">
                <a:off x="6678347" y="4157326"/>
                <a:ext cx="47340" cy="0"/>
              </a:xfrm>
              <a:prstGeom prst="line">
                <a:avLst/>
              </a:prstGeom>
              <a:ln w="15875" cap="rnd">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233" name="Rechte verbindingslijn 232"/>
              <p:cNvCxnSpPr/>
              <p:nvPr userDrawn="1"/>
            </p:nvCxnSpPr>
            <p:spPr>
              <a:xfrm flipH="1">
                <a:off x="6678347" y="4301174"/>
                <a:ext cx="47340" cy="0"/>
              </a:xfrm>
              <a:prstGeom prst="line">
                <a:avLst/>
              </a:prstGeom>
              <a:ln w="15875" cap="rnd">
                <a:solidFill>
                  <a:srgbClr val="B5B5B5"/>
                </a:solidFill>
              </a:ln>
            </p:spPr>
            <p:style>
              <a:lnRef idx="1">
                <a:schemeClr val="accent1"/>
              </a:lnRef>
              <a:fillRef idx="0">
                <a:schemeClr val="accent1"/>
              </a:fillRef>
              <a:effectRef idx="0">
                <a:schemeClr val="accent1"/>
              </a:effectRef>
              <a:fontRef idx="minor">
                <a:schemeClr val="tx1"/>
              </a:fontRef>
            </p:style>
          </p:cxnSp>
        </p:grpSp>
      </p:grpSp>
      <p:grpSp>
        <p:nvGrpSpPr>
          <p:cNvPr id="238" name="Instructie - Tekst niveaus"/>
          <p:cNvGrpSpPr/>
          <p:nvPr userDrawn="1"/>
        </p:nvGrpSpPr>
        <p:grpSpPr>
          <a:xfrm>
            <a:off x="-3117849" y="365"/>
            <a:ext cx="2823358" cy="5254722"/>
            <a:chOff x="-2959433" y="-5444"/>
            <a:chExt cx="2822623" cy="5254722"/>
          </a:xfrm>
        </p:grpSpPr>
        <p:sp>
          <p:nvSpPr>
            <p:cNvPr id="239" name="Rechthoek 238"/>
            <p:cNvSpPr/>
            <p:nvPr userDrawn="1"/>
          </p:nvSpPr>
          <p:spPr>
            <a:xfrm>
              <a:off x="-2959433" y="-5444"/>
              <a:ext cx="2572469" cy="280344"/>
            </a:xfrm>
            <a:prstGeom prst="rect">
              <a:avLst/>
            </a:prstGeom>
            <a:noFill/>
            <a:ln w="25400" cap="flat" cmpd="sng" algn="ctr">
              <a:noFill/>
              <a:prstDash val="solid"/>
            </a:ln>
            <a:effectLst/>
          </p:spPr>
          <p:txBody>
            <a:bodyPr lIns="0" tIns="0" rIns="0" bIns="0" rtlCol="0" anchor="t"/>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nl-NL" sz="1600" b="1" kern="0" dirty="0">
                  <a:solidFill>
                    <a:srgbClr val="ED1A3B"/>
                  </a:solidFill>
                  <a:cs typeface="Segoe UI Light" panose="020B0502040204020203" pitchFamily="34" charset="0"/>
                </a:rPr>
                <a:t>TEKST NIVEAUS</a:t>
              </a:r>
            </a:p>
          </p:txBody>
        </p:sp>
        <p:sp>
          <p:nvSpPr>
            <p:cNvPr id="240" name="Textfield placeholder"/>
            <p:cNvSpPr txBox="1">
              <a:spLocks/>
            </p:cNvSpPr>
            <p:nvPr userDrawn="1"/>
          </p:nvSpPr>
          <p:spPr>
            <a:xfrm>
              <a:off x="-2587337" y="2675411"/>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0" lvl="2"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a:solidFill>
                    <a:srgbClr val="404040"/>
                  </a:solidFill>
                </a:rPr>
                <a:t>Sub-bullets (16 pt.)</a:t>
              </a:r>
            </a:p>
          </p:txBody>
        </p:sp>
        <p:sp>
          <p:nvSpPr>
            <p:cNvPr id="241" name="Ovaal 240"/>
            <p:cNvSpPr/>
            <p:nvPr userDrawn="1"/>
          </p:nvSpPr>
          <p:spPr>
            <a:xfrm>
              <a:off x="-2959433" y="196874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1</a:t>
              </a:r>
            </a:p>
          </p:txBody>
        </p:sp>
        <p:sp>
          <p:nvSpPr>
            <p:cNvPr id="242" name="Ovaal 241"/>
            <p:cNvSpPr/>
            <p:nvPr userDrawn="1"/>
          </p:nvSpPr>
          <p:spPr>
            <a:xfrm>
              <a:off x="-2959433" y="232207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2</a:t>
              </a:r>
            </a:p>
          </p:txBody>
        </p:sp>
        <p:sp>
          <p:nvSpPr>
            <p:cNvPr id="243" name="Ovaal 242"/>
            <p:cNvSpPr/>
            <p:nvPr userDrawn="1"/>
          </p:nvSpPr>
          <p:spPr>
            <a:xfrm>
              <a:off x="-2959433" y="267541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3</a:t>
              </a:r>
            </a:p>
          </p:txBody>
        </p:sp>
        <p:sp>
          <p:nvSpPr>
            <p:cNvPr id="244" name="Ovaal 243"/>
            <p:cNvSpPr/>
            <p:nvPr userDrawn="1"/>
          </p:nvSpPr>
          <p:spPr>
            <a:xfrm>
              <a:off x="-2959433" y="302874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4</a:t>
              </a:r>
            </a:p>
          </p:txBody>
        </p:sp>
        <p:sp>
          <p:nvSpPr>
            <p:cNvPr id="245" name="Textfield placeholder"/>
            <p:cNvSpPr txBox="1">
              <a:spLocks/>
            </p:cNvSpPr>
            <p:nvPr userDrawn="1"/>
          </p:nvSpPr>
          <p:spPr>
            <a:xfrm>
              <a:off x="-2571950" y="1966925"/>
              <a:ext cx="2163709" cy="261500"/>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79388">
                <a:lnSpc>
                  <a:spcPct val="120000"/>
                </a:lnSpc>
                <a:spcBef>
                  <a:spcPts val="0"/>
                </a:spcBef>
                <a:spcAft>
                  <a:spcPts val="900"/>
                </a:spcAft>
                <a:buClr>
                  <a:srgbClr val="000000"/>
                </a:buClr>
                <a:buSzPct val="100000"/>
                <a:buFont typeface="Arial" pitchFamily="34" charset="0"/>
                <a:buNone/>
                <a:defRPr/>
              </a:pPr>
              <a:r>
                <a:rPr lang="nl-NL" sz="1200" dirty="0">
                  <a:solidFill>
                    <a:srgbClr val="535353"/>
                  </a:solidFill>
                </a:rPr>
                <a:t>Leestekst (16 pt.)</a:t>
              </a:r>
            </a:p>
          </p:txBody>
        </p:sp>
        <p:sp>
          <p:nvSpPr>
            <p:cNvPr id="246" name="Textfield placeholder"/>
            <p:cNvSpPr txBox="1">
              <a:spLocks/>
            </p:cNvSpPr>
            <p:nvPr userDrawn="1"/>
          </p:nvSpPr>
          <p:spPr>
            <a:xfrm>
              <a:off x="-2571950" y="2322077"/>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70000" lvl="1"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err="1">
                  <a:solidFill>
                    <a:srgbClr val="535353"/>
                  </a:solidFill>
                </a:rPr>
                <a:t>Bullets</a:t>
              </a:r>
              <a:r>
                <a:rPr lang="nl-NL" sz="1200" dirty="0">
                  <a:solidFill>
                    <a:srgbClr val="535353"/>
                  </a:solidFill>
                </a:rPr>
                <a:t> (16 </a:t>
              </a:r>
              <a:r>
                <a:rPr lang="nl-NL" sz="1200" dirty="0" err="1">
                  <a:solidFill>
                    <a:srgbClr val="535353"/>
                  </a:solidFill>
                </a:rPr>
                <a:t>pt</a:t>
              </a:r>
              <a:r>
                <a:rPr lang="nl-NL" sz="1200" dirty="0">
                  <a:solidFill>
                    <a:srgbClr val="535353"/>
                  </a:solidFill>
                </a:rPr>
                <a:t>.)</a:t>
              </a:r>
            </a:p>
          </p:txBody>
        </p:sp>
        <p:sp>
          <p:nvSpPr>
            <p:cNvPr id="247" name="Textfield placeholder"/>
            <p:cNvSpPr txBox="1">
              <a:spLocks/>
            </p:cNvSpPr>
            <p:nvPr userDrawn="1"/>
          </p:nvSpPr>
          <p:spPr>
            <a:xfrm>
              <a:off x="-2571951" y="3028747"/>
              <a:ext cx="2435141"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10000" lvl="3" indent="-270000" algn="l" defTabSz="179388" rtl="0" eaLnBrk="1" latinLnBrk="0" hangingPunct="1">
                <a:lnSpc>
                  <a:spcPct val="120000"/>
                </a:lnSpc>
                <a:spcBef>
                  <a:spcPts val="0"/>
                </a:spcBef>
                <a:spcAft>
                  <a:spcPts val="900"/>
                </a:spcAft>
                <a:buClr>
                  <a:schemeClr val="accent2"/>
                </a:buClr>
                <a:buSzPct val="80000"/>
                <a:buFont typeface="Wingdings 3" panose="05040102010807070707" pitchFamily="18" charset="2"/>
                <a:buChar char=""/>
                <a:defRPr/>
              </a:pPr>
              <a:r>
                <a:rPr lang="nl-NL" sz="1200" b="0" kern="1200" dirty="0">
                  <a:solidFill>
                    <a:srgbClr val="404040"/>
                  </a:solidFill>
                  <a:latin typeface="+mn-lt"/>
                  <a:ea typeface="+mn-ea"/>
                  <a:cs typeface="+mn-cs"/>
                </a:rPr>
                <a:t>Sub-sub-bullets (16 pt.)</a:t>
              </a:r>
            </a:p>
          </p:txBody>
        </p:sp>
        <p:cxnSp>
          <p:nvCxnSpPr>
            <p:cNvPr id="248" name="Rechte verbindingslijn 247"/>
            <p:cNvCxnSpPr/>
            <p:nvPr userDrawn="1"/>
          </p:nvCxnSpPr>
          <p:spPr>
            <a:xfrm>
              <a:off x="-2959100" y="274900"/>
              <a:ext cx="2674470" cy="0"/>
            </a:xfrm>
            <a:prstGeom prst="line">
              <a:avLst/>
            </a:prstGeom>
            <a:noFill/>
            <a:ln w="9525" cap="flat" cmpd="sng" algn="ctr">
              <a:solidFill>
                <a:schemeClr val="accent1"/>
              </a:solidFill>
              <a:prstDash val="solid"/>
            </a:ln>
            <a:effectLst/>
          </p:spPr>
        </p:cxnSp>
        <p:cxnSp>
          <p:nvCxnSpPr>
            <p:cNvPr id="249" name="Rechte verbindingslijn 248"/>
            <p:cNvCxnSpPr/>
            <p:nvPr userDrawn="1"/>
          </p:nvCxnSpPr>
          <p:spPr>
            <a:xfrm>
              <a:off x="-2959100" y="1841989"/>
              <a:ext cx="2661379" cy="0"/>
            </a:xfrm>
            <a:prstGeom prst="line">
              <a:avLst/>
            </a:prstGeom>
            <a:noFill/>
            <a:ln w="9525" cap="flat" cmpd="sng" algn="ctr">
              <a:solidFill>
                <a:schemeClr val="accent1"/>
              </a:solidFill>
              <a:prstDash val="solid"/>
            </a:ln>
            <a:effectLst/>
          </p:spPr>
        </p:cxnSp>
        <p:cxnSp>
          <p:nvCxnSpPr>
            <p:cNvPr id="250" name="Rechte verbindingslijn 249"/>
            <p:cNvCxnSpPr/>
            <p:nvPr userDrawn="1"/>
          </p:nvCxnSpPr>
          <p:spPr>
            <a:xfrm>
              <a:off x="-2959100" y="5249278"/>
              <a:ext cx="2661379" cy="0"/>
            </a:xfrm>
            <a:prstGeom prst="line">
              <a:avLst/>
            </a:prstGeom>
            <a:noFill/>
            <a:ln w="9525" cap="flat" cmpd="sng" algn="ctr">
              <a:solidFill>
                <a:schemeClr val="accent1"/>
              </a:solidFill>
              <a:prstDash val="solid"/>
            </a:ln>
            <a:effectLst/>
          </p:spPr>
        </p:cxnSp>
        <p:grpSp>
          <p:nvGrpSpPr>
            <p:cNvPr id="251" name="Groep 250"/>
            <p:cNvGrpSpPr/>
            <p:nvPr userDrawn="1"/>
          </p:nvGrpSpPr>
          <p:grpSpPr>
            <a:xfrm>
              <a:off x="-1948476" y="816741"/>
              <a:ext cx="409108" cy="427699"/>
              <a:chOff x="-1085063" y="758027"/>
              <a:chExt cx="633799" cy="622540"/>
            </a:xfrm>
          </p:grpSpPr>
          <p:sp>
            <p:nvSpPr>
              <p:cNvPr id="307" name="Afgeronde rechthoek 306"/>
              <p:cNvSpPr/>
              <p:nvPr userDrawn="1"/>
            </p:nvSpPr>
            <p:spPr>
              <a:xfrm>
                <a:off x="-108506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308" name="Groep 307"/>
              <p:cNvGrpSpPr/>
              <p:nvPr userDrawn="1"/>
            </p:nvGrpSpPr>
            <p:grpSpPr>
              <a:xfrm>
                <a:off x="-977739" y="864082"/>
                <a:ext cx="419168" cy="410429"/>
                <a:chOff x="6366933" y="309013"/>
                <a:chExt cx="1901295" cy="1861668"/>
              </a:xfrm>
              <a:solidFill>
                <a:srgbClr val="000000"/>
              </a:solidFill>
            </p:grpSpPr>
            <p:sp>
              <p:nvSpPr>
                <p:cNvPr id="309" name="Rechthoek 308"/>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0" name="Rechthoek 309"/>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1" name="Rechthoek 310"/>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2" name="Rechthoek 311"/>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3" name="Rechthoek 312"/>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4" name="Rechthoek 313"/>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5" name="Rechthoek 314"/>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6" name="Rechthoek 315"/>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7" name="Rechthoek 316"/>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8" name="Rechthoek 317"/>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19" name="Vrije vorm 318"/>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nvGrpSpPr>
            <p:cNvPr id="252" name="Groep 251"/>
            <p:cNvGrpSpPr/>
            <p:nvPr userDrawn="1"/>
          </p:nvGrpSpPr>
          <p:grpSpPr>
            <a:xfrm>
              <a:off x="-2950232" y="1207835"/>
              <a:ext cx="532929" cy="509563"/>
              <a:chOff x="-2880382" y="802341"/>
              <a:chExt cx="532929" cy="509563"/>
            </a:xfrm>
          </p:grpSpPr>
          <p:sp>
            <p:nvSpPr>
              <p:cNvPr id="285" name="Rechthoek 284"/>
              <p:cNvSpPr/>
              <p:nvPr userDrawn="1"/>
            </p:nvSpPr>
            <p:spPr>
              <a:xfrm>
                <a:off x="-2880382" y="802341"/>
                <a:ext cx="532929" cy="509563"/>
              </a:xfrm>
              <a:prstGeom prst="rect">
                <a:avLst/>
              </a:prstGeom>
              <a:solidFill>
                <a:sysClr val="window" lastClr="FFFFFF"/>
              </a:soli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pic>
            <p:nvPicPr>
              <p:cNvPr id="28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635852" y="822181"/>
                <a:ext cx="226442" cy="208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7"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848026" y="822181"/>
                <a:ext cx="207168" cy="213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88" name="Groep 287"/>
              <p:cNvGrpSpPr/>
              <p:nvPr userDrawn="1"/>
            </p:nvGrpSpPr>
            <p:grpSpPr>
              <a:xfrm>
                <a:off x="-2802433" y="1123442"/>
                <a:ext cx="132915" cy="104889"/>
                <a:chOff x="-2796392" y="1123442"/>
                <a:chExt cx="120832" cy="104889"/>
              </a:xfrm>
            </p:grpSpPr>
            <p:sp>
              <p:nvSpPr>
                <p:cNvPr id="302" name="Rechthoek 301"/>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3" name="Rechthoek 302"/>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4" name="Rechthoek 303"/>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5" name="Rechthoek 304"/>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6" name="Rechthoek 305"/>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289" name="Groep 288"/>
              <p:cNvGrpSpPr/>
              <p:nvPr userDrawn="1"/>
            </p:nvGrpSpPr>
            <p:grpSpPr>
              <a:xfrm>
                <a:off x="-2575417" y="1123442"/>
                <a:ext cx="133930" cy="104889"/>
                <a:chOff x="-2556734" y="1123442"/>
                <a:chExt cx="147324" cy="104889"/>
              </a:xfrm>
            </p:grpSpPr>
            <p:grpSp>
              <p:nvGrpSpPr>
                <p:cNvPr id="290" name="Groep 289"/>
                <p:cNvGrpSpPr/>
                <p:nvPr userDrawn="1"/>
              </p:nvGrpSpPr>
              <p:grpSpPr>
                <a:xfrm>
                  <a:off x="-2556734" y="1123442"/>
                  <a:ext cx="68206" cy="104889"/>
                  <a:chOff x="-2796392" y="1123442"/>
                  <a:chExt cx="120832" cy="104889"/>
                </a:xfrm>
              </p:grpSpPr>
              <p:sp>
                <p:nvSpPr>
                  <p:cNvPr id="297" name="Rechthoek 296"/>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8" name="Rechthoek 297"/>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9" name="Rechthoek 298"/>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0" name="Rechthoek 299"/>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1" name="Rechthoek 300"/>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291" name="Groep 290"/>
                <p:cNvGrpSpPr/>
                <p:nvPr userDrawn="1"/>
              </p:nvGrpSpPr>
              <p:grpSpPr>
                <a:xfrm>
                  <a:off x="-2477616" y="1123442"/>
                  <a:ext cx="68206" cy="104889"/>
                  <a:chOff x="-2796392" y="1123442"/>
                  <a:chExt cx="120832" cy="104889"/>
                </a:xfrm>
              </p:grpSpPr>
              <p:sp>
                <p:nvSpPr>
                  <p:cNvPr id="292" name="Rechthoek 291"/>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3" name="Rechthoek 292"/>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4" name="Rechthoek 293"/>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5" name="Rechthoek 294"/>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6" name="Rechthoek 295"/>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grpSp>
          <p:nvGrpSpPr>
            <p:cNvPr id="253" name="Groep 252"/>
            <p:cNvGrpSpPr/>
            <p:nvPr userDrawn="1"/>
          </p:nvGrpSpPr>
          <p:grpSpPr>
            <a:xfrm>
              <a:off x="-1948476" y="1281164"/>
              <a:ext cx="413704" cy="427699"/>
              <a:chOff x="-1845083" y="758027"/>
              <a:chExt cx="633799" cy="622540"/>
            </a:xfrm>
          </p:grpSpPr>
          <p:sp>
            <p:nvSpPr>
              <p:cNvPr id="272" name="Afgeronde rechthoek 271"/>
              <p:cNvSpPr/>
              <p:nvPr userDrawn="1"/>
            </p:nvSpPr>
            <p:spPr>
              <a:xfrm>
                <a:off x="-184508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273" name="Groep 272"/>
              <p:cNvGrpSpPr/>
              <p:nvPr userDrawn="1"/>
            </p:nvGrpSpPr>
            <p:grpSpPr>
              <a:xfrm>
                <a:off x="-1737762" y="864082"/>
                <a:ext cx="419168" cy="410429"/>
                <a:chOff x="3708400" y="309013"/>
                <a:chExt cx="1901295" cy="1861668"/>
              </a:xfrm>
              <a:solidFill>
                <a:srgbClr val="000000"/>
              </a:solidFill>
            </p:grpSpPr>
            <p:sp>
              <p:nvSpPr>
                <p:cNvPr id="274" name="Rechthoek 273"/>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5" name="Rechthoek 274"/>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6" name="Rechthoek 275"/>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7" name="Rechthoek 276"/>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8" name="Rechthoek 277"/>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9" name="Rechthoek 278"/>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0" name="Rechthoek 279"/>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1" name="Rechthoek 280"/>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2" name="Rechthoek 281"/>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3" name="Rechthoek 282"/>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4" name="Vrije vorm 283"/>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cxnSp>
          <p:nvCxnSpPr>
            <p:cNvPr id="254" name="Rechte verbindingslijn 253"/>
            <p:cNvCxnSpPr/>
            <p:nvPr userDrawn="1"/>
          </p:nvCxnSpPr>
          <p:spPr>
            <a:xfrm>
              <a:off x="-2814292" y="1441193"/>
              <a:ext cx="865816" cy="53821"/>
            </a:xfrm>
            <a:prstGeom prst="line">
              <a:avLst/>
            </a:prstGeom>
            <a:noFill/>
            <a:ln w="9525" cap="flat" cmpd="sng" algn="ctr">
              <a:solidFill>
                <a:schemeClr val="accent1"/>
              </a:solidFill>
              <a:prstDash val="solid"/>
              <a:headEnd type="oval"/>
            </a:ln>
            <a:effectLst/>
          </p:spPr>
        </p:cxnSp>
        <p:cxnSp>
          <p:nvCxnSpPr>
            <p:cNvPr id="255" name="Rechte verbindingslijn 254"/>
            <p:cNvCxnSpPr/>
            <p:nvPr userDrawn="1"/>
          </p:nvCxnSpPr>
          <p:spPr>
            <a:xfrm flipV="1">
              <a:off x="-2453902" y="1030591"/>
              <a:ext cx="505426" cy="283623"/>
            </a:xfrm>
            <a:prstGeom prst="line">
              <a:avLst/>
            </a:prstGeom>
            <a:noFill/>
            <a:ln w="9525" cap="flat" cmpd="sng" algn="ctr">
              <a:solidFill>
                <a:schemeClr val="accent1"/>
              </a:solidFill>
              <a:prstDash val="solid"/>
              <a:headEnd type="oval"/>
            </a:ln>
            <a:effectLst/>
          </p:spPr>
        </p:cxnSp>
        <p:sp>
          <p:nvSpPr>
            <p:cNvPr id="256" name="Textfield placeholder"/>
            <p:cNvSpPr txBox="1">
              <a:spLocks/>
            </p:cNvSpPr>
            <p:nvPr userDrawn="1"/>
          </p:nvSpPr>
          <p:spPr>
            <a:xfrm>
              <a:off x="-1341598" y="816743"/>
              <a:ext cx="1056968" cy="427698"/>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hoog</a:t>
              </a:r>
            </a:p>
          </p:txBody>
        </p:sp>
        <p:sp>
          <p:nvSpPr>
            <p:cNvPr id="257" name="Textfield placeholder"/>
            <p:cNvSpPr txBox="1">
              <a:spLocks/>
            </p:cNvSpPr>
            <p:nvPr userDrawn="1"/>
          </p:nvSpPr>
          <p:spPr>
            <a:xfrm>
              <a:off x="-1341599" y="1281164"/>
              <a:ext cx="1070223" cy="427699"/>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laag</a:t>
              </a:r>
            </a:p>
          </p:txBody>
        </p:sp>
        <p:sp>
          <p:nvSpPr>
            <p:cNvPr id="258" name="Ovaal 257"/>
            <p:cNvSpPr/>
            <p:nvPr userDrawn="1"/>
          </p:nvSpPr>
          <p:spPr>
            <a:xfrm>
              <a:off x="-2959433" y="338208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5</a:t>
              </a:r>
            </a:p>
          </p:txBody>
        </p:sp>
        <p:sp>
          <p:nvSpPr>
            <p:cNvPr id="259" name="Textfield placeholder"/>
            <p:cNvSpPr txBox="1">
              <a:spLocks/>
            </p:cNvSpPr>
            <p:nvPr userDrawn="1"/>
          </p:nvSpPr>
          <p:spPr>
            <a:xfrm>
              <a:off x="-2571950" y="3382082"/>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60000" lvl="4" indent="-360000" defTabSz="179388">
                <a:lnSpc>
                  <a:spcPct val="120000"/>
                </a:lnSpc>
                <a:spcBef>
                  <a:spcPts val="0"/>
                </a:spcBef>
                <a:spcAft>
                  <a:spcPts val="900"/>
                </a:spcAft>
                <a:buClr>
                  <a:srgbClr val="ED1A3B"/>
                </a:buClr>
                <a:buFont typeface="+mj-lt"/>
                <a:buAutoNum type="arabicPeriod"/>
                <a:defRPr/>
              </a:pPr>
              <a:r>
                <a:rPr lang="nl-NL" sz="1200" b="0" dirty="0">
                  <a:solidFill>
                    <a:srgbClr val="404040"/>
                  </a:solidFill>
                </a:rPr>
                <a:t>Numeriek (16 pt.)</a:t>
              </a:r>
            </a:p>
          </p:txBody>
        </p:sp>
        <p:grpSp>
          <p:nvGrpSpPr>
            <p:cNvPr id="260" name="Groep 259"/>
            <p:cNvGrpSpPr/>
            <p:nvPr userDrawn="1"/>
          </p:nvGrpSpPr>
          <p:grpSpPr>
            <a:xfrm>
              <a:off x="-2950232" y="816050"/>
              <a:ext cx="528695" cy="344202"/>
              <a:chOff x="-2880382" y="410556"/>
              <a:chExt cx="528695" cy="344202"/>
            </a:xfrm>
          </p:grpSpPr>
          <p:sp>
            <p:nvSpPr>
              <p:cNvPr id="270" name="Afgeronde rechthoek 269"/>
              <p:cNvSpPr/>
              <p:nvPr userDrawn="1"/>
            </p:nvSpPr>
            <p:spPr>
              <a:xfrm>
                <a:off x="-2874214" y="410556"/>
                <a:ext cx="522527" cy="339183"/>
              </a:xfrm>
              <a:prstGeom prst="roundRect">
                <a:avLst>
                  <a:gd name="adj" fmla="val 7565"/>
                </a:avLst>
              </a:prstGeom>
              <a:gradFill>
                <a:gsLst>
                  <a:gs pos="0">
                    <a:srgbClr val="FFEC8F"/>
                  </a:gs>
                  <a:gs pos="100000">
                    <a:srgbClr val="FFFFFF"/>
                  </a:gs>
                </a:gsLst>
                <a:lin ang="5400000" scaled="0"/>
              </a:gra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sp>
            <p:nvSpPr>
              <p:cNvPr id="271" name="Vrije vorm 270"/>
              <p:cNvSpPr/>
              <p:nvPr userDrawn="1"/>
            </p:nvSpPr>
            <p:spPr>
              <a:xfrm>
                <a:off x="-2880382" y="452699"/>
                <a:ext cx="528695" cy="302059"/>
              </a:xfrm>
              <a:custGeom>
                <a:avLst/>
                <a:gdLst>
                  <a:gd name="connsiteX0" fmla="*/ 55524 w 528695"/>
                  <a:gd name="connsiteY0" fmla="*/ 0 h 302059"/>
                  <a:gd name="connsiteX1" fmla="*/ 455496 w 528695"/>
                  <a:gd name="connsiteY1" fmla="*/ 0 h 302059"/>
                  <a:gd name="connsiteX2" fmla="*/ 475205 w 528695"/>
                  <a:gd name="connsiteY2" fmla="*/ 19709 h 302059"/>
                  <a:gd name="connsiteX3" fmla="*/ 475205 w 528695"/>
                  <a:gd name="connsiteY3" fmla="*/ 230056 h 302059"/>
                  <a:gd name="connsiteX4" fmla="*/ 516694 w 528695"/>
                  <a:gd name="connsiteY4" fmla="*/ 230056 h 302059"/>
                  <a:gd name="connsiteX5" fmla="*/ 528695 w 528695"/>
                  <a:gd name="connsiteY5" fmla="*/ 242057 h 302059"/>
                  <a:gd name="connsiteX6" fmla="*/ 528695 w 528695"/>
                  <a:gd name="connsiteY6" fmla="*/ 290058 h 302059"/>
                  <a:gd name="connsiteX7" fmla="*/ 516694 w 528695"/>
                  <a:gd name="connsiteY7" fmla="*/ 302059 h 302059"/>
                  <a:gd name="connsiteX8" fmla="*/ 12001 w 528695"/>
                  <a:gd name="connsiteY8" fmla="*/ 302059 h 302059"/>
                  <a:gd name="connsiteX9" fmla="*/ 0 w 528695"/>
                  <a:gd name="connsiteY9" fmla="*/ 290058 h 302059"/>
                  <a:gd name="connsiteX10" fmla="*/ 0 w 528695"/>
                  <a:gd name="connsiteY10" fmla="*/ 242057 h 302059"/>
                  <a:gd name="connsiteX11" fmla="*/ 12001 w 528695"/>
                  <a:gd name="connsiteY11" fmla="*/ 230056 h 302059"/>
                  <a:gd name="connsiteX12" fmla="*/ 35815 w 528695"/>
                  <a:gd name="connsiteY12" fmla="*/ 230056 h 302059"/>
                  <a:gd name="connsiteX13" fmla="*/ 35815 w 528695"/>
                  <a:gd name="connsiteY13" fmla="*/ 19709 h 302059"/>
                  <a:gd name="connsiteX14" fmla="*/ 55524 w 528695"/>
                  <a:gd name="connsiteY14" fmla="*/ 0 h 3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8695" h="302059">
                    <a:moveTo>
                      <a:pt x="55524" y="0"/>
                    </a:moveTo>
                    <a:lnTo>
                      <a:pt x="455496" y="0"/>
                    </a:lnTo>
                    <a:cubicBezTo>
                      <a:pt x="466381" y="0"/>
                      <a:pt x="475205" y="8824"/>
                      <a:pt x="475205" y="19709"/>
                    </a:cubicBezTo>
                    <a:lnTo>
                      <a:pt x="475205" y="230056"/>
                    </a:lnTo>
                    <a:lnTo>
                      <a:pt x="516694" y="230056"/>
                    </a:lnTo>
                    <a:cubicBezTo>
                      <a:pt x="523322" y="230056"/>
                      <a:pt x="528695" y="235429"/>
                      <a:pt x="528695" y="242057"/>
                    </a:cubicBezTo>
                    <a:lnTo>
                      <a:pt x="528695" y="290058"/>
                    </a:lnTo>
                    <a:cubicBezTo>
                      <a:pt x="528695" y="296686"/>
                      <a:pt x="523322" y="302059"/>
                      <a:pt x="516694" y="302059"/>
                    </a:cubicBezTo>
                    <a:lnTo>
                      <a:pt x="12001" y="302059"/>
                    </a:lnTo>
                    <a:cubicBezTo>
                      <a:pt x="5373" y="302059"/>
                      <a:pt x="0" y="296686"/>
                      <a:pt x="0" y="290058"/>
                    </a:cubicBezTo>
                    <a:lnTo>
                      <a:pt x="0" y="242057"/>
                    </a:lnTo>
                    <a:cubicBezTo>
                      <a:pt x="0" y="235429"/>
                      <a:pt x="5373" y="230056"/>
                      <a:pt x="12001" y="230056"/>
                    </a:cubicBezTo>
                    <a:lnTo>
                      <a:pt x="35815" y="230056"/>
                    </a:lnTo>
                    <a:lnTo>
                      <a:pt x="35815" y="19709"/>
                    </a:lnTo>
                    <a:cubicBezTo>
                      <a:pt x="35815" y="8824"/>
                      <a:pt x="44639" y="0"/>
                      <a:pt x="55524" y="0"/>
                    </a:cubicBezTo>
                    <a:close/>
                  </a:path>
                </a:pathLst>
              </a:custGeom>
              <a:solidFill>
                <a:sysClr val="window" lastClr="FFFFFF">
                  <a:lumMod val="95000"/>
                </a:sysClr>
              </a:solidFill>
              <a:ln w="9525" cap="flat" cmpd="sng" algn="ctr">
                <a:solidFill>
                  <a:srgbClr val="FFFFFF">
                    <a:lumMod val="90000"/>
                  </a:srgbClr>
                </a:solidFill>
                <a:prstDash val="solid"/>
                <a:miter lim="800000"/>
              </a:ln>
              <a:effectLst/>
            </p:spPr>
            <p:txBody>
              <a:bodyPr rot="0" spcFirstLastPara="0" vert="horz" wrap="square" lIns="108000" tIns="36000" rIns="108000" bIns="10800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900" dirty="0">
                    <a:solidFill>
                      <a:prstClr val="black"/>
                    </a:solidFill>
                    <a:latin typeface="Segoe UI Light"/>
                  </a:rPr>
                  <a:t>Start</a:t>
                </a:r>
              </a:p>
            </p:txBody>
          </p:sp>
        </p:grpSp>
        <p:sp>
          <p:nvSpPr>
            <p:cNvPr id="261" name="Tekstvak 65"/>
            <p:cNvSpPr txBox="1"/>
            <p:nvPr userDrawn="1"/>
          </p:nvSpPr>
          <p:spPr>
            <a:xfrm>
              <a:off x="-2959433" y="372104"/>
              <a:ext cx="2679887" cy="453396"/>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nl-NL" sz="1200" kern="0" dirty="0">
                  <a:solidFill>
                    <a:srgbClr val="000000"/>
                  </a:solidFill>
                  <a:latin typeface="Segoe UI Light" panose="020B0502040204020203" pitchFamily="34" charset="0"/>
                  <a:cs typeface="Segoe UI Light" panose="020B0502040204020203" pitchFamily="34" charset="0"/>
                </a:rPr>
                <a:t>Ga naar de tab </a:t>
              </a:r>
              <a:r>
                <a:rPr lang="nl-NL" sz="1200" b="1" kern="0" dirty="0">
                  <a:solidFill>
                    <a:srgbClr val="000000"/>
                  </a:solidFill>
                  <a:latin typeface="Segoe UI Light" panose="020B0502040204020203" pitchFamily="34" charset="0"/>
                  <a:cs typeface="Segoe UI Light" panose="020B0502040204020203" pitchFamily="34" charset="0"/>
                </a:rPr>
                <a:t>Start’ </a:t>
              </a:r>
              <a:r>
                <a:rPr lang="nl-NL" sz="1200" kern="0" dirty="0">
                  <a:solidFill>
                    <a:srgbClr val="000000"/>
                  </a:solidFill>
                  <a:latin typeface="Segoe UI Light" panose="020B0502040204020203" pitchFamily="34" charset="0"/>
                  <a:cs typeface="Segoe UI Light" panose="020B0502040204020203" pitchFamily="34" charset="0"/>
                </a:rPr>
                <a:t>en vind onderstaande knoppen onder </a:t>
              </a:r>
              <a:r>
                <a:rPr lang="nl-NL" sz="1200" b="1" kern="0" dirty="0">
                  <a:solidFill>
                    <a:srgbClr val="000000"/>
                  </a:solidFill>
                  <a:latin typeface="Segoe UI Light" panose="020B0502040204020203" pitchFamily="34" charset="0"/>
                  <a:cs typeface="Segoe UI Light" panose="020B0502040204020203" pitchFamily="34" charset="0"/>
                </a:rPr>
                <a:t>‘Alinea’</a:t>
              </a:r>
            </a:p>
          </p:txBody>
        </p:sp>
        <p:sp>
          <p:nvSpPr>
            <p:cNvPr id="262" name="Ovaal 261"/>
            <p:cNvSpPr/>
            <p:nvPr userDrawn="1"/>
          </p:nvSpPr>
          <p:spPr>
            <a:xfrm>
              <a:off x="-2959433" y="375153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6</a:t>
              </a:r>
            </a:p>
          </p:txBody>
        </p:sp>
        <p:sp>
          <p:nvSpPr>
            <p:cNvPr id="263" name="Textfield placeholder"/>
            <p:cNvSpPr txBox="1">
              <a:spLocks/>
            </p:cNvSpPr>
            <p:nvPr userDrawn="1"/>
          </p:nvSpPr>
          <p:spPr>
            <a:xfrm>
              <a:off x="-2571950" y="3751536"/>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0000" lvl="5" indent="-270000" defTabSz="179388">
                <a:lnSpc>
                  <a:spcPct val="120000"/>
                </a:lnSpc>
                <a:spcAft>
                  <a:spcPts val="900"/>
                </a:spcAft>
                <a:buClr>
                  <a:srgbClr val="ED1A3B"/>
                </a:buClr>
                <a:buSzPct val="80000"/>
                <a:buFont typeface="Wingdings 3" panose="05040102010807070707" pitchFamily="18" charset="2"/>
                <a:buChar char=""/>
                <a:defRPr/>
              </a:pPr>
              <a:r>
                <a:rPr lang="nl-NL" sz="1200" cap="none" dirty="0">
                  <a:solidFill>
                    <a:srgbClr val="535353"/>
                  </a:solidFill>
                </a:rPr>
                <a:t># Bullets (16 pt.)</a:t>
              </a:r>
            </a:p>
          </p:txBody>
        </p:sp>
        <p:sp>
          <p:nvSpPr>
            <p:cNvPr id="264" name="Ovaal 263"/>
            <p:cNvSpPr/>
            <p:nvPr userDrawn="1"/>
          </p:nvSpPr>
          <p:spPr>
            <a:xfrm>
              <a:off x="-2959433" y="414870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7</a:t>
              </a:r>
            </a:p>
          </p:txBody>
        </p:sp>
        <p:sp>
          <p:nvSpPr>
            <p:cNvPr id="265" name="Textfield placeholder"/>
            <p:cNvSpPr txBox="1">
              <a:spLocks/>
            </p:cNvSpPr>
            <p:nvPr userDrawn="1"/>
          </p:nvSpPr>
          <p:spPr>
            <a:xfrm>
              <a:off x="-2571950" y="414870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6" indent="0" defTabSz="179388">
                <a:lnSpc>
                  <a:spcPct val="120000"/>
                </a:lnSpc>
                <a:spcBef>
                  <a:spcPts val="0"/>
                </a:spcBef>
                <a:spcAft>
                  <a:spcPts val="900"/>
                </a:spcAft>
                <a:buClr>
                  <a:srgbClr val="ED1A3B"/>
                </a:buClr>
                <a:buSzPct val="90000"/>
                <a:buFont typeface="+mj-lt"/>
                <a:buNone/>
                <a:defRPr/>
              </a:pPr>
              <a:r>
                <a:rPr lang="nl-NL" sz="1200" i="1" dirty="0">
                  <a:solidFill>
                    <a:srgbClr val="404040"/>
                  </a:solidFill>
                </a:rPr>
                <a:t>Cursief donker (16 pt.)</a:t>
              </a:r>
            </a:p>
          </p:txBody>
        </p:sp>
        <p:sp>
          <p:nvSpPr>
            <p:cNvPr id="266" name="Ovaal 265"/>
            <p:cNvSpPr/>
            <p:nvPr userDrawn="1"/>
          </p:nvSpPr>
          <p:spPr>
            <a:xfrm>
              <a:off x="-2959433" y="454586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8</a:t>
              </a:r>
            </a:p>
          </p:txBody>
        </p:sp>
        <p:sp>
          <p:nvSpPr>
            <p:cNvPr id="267" name="Textfield placeholder"/>
            <p:cNvSpPr txBox="1">
              <a:spLocks/>
            </p:cNvSpPr>
            <p:nvPr userDrawn="1"/>
          </p:nvSpPr>
          <p:spPr>
            <a:xfrm>
              <a:off x="-2571950" y="4545864"/>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7" indent="0" defTabSz="179388">
                <a:lnSpc>
                  <a:spcPct val="80000"/>
                </a:lnSpc>
                <a:spcBef>
                  <a:spcPts val="0"/>
                </a:spcBef>
                <a:spcAft>
                  <a:spcPts val="900"/>
                </a:spcAft>
                <a:buClr>
                  <a:srgbClr val="ED1A3B"/>
                </a:buClr>
                <a:buFont typeface="Arial" pitchFamily="34" charset="0"/>
                <a:buNone/>
                <a:defRPr/>
              </a:pPr>
              <a:r>
                <a:rPr lang="nl-NL" sz="1200" i="1" dirty="0">
                  <a:solidFill>
                    <a:srgbClr val="A3B0C0"/>
                  </a:solidFill>
                </a:rPr>
                <a:t>Cursief Licht (16 pt.)</a:t>
              </a:r>
            </a:p>
          </p:txBody>
        </p:sp>
        <p:sp>
          <p:nvSpPr>
            <p:cNvPr id="268" name="Ovaal 267"/>
            <p:cNvSpPr/>
            <p:nvPr userDrawn="1"/>
          </p:nvSpPr>
          <p:spPr>
            <a:xfrm>
              <a:off x="-2959433" y="488761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9</a:t>
              </a:r>
            </a:p>
          </p:txBody>
        </p:sp>
        <p:sp>
          <p:nvSpPr>
            <p:cNvPr id="269" name="Textfield placeholder"/>
            <p:cNvSpPr txBox="1">
              <a:spLocks/>
            </p:cNvSpPr>
            <p:nvPr userDrawn="1"/>
          </p:nvSpPr>
          <p:spPr>
            <a:xfrm>
              <a:off x="-2571950" y="488761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8" indent="0" defTabSz="179388">
                <a:lnSpc>
                  <a:spcPct val="80000"/>
                </a:lnSpc>
                <a:spcBef>
                  <a:spcPts val="0"/>
                </a:spcBef>
                <a:spcAft>
                  <a:spcPts val="900"/>
                </a:spcAft>
                <a:buClr>
                  <a:srgbClr val="ED1A3B"/>
                </a:buClr>
                <a:buFont typeface="Arial" pitchFamily="34" charset="0"/>
                <a:buNone/>
                <a:defRPr/>
              </a:pPr>
              <a:r>
                <a:rPr lang="nl-NL" sz="1400" b="1" dirty="0">
                  <a:solidFill>
                    <a:srgbClr val="ED1A3B"/>
                  </a:solidFill>
                </a:rPr>
                <a:t>Subtitel (18 pt.)</a:t>
              </a:r>
            </a:p>
          </p:txBody>
        </p:sp>
      </p:grpSp>
      <p:sp>
        <p:nvSpPr>
          <p:cNvPr id="118" name="Hyperlink - Inhoudsopgave">
            <a:hlinkClick r:id="rId4" action="ppaction://hlinksldjump"/>
          </p:cNvPr>
          <p:cNvSpPr/>
          <p:nvPr userDrawn="1"/>
        </p:nvSpPr>
        <p:spPr>
          <a:xfrm>
            <a:off x="10197856" y="5889801"/>
            <a:ext cx="2000494" cy="968199"/>
          </a:xfrm>
          <a:prstGeom prst="rect">
            <a:avLst/>
          </a:prstGeom>
          <a:solidFill>
            <a:srgbClr val="ED1A3B">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126" name="Grijze achtergrond"/>
          <p:cNvSpPr/>
          <p:nvPr/>
        </p:nvSpPr>
        <p:spPr>
          <a:xfrm>
            <a:off x="4276781" y="1358671"/>
            <a:ext cx="7257460" cy="444046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en-GB">
              <a:solidFill>
                <a:srgbClr val="FFFFFF"/>
              </a:solidFill>
            </a:endParaRPr>
          </a:p>
        </p:txBody>
      </p:sp>
      <p:cxnSp>
        <p:nvCxnSpPr>
          <p:cNvPr id="129" name="Grijze lijn - onder"/>
          <p:cNvCxnSpPr/>
          <p:nvPr userDrawn="1"/>
        </p:nvCxnSpPr>
        <p:spPr>
          <a:xfrm flipH="1">
            <a:off x="4276780" y="5776291"/>
            <a:ext cx="7255889"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0" name="Grijze lijn - boven"/>
          <p:cNvCxnSpPr/>
          <p:nvPr userDrawn="1"/>
        </p:nvCxnSpPr>
        <p:spPr>
          <a:xfrm flipH="1">
            <a:off x="664804" y="1358670"/>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25" name="Tijdelijke aanduiding voor Dianummer"/>
          <p:cNvSpPr>
            <a:spLocks noGrp="1"/>
          </p:cNvSpPr>
          <p:nvPr>
            <p:ph type="sldNum" sz="quarter" idx="4"/>
          </p:nvPr>
        </p:nvSpPr>
        <p:spPr>
          <a:xfrm>
            <a:off x="5770549" y="6295992"/>
            <a:ext cx="657251" cy="365125"/>
          </a:xfrm>
          <a:prstGeom prst="rect">
            <a:avLst/>
          </a:prstGeom>
        </p:spPr>
        <p:txBody>
          <a:bodyPr vert="horz" lIns="91440" tIns="45720" rIns="91440" bIns="45720" rtlCol="0" anchor="ctr"/>
          <a:lstStyle>
            <a:lvl1pPr algn="ctr">
              <a:defRPr sz="800">
                <a:solidFill>
                  <a:schemeClr val="tx1">
                    <a:tint val="75000"/>
                  </a:schemeClr>
                </a:solidFill>
              </a:defRPr>
            </a:lvl1pPr>
          </a:lstStyle>
          <a:p>
            <a:fld id="{1B3FA67A-C720-417A-A072-0CD211FD8662}" type="slidenum">
              <a:rPr lang="nl-NL" smtClean="0">
                <a:solidFill>
                  <a:srgbClr val="000000">
                    <a:tint val="75000"/>
                  </a:srgbClr>
                </a:solidFill>
              </a:rPr>
              <a:pPr/>
              <a:t>‹nr.›</a:t>
            </a:fld>
            <a:endParaRPr lang="nl-NL" dirty="0">
              <a:solidFill>
                <a:srgbClr val="000000">
                  <a:tint val="75000"/>
                </a:srgbClr>
              </a:solidFill>
            </a:endParaRPr>
          </a:p>
        </p:txBody>
      </p:sp>
      <p:sp>
        <p:nvSpPr>
          <p:cNvPr id="12" name="Tijdelijke aanduiding voor SmartArt"/>
          <p:cNvSpPr>
            <a:spLocks noGrp="1"/>
          </p:cNvSpPr>
          <p:nvPr>
            <p:ph type="dgm" sz="quarter" idx="15"/>
          </p:nvPr>
        </p:nvSpPr>
        <p:spPr>
          <a:xfrm>
            <a:off x="4639328" y="1720867"/>
            <a:ext cx="6557307" cy="3693600"/>
          </a:xfrm>
        </p:spPr>
        <p:txBody>
          <a:bodyPr anchor="ctr"/>
          <a:lstStyle>
            <a:lvl1pPr algn="ctr">
              <a:defRPr/>
            </a:lvl1pPr>
          </a:lstStyle>
          <a:p>
            <a:r>
              <a:rPr lang="nl-NL"/>
              <a:t>Klik op het pictogram om een SmartArt-graphic toe te voegen</a:t>
            </a:r>
            <a:endParaRPr lang="en-GB"/>
          </a:p>
        </p:txBody>
      </p:sp>
      <p:sp>
        <p:nvSpPr>
          <p:cNvPr id="3" name="Tijdelijke aanduiding voor Tekst"/>
          <p:cNvSpPr>
            <a:spLocks noGrp="1"/>
          </p:cNvSpPr>
          <p:nvPr>
            <p:ph type="body" orient="vert" idx="1" hasCustomPrompt="1"/>
          </p:nvPr>
        </p:nvSpPr>
        <p:spPr>
          <a:xfrm>
            <a:off x="664109" y="1720867"/>
            <a:ext cx="3166185" cy="3693600"/>
          </a:xfrm>
        </p:spPr>
        <p:txBody>
          <a:bodyPr vert="horz"/>
          <a:lstStyle/>
          <a:p>
            <a:pPr lvl="0"/>
            <a:r>
              <a:rPr lang="nl-NL" dirty="0"/>
              <a:t>Leestekst</a:t>
            </a:r>
          </a:p>
          <a:p>
            <a:pPr lvl="1"/>
            <a:r>
              <a:rPr lang="nl-NL" dirty="0"/>
              <a:t>Bullets</a:t>
            </a:r>
          </a:p>
          <a:p>
            <a:pPr lvl="2"/>
            <a:r>
              <a:rPr lang="nl-NL" dirty="0"/>
              <a:t>Sub-bullets</a:t>
            </a:r>
          </a:p>
          <a:p>
            <a:pPr lvl="3"/>
            <a:r>
              <a:rPr lang="nl-NL" dirty="0"/>
              <a:t>Sub-sub-bullets</a:t>
            </a:r>
          </a:p>
          <a:p>
            <a:pPr lvl="4"/>
            <a:r>
              <a:rPr lang="nl-NL" dirty="0"/>
              <a:t>Numeriek</a:t>
            </a:r>
          </a:p>
          <a:p>
            <a:pPr lvl="5"/>
            <a:r>
              <a:rPr lang="nl-NL" dirty="0"/>
              <a:t># Bullets</a:t>
            </a:r>
          </a:p>
          <a:p>
            <a:pPr lvl="6"/>
            <a:r>
              <a:rPr lang="nl-NL" dirty="0"/>
              <a:t>Cursief donker</a:t>
            </a:r>
          </a:p>
          <a:p>
            <a:pPr lvl="7"/>
            <a:r>
              <a:rPr lang="nl-NL" dirty="0"/>
              <a:t>Cursief licht</a:t>
            </a:r>
          </a:p>
          <a:p>
            <a:pPr lvl="8"/>
            <a:r>
              <a:rPr lang="nl-NL" dirty="0"/>
              <a:t>Subtitel</a:t>
            </a:r>
          </a:p>
        </p:txBody>
      </p:sp>
      <p:sp>
        <p:nvSpPr>
          <p:cNvPr id="14" name="Tijdelijke aanduiding voor Subtitel"/>
          <p:cNvSpPr>
            <a:spLocks noGrp="1"/>
          </p:cNvSpPr>
          <p:nvPr>
            <p:ph type="body" idx="14"/>
          </p:nvPr>
        </p:nvSpPr>
        <p:spPr>
          <a:xfrm>
            <a:off x="664109" y="1001348"/>
            <a:ext cx="10870131" cy="317758"/>
          </a:xfrm>
        </p:spPr>
        <p:txBody>
          <a:bodyPr bIns="72000" anchor="t" anchorCtr="0"/>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15" name="Tijdelijke aanduiding voor Titel"/>
          <p:cNvSpPr>
            <a:spLocks noGrp="1"/>
          </p:cNvSpPr>
          <p:nvPr>
            <p:ph type="title"/>
          </p:nvPr>
        </p:nvSpPr>
        <p:spPr>
          <a:xfrm>
            <a:off x="664109" y="464521"/>
            <a:ext cx="10870131" cy="533219"/>
          </a:xfrm>
        </p:spPr>
        <p:txBody>
          <a:bodyPr/>
          <a:lstStyle/>
          <a:p>
            <a:r>
              <a:rPr lang="nl-NL"/>
              <a:t>Klik om stijl te bewerken</a:t>
            </a:r>
            <a:endParaRPr lang="nl-NL" dirty="0"/>
          </a:p>
        </p:txBody>
      </p:sp>
    </p:spTree>
    <p:extLst>
      <p:ext uri="{BB962C8B-B14F-4D97-AF65-F5344CB8AC3E}">
        <p14:creationId xmlns:p14="http://schemas.microsoft.com/office/powerpoint/2010/main" val="2735902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Smart-art 100%">
    <p:spTree>
      <p:nvGrpSpPr>
        <p:cNvPr id="1" name=""/>
        <p:cNvGrpSpPr/>
        <p:nvPr/>
      </p:nvGrpSpPr>
      <p:grpSpPr>
        <a:xfrm>
          <a:off x="0" y="0"/>
          <a:ext cx="0" cy="0"/>
          <a:chOff x="0" y="0"/>
          <a:chExt cx="0" cy="0"/>
        </a:xfrm>
      </p:grpSpPr>
      <p:sp>
        <p:nvSpPr>
          <p:cNvPr id="38" name="Naam indeling - Smart-art 100%"/>
          <p:cNvSpPr txBox="1"/>
          <p:nvPr userDrawn="1"/>
        </p:nvSpPr>
        <p:spPr>
          <a:xfrm>
            <a:off x="1" y="-453266"/>
            <a:ext cx="3582333" cy="276999"/>
          </a:xfrm>
          <a:prstGeom prst="rect">
            <a:avLst/>
          </a:prstGeom>
          <a:noFill/>
        </p:spPr>
        <p:txBody>
          <a:bodyPr wrap="square" lIns="0" tIns="0" rIns="0" bIns="0" rtlCol="0">
            <a:spAutoFit/>
          </a:bodyPr>
          <a:lstStyle/>
          <a:p>
            <a:pPr defTabSz="914112"/>
            <a:r>
              <a:rPr lang="nl-NL" dirty="0">
                <a:solidFill>
                  <a:srgbClr val="404040"/>
                </a:solidFill>
                <a:latin typeface="Calibri" panose="020F0502020204030204" pitchFamily="34" charset="0"/>
              </a:rPr>
              <a:t>Smart-art 100%</a:t>
            </a:r>
            <a:endParaRPr lang="en-GB" dirty="0">
              <a:solidFill>
                <a:srgbClr val="404040"/>
              </a:solidFill>
              <a:latin typeface="Calibri" panose="020F0502020204030204" pitchFamily="34" charset="0"/>
            </a:endParaRPr>
          </a:p>
        </p:txBody>
      </p:sp>
      <p:grpSp>
        <p:nvGrpSpPr>
          <p:cNvPr id="39" name="Instructie - SmartArt invoegen"/>
          <p:cNvGrpSpPr/>
          <p:nvPr userDrawn="1"/>
        </p:nvGrpSpPr>
        <p:grpSpPr>
          <a:xfrm>
            <a:off x="12563365" y="-29362"/>
            <a:ext cx="2711112" cy="3676571"/>
            <a:chOff x="12441149" y="14897"/>
            <a:chExt cx="2710406" cy="3676571"/>
          </a:xfrm>
        </p:grpSpPr>
        <p:sp>
          <p:nvSpPr>
            <p:cNvPr id="40" name="Rechthoek 39"/>
            <p:cNvSpPr/>
            <p:nvPr/>
          </p:nvSpPr>
          <p:spPr>
            <a:xfrm>
              <a:off x="12441150" y="14897"/>
              <a:ext cx="2696270" cy="161771"/>
            </a:xfrm>
            <a:prstGeom prst="rect">
              <a:avLst/>
            </a:prstGeom>
            <a:noFill/>
            <a:ln w="25400" cap="flat" cmpd="sng" algn="ctr">
              <a:noFill/>
              <a:prstDash val="solid"/>
            </a:ln>
            <a:effectLst/>
          </p:spPr>
          <p:txBody>
            <a:bodyPr lIns="0" tIns="0" rIns="0" bIns="0" rtlCol="0" anchor="t"/>
            <a:lstStyle/>
            <a:p>
              <a:pPr defTabSz="914112">
                <a:lnSpc>
                  <a:spcPct val="80000"/>
                </a:lnSpc>
              </a:pPr>
              <a:r>
                <a:rPr lang="nl-NL" sz="1600" b="1" kern="0" cap="all" dirty="0">
                  <a:solidFill>
                    <a:srgbClr val="ED1A3B"/>
                  </a:solidFill>
                  <a:cs typeface="Segoe UI Light" panose="020B0502040204020203" pitchFamily="34" charset="0"/>
                </a:rPr>
                <a:t>SmartArt INVOEGEN</a:t>
              </a:r>
            </a:p>
          </p:txBody>
        </p:sp>
        <p:sp>
          <p:nvSpPr>
            <p:cNvPr id="41" name="Tekstvak 33"/>
            <p:cNvSpPr txBox="1"/>
            <p:nvPr/>
          </p:nvSpPr>
          <p:spPr>
            <a:xfrm>
              <a:off x="12441149" y="814239"/>
              <a:ext cx="2710405" cy="719877"/>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Indien nodig, verwijder de bestaande SmartArt. Klik op het pictogram om </a:t>
              </a:r>
              <a:br>
                <a:rPr lang="nl-NL" sz="1200" kern="0" dirty="0">
                  <a:solidFill>
                    <a:srgbClr val="000000"/>
                  </a:solidFill>
                  <a:latin typeface="Trebuchet MS"/>
                  <a:cs typeface="Segoe UI Light" panose="020B0502040204020203" pitchFamily="34" charset="0"/>
                </a:rPr>
              </a:br>
              <a:r>
                <a:rPr lang="nl-NL" sz="1200" kern="0" dirty="0">
                  <a:solidFill>
                    <a:srgbClr val="000000"/>
                  </a:solidFill>
                  <a:latin typeface="Trebuchet MS"/>
                  <a:cs typeface="Segoe UI Light" panose="020B0502040204020203" pitchFamily="34" charset="0"/>
                </a:rPr>
                <a:t>nieuwe SmartArt in te voegen</a:t>
              </a:r>
              <a:br>
                <a:rPr lang="nl-NL" sz="1200" kern="0" dirty="0">
                  <a:solidFill>
                    <a:srgbClr val="000000"/>
                  </a:solidFill>
                  <a:latin typeface="Trebuchet MS"/>
                  <a:cs typeface="Segoe UI Light" panose="020B0502040204020203" pitchFamily="34" charset="0"/>
                </a:rPr>
              </a:br>
              <a:r>
                <a:rPr lang="nl-NL" sz="1100" i="1" kern="0" dirty="0">
                  <a:solidFill>
                    <a:srgbClr val="000000"/>
                  </a:solidFill>
                  <a:latin typeface="Trebuchet MS"/>
                  <a:cs typeface="Segoe UI Light" panose="020B0502040204020203" pitchFamily="34" charset="0"/>
                </a:rPr>
                <a:t>(zie onderstaand voorbeeld).</a:t>
              </a:r>
            </a:p>
          </p:txBody>
        </p:sp>
        <p:sp>
          <p:nvSpPr>
            <p:cNvPr id="42" name="Tekstvak 33"/>
            <p:cNvSpPr txBox="1"/>
            <p:nvPr/>
          </p:nvSpPr>
          <p:spPr>
            <a:xfrm>
              <a:off x="12441149" y="2793904"/>
              <a:ext cx="2710405" cy="395943"/>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Selecteer de SmartArt die u wilt invoegen en klik op </a:t>
              </a:r>
              <a:r>
                <a:rPr lang="nl-NL" sz="1200" b="1" kern="0" dirty="0">
                  <a:solidFill>
                    <a:srgbClr val="000000"/>
                  </a:solidFill>
                  <a:latin typeface="Trebuchet MS"/>
                  <a:cs typeface="Segoe UI Light" panose="020B0502040204020203" pitchFamily="34" charset="0"/>
                </a:rPr>
                <a:t>‘Invoegen’</a:t>
              </a:r>
            </a:p>
          </p:txBody>
        </p:sp>
        <p:sp>
          <p:nvSpPr>
            <p:cNvPr id="43" name="Ovaal 42"/>
            <p:cNvSpPr/>
            <p:nvPr/>
          </p:nvSpPr>
          <p:spPr>
            <a:xfrm>
              <a:off x="12441150" y="379292"/>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1</a:t>
              </a:r>
            </a:p>
          </p:txBody>
        </p:sp>
        <p:sp>
          <p:nvSpPr>
            <p:cNvPr id="44" name="Ovaal 43"/>
            <p:cNvSpPr/>
            <p:nvPr/>
          </p:nvSpPr>
          <p:spPr>
            <a:xfrm>
              <a:off x="12441150" y="2337208"/>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2</a:t>
              </a:r>
            </a:p>
          </p:txBody>
        </p:sp>
        <p:cxnSp>
          <p:nvCxnSpPr>
            <p:cNvPr id="45" name="Rechte verbindingslijn 44"/>
            <p:cNvCxnSpPr/>
            <p:nvPr/>
          </p:nvCxnSpPr>
          <p:spPr>
            <a:xfrm>
              <a:off x="12441150" y="248176"/>
              <a:ext cx="2710405" cy="0"/>
            </a:xfrm>
            <a:prstGeom prst="line">
              <a:avLst/>
            </a:prstGeom>
            <a:noFill/>
            <a:ln w="9525" cap="flat" cmpd="sng" algn="ctr">
              <a:solidFill>
                <a:schemeClr val="accent1"/>
              </a:solidFill>
              <a:prstDash val="solid"/>
            </a:ln>
            <a:effectLst/>
          </p:spPr>
        </p:cxnSp>
        <p:cxnSp>
          <p:nvCxnSpPr>
            <p:cNvPr id="46" name="Rechte verbindingslijn 45"/>
            <p:cNvCxnSpPr/>
            <p:nvPr/>
          </p:nvCxnSpPr>
          <p:spPr>
            <a:xfrm>
              <a:off x="12441149" y="2212830"/>
              <a:ext cx="2710405" cy="0"/>
            </a:xfrm>
            <a:prstGeom prst="line">
              <a:avLst/>
            </a:prstGeom>
            <a:noFill/>
            <a:ln w="9525" cap="flat" cmpd="sng" algn="ctr">
              <a:solidFill>
                <a:schemeClr val="accent1"/>
              </a:solidFill>
              <a:prstDash val="solid"/>
            </a:ln>
            <a:effectLst/>
          </p:spPr>
        </p:cxnSp>
        <p:cxnSp>
          <p:nvCxnSpPr>
            <p:cNvPr id="47" name="Rechte verbindingslijn 46"/>
            <p:cNvCxnSpPr/>
            <p:nvPr/>
          </p:nvCxnSpPr>
          <p:spPr>
            <a:xfrm>
              <a:off x="12444679" y="3691468"/>
              <a:ext cx="2706875" cy="0"/>
            </a:xfrm>
            <a:prstGeom prst="line">
              <a:avLst/>
            </a:prstGeom>
            <a:noFill/>
            <a:ln w="9525" cap="flat" cmpd="sng" algn="ctr">
              <a:solidFill>
                <a:schemeClr val="accent1"/>
              </a:solidFill>
              <a:prstDash val="solid"/>
            </a:ln>
            <a:effectLst/>
          </p:spPr>
        </p:cxnSp>
        <p:grpSp>
          <p:nvGrpSpPr>
            <p:cNvPr id="48" name="Groep 47"/>
            <p:cNvGrpSpPr/>
            <p:nvPr/>
          </p:nvGrpSpPr>
          <p:grpSpPr>
            <a:xfrm>
              <a:off x="12450571" y="3301369"/>
              <a:ext cx="1002992" cy="267962"/>
              <a:chOff x="13560784" y="3471416"/>
              <a:chExt cx="1114138" cy="297656"/>
            </a:xfrm>
          </p:grpSpPr>
          <p:sp>
            <p:nvSpPr>
              <p:cNvPr id="59" name="Afgeronde rechthoek 88"/>
              <p:cNvSpPr/>
              <p:nvPr/>
            </p:nvSpPr>
            <p:spPr>
              <a:xfrm>
                <a:off x="13560784" y="3471416"/>
                <a:ext cx="1114138" cy="297656"/>
              </a:xfrm>
              <a:prstGeom prst="roundRect">
                <a:avLst/>
              </a:prstGeom>
              <a:gradFill flip="none" rotWithShape="1">
                <a:gsLst>
                  <a:gs pos="4000">
                    <a:srgbClr val="00B0F0"/>
                  </a:gs>
                  <a:gs pos="0">
                    <a:srgbClr val="0070C0"/>
                  </a:gs>
                  <a:gs pos="100000">
                    <a:srgbClr val="0070C0"/>
                  </a:gs>
                  <a:gs pos="12000">
                    <a:srgbClr val="D1EAFF"/>
                  </a:gs>
                  <a:gs pos="96000">
                    <a:srgbClr val="00B0F0"/>
                  </a:gs>
                  <a:gs pos="89000">
                    <a:srgbClr val="DDF4FF"/>
                  </a:gs>
                  <a:gs pos="43000">
                    <a:srgbClr val="D1EAFF"/>
                  </a:gs>
                  <a:gs pos="51000">
                    <a:srgbClr val="DDF4FF"/>
                  </a:gs>
                </a:gsLst>
                <a:lin ang="16200000" scaled="1"/>
                <a:tileRect/>
              </a:gradFill>
              <a:ln w="63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dirty="0">
                  <a:solidFill>
                    <a:srgbClr val="FFFFFF"/>
                  </a:solidFill>
                </a:endParaRPr>
              </a:p>
            </p:txBody>
          </p:sp>
          <p:sp>
            <p:nvSpPr>
              <p:cNvPr id="60" name="Tekstvak 59"/>
              <p:cNvSpPr txBox="1"/>
              <p:nvPr/>
            </p:nvSpPr>
            <p:spPr>
              <a:xfrm>
                <a:off x="13573594" y="3488254"/>
                <a:ext cx="888311" cy="273506"/>
              </a:xfrm>
              <a:prstGeom prst="rect">
                <a:avLst/>
              </a:prstGeom>
              <a:noFill/>
            </p:spPr>
            <p:txBody>
              <a:bodyPr wrap="square" rtlCol="0" anchor="ctr">
                <a:spAutoFit/>
              </a:bodyPr>
              <a:lstStyle>
                <a:defPPr>
                  <a:defRPr lang="nl-NL"/>
                </a:defPPr>
                <a:lvl1pPr marR="0" lvl="0" indent="0" algn="ctr" fontAlgn="auto">
                  <a:lnSpc>
                    <a:spcPct val="100000"/>
                  </a:lnSpc>
                  <a:spcBef>
                    <a:spcPts val="0"/>
                  </a:spcBef>
                  <a:spcAft>
                    <a:spcPts val="0"/>
                  </a:spcAft>
                  <a:buClrTx/>
                  <a:buSzTx/>
                  <a:buFontTx/>
                  <a:buNone/>
                  <a:tabLst/>
                  <a:defRPr kumimoji="0" sz="900" i="0" u="none" strike="noStrike" kern="0" cap="none" spc="0" normalizeH="0" baseline="0">
                    <a:ln>
                      <a:noFill/>
                    </a:ln>
                    <a:effectLst>
                      <a:outerShdw blurRad="25400" algn="ctr" rotWithShape="0">
                        <a:prstClr val="white"/>
                      </a:outerShdw>
                    </a:effectLst>
                    <a:uLnTx/>
                    <a:uFillTx/>
                    <a:latin typeface="Segoe UI Light" panose="020B0502040204020203" pitchFamily="34" charset="0"/>
                    <a:cs typeface="Segoe UI Light" panose="020B0502040204020203" pitchFamily="34" charset="0"/>
                  </a:defRPr>
                </a:lvl1pPr>
                <a:lvl2pPr fontAlgn="base">
                  <a:spcBef>
                    <a:spcPct val="0"/>
                  </a:spcBef>
                  <a:spcAft>
                    <a:spcPct val="0"/>
                  </a:spcAft>
                  <a:defRPr>
                    <a:latin typeface="Arial" charset="0"/>
                    <a:cs typeface="Arial" charset="0"/>
                  </a:defRPr>
                </a:lvl2pPr>
                <a:lvl3pPr fontAlgn="base">
                  <a:spcBef>
                    <a:spcPct val="0"/>
                  </a:spcBef>
                  <a:spcAft>
                    <a:spcPct val="0"/>
                  </a:spcAft>
                  <a:defRPr>
                    <a:latin typeface="Arial" charset="0"/>
                    <a:cs typeface="Arial" charset="0"/>
                  </a:defRPr>
                </a:lvl3pPr>
                <a:lvl4pPr fontAlgn="base">
                  <a:spcBef>
                    <a:spcPct val="0"/>
                  </a:spcBef>
                  <a:spcAft>
                    <a:spcPct val="0"/>
                  </a:spcAft>
                  <a:defRPr>
                    <a:latin typeface="Arial" charset="0"/>
                    <a:cs typeface="Arial" charset="0"/>
                  </a:defRPr>
                </a:lvl4pPr>
                <a:lvl5pPr fontAlgn="base">
                  <a:spcBef>
                    <a:spcPct val="0"/>
                  </a:spcBef>
                  <a:spcAft>
                    <a:spcPct val="0"/>
                  </a:spcAft>
                  <a:defRPr>
                    <a:latin typeface="Arial" charset="0"/>
                    <a:cs typeface="Arial" charset="0"/>
                  </a:defRPr>
                </a:lvl5pPr>
                <a:lvl6pPr>
                  <a:defRPr>
                    <a:latin typeface="Arial" charset="0"/>
                    <a:cs typeface="Arial" charset="0"/>
                  </a:defRPr>
                </a:lvl6pPr>
                <a:lvl7pPr>
                  <a:defRPr>
                    <a:latin typeface="Arial" charset="0"/>
                    <a:cs typeface="Arial" charset="0"/>
                  </a:defRPr>
                </a:lvl7pPr>
                <a:lvl8pPr>
                  <a:defRPr>
                    <a:latin typeface="Arial" charset="0"/>
                    <a:cs typeface="Arial" charset="0"/>
                  </a:defRPr>
                </a:lvl8pPr>
                <a:lvl9pPr>
                  <a:defRPr>
                    <a:latin typeface="Arial" charset="0"/>
                    <a:cs typeface="Arial" charset="0"/>
                  </a:defRPr>
                </a:lvl9pPr>
              </a:lstStyle>
              <a:p>
                <a:pPr defTabSz="914112"/>
                <a:r>
                  <a:rPr lang="nl-NL" sz="1000" dirty="0">
                    <a:solidFill>
                      <a:srgbClr val="000000"/>
                    </a:solidFill>
                    <a:latin typeface="Trebuchet MS"/>
                  </a:rPr>
                  <a:t>Invoegen</a:t>
                </a:r>
              </a:p>
            </p:txBody>
          </p:sp>
          <p:cxnSp>
            <p:nvCxnSpPr>
              <p:cNvPr id="61" name="Rechte verbindingslijn 60"/>
              <p:cNvCxnSpPr/>
              <p:nvPr/>
            </p:nvCxnSpPr>
            <p:spPr>
              <a:xfrm>
                <a:off x="14461905" y="3507058"/>
                <a:ext cx="0" cy="224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2" name="Gelijkbenige driehoek 61"/>
              <p:cNvSpPr/>
              <p:nvPr/>
            </p:nvSpPr>
            <p:spPr>
              <a:xfrm rot="10800000">
                <a:off x="14518584" y="3600521"/>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112"/>
                <a:endParaRPr lang="nl-NL" dirty="0">
                  <a:solidFill>
                    <a:srgbClr val="FFFFFF"/>
                  </a:solidFill>
                </a:endParaRPr>
              </a:p>
            </p:txBody>
          </p:sp>
        </p:grpSp>
        <p:grpSp>
          <p:nvGrpSpPr>
            <p:cNvPr id="49" name="Groep 48"/>
            <p:cNvGrpSpPr/>
            <p:nvPr userDrawn="1"/>
          </p:nvGrpSpPr>
          <p:grpSpPr>
            <a:xfrm>
              <a:off x="12441149" y="1706094"/>
              <a:ext cx="471148" cy="391787"/>
              <a:chOff x="6072045" y="3463504"/>
              <a:chExt cx="1299544" cy="1080647"/>
            </a:xfrm>
          </p:grpSpPr>
          <p:sp>
            <p:nvSpPr>
              <p:cNvPr id="50" name="Pijl: punthaak 49"/>
              <p:cNvSpPr/>
              <p:nvPr userDrawn="1"/>
            </p:nvSpPr>
            <p:spPr>
              <a:xfrm>
                <a:off x="6072045" y="3463504"/>
                <a:ext cx="1132964" cy="700764"/>
              </a:xfrm>
              <a:prstGeom prst="chevron">
                <a:avLst>
                  <a:gd name="adj" fmla="val 36022"/>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51" name="Rechthoek: afgeronde hoeken 50"/>
              <p:cNvSpPr/>
              <p:nvPr userDrawn="1"/>
            </p:nvSpPr>
            <p:spPr>
              <a:xfrm>
                <a:off x="6421681" y="3761674"/>
                <a:ext cx="949908" cy="782477"/>
              </a:xfrm>
              <a:prstGeom prst="roundRect">
                <a:avLst>
                  <a:gd name="adj" fmla="val 3237"/>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cxnSp>
            <p:nvCxnSpPr>
              <p:cNvPr id="52" name="Rechte verbindingslijn 51"/>
              <p:cNvCxnSpPr/>
              <p:nvPr userDrawn="1"/>
            </p:nvCxnSpPr>
            <p:spPr>
              <a:xfrm flipH="1">
                <a:off x="6813724" y="4013477"/>
                <a:ext cx="318470" cy="0"/>
              </a:xfrm>
              <a:prstGeom prst="line">
                <a:avLst/>
              </a:prstGeom>
              <a:ln w="15875" cap="rnd">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53" name="Rechte verbindingslijn 52"/>
              <p:cNvCxnSpPr/>
              <p:nvPr userDrawn="1"/>
            </p:nvCxnSpPr>
            <p:spPr>
              <a:xfrm flipH="1">
                <a:off x="6813724" y="4157326"/>
                <a:ext cx="318470" cy="0"/>
              </a:xfrm>
              <a:prstGeom prst="line">
                <a:avLst/>
              </a:prstGeom>
              <a:ln w="15875" cap="rnd">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54" name="Rechte verbindingslijn 53"/>
              <p:cNvCxnSpPr/>
              <p:nvPr userDrawn="1"/>
            </p:nvCxnSpPr>
            <p:spPr>
              <a:xfrm flipH="1">
                <a:off x="6813724" y="4301174"/>
                <a:ext cx="318470" cy="0"/>
              </a:xfrm>
              <a:prstGeom prst="line">
                <a:avLst/>
              </a:prstGeom>
              <a:ln w="15875" cap="rnd">
                <a:solidFill>
                  <a:srgbClr val="B5B5B5"/>
                </a:solidFill>
              </a:ln>
            </p:spPr>
            <p:style>
              <a:lnRef idx="1">
                <a:schemeClr val="accent1"/>
              </a:lnRef>
              <a:fillRef idx="0">
                <a:schemeClr val="accent1"/>
              </a:fillRef>
              <a:effectRef idx="0">
                <a:schemeClr val="accent1"/>
              </a:effectRef>
              <a:fontRef idx="minor">
                <a:schemeClr val="tx1"/>
              </a:fontRef>
            </p:style>
          </p:cxnSp>
          <p:sp>
            <p:nvSpPr>
              <p:cNvPr id="55" name="Rechthoek 54"/>
              <p:cNvSpPr/>
              <p:nvPr userDrawn="1"/>
            </p:nvSpPr>
            <p:spPr>
              <a:xfrm>
                <a:off x="6493301" y="3820673"/>
                <a:ext cx="806658" cy="664477"/>
              </a:xfrm>
              <a:prstGeom prst="rect">
                <a:avLst/>
              </a:prstGeom>
              <a:noFill/>
              <a:ln w="1905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cxnSp>
            <p:nvCxnSpPr>
              <p:cNvPr id="56" name="Rechte verbindingslijn 55"/>
              <p:cNvCxnSpPr/>
              <p:nvPr userDrawn="1"/>
            </p:nvCxnSpPr>
            <p:spPr>
              <a:xfrm flipH="1">
                <a:off x="6678347" y="4013477"/>
                <a:ext cx="47340" cy="0"/>
              </a:xfrm>
              <a:prstGeom prst="line">
                <a:avLst/>
              </a:prstGeom>
              <a:ln w="15875" cap="rnd">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57" name="Rechte verbindingslijn 56"/>
              <p:cNvCxnSpPr/>
              <p:nvPr userDrawn="1"/>
            </p:nvCxnSpPr>
            <p:spPr>
              <a:xfrm flipH="1">
                <a:off x="6678347" y="4157326"/>
                <a:ext cx="47340" cy="0"/>
              </a:xfrm>
              <a:prstGeom prst="line">
                <a:avLst/>
              </a:prstGeom>
              <a:ln w="15875" cap="rnd">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58" name="Rechte verbindingslijn 57"/>
              <p:cNvCxnSpPr/>
              <p:nvPr userDrawn="1"/>
            </p:nvCxnSpPr>
            <p:spPr>
              <a:xfrm flipH="1">
                <a:off x="6678347" y="4301174"/>
                <a:ext cx="47340" cy="0"/>
              </a:xfrm>
              <a:prstGeom prst="line">
                <a:avLst/>
              </a:prstGeom>
              <a:ln w="15875" cap="rnd">
                <a:solidFill>
                  <a:srgbClr val="B5B5B5"/>
                </a:solidFill>
              </a:ln>
            </p:spPr>
            <p:style>
              <a:lnRef idx="1">
                <a:schemeClr val="accent1"/>
              </a:lnRef>
              <a:fillRef idx="0">
                <a:schemeClr val="accent1"/>
              </a:fillRef>
              <a:effectRef idx="0">
                <a:schemeClr val="accent1"/>
              </a:effectRef>
              <a:fontRef idx="minor">
                <a:schemeClr val="tx1"/>
              </a:fontRef>
            </p:style>
          </p:cxnSp>
        </p:grpSp>
      </p:grpSp>
      <p:grpSp>
        <p:nvGrpSpPr>
          <p:cNvPr id="169" name="Instructie - Tekst niveaus"/>
          <p:cNvGrpSpPr/>
          <p:nvPr userDrawn="1"/>
        </p:nvGrpSpPr>
        <p:grpSpPr>
          <a:xfrm>
            <a:off x="-3117849" y="365"/>
            <a:ext cx="2823358" cy="5254722"/>
            <a:chOff x="-2959433" y="-5444"/>
            <a:chExt cx="2822623" cy="5254722"/>
          </a:xfrm>
        </p:grpSpPr>
        <p:sp>
          <p:nvSpPr>
            <p:cNvPr id="170" name="Rechthoek 169"/>
            <p:cNvSpPr/>
            <p:nvPr userDrawn="1"/>
          </p:nvSpPr>
          <p:spPr>
            <a:xfrm>
              <a:off x="-2959433" y="-5444"/>
              <a:ext cx="2572469" cy="280344"/>
            </a:xfrm>
            <a:prstGeom prst="rect">
              <a:avLst/>
            </a:prstGeom>
            <a:noFill/>
            <a:ln w="25400" cap="flat" cmpd="sng" algn="ctr">
              <a:noFill/>
              <a:prstDash val="solid"/>
            </a:ln>
            <a:effectLst/>
          </p:spPr>
          <p:txBody>
            <a:bodyPr lIns="0" tIns="0" rIns="0" bIns="0" rtlCol="0" anchor="t"/>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nl-NL" sz="1600" b="1" kern="0" dirty="0">
                  <a:solidFill>
                    <a:srgbClr val="ED1A3B"/>
                  </a:solidFill>
                  <a:cs typeface="Segoe UI Light" panose="020B0502040204020203" pitchFamily="34" charset="0"/>
                </a:rPr>
                <a:t>TEKST NIVEAUS</a:t>
              </a:r>
            </a:p>
          </p:txBody>
        </p:sp>
        <p:sp>
          <p:nvSpPr>
            <p:cNvPr id="171" name="Textfield placeholder"/>
            <p:cNvSpPr txBox="1">
              <a:spLocks/>
            </p:cNvSpPr>
            <p:nvPr userDrawn="1"/>
          </p:nvSpPr>
          <p:spPr>
            <a:xfrm>
              <a:off x="-2587337" y="2675411"/>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0" lvl="2"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a:solidFill>
                    <a:srgbClr val="404040"/>
                  </a:solidFill>
                </a:rPr>
                <a:t>Sub-bullets (16 pt.)</a:t>
              </a:r>
            </a:p>
          </p:txBody>
        </p:sp>
        <p:sp>
          <p:nvSpPr>
            <p:cNvPr id="172" name="Ovaal 171"/>
            <p:cNvSpPr/>
            <p:nvPr userDrawn="1"/>
          </p:nvSpPr>
          <p:spPr>
            <a:xfrm>
              <a:off x="-2959433" y="196874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1</a:t>
              </a:r>
            </a:p>
          </p:txBody>
        </p:sp>
        <p:sp>
          <p:nvSpPr>
            <p:cNvPr id="173" name="Ovaal 172"/>
            <p:cNvSpPr/>
            <p:nvPr userDrawn="1"/>
          </p:nvSpPr>
          <p:spPr>
            <a:xfrm>
              <a:off x="-2959433" y="232207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2</a:t>
              </a:r>
            </a:p>
          </p:txBody>
        </p:sp>
        <p:sp>
          <p:nvSpPr>
            <p:cNvPr id="174" name="Ovaal 173"/>
            <p:cNvSpPr/>
            <p:nvPr userDrawn="1"/>
          </p:nvSpPr>
          <p:spPr>
            <a:xfrm>
              <a:off x="-2959433" y="267541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3</a:t>
              </a:r>
            </a:p>
          </p:txBody>
        </p:sp>
        <p:sp>
          <p:nvSpPr>
            <p:cNvPr id="175" name="Ovaal 174"/>
            <p:cNvSpPr/>
            <p:nvPr userDrawn="1"/>
          </p:nvSpPr>
          <p:spPr>
            <a:xfrm>
              <a:off x="-2959433" y="302874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4</a:t>
              </a:r>
            </a:p>
          </p:txBody>
        </p:sp>
        <p:sp>
          <p:nvSpPr>
            <p:cNvPr id="176" name="Textfield placeholder"/>
            <p:cNvSpPr txBox="1">
              <a:spLocks/>
            </p:cNvSpPr>
            <p:nvPr userDrawn="1"/>
          </p:nvSpPr>
          <p:spPr>
            <a:xfrm>
              <a:off x="-2571950" y="1966925"/>
              <a:ext cx="2163709" cy="261500"/>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79388">
                <a:lnSpc>
                  <a:spcPct val="120000"/>
                </a:lnSpc>
                <a:spcBef>
                  <a:spcPts val="0"/>
                </a:spcBef>
                <a:spcAft>
                  <a:spcPts val="900"/>
                </a:spcAft>
                <a:buClr>
                  <a:srgbClr val="000000"/>
                </a:buClr>
                <a:buSzPct val="100000"/>
                <a:buFont typeface="Arial" pitchFamily="34" charset="0"/>
                <a:buNone/>
                <a:defRPr/>
              </a:pPr>
              <a:r>
                <a:rPr lang="nl-NL" sz="1200" dirty="0">
                  <a:solidFill>
                    <a:srgbClr val="535353"/>
                  </a:solidFill>
                </a:rPr>
                <a:t>Leestekst (16 pt.)</a:t>
              </a:r>
            </a:p>
          </p:txBody>
        </p:sp>
        <p:sp>
          <p:nvSpPr>
            <p:cNvPr id="177" name="Textfield placeholder"/>
            <p:cNvSpPr txBox="1">
              <a:spLocks/>
            </p:cNvSpPr>
            <p:nvPr userDrawn="1"/>
          </p:nvSpPr>
          <p:spPr>
            <a:xfrm>
              <a:off x="-2571950" y="2322077"/>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70000" lvl="1"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err="1">
                  <a:solidFill>
                    <a:srgbClr val="535353"/>
                  </a:solidFill>
                </a:rPr>
                <a:t>Bullets</a:t>
              </a:r>
              <a:r>
                <a:rPr lang="nl-NL" sz="1200" dirty="0">
                  <a:solidFill>
                    <a:srgbClr val="535353"/>
                  </a:solidFill>
                </a:rPr>
                <a:t> (16 </a:t>
              </a:r>
              <a:r>
                <a:rPr lang="nl-NL" sz="1200" dirty="0" err="1">
                  <a:solidFill>
                    <a:srgbClr val="535353"/>
                  </a:solidFill>
                </a:rPr>
                <a:t>pt</a:t>
              </a:r>
              <a:r>
                <a:rPr lang="nl-NL" sz="1200" dirty="0">
                  <a:solidFill>
                    <a:srgbClr val="535353"/>
                  </a:solidFill>
                </a:rPr>
                <a:t>.)</a:t>
              </a:r>
            </a:p>
          </p:txBody>
        </p:sp>
        <p:sp>
          <p:nvSpPr>
            <p:cNvPr id="178" name="Textfield placeholder"/>
            <p:cNvSpPr txBox="1">
              <a:spLocks/>
            </p:cNvSpPr>
            <p:nvPr userDrawn="1"/>
          </p:nvSpPr>
          <p:spPr>
            <a:xfrm>
              <a:off x="-2571951" y="3028747"/>
              <a:ext cx="2435141"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10000" lvl="3" indent="-270000" algn="l" defTabSz="179388" rtl="0" eaLnBrk="1" latinLnBrk="0" hangingPunct="1">
                <a:lnSpc>
                  <a:spcPct val="120000"/>
                </a:lnSpc>
                <a:spcBef>
                  <a:spcPts val="0"/>
                </a:spcBef>
                <a:spcAft>
                  <a:spcPts val="900"/>
                </a:spcAft>
                <a:buClr>
                  <a:schemeClr val="accent2"/>
                </a:buClr>
                <a:buSzPct val="80000"/>
                <a:buFont typeface="Wingdings 3" panose="05040102010807070707" pitchFamily="18" charset="2"/>
                <a:buChar char=""/>
                <a:defRPr/>
              </a:pPr>
              <a:r>
                <a:rPr lang="nl-NL" sz="1200" b="0" kern="1200" dirty="0">
                  <a:solidFill>
                    <a:srgbClr val="404040"/>
                  </a:solidFill>
                  <a:latin typeface="+mn-lt"/>
                  <a:ea typeface="+mn-ea"/>
                  <a:cs typeface="+mn-cs"/>
                </a:rPr>
                <a:t>Sub-sub-bullets (16 pt.)</a:t>
              </a:r>
            </a:p>
          </p:txBody>
        </p:sp>
        <p:cxnSp>
          <p:nvCxnSpPr>
            <p:cNvPr id="179" name="Rechte verbindingslijn 178"/>
            <p:cNvCxnSpPr/>
            <p:nvPr userDrawn="1"/>
          </p:nvCxnSpPr>
          <p:spPr>
            <a:xfrm>
              <a:off x="-2959100" y="274900"/>
              <a:ext cx="2674470" cy="0"/>
            </a:xfrm>
            <a:prstGeom prst="line">
              <a:avLst/>
            </a:prstGeom>
            <a:noFill/>
            <a:ln w="9525" cap="flat" cmpd="sng" algn="ctr">
              <a:solidFill>
                <a:schemeClr val="accent1"/>
              </a:solidFill>
              <a:prstDash val="solid"/>
            </a:ln>
            <a:effectLst/>
          </p:spPr>
        </p:cxnSp>
        <p:cxnSp>
          <p:nvCxnSpPr>
            <p:cNvPr id="180" name="Rechte verbindingslijn 179"/>
            <p:cNvCxnSpPr/>
            <p:nvPr userDrawn="1"/>
          </p:nvCxnSpPr>
          <p:spPr>
            <a:xfrm>
              <a:off x="-2959100" y="1841989"/>
              <a:ext cx="2661379" cy="0"/>
            </a:xfrm>
            <a:prstGeom prst="line">
              <a:avLst/>
            </a:prstGeom>
            <a:noFill/>
            <a:ln w="9525" cap="flat" cmpd="sng" algn="ctr">
              <a:solidFill>
                <a:schemeClr val="accent1"/>
              </a:solidFill>
              <a:prstDash val="solid"/>
            </a:ln>
            <a:effectLst/>
          </p:spPr>
        </p:cxnSp>
        <p:cxnSp>
          <p:nvCxnSpPr>
            <p:cNvPr id="181" name="Rechte verbindingslijn 180"/>
            <p:cNvCxnSpPr/>
            <p:nvPr userDrawn="1"/>
          </p:nvCxnSpPr>
          <p:spPr>
            <a:xfrm>
              <a:off x="-2959100" y="5249278"/>
              <a:ext cx="2661379" cy="0"/>
            </a:xfrm>
            <a:prstGeom prst="line">
              <a:avLst/>
            </a:prstGeom>
            <a:noFill/>
            <a:ln w="9525" cap="flat" cmpd="sng" algn="ctr">
              <a:solidFill>
                <a:schemeClr val="accent1"/>
              </a:solidFill>
              <a:prstDash val="solid"/>
            </a:ln>
            <a:effectLst/>
          </p:spPr>
        </p:cxnSp>
        <p:grpSp>
          <p:nvGrpSpPr>
            <p:cNvPr id="182" name="Groep 181"/>
            <p:cNvGrpSpPr/>
            <p:nvPr userDrawn="1"/>
          </p:nvGrpSpPr>
          <p:grpSpPr>
            <a:xfrm>
              <a:off x="-1948476" y="816741"/>
              <a:ext cx="409108" cy="427699"/>
              <a:chOff x="-1085063" y="758027"/>
              <a:chExt cx="633799" cy="622540"/>
            </a:xfrm>
          </p:grpSpPr>
          <p:sp>
            <p:nvSpPr>
              <p:cNvPr id="238" name="Afgeronde rechthoek 237"/>
              <p:cNvSpPr/>
              <p:nvPr userDrawn="1"/>
            </p:nvSpPr>
            <p:spPr>
              <a:xfrm>
                <a:off x="-108506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239" name="Groep 238"/>
              <p:cNvGrpSpPr/>
              <p:nvPr userDrawn="1"/>
            </p:nvGrpSpPr>
            <p:grpSpPr>
              <a:xfrm>
                <a:off x="-977739" y="864082"/>
                <a:ext cx="419168" cy="410429"/>
                <a:chOff x="6366933" y="309013"/>
                <a:chExt cx="1901295" cy="1861668"/>
              </a:xfrm>
              <a:solidFill>
                <a:srgbClr val="000000"/>
              </a:solidFill>
            </p:grpSpPr>
            <p:sp>
              <p:nvSpPr>
                <p:cNvPr id="240" name="Rechthoek 239"/>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41" name="Rechthoek 240"/>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42" name="Rechthoek 241"/>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43" name="Rechthoek 242"/>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44" name="Rechthoek 243"/>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45" name="Rechthoek 244"/>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46" name="Rechthoek 245"/>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47" name="Rechthoek 246"/>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48" name="Rechthoek 247"/>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49" name="Rechthoek 248"/>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0" name="Vrije vorm 249"/>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nvGrpSpPr>
            <p:cNvPr id="183" name="Groep 182"/>
            <p:cNvGrpSpPr/>
            <p:nvPr userDrawn="1"/>
          </p:nvGrpSpPr>
          <p:grpSpPr>
            <a:xfrm>
              <a:off x="-2950232" y="1207835"/>
              <a:ext cx="532929" cy="509563"/>
              <a:chOff x="-2880382" y="802341"/>
              <a:chExt cx="532929" cy="509563"/>
            </a:xfrm>
          </p:grpSpPr>
          <p:sp>
            <p:nvSpPr>
              <p:cNvPr id="216" name="Rechthoek 215"/>
              <p:cNvSpPr/>
              <p:nvPr userDrawn="1"/>
            </p:nvSpPr>
            <p:spPr>
              <a:xfrm>
                <a:off x="-2880382" y="802341"/>
                <a:ext cx="532929" cy="509563"/>
              </a:xfrm>
              <a:prstGeom prst="rect">
                <a:avLst/>
              </a:prstGeom>
              <a:solidFill>
                <a:sysClr val="window" lastClr="FFFFFF"/>
              </a:soli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pic>
            <p:nvPicPr>
              <p:cNvPr id="217"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635852" y="822181"/>
                <a:ext cx="226442" cy="208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8"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848026" y="822181"/>
                <a:ext cx="207168" cy="213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19" name="Groep 218"/>
              <p:cNvGrpSpPr/>
              <p:nvPr userDrawn="1"/>
            </p:nvGrpSpPr>
            <p:grpSpPr>
              <a:xfrm>
                <a:off x="-2802433" y="1123442"/>
                <a:ext cx="132915" cy="104889"/>
                <a:chOff x="-2796392" y="1123442"/>
                <a:chExt cx="120832" cy="104889"/>
              </a:xfrm>
            </p:grpSpPr>
            <p:sp>
              <p:nvSpPr>
                <p:cNvPr id="233" name="Rechthoek 232"/>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34" name="Rechthoek 233"/>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35" name="Rechthoek 234"/>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36" name="Rechthoek 235"/>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37" name="Rechthoek 236"/>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220" name="Groep 219"/>
              <p:cNvGrpSpPr/>
              <p:nvPr userDrawn="1"/>
            </p:nvGrpSpPr>
            <p:grpSpPr>
              <a:xfrm>
                <a:off x="-2575417" y="1123442"/>
                <a:ext cx="133930" cy="104889"/>
                <a:chOff x="-2556734" y="1123442"/>
                <a:chExt cx="147324" cy="104889"/>
              </a:xfrm>
            </p:grpSpPr>
            <p:grpSp>
              <p:nvGrpSpPr>
                <p:cNvPr id="221" name="Groep 220"/>
                <p:cNvGrpSpPr/>
                <p:nvPr userDrawn="1"/>
              </p:nvGrpSpPr>
              <p:grpSpPr>
                <a:xfrm>
                  <a:off x="-2556734" y="1123442"/>
                  <a:ext cx="68206" cy="104889"/>
                  <a:chOff x="-2796392" y="1123442"/>
                  <a:chExt cx="120832" cy="104889"/>
                </a:xfrm>
              </p:grpSpPr>
              <p:sp>
                <p:nvSpPr>
                  <p:cNvPr id="228" name="Rechthoek 227"/>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29" name="Rechthoek 228"/>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30" name="Rechthoek 229"/>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31" name="Rechthoek 230"/>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32" name="Rechthoek 231"/>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222" name="Groep 221"/>
                <p:cNvGrpSpPr/>
                <p:nvPr userDrawn="1"/>
              </p:nvGrpSpPr>
              <p:grpSpPr>
                <a:xfrm>
                  <a:off x="-2477616" y="1123442"/>
                  <a:ext cx="68206" cy="104889"/>
                  <a:chOff x="-2796392" y="1123442"/>
                  <a:chExt cx="120832" cy="104889"/>
                </a:xfrm>
              </p:grpSpPr>
              <p:sp>
                <p:nvSpPr>
                  <p:cNvPr id="223" name="Rechthoek 222"/>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24" name="Rechthoek 223"/>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25" name="Rechthoek 224"/>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26" name="Rechthoek 225"/>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27" name="Rechthoek 226"/>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grpSp>
          <p:nvGrpSpPr>
            <p:cNvPr id="184" name="Groep 183"/>
            <p:cNvGrpSpPr/>
            <p:nvPr userDrawn="1"/>
          </p:nvGrpSpPr>
          <p:grpSpPr>
            <a:xfrm>
              <a:off x="-1948476" y="1281164"/>
              <a:ext cx="413704" cy="427699"/>
              <a:chOff x="-1845083" y="758027"/>
              <a:chExt cx="633799" cy="622540"/>
            </a:xfrm>
          </p:grpSpPr>
          <p:sp>
            <p:nvSpPr>
              <p:cNvPr id="203" name="Afgeronde rechthoek 202"/>
              <p:cNvSpPr/>
              <p:nvPr userDrawn="1"/>
            </p:nvSpPr>
            <p:spPr>
              <a:xfrm>
                <a:off x="-184508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204" name="Groep 203"/>
              <p:cNvGrpSpPr/>
              <p:nvPr userDrawn="1"/>
            </p:nvGrpSpPr>
            <p:grpSpPr>
              <a:xfrm>
                <a:off x="-1737762" y="864082"/>
                <a:ext cx="419168" cy="410429"/>
                <a:chOff x="3708400" y="309013"/>
                <a:chExt cx="1901295" cy="1861668"/>
              </a:xfrm>
              <a:solidFill>
                <a:srgbClr val="000000"/>
              </a:solidFill>
            </p:grpSpPr>
            <p:sp>
              <p:nvSpPr>
                <p:cNvPr id="205" name="Rechthoek 204"/>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06" name="Rechthoek 205"/>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07" name="Rechthoek 206"/>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08" name="Rechthoek 207"/>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09" name="Rechthoek 208"/>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10" name="Rechthoek 209"/>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11" name="Rechthoek 210"/>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12" name="Rechthoek 211"/>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13" name="Rechthoek 212"/>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14" name="Rechthoek 213"/>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15" name="Vrije vorm 214"/>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cxnSp>
          <p:nvCxnSpPr>
            <p:cNvPr id="185" name="Rechte verbindingslijn 184"/>
            <p:cNvCxnSpPr/>
            <p:nvPr userDrawn="1"/>
          </p:nvCxnSpPr>
          <p:spPr>
            <a:xfrm>
              <a:off x="-2814292" y="1441193"/>
              <a:ext cx="865816" cy="53821"/>
            </a:xfrm>
            <a:prstGeom prst="line">
              <a:avLst/>
            </a:prstGeom>
            <a:noFill/>
            <a:ln w="9525" cap="flat" cmpd="sng" algn="ctr">
              <a:solidFill>
                <a:schemeClr val="accent1"/>
              </a:solidFill>
              <a:prstDash val="solid"/>
              <a:headEnd type="oval"/>
            </a:ln>
            <a:effectLst/>
          </p:spPr>
        </p:cxnSp>
        <p:cxnSp>
          <p:nvCxnSpPr>
            <p:cNvPr id="186" name="Rechte verbindingslijn 185"/>
            <p:cNvCxnSpPr/>
            <p:nvPr userDrawn="1"/>
          </p:nvCxnSpPr>
          <p:spPr>
            <a:xfrm flipV="1">
              <a:off x="-2453902" y="1030591"/>
              <a:ext cx="505426" cy="283623"/>
            </a:xfrm>
            <a:prstGeom prst="line">
              <a:avLst/>
            </a:prstGeom>
            <a:noFill/>
            <a:ln w="9525" cap="flat" cmpd="sng" algn="ctr">
              <a:solidFill>
                <a:schemeClr val="accent1"/>
              </a:solidFill>
              <a:prstDash val="solid"/>
              <a:headEnd type="oval"/>
            </a:ln>
            <a:effectLst/>
          </p:spPr>
        </p:cxnSp>
        <p:sp>
          <p:nvSpPr>
            <p:cNvPr id="187" name="Textfield placeholder"/>
            <p:cNvSpPr txBox="1">
              <a:spLocks/>
            </p:cNvSpPr>
            <p:nvPr userDrawn="1"/>
          </p:nvSpPr>
          <p:spPr>
            <a:xfrm>
              <a:off x="-1341598" y="816743"/>
              <a:ext cx="1056968" cy="427698"/>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hoog</a:t>
              </a:r>
            </a:p>
          </p:txBody>
        </p:sp>
        <p:sp>
          <p:nvSpPr>
            <p:cNvPr id="188" name="Textfield placeholder"/>
            <p:cNvSpPr txBox="1">
              <a:spLocks/>
            </p:cNvSpPr>
            <p:nvPr userDrawn="1"/>
          </p:nvSpPr>
          <p:spPr>
            <a:xfrm>
              <a:off x="-1341599" y="1281164"/>
              <a:ext cx="1070223" cy="427699"/>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laag</a:t>
              </a:r>
            </a:p>
          </p:txBody>
        </p:sp>
        <p:sp>
          <p:nvSpPr>
            <p:cNvPr id="189" name="Ovaal 188"/>
            <p:cNvSpPr/>
            <p:nvPr userDrawn="1"/>
          </p:nvSpPr>
          <p:spPr>
            <a:xfrm>
              <a:off x="-2959433" y="338208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5</a:t>
              </a:r>
            </a:p>
          </p:txBody>
        </p:sp>
        <p:sp>
          <p:nvSpPr>
            <p:cNvPr id="190" name="Textfield placeholder"/>
            <p:cNvSpPr txBox="1">
              <a:spLocks/>
            </p:cNvSpPr>
            <p:nvPr userDrawn="1"/>
          </p:nvSpPr>
          <p:spPr>
            <a:xfrm>
              <a:off x="-2571950" y="3382082"/>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60000" lvl="4" indent="-360000" defTabSz="179388">
                <a:lnSpc>
                  <a:spcPct val="120000"/>
                </a:lnSpc>
                <a:spcBef>
                  <a:spcPts val="0"/>
                </a:spcBef>
                <a:spcAft>
                  <a:spcPts val="900"/>
                </a:spcAft>
                <a:buClr>
                  <a:srgbClr val="ED1A3B"/>
                </a:buClr>
                <a:buFont typeface="+mj-lt"/>
                <a:buAutoNum type="arabicPeriod"/>
                <a:defRPr/>
              </a:pPr>
              <a:r>
                <a:rPr lang="nl-NL" sz="1200" b="0" dirty="0">
                  <a:solidFill>
                    <a:srgbClr val="404040"/>
                  </a:solidFill>
                </a:rPr>
                <a:t>Numeriek (16 pt.)</a:t>
              </a:r>
            </a:p>
          </p:txBody>
        </p:sp>
        <p:grpSp>
          <p:nvGrpSpPr>
            <p:cNvPr id="191" name="Groep 190"/>
            <p:cNvGrpSpPr/>
            <p:nvPr userDrawn="1"/>
          </p:nvGrpSpPr>
          <p:grpSpPr>
            <a:xfrm>
              <a:off x="-2950232" y="816050"/>
              <a:ext cx="528695" cy="344202"/>
              <a:chOff x="-2880382" y="410556"/>
              <a:chExt cx="528695" cy="344202"/>
            </a:xfrm>
          </p:grpSpPr>
          <p:sp>
            <p:nvSpPr>
              <p:cNvPr id="201" name="Afgeronde rechthoek 200"/>
              <p:cNvSpPr/>
              <p:nvPr userDrawn="1"/>
            </p:nvSpPr>
            <p:spPr>
              <a:xfrm>
                <a:off x="-2874214" y="410556"/>
                <a:ext cx="522527" cy="339183"/>
              </a:xfrm>
              <a:prstGeom prst="roundRect">
                <a:avLst>
                  <a:gd name="adj" fmla="val 7565"/>
                </a:avLst>
              </a:prstGeom>
              <a:gradFill>
                <a:gsLst>
                  <a:gs pos="0">
                    <a:srgbClr val="FFEC8F"/>
                  </a:gs>
                  <a:gs pos="100000">
                    <a:srgbClr val="FFFFFF"/>
                  </a:gs>
                </a:gsLst>
                <a:lin ang="5400000" scaled="0"/>
              </a:gra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sp>
            <p:nvSpPr>
              <p:cNvPr id="202" name="Vrije vorm 201"/>
              <p:cNvSpPr/>
              <p:nvPr userDrawn="1"/>
            </p:nvSpPr>
            <p:spPr>
              <a:xfrm>
                <a:off x="-2880382" y="452699"/>
                <a:ext cx="528695" cy="302059"/>
              </a:xfrm>
              <a:custGeom>
                <a:avLst/>
                <a:gdLst>
                  <a:gd name="connsiteX0" fmla="*/ 55524 w 528695"/>
                  <a:gd name="connsiteY0" fmla="*/ 0 h 302059"/>
                  <a:gd name="connsiteX1" fmla="*/ 455496 w 528695"/>
                  <a:gd name="connsiteY1" fmla="*/ 0 h 302059"/>
                  <a:gd name="connsiteX2" fmla="*/ 475205 w 528695"/>
                  <a:gd name="connsiteY2" fmla="*/ 19709 h 302059"/>
                  <a:gd name="connsiteX3" fmla="*/ 475205 w 528695"/>
                  <a:gd name="connsiteY3" fmla="*/ 230056 h 302059"/>
                  <a:gd name="connsiteX4" fmla="*/ 516694 w 528695"/>
                  <a:gd name="connsiteY4" fmla="*/ 230056 h 302059"/>
                  <a:gd name="connsiteX5" fmla="*/ 528695 w 528695"/>
                  <a:gd name="connsiteY5" fmla="*/ 242057 h 302059"/>
                  <a:gd name="connsiteX6" fmla="*/ 528695 w 528695"/>
                  <a:gd name="connsiteY6" fmla="*/ 290058 h 302059"/>
                  <a:gd name="connsiteX7" fmla="*/ 516694 w 528695"/>
                  <a:gd name="connsiteY7" fmla="*/ 302059 h 302059"/>
                  <a:gd name="connsiteX8" fmla="*/ 12001 w 528695"/>
                  <a:gd name="connsiteY8" fmla="*/ 302059 h 302059"/>
                  <a:gd name="connsiteX9" fmla="*/ 0 w 528695"/>
                  <a:gd name="connsiteY9" fmla="*/ 290058 h 302059"/>
                  <a:gd name="connsiteX10" fmla="*/ 0 w 528695"/>
                  <a:gd name="connsiteY10" fmla="*/ 242057 h 302059"/>
                  <a:gd name="connsiteX11" fmla="*/ 12001 w 528695"/>
                  <a:gd name="connsiteY11" fmla="*/ 230056 h 302059"/>
                  <a:gd name="connsiteX12" fmla="*/ 35815 w 528695"/>
                  <a:gd name="connsiteY12" fmla="*/ 230056 h 302059"/>
                  <a:gd name="connsiteX13" fmla="*/ 35815 w 528695"/>
                  <a:gd name="connsiteY13" fmla="*/ 19709 h 302059"/>
                  <a:gd name="connsiteX14" fmla="*/ 55524 w 528695"/>
                  <a:gd name="connsiteY14" fmla="*/ 0 h 3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8695" h="302059">
                    <a:moveTo>
                      <a:pt x="55524" y="0"/>
                    </a:moveTo>
                    <a:lnTo>
                      <a:pt x="455496" y="0"/>
                    </a:lnTo>
                    <a:cubicBezTo>
                      <a:pt x="466381" y="0"/>
                      <a:pt x="475205" y="8824"/>
                      <a:pt x="475205" y="19709"/>
                    </a:cubicBezTo>
                    <a:lnTo>
                      <a:pt x="475205" y="230056"/>
                    </a:lnTo>
                    <a:lnTo>
                      <a:pt x="516694" y="230056"/>
                    </a:lnTo>
                    <a:cubicBezTo>
                      <a:pt x="523322" y="230056"/>
                      <a:pt x="528695" y="235429"/>
                      <a:pt x="528695" y="242057"/>
                    </a:cubicBezTo>
                    <a:lnTo>
                      <a:pt x="528695" y="290058"/>
                    </a:lnTo>
                    <a:cubicBezTo>
                      <a:pt x="528695" y="296686"/>
                      <a:pt x="523322" y="302059"/>
                      <a:pt x="516694" y="302059"/>
                    </a:cubicBezTo>
                    <a:lnTo>
                      <a:pt x="12001" y="302059"/>
                    </a:lnTo>
                    <a:cubicBezTo>
                      <a:pt x="5373" y="302059"/>
                      <a:pt x="0" y="296686"/>
                      <a:pt x="0" y="290058"/>
                    </a:cubicBezTo>
                    <a:lnTo>
                      <a:pt x="0" y="242057"/>
                    </a:lnTo>
                    <a:cubicBezTo>
                      <a:pt x="0" y="235429"/>
                      <a:pt x="5373" y="230056"/>
                      <a:pt x="12001" y="230056"/>
                    </a:cubicBezTo>
                    <a:lnTo>
                      <a:pt x="35815" y="230056"/>
                    </a:lnTo>
                    <a:lnTo>
                      <a:pt x="35815" y="19709"/>
                    </a:lnTo>
                    <a:cubicBezTo>
                      <a:pt x="35815" y="8824"/>
                      <a:pt x="44639" y="0"/>
                      <a:pt x="55524" y="0"/>
                    </a:cubicBezTo>
                    <a:close/>
                  </a:path>
                </a:pathLst>
              </a:custGeom>
              <a:solidFill>
                <a:sysClr val="window" lastClr="FFFFFF">
                  <a:lumMod val="95000"/>
                </a:sysClr>
              </a:solidFill>
              <a:ln w="9525" cap="flat" cmpd="sng" algn="ctr">
                <a:solidFill>
                  <a:srgbClr val="FFFFFF">
                    <a:lumMod val="90000"/>
                  </a:srgbClr>
                </a:solidFill>
                <a:prstDash val="solid"/>
                <a:miter lim="800000"/>
              </a:ln>
              <a:effectLst/>
            </p:spPr>
            <p:txBody>
              <a:bodyPr rot="0" spcFirstLastPara="0" vert="horz" wrap="square" lIns="108000" tIns="36000" rIns="108000" bIns="10800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900" dirty="0">
                    <a:solidFill>
                      <a:prstClr val="black"/>
                    </a:solidFill>
                    <a:latin typeface="Segoe UI Light"/>
                  </a:rPr>
                  <a:t>Start</a:t>
                </a:r>
              </a:p>
            </p:txBody>
          </p:sp>
        </p:grpSp>
        <p:sp>
          <p:nvSpPr>
            <p:cNvPr id="192" name="Tekstvak 65"/>
            <p:cNvSpPr txBox="1"/>
            <p:nvPr userDrawn="1"/>
          </p:nvSpPr>
          <p:spPr>
            <a:xfrm>
              <a:off x="-2959433" y="372104"/>
              <a:ext cx="2679887" cy="453396"/>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nl-NL" sz="1200" kern="0" dirty="0">
                  <a:solidFill>
                    <a:srgbClr val="000000"/>
                  </a:solidFill>
                  <a:latin typeface="Segoe UI Light" panose="020B0502040204020203" pitchFamily="34" charset="0"/>
                  <a:cs typeface="Segoe UI Light" panose="020B0502040204020203" pitchFamily="34" charset="0"/>
                </a:rPr>
                <a:t>Ga naar de tab </a:t>
              </a:r>
              <a:r>
                <a:rPr lang="nl-NL" sz="1200" b="1" kern="0" dirty="0">
                  <a:solidFill>
                    <a:srgbClr val="000000"/>
                  </a:solidFill>
                  <a:latin typeface="Segoe UI Light" panose="020B0502040204020203" pitchFamily="34" charset="0"/>
                  <a:cs typeface="Segoe UI Light" panose="020B0502040204020203" pitchFamily="34" charset="0"/>
                </a:rPr>
                <a:t>Start’ </a:t>
              </a:r>
              <a:r>
                <a:rPr lang="nl-NL" sz="1200" kern="0" dirty="0">
                  <a:solidFill>
                    <a:srgbClr val="000000"/>
                  </a:solidFill>
                  <a:latin typeface="Segoe UI Light" panose="020B0502040204020203" pitchFamily="34" charset="0"/>
                  <a:cs typeface="Segoe UI Light" panose="020B0502040204020203" pitchFamily="34" charset="0"/>
                </a:rPr>
                <a:t>en vind onderstaande knoppen onder </a:t>
              </a:r>
              <a:r>
                <a:rPr lang="nl-NL" sz="1200" b="1" kern="0" dirty="0">
                  <a:solidFill>
                    <a:srgbClr val="000000"/>
                  </a:solidFill>
                  <a:latin typeface="Segoe UI Light" panose="020B0502040204020203" pitchFamily="34" charset="0"/>
                  <a:cs typeface="Segoe UI Light" panose="020B0502040204020203" pitchFamily="34" charset="0"/>
                </a:rPr>
                <a:t>‘Alinea’</a:t>
              </a:r>
            </a:p>
          </p:txBody>
        </p:sp>
        <p:sp>
          <p:nvSpPr>
            <p:cNvPr id="193" name="Ovaal 192"/>
            <p:cNvSpPr/>
            <p:nvPr userDrawn="1"/>
          </p:nvSpPr>
          <p:spPr>
            <a:xfrm>
              <a:off x="-2959433" y="375153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6</a:t>
              </a:r>
            </a:p>
          </p:txBody>
        </p:sp>
        <p:sp>
          <p:nvSpPr>
            <p:cNvPr id="194" name="Textfield placeholder"/>
            <p:cNvSpPr txBox="1">
              <a:spLocks/>
            </p:cNvSpPr>
            <p:nvPr userDrawn="1"/>
          </p:nvSpPr>
          <p:spPr>
            <a:xfrm>
              <a:off x="-2571950" y="3751536"/>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0000" lvl="5" indent="-270000" defTabSz="179388">
                <a:lnSpc>
                  <a:spcPct val="120000"/>
                </a:lnSpc>
                <a:spcAft>
                  <a:spcPts val="900"/>
                </a:spcAft>
                <a:buClr>
                  <a:srgbClr val="ED1A3B"/>
                </a:buClr>
                <a:buSzPct val="80000"/>
                <a:buFont typeface="Wingdings 3" panose="05040102010807070707" pitchFamily="18" charset="2"/>
                <a:buChar char=""/>
                <a:defRPr/>
              </a:pPr>
              <a:r>
                <a:rPr lang="nl-NL" sz="1200" cap="none" dirty="0">
                  <a:solidFill>
                    <a:srgbClr val="535353"/>
                  </a:solidFill>
                </a:rPr>
                <a:t># Bullets (16 pt.)</a:t>
              </a:r>
            </a:p>
          </p:txBody>
        </p:sp>
        <p:sp>
          <p:nvSpPr>
            <p:cNvPr id="195" name="Ovaal 194"/>
            <p:cNvSpPr/>
            <p:nvPr userDrawn="1"/>
          </p:nvSpPr>
          <p:spPr>
            <a:xfrm>
              <a:off x="-2959433" y="414870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7</a:t>
              </a:r>
            </a:p>
          </p:txBody>
        </p:sp>
        <p:sp>
          <p:nvSpPr>
            <p:cNvPr id="196" name="Textfield placeholder"/>
            <p:cNvSpPr txBox="1">
              <a:spLocks/>
            </p:cNvSpPr>
            <p:nvPr userDrawn="1"/>
          </p:nvSpPr>
          <p:spPr>
            <a:xfrm>
              <a:off x="-2571950" y="414870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6" indent="0" defTabSz="179388">
                <a:lnSpc>
                  <a:spcPct val="120000"/>
                </a:lnSpc>
                <a:spcBef>
                  <a:spcPts val="0"/>
                </a:spcBef>
                <a:spcAft>
                  <a:spcPts val="900"/>
                </a:spcAft>
                <a:buClr>
                  <a:srgbClr val="ED1A3B"/>
                </a:buClr>
                <a:buSzPct val="90000"/>
                <a:buFont typeface="+mj-lt"/>
                <a:buNone/>
                <a:defRPr/>
              </a:pPr>
              <a:r>
                <a:rPr lang="nl-NL" sz="1200" i="1" dirty="0">
                  <a:solidFill>
                    <a:srgbClr val="404040"/>
                  </a:solidFill>
                </a:rPr>
                <a:t>Cursief donker (16 pt.)</a:t>
              </a:r>
            </a:p>
          </p:txBody>
        </p:sp>
        <p:sp>
          <p:nvSpPr>
            <p:cNvPr id="197" name="Ovaal 196"/>
            <p:cNvSpPr/>
            <p:nvPr userDrawn="1"/>
          </p:nvSpPr>
          <p:spPr>
            <a:xfrm>
              <a:off x="-2959433" y="454586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8</a:t>
              </a:r>
            </a:p>
          </p:txBody>
        </p:sp>
        <p:sp>
          <p:nvSpPr>
            <p:cNvPr id="198" name="Textfield placeholder"/>
            <p:cNvSpPr txBox="1">
              <a:spLocks/>
            </p:cNvSpPr>
            <p:nvPr userDrawn="1"/>
          </p:nvSpPr>
          <p:spPr>
            <a:xfrm>
              <a:off x="-2571950" y="4545864"/>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7" indent="0" defTabSz="179388">
                <a:lnSpc>
                  <a:spcPct val="80000"/>
                </a:lnSpc>
                <a:spcBef>
                  <a:spcPts val="0"/>
                </a:spcBef>
                <a:spcAft>
                  <a:spcPts val="900"/>
                </a:spcAft>
                <a:buClr>
                  <a:srgbClr val="ED1A3B"/>
                </a:buClr>
                <a:buFont typeface="Arial" pitchFamily="34" charset="0"/>
                <a:buNone/>
                <a:defRPr/>
              </a:pPr>
              <a:r>
                <a:rPr lang="nl-NL" sz="1200" i="1" dirty="0">
                  <a:solidFill>
                    <a:srgbClr val="A3B0C0"/>
                  </a:solidFill>
                </a:rPr>
                <a:t>Cursief Licht (16 pt.)</a:t>
              </a:r>
            </a:p>
          </p:txBody>
        </p:sp>
        <p:sp>
          <p:nvSpPr>
            <p:cNvPr id="199" name="Ovaal 198"/>
            <p:cNvSpPr/>
            <p:nvPr userDrawn="1"/>
          </p:nvSpPr>
          <p:spPr>
            <a:xfrm>
              <a:off x="-2959433" y="488761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9</a:t>
              </a:r>
            </a:p>
          </p:txBody>
        </p:sp>
        <p:sp>
          <p:nvSpPr>
            <p:cNvPr id="200" name="Textfield placeholder"/>
            <p:cNvSpPr txBox="1">
              <a:spLocks/>
            </p:cNvSpPr>
            <p:nvPr userDrawn="1"/>
          </p:nvSpPr>
          <p:spPr>
            <a:xfrm>
              <a:off x="-2571950" y="488761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8" indent="0" defTabSz="179388">
                <a:lnSpc>
                  <a:spcPct val="80000"/>
                </a:lnSpc>
                <a:spcBef>
                  <a:spcPts val="0"/>
                </a:spcBef>
                <a:spcAft>
                  <a:spcPts val="900"/>
                </a:spcAft>
                <a:buClr>
                  <a:srgbClr val="ED1A3B"/>
                </a:buClr>
                <a:buFont typeface="Arial" pitchFamily="34" charset="0"/>
                <a:buNone/>
                <a:defRPr/>
              </a:pPr>
              <a:r>
                <a:rPr lang="nl-NL" sz="1400" b="1" dirty="0">
                  <a:solidFill>
                    <a:srgbClr val="ED1A3B"/>
                  </a:solidFill>
                </a:rPr>
                <a:t>Subtitel (18 pt.)</a:t>
              </a:r>
            </a:p>
          </p:txBody>
        </p:sp>
      </p:grpSp>
      <p:sp>
        <p:nvSpPr>
          <p:cNvPr id="117" name="Hyperlink - Inhoudsopgave">
            <a:hlinkClick r:id="rId4" action="ppaction://hlinksldjump"/>
          </p:cNvPr>
          <p:cNvSpPr/>
          <p:nvPr userDrawn="1"/>
        </p:nvSpPr>
        <p:spPr>
          <a:xfrm>
            <a:off x="10197856" y="5889801"/>
            <a:ext cx="2000494" cy="968199"/>
          </a:xfrm>
          <a:prstGeom prst="rect">
            <a:avLst/>
          </a:prstGeom>
          <a:solidFill>
            <a:srgbClr val="ED1A3B">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19" name="Grijze achtergrond"/>
          <p:cNvSpPr/>
          <p:nvPr/>
        </p:nvSpPr>
        <p:spPr>
          <a:xfrm>
            <a:off x="664804" y="1358671"/>
            <a:ext cx="10871230" cy="444046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en-GB">
              <a:solidFill>
                <a:srgbClr val="FFFFFF"/>
              </a:solidFill>
            </a:endParaRPr>
          </a:p>
        </p:txBody>
      </p:sp>
      <p:cxnSp>
        <p:nvCxnSpPr>
          <p:cNvPr id="36" name="Grijze lijn - onder"/>
          <p:cNvCxnSpPr/>
          <p:nvPr userDrawn="1"/>
        </p:nvCxnSpPr>
        <p:spPr>
          <a:xfrm flipH="1">
            <a:off x="664804" y="5776291"/>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7" name="Grijze lijn - boven"/>
          <p:cNvCxnSpPr/>
          <p:nvPr userDrawn="1"/>
        </p:nvCxnSpPr>
        <p:spPr>
          <a:xfrm flipH="1">
            <a:off x="664804" y="1358670"/>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4" name="Tijdelijke aanduiding voor Dianummer"/>
          <p:cNvSpPr>
            <a:spLocks noGrp="1"/>
          </p:cNvSpPr>
          <p:nvPr>
            <p:ph type="sldNum" sz="quarter" idx="4"/>
          </p:nvPr>
        </p:nvSpPr>
        <p:spPr>
          <a:xfrm>
            <a:off x="5770549" y="6295992"/>
            <a:ext cx="657251" cy="365125"/>
          </a:xfrm>
          <a:prstGeom prst="rect">
            <a:avLst/>
          </a:prstGeom>
        </p:spPr>
        <p:txBody>
          <a:bodyPr vert="horz" lIns="91440" tIns="45720" rIns="91440" bIns="45720" rtlCol="0" anchor="ctr"/>
          <a:lstStyle>
            <a:lvl1pPr algn="ctr">
              <a:defRPr sz="800">
                <a:solidFill>
                  <a:schemeClr val="tx1">
                    <a:tint val="75000"/>
                  </a:schemeClr>
                </a:solidFill>
              </a:defRPr>
            </a:lvl1pPr>
          </a:lstStyle>
          <a:p>
            <a:fld id="{1B3FA67A-C720-417A-A072-0CD211FD8662}" type="slidenum">
              <a:rPr lang="nl-NL" smtClean="0">
                <a:solidFill>
                  <a:srgbClr val="000000">
                    <a:tint val="75000"/>
                  </a:srgbClr>
                </a:solidFill>
              </a:rPr>
              <a:pPr/>
              <a:t>‹nr.›</a:t>
            </a:fld>
            <a:endParaRPr lang="nl-NL" dirty="0">
              <a:solidFill>
                <a:srgbClr val="000000">
                  <a:tint val="75000"/>
                </a:srgbClr>
              </a:solidFill>
            </a:endParaRPr>
          </a:p>
        </p:txBody>
      </p:sp>
      <p:sp>
        <p:nvSpPr>
          <p:cNvPr id="12" name="Tijdelijke aanduiding voor SmartArt"/>
          <p:cNvSpPr>
            <a:spLocks noGrp="1"/>
          </p:cNvSpPr>
          <p:nvPr>
            <p:ph type="dgm" sz="quarter" idx="15"/>
          </p:nvPr>
        </p:nvSpPr>
        <p:spPr>
          <a:xfrm>
            <a:off x="996646" y="1720867"/>
            <a:ext cx="10205056" cy="3693600"/>
          </a:xfrm>
        </p:spPr>
        <p:txBody>
          <a:bodyPr anchor="ctr"/>
          <a:lstStyle>
            <a:lvl1pPr algn="ctr">
              <a:defRPr/>
            </a:lvl1pPr>
          </a:lstStyle>
          <a:p>
            <a:r>
              <a:rPr lang="nl-NL"/>
              <a:t>Klik op het pictogram om een SmartArt-graphic toe te voegen</a:t>
            </a:r>
            <a:endParaRPr lang="en-GB"/>
          </a:p>
        </p:txBody>
      </p:sp>
      <p:sp>
        <p:nvSpPr>
          <p:cNvPr id="14" name="Tijdelijke aanduiding voor Subtitel"/>
          <p:cNvSpPr>
            <a:spLocks noGrp="1"/>
          </p:cNvSpPr>
          <p:nvPr>
            <p:ph type="body" idx="14"/>
          </p:nvPr>
        </p:nvSpPr>
        <p:spPr>
          <a:xfrm>
            <a:off x="664109" y="1001348"/>
            <a:ext cx="10870131" cy="317758"/>
          </a:xfrm>
        </p:spPr>
        <p:txBody>
          <a:bodyPr bIns="72000" anchor="t" anchorCtr="0"/>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15" name="Tijdelijke aanduiding voor Titel"/>
          <p:cNvSpPr>
            <a:spLocks noGrp="1"/>
          </p:cNvSpPr>
          <p:nvPr>
            <p:ph type="title"/>
          </p:nvPr>
        </p:nvSpPr>
        <p:spPr>
          <a:xfrm>
            <a:off x="664109" y="464521"/>
            <a:ext cx="10870131" cy="533219"/>
          </a:xfrm>
        </p:spPr>
        <p:txBody>
          <a:bodyPr/>
          <a:lstStyle/>
          <a:p>
            <a:r>
              <a:rPr lang="nl-NL"/>
              <a:t>Klik om stijl te bewerken</a:t>
            </a:r>
            <a:endParaRPr lang="nl-NL" dirty="0"/>
          </a:p>
        </p:txBody>
      </p:sp>
    </p:spTree>
    <p:extLst>
      <p:ext uri="{BB962C8B-B14F-4D97-AF65-F5344CB8AC3E}">
        <p14:creationId xmlns:p14="http://schemas.microsoft.com/office/powerpoint/2010/main" val="424762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Film in Mock-up">
    <p:spTree>
      <p:nvGrpSpPr>
        <p:cNvPr id="1" name=""/>
        <p:cNvGrpSpPr/>
        <p:nvPr/>
      </p:nvGrpSpPr>
      <p:grpSpPr>
        <a:xfrm>
          <a:off x="0" y="0"/>
          <a:ext cx="0" cy="0"/>
          <a:chOff x="0" y="0"/>
          <a:chExt cx="0" cy="0"/>
        </a:xfrm>
      </p:grpSpPr>
      <p:sp>
        <p:nvSpPr>
          <p:cNvPr id="39" name="Naam indeling - Film in Mock-up"/>
          <p:cNvSpPr txBox="1"/>
          <p:nvPr userDrawn="1"/>
        </p:nvSpPr>
        <p:spPr>
          <a:xfrm>
            <a:off x="1" y="-453266"/>
            <a:ext cx="3582333" cy="276999"/>
          </a:xfrm>
          <a:prstGeom prst="rect">
            <a:avLst/>
          </a:prstGeom>
          <a:noFill/>
        </p:spPr>
        <p:txBody>
          <a:bodyPr wrap="square" lIns="0" tIns="0" rIns="0" bIns="0" rtlCol="0">
            <a:spAutoFit/>
          </a:bodyPr>
          <a:lstStyle/>
          <a:p>
            <a:pPr defTabSz="914112"/>
            <a:r>
              <a:rPr lang="nl-NL" dirty="0">
                <a:solidFill>
                  <a:srgbClr val="404040"/>
                </a:solidFill>
                <a:latin typeface="Calibri" panose="020F0502020204030204" pitchFamily="34" charset="0"/>
              </a:rPr>
              <a:t>Film in Mock-up</a:t>
            </a:r>
            <a:endParaRPr lang="en-GB" dirty="0">
              <a:solidFill>
                <a:srgbClr val="404040"/>
              </a:solidFill>
              <a:latin typeface="Calibri" panose="020F0502020204030204" pitchFamily="34" charset="0"/>
            </a:endParaRPr>
          </a:p>
        </p:txBody>
      </p:sp>
      <p:grpSp>
        <p:nvGrpSpPr>
          <p:cNvPr id="40" name="Instructie - SmartArt invoegen"/>
          <p:cNvGrpSpPr/>
          <p:nvPr userDrawn="1"/>
        </p:nvGrpSpPr>
        <p:grpSpPr>
          <a:xfrm>
            <a:off x="12563365" y="-29362"/>
            <a:ext cx="2711112" cy="3676571"/>
            <a:chOff x="12441149" y="14897"/>
            <a:chExt cx="2710406" cy="3676571"/>
          </a:xfrm>
        </p:grpSpPr>
        <p:sp>
          <p:nvSpPr>
            <p:cNvPr id="41" name="Rechthoek 40"/>
            <p:cNvSpPr/>
            <p:nvPr/>
          </p:nvSpPr>
          <p:spPr>
            <a:xfrm>
              <a:off x="12441150" y="14897"/>
              <a:ext cx="2696270" cy="161771"/>
            </a:xfrm>
            <a:prstGeom prst="rect">
              <a:avLst/>
            </a:prstGeom>
            <a:noFill/>
            <a:ln w="25400" cap="flat" cmpd="sng" algn="ctr">
              <a:noFill/>
              <a:prstDash val="solid"/>
            </a:ln>
            <a:effectLst/>
          </p:spPr>
          <p:txBody>
            <a:bodyPr lIns="0" tIns="0" rIns="0" bIns="0" rtlCol="0" anchor="t"/>
            <a:lstStyle/>
            <a:p>
              <a:pPr defTabSz="914112">
                <a:lnSpc>
                  <a:spcPct val="80000"/>
                </a:lnSpc>
              </a:pPr>
              <a:r>
                <a:rPr lang="nl-NL" sz="1600" b="1" kern="0" cap="all" dirty="0">
                  <a:solidFill>
                    <a:srgbClr val="ED1A3B"/>
                  </a:solidFill>
                  <a:cs typeface="Segoe UI Light" panose="020B0502040204020203" pitchFamily="34" charset="0"/>
                </a:rPr>
                <a:t>SmartArt INVOEGEN</a:t>
              </a:r>
            </a:p>
          </p:txBody>
        </p:sp>
        <p:sp>
          <p:nvSpPr>
            <p:cNvPr id="42" name="Tekstvak 33"/>
            <p:cNvSpPr txBox="1"/>
            <p:nvPr/>
          </p:nvSpPr>
          <p:spPr>
            <a:xfrm>
              <a:off x="12441149" y="814239"/>
              <a:ext cx="2710405" cy="719877"/>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Indien nodig, verwijder de bestaande SmartArt. Klik op het pictogram om </a:t>
              </a:r>
              <a:br>
                <a:rPr lang="nl-NL" sz="1200" kern="0" dirty="0">
                  <a:solidFill>
                    <a:srgbClr val="000000"/>
                  </a:solidFill>
                  <a:latin typeface="Trebuchet MS"/>
                  <a:cs typeface="Segoe UI Light" panose="020B0502040204020203" pitchFamily="34" charset="0"/>
                </a:rPr>
              </a:br>
              <a:r>
                <a:rPr lang="nl-NL" sz="1200" kern="0" dirty="0">
                  <a:solidFill>
                    <a:srgbClr val="000000"/>
                  </a:solidFill>
                  <a:latin typeface="Trebuchet MS"/>
                  <a:cs typeface="Segoe UI Light" panose="020B0502040204020203" pitchFamily="34" charset="0"/>
                </a:rPr>
                <a:t>nieuwe SmartArt in te voegen</a:t>
              </a:r>
              <a:br>
                <a:rPr lang="nl-NL" sz="1200" kern="0" dirty="0">
                  <a:solidFill>
                    <a:srgbClr val="000000"/>
                  </a:solidFill>
                  <a:latin typeface="Trebuchet MS"/>
                  <a:cs typeface="Segoe UI Light" panose="020B0502040204020203" pitchFamily="34" charset="0"/>
                </a:rPr>
              </a:br>
              <a:r>
                <a:rPr lang="nl-NL" sz="1100" i="1" kern="0" dirty="0">
                  <a:solidFill>
                    <a:srgbClr val="000000"/>
                  </a:solidFill>
                  <a:latin typeface="Trebuchet MS"/>
                  <a:cs typeface="Segoe UI Light" panose="020B0502040204020203" pitchFamily="34" charset="0"/>
                </a:rPr>
                <a:t>(zie onderstaand voorbeeld).</a:t>
              </a:r>
            </a:p>
          </p:txBody>
        </p:sp>
        <p:sp>
          <p:nvSpPr>
            <p:cNvPr id="43" name="Tekstvak 33"/>
            <p:cNvSpPr txBox="1"/>
            <p:nvPr/>
          </p:nvSpPr>
          <p:spPr>
            <a:xfrm>
              <a:off x="12441149" y="2793904"/>
              <a:ext cx="2710405" cy="395943"/>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Selecteer de SmartArt die u wilt invoegen en klik op </a:t>
              </a:r>
              <a:r>
                <a:rPr lang="nl-NL" sz="1200" b="1" kern="0" dirty="0">
                  <a:solidFill>
                    <a:srgbClr val="000000"/>
                  </a:solidFill>
                  <a:latin typeface="Trebuchet MS"/>
                  <a:cs typeface="Segoe UI Light" panose="020B0502040204020203" pitchFamily="34" charset="0"/>
                </a:rPr>
                <a:t>‘Invoegen’</a:t>
              </a:r>
            </a:p>
          </p:txBody>
        </p:sp>
        <p:sp>
          <p:nvSpPr>
            <p:cNvPr id="44" name="Ovaal 43"/>
            <p:cNvSpPr/>
            <p:nvPr/>
          </p:nvSpPr>
          <p:spPr>
            <a:xfrm>
              <a:off x="12441150" y="379292"/>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1</a:t>
              </a:r>
            </a:p>
          </p:txBody>
        </p:sp>
        <p:sp>
          <p:nvSpPr>
            <p:cNvPr id="45" name="Ovaal 44"/>
            <p:cNvSpPr/>
            <p:nvPr/>
          </p:nvSpPr>
          <p:spPr>
            <a:xfrm>
              <a:off x="12441150" y="2337208"/>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2</a:t>
              </a:r>
            </a:p>
          </p:txBody>
        </p:sp>
        <p:cxnSp>
          <p:nvCxnSpPr>
            <p:cNvPr id="46" name="Rechte verbindingslijn 45"/>
            <p:cNvCxnSpPr/>
            <p:nvPr/>
          </p:nvCxnSpPr>
          <p:spPr>
            <a:xfrm>
              <a:off x="12441150" y="248176"/>
              <a:ext cx="2710405" cy="0"/>
            </a:xfrm>
            <a:prstGeom prst="line">
              <a:avLst/>
            </a:prstGeom>
            <a:noFill/>
            <a:ln w="9525" cap="flat" cmpd="sng" algn="ctr">
              <a:solidFill>
                <a:schemeClr val="accent1"/>
              </a:solidFill>
              <a:prstDash val="solid"/>
            </a:ln>
            <a:effectLst/>
          </p:spPr>
        </p:cxnSp>
        <p:cxnSp>
          <p:nvCxnSpPr>
            <p:cNvPr id="47" name="Rechte verbindingslijn 46"/>
            <p:cNvCxnSpPr/>
            <p:nvPr/>
          </p:nvCxnSpPr>
          <p:spPr>
            <a:xfrm>
              <a:off x="12441149" y="2212830"/>
              <a:ext cx="2710405" cy="0"/>
            </a:xfrm>
            <a:prstGeom prst="line">
              <a:avLst/>
            </a:prstGeom>
            <a:noFill/>
            <a:ln w="9525" cap="flat" cmpd="sng" algn="ctr">
              <a:solidFill>
                <a:schemeClr val="accent1"/>
              </a:solidFill>
              <a:prstDash val="solid"/>
            </a:ln>
            <a:effectLst/>
          </p:spPr>
        </p:cxnSp>
        <p:cxnSp>
          <p:nvCxnSpPr>
            <p:cNvPr id="48" name="Rechte verbindingslijn 47"/>
            <p:cNvCxnSpPr/>
            <p:nvPr/>
          </p:nvCxnSpPr>
          <p:spPr>
            <a:xfrm>
              <a:off x="12444679" y="3691468"/>
              <a:ext cx="2706875" cy="0"/>
            </a:xfrm>
            <a:prstGeom prst="line">
              <a:avLst/>
            </a:prstGeom>
            <a:noFill/>
            <a:ln w="9525" cap="flat" cmpd="sng" algn="ctr">
              <a:solidFill>
                <a:schemeClr val="accent1"/>
              </a:solidFill>
              <a:prstDash val="solid"/>
            </a:ln>
            <a:effectLst/>
          </p:spPr>
        </p:cxnSp>
        <p:grpSp>
          <p:nvGrpSpPr>
            <p:cNvPr id="49" name="Groep 48"/>
            <p:cNvGrpSpPr/>
            <p:nvPr/>
          </p:nvGrpSpPr>
          <p:grpSpPr>
            <a:xfrm>
              <a:off x="12450571" y="3301369"/>
              <a:ext cx="1002992" cy="267962"/>
              <a:chOff x="13560784" y="3471416"/>
              <a:chExt cx="1114138" cy="297656"/>
            </a:xfrm>
          </p:grpSpPr>
          <p:sp>
            <p:nvSpPr>
              <p:cNvPr id="60" name="Afgeronde rechthoek 88"/>
              <p:cNvSpPr/>
              <p:nvPr/>
            </p:nvSpPr>
            <p:spPr>
              <a:xfrm>
                <a:off x="13560784" y="3471416"/>
                <a:ext cx="1114138" cy="297656"/>
              </a:xfrm>
              <a:prstGeom prst="roundRect">
                <a:avLst/>
              </a:prstGeom>
              <a:gradFill flip="none" rotWithShape="1">
                <a:gsLst>
                  <a:gs pos="4000">
                    <a:srgbClr val="00B0F0"/>
                  </a:gs>
                  <a:gs pos="0">
                    <a:srgbClr val="0070C0"/>
                  </a:gs>
                  <a:gs pos="100000">
                    <a:srgbClr val="0070C0"/>
                  </a:gs>
                  <a:gs pos="12000">
                    <a:srgbClr val="D1EAFF"/>
                  </a:gs>
                  <a:gs pos="96000">
                    <a:srgbClr val="00B0F0"/>
                  </a:gs>
                  <a:gs pos="89000">
                    <a:srgbClr val="DDF4FF"/>
                  </a:gs>
                  <a:gs pos="43000">
                    <a:srgbClr val="D1EAFF"/>
                  </a:gs>
                  <a:gs pos="51000">
                    <a:srgbClr val="DDF4FF"/>
                  </a:gs>
                </a:gsLst>
                <a:lin ang="16200000" scaled="1"/>
                <a:tileRect/>
              </a:gradFill>
              <a:ln w="63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dirty="0">
                  <a:solidFill>
                    <a:srgbClr val="FFFFFF"/>
                  </a:solidFill>
                </a:endParaRPr>
              </a:p>
            </p:txBody>
          </p:sp>
          <p:sp>
            <p:nvSpPr>
              <p:cNvPr id="61" name="Tekstvak 60"/>
              <p:cNvSpPr txBox="1"/>
              <p:nvPr/>
            </p:nvSpPr>
            <p:spPr>
              <a:xfrm>
                <a:off x="13573594" y="3488254"/>
                <a:ext cx="888311" cy="273506"/>
              </a:xfrm>
              <a:prstGeom prst="rect">
                <a:avLst/>
              </a:prstGeom>
              <a:noFill/>
            </p:spPr>
            <p:txBody>
              <a:bodyPr wrap="square" rtlCol="0" anchor="ctr">
                <a:spAutoFit/>
              </a:bodyPr>
              <a:lstStyle>
                <a:defPPr>
                  <a:defRPr lang="nl-NL"/>
                </a:defPPr>
                <a:lvl1pPr marR="0" lvl="0" indent="0" algn="ctr" fontAlgn="auto">
                  <a:lnSpc>
                    <a:spcPct val="100000"/>
                  </a:lnSpc>
                  <a:spcBef>
                    <a:spcPts val="0"/>
                  </a:spcBef>
                  <a:spcAft>
                    <a:spcPts val="0"/>
                  </a:spcAft>
                  <a:buClrTx/>
                  <a:buSzTx/>
                  <a:buFontTx/>
                  <a:buNone/>
                  <a:tabLst/>
                  <a:defRPr kumimoji="0" sz="900" i="0" u="none" strike="noStrike" kern="0" cap="none" spc="0" normalizeH="0" baseline="0">
                    <a:ln>
                      <a:noFill/>
                    </a:ln>
                    <a:effectLst>
                      <a:outerShdw blurRad="25400" algn="ctr" rotWithShape="0">
                        <a:prstClr val="white"/>
                      </a:outerShdw>
                    </a:effectLst>
                    <a:uLnTx/>
                    <a:uFillTx/>
                    <a:latin typeface="Segoe UI Light" panose="020B0502040204020203" pitchFamily="34" charset="0"/>
                    <a:cs typeface="Segoe UI Light" panose="020B0502040204020203" pitchFamily="34" charset="0"/>
                  </a:defRPr>
                </a:lvl1pPr>
                <a:lvl2pPr fontAlgn="base">
                  <a:spcBef>
                    <a:spcPct val="0"/>
                  </a:spcBef>
                  <a:spcAft>
                    <a:spcPct val="0"/>
                  </a:spcAft>
                  <a:defRPr>
                    <a:latin typeface="Arial" charset="0"/>
                    <a:cs typeface="Arial" charset="0"/>
                  </a:defRPr>
                </a:lvl2pPr>
                <a:lvl3pPr fontAlgn="base">
                  <a:spcBef>
                    <a:spcPct val="0"/>
                  </a:spcBef>
                  <a:spcAft>
                    <a:spcPct val="0"/>
                  </a:spcAft>
                  <a:defRPr>
                    <a:latin typeface="Arial" charset="0"/>
                    <a:cs typeface="Arial" charset="0"/>
                  </a:defRPr>
                </a:lvl3pPr>
                <a:lvl4pPr fontAlgn="base">
                  <a:spcBef>
                    <a:spcPct val="0"/>
                  </a:spcBef>
                  <a:spcAft>
                    <a:spcPct val="0"/>
                  </a:spcAft>
                  <a:defRPr>
                    <a:latin typeface="Arial" charset="0"/>
                    <a:cs typeface="Arial" charset="0"/>
                  </a:defRPr>
                </a:lvl4pPr>
                <a:lvl5pPr fontAlgn="base">
                  <a:spcBef>
                    <a:spcPct val="0"/>
                  </a:spcBef>
                  <a:spcAft>
                    <a:spcPct val="0"/>
                  </a:spcAft>
                  <a:defRPr>
                    <a:latin typeface="Arial" charset="0"/>
                    <a:cs typeface="Arial" charset="0"/>
                  </a:defRPr>
                </a:lvl5pPr>
                <a:lvl6pPr>
                  <a:defRPr>
                    <a:latin typeface="Arial" charset="0"/>
                    <a:cs typeface="Arial" charset="0"/>
                  </a:defRPr>
                </a:lvl6pPr>
                <a:lvl7pPr>
                  <a:defRPr>
                    <a:latin typeface="Arial" charset="0"/>
                    <a:cs typeface="Arial" charset="0"/>
                  </a:defRPr>
                </a:lvl7pPr>
                <a:lvl8pPr>
                  <a:defRPr>
                    <a:latin typeface="Arial" charset="0"/>
                    <a:cs typeface="Arial" charset="0"/>
                  </a:defRPr>
                </a:lvl8pPr>
                <a:lvl9pPr>
                  <a:defRPr>
                    <a:latin typeface="Arial" charset="0"/>
                    <a:cs typeface="Arial" charset="0"/>
                  </a:defRPr>
                </a:lvl9pPr>
              </a:lstStyle>
              <a:p>
                <a:pPr defTabSz="914112"/>
                <a:r>
                  <a:rPr lang="nl-NL" sz="1000" dirty="0">
                    <a:solidFill>
                      <a:srgbClr val="000000"/>
                    </a:solidFill>
                    <a:latin typeface="Trebuchet MS"/>
                  </a:rPr>
                  <a:t>Invoegen</a:t>
                </a:r>
              </a:p>
            </p:txBody>
          </p:sp>
          <p:cxnSp>
            <p:nvCxnSpPr>
              <p:cNvPr id="62" name="Rechte verbindingslijn 61"/>
              <p:cNvCxnSpPr/>
              <p:nvPr/>
            </p:nvCxnSpPr>
            <p:spPr>
              <a:xfrm>
                <a:off x="14461905" y="3507058"/>
                <a:ext cx="0" cy="224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Gelijkbenige driehoek 62"/>
              <p:cNvSpPr/>
              <p:nvPr/>
            </p:nvSpPr>
            <p:spPr>
              <a:xfrm rot="10800000">
                <a:off x="14518584" y="3600521"/>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112"/>
                <a:endParaRPr lang="nl-NL" dirty="0">
                  <a:solidFill>
                    <a:srgbClr val="FFFFFF"/>
                  </a:solidFill>
                </a:endParaRPr>
              </a:p>
            </p:txBody>
          </p:sp>
        </p:grpSp>
        <p:grpSp>
          <p:nvGrpSpPr>
            <p:cNvPr id="50" name="Groep 49"/>
            <p:cNvGrpSpPr/>
            <p:nvPr userDrawn="1"/>
          </p:nvGrpSpPr>
          <p:grpSpPr>
            <a:xfrm>
              <a:off x="12441149" y="1706094"/>
              <a:ext cx="471148" cy="391787"/>
              <a:chOff x="6072045" y="3463504"/>
              <a:chExt cx="1299544" cy="1080647"/>
            </a:xfrm>
          </p:grpSpPr>
          <p:sp>
            <p:nvSpPr>
              <p:cNvPr id="51" name="Pijl: punthaak 50"/>
              <p:cNvSpPr/>
              <p:nvPr userDrawn="1"/>
            </p:nvSpPr>
            <p:spPr>
              <a:xfrm>
                <a:off x="6072045" y="3463504"/>
                <a:ext cx="1132964" cy="700764"/>
              </a:xfrm>
              <a:prstGeom prst="chevron">
                <a:avLst>
                  <a:gd name="adj" fmla="val 36022"/>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52" name="Rechthoek: afgeronde hoeken 51"/>
              <p:cNvSpPr/>
              <p:nvPr userDrawn="1"/>
            </p:nvSpPr>
            <p:spPr>
              <a:xfrm>
                <a:off x="6421681" y="3761674"/>
                <a:ext cx="949908" cy="782477"/>
              </a:xfrm>
              <a:prstGeom prst="roundRect">
                <a:avLst>
                  <a:gd name="adj" fmla="val 3237"/>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cxnSp>
            <p:nvCxnSpPr>
              <p:cNvPr id="53" name="Rechte verbindingslijn 52"/>
              <p:cNvCxnSpPr/>
              <p:nvPr userDrawn="1"/>
            </p:nvCxnSpPr>
            <p:spPr>
              <a:xfrm flipH="1">
                <a:off x="6813724" y="4013477"/>
                <a:ext cx="318470" cy="0"/>
              </a:xfrm>
              <a:prstGeom prst="line">
                <a:avLst/>
              </a:prstGeom>
              <a:ln w="15875" cap="rnd">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54" name="Rechte verbindingslijn 53"/>
              <p:cNvCxnSpPr/>
              <p:nvPr userDrawn="1"/>
            </p:nvCxnSpPr>
            <p:spPr>
              <a:xfrm flipH="1">
                <a:off x="6813724" y="4157326"/>
                <a:ext cx="318470" cy="0"/>
              </a:xfrm>
              <a:prstGeom prst="line">
                <a:avLst/>
              </a:prstGeom>
              <a:ln w="15875" cap="rnd">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55" name="Rechte verbindingslijn 54"/>
              <p:cNvCxnSpPr/>
              <p:nvPr userDrawn="1"/>
            </p:nvCxnSpPr>
            <p:spPr>
              <a:xfrm flipH="1">
                <a:off x="6813724" y="4301174"/>
                <a:ext cx="318470" cy="0"/>
              </a:xfrm>
              <a:prstGeom prst="line">
                <a:avLst/>
              </a:prstGeom>
              <a:ln w="15875" cap="rnd">
                <a:solidFill>
                  <a:srgbClr val="B5B5B5"/>
                </a:solidFill>
              </a:ln>
            </p:spPr>
            <p:style>
              <a:lnRef idx="1">
                <a:schemeClr val="accent1"/>
              </a:lnRef>
              <a:fillRef idx="0">
                <a:schemeClr val="accent1"/>
              </a:fillRef>
              <a:effectRef idx="0">
                <a:schemeClr val="accent1"/>
              </a:effectRef>
              <a:fontRef idx="minor">
                <a:schemeClr val="tx1"/>
              </a:fontRef>
            </p:style>
          </p:cxnSp>
          <p:sp>
            <p:nvSpPr>
              <p:cNvPr id="56" name="Rechthoek 55"/>
              <p:cNvSpPr/>
              <p:nvPr userDrawn="1"/>
            </p:nvSpPr>
            <p:spPr>
              <a:xfrm>
                <a:off x="6493301" y="3820673"/>
                <a:ext cx="806658" cy="664477"/>
              </a:xfrm>
              <a:prstGeom prst="rect">
                <a:avLst/>
              </a:prstGeom>
              <a:noFill/>
              <a:ln w="1905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cxnSp>
            <p:nvCxnSpPr>
              <p:cNvPr id="57" name="Rechte verbindingslijn 56"/>
              <p:cNvCxnSpPr/>
              <p:nvPr userDrawn="1"/>
            </p:nvCxnSpPr>
            <p:spPr>
              <a:xfrm flipH="1">
                <a:off x="6678347" y="4013477"/>
                <a:ext cx="47340" cy="0"/>
              </a:xfrm>
              <a:prstGeom prst="line">
                <a:avLst/>
              </a:prstGeom>
              <a:ln w="15875" cap="rnd">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58" name="Rechte verbindingslijn 57"/>
              <p:cNvCxnSpPr/>
              <p:nvPr userDrawn="1"/>
            </p:nvCxnSpPr>
            <p:spPr>
              <a:xfrm flipH="1">
                <a:off x="6678347" y="4157326"/>
                <a:ext cx="47340" cy="0"/>
              </a:xfrm>
              <a:prstGeom prst="line">
                <a:avLst/>
              </a:prstGeom>
              <a:ln w="15875" cap="rnd">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59" name="Rechte verbindingslijn 58"/>
              <p:cNvCxnSpPr/>
              <p:nvPr userDrawn="1"/>
            </p:nvCxnSpPr>
            <p:spPr>
              <a:xfrm flipH="1">
                <a:off x="6678347" y="4301174"/>
                <a:ext cx="47340" cy="0"/>
              </a:xfrm>
              <a:prstGeom prst="line">
                <a:avLst/>
              </a:prstGeom>
              <a:ln w="15875" cap="rnd">
                <a:solidFill>
                  <a:srgbClr val="B5B5B5"/>
                </a:solidFill>
              </a:ln>
            </p:spPr>
            <p:style>
              <a:lnRef idx="1">
                <a:schemeClr val="accent1"/>
              </a:lnRef>
              <a:fillRef idx="0">
                <a:schemeClr val="accent1"/>
              </a:fillRef>
              <a:effectRef idx="0">
                <a:schemeClr val="accent1"/>
              </a:effectRef>
              <a:fontRef idx="minor">
                <a:schemeClr val="tx1"/>
              </a:fontRef>
            </p:style>
          </p:cxnSp>
        </p:grpSp>
      </p:grpSp>
      <p:grpSp>
        <p:nvGrpSpPr>
          <p:cNvPr id="171" name="Instructie - Tekst niveaus"/>
          <p:cNvGrpSpPr/>
          <p:nvPr userDrawn="1"/>
        </p:nvGrpSpPr>
        <p:grpSpPr>
          <a:xfrm>
            <a:off x="-3117849" y="365"/>
            <a:ext cx="2823358" cy="5254722"/>
            <a:chOff x="-2959433" y="-5444"/>
            <a:chExt cx="2822623" cy="5254722"/>
          </a:xfrm>
        </p:grpSpPr>
        <p:sp>
          <p:nvSpPr>
            <p:cNvPr id="172" name="Rechthoek 171"/>
            <p:cNvSpPr/>
            <p:nvPr userDrawn="1"/>
          </p:nvSpPr>
          <p:spPr>
            <a:xfrm>
              <a:off x="-2959433" y="-5444"/>
              <a:ext cx="2572469" cy="280344"/>
            </a:xfrm>
            <a:prstGeom prst="rect">
              <a:avLst/>
            </a:prstGeom>
            <a:noFill/>
            <a:ln w="25400" cap="flat" cmpd="sng" algn="ctr">
              <a:noFill/>
              <a:prstDash val="solid"/>
            </a:ln>
            <a:effectLst/>
          </p:spPr>
          <p:txBody>
            <a:bodyPr lIns="0" tIns="0" rIns="0" bIns="0" rtlCol="0" anchor="t"/>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nl-NL" sz="1600" b="1" kern="0" dirty="0">
                  <a:solidFill>
                    <a:srgbClr val="ED1A3B"/>
                  </a:solidFill>
                  <a:cs typeface="Segoe UI Light" panose="020B0502040204020203" pitchFamily="34" charset="0"/>
                </a:rPr>
                <a:t>TEKST NIVEAUS</a:t>
              </a:r>
            </a:p>
          </p:txBody>
        </p:sp>
        <p:sp>
          <p:nvSpPr>
            <p:cNvPr id="173" name="Textfield placeholder"/>
            <p:cNvSpPr txBox="1">
              <a:spLocks/>
            </p:cNvSpPr>
            <p:nvPr userDrawn="1"/>
          </p:nvSpPr>
          <p:spPr>
            <a:xfrm>
              <a:off x="-2587337" y="2675411"/>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0" lvl="2"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a:solidFill>
                    <a:srgbClr val="404040"/>
                  </a:solidFill>
                </a:rPr>
                <a:t>Sub-bullets (16 pt.)</a:t>
              </a:r>
            </a:p>
          </p:txBody>
        </p:sp>
        <p:sp>
          <p:nvSpPr>
            <p:cNvPr id="174" name="Ovaal 173"/>
            <p:cNvSpPr/>
            <p:nvPr userDrawn="1"/>
          </p:nvSpPr>
          <p:spPr>
            <a:xfrm>
              <a:off x="-2959433" y="196874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1</a:t>
              </a:r>
            </a:p>
          </p:txBody>
        </p:sp>
        <p:sp>
          <p:nvSpPr>
            <p:cNvPr id="175" name="Ovaal 174"/>
            <p:cNvSpPr/>
            <p:nvPr userDrawn="1"/>
          </p:nvSpPr>
          <p:spPr>
            <a:xfrm>
              <a:off x="-2959433" y="232207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2</a:t>
              </a:r>
            </a:p>
          </p:txBody>
        </p:sp>
        <p:sp>
          <p:nvSpPr>
            <p:cNvPr id="176" name="Ovaal 175"/>
            <p:cNvSpPr/>
            <p:nvPr userDrawn="1"/>
          </p:nvSpPr>
          <p:spPr>
            <a:xfrm>
              <a:off x="-2959433" y="267541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3</a:t>
              </a:r>
            </a:p>
          </p:txBody>
        </p:sp>
        <p:sp>
          <p:nvSpPr>
            <p:cNvPr id="177" name="Ovaal 176"/>
            <p:cNvSpPr/>
            <p:nvPr userDrawn="1"/>
          </p:nvSpPr>
          <p:spPr>
            <a:xfrm>
              <a:off x="-2959433" y="302874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4</a:t>
              </a:r>
            </a:p>
          </p:txBody>
        </p:sp>
        <p:sp>
          <p:nvSpPr>
            <p:cNvPr id="178" name="Textfield placeholder"/>
            <p:cNvSpPr txBox="1">
              <a:spLocks/>
            </p:cNvSpPr>
            <p:nvPr userDrawn="1"/>
          </p:nvSpPr>
          <p:spPr>
            <a:xfrm>
              <a:off x="-2571950" y="1966925"/>
              <a:ext cx="2163709" cy="261500"/>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79388">
                <a:lnSpc>
                  <a:spcPct val="120000"/>
                </a:lnSpc>
                <a:spcBef>
                  <a:spcPts val="0"/>
                </a:spcBef>
                <a:spcAft>
                  <a:spcPts val="900"/>
                </a:spcAft>
                <a:buClr>
                  <a:srgbClr val="000000"/>
                </a:buClr>
                <a:buSzPct val="100000"/>
                <a:buFont typeface="Arial" pitchFamily="34" charset="0"/>
                <a:buNone/>
                <a:defRPr/>
              </a:pPr>
              <a:r>
                <a:rPr lang="nl-NL" sz="1200" dirty="0">
                  <a:solidFill>
                    <a:srgbClr val="535353"/>
                  </a:solidFill>
                </a:rPr>
                <a:t>Leestekst (16 pt.)</a:t>
              </a:r>
            </a:p>
          </p:txBody>
        </p:sp>
        <p:sp>
          <p:nvSpPr>
            <p:cNvPr id="179" name="Textfield placeholder"/>
            <p:cNvSpPr txBox="1">
              <a:spLocks/>
            </p:cNvSpPr>
            <p:nvPr userDrawn="1"/>
          </p:nvSpPr>
          <p:spPr>
            <a:xfrm>
              <a:off x="-2571950" y="2322077"/>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70000" lvl="1"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err="1">
                  <a:solidFill>
                    <a:srgbClr val="535353"/>
                  </a:solidFill>
                </a:rPr>
                <a:t>Bullets</a:t>
              </a:r>
              <a:r>
                <a:rPr lang="nl-NL" sz="1200" dirty="0">
                  <a:solidFill>
                    <a:srgbClr val="535353"/>
                  </a:solidFill>
                </a:rPr>
                <a:t> (16 </a:t>
              </a:r>
              <a:r>
                <a:rPr lang="nl-NL" sz="1200" dirty="0" err="1">
                  <a:solidFill>
                    <a:srgbClr val="535353"/>
                  </a:solidFill>
                </a:rPr>
                <a:t>pt</a:t>
              </a:r>
              <a:r>
                <a:rPr lang="nl-NL" sz="1200" dirty="0">
                  <a:solidFill>
                    <a:srgbClr val="535353"/>
                  </a:solidFill>
                </a:rPr>
                <a:t>.)</a:t>
              </a:r>
            </a:p>
          </p:txBody>
        </p:sp>
        <p:sp>
          <p:nvSpPr>
            <p:cNvPr id="180" name="Textfield placeholder"/>
            <p:cNvSpPr txBox="1">
              <a:spLocks/>
            </p:cNvSpPr>
            <p:nvPr userDrawn="1"/>
          </p:nvSpPr>
          <p:spPr>
            <a:xfrm>
              <a:off x="-2571951" y="3028747"/>
              <a:ext cx="2435141"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10000" lvl="3" indent="-270000" algn="l" defTabSz="179388" rtl="0" eaLnBrk="1" latinLnBrk="0" hangingPunct="1">
                <a:lnSpc>
                  <a:spcPct val="120000"/>
                </a:lnSpc>
                <a:spcBef>
                  <a:spcPts val="0"/>
                </a:spcBef>
                <a:spcAft>
                  <a:spcPts val="900"/>
                </a:spcAft>
                <a:buClr>
                  <a:schemeClr val="accent2"/>
                </a:buClr>
                <a:buSzPct val="80000"/>
                <a:buFont typeface="Wingdings 3" panose="05040102010807070707" pitchFamily="18" charset="2"/>
                <a:buChar char=""/>
                <a:defRPr/>
              </a:pPr>
              <a:r>
                <a:rPr lang="nl-NL" sz="1200" b="0" kern="1200" dirty="0">
                  <a:solidFill>
                    <a:srgbClr val="404040"/>
                  </a:solidFill>
                  <a:latin typeface="+mn-lt"/>
                  <a:ea typeface="+mn-ea"/>
                  <a:cs typeface="+mn-cs"/>
                </a:rPr>
                <a:t>Sub-sub-bullets (16 pt.)</a:t>
              </a:r>
            </a:p>
          </p:txBody>
        </p:sp>
        <p:cxnSp>
          <p:nvCxnSpPr>
            <p:cNvPr id="181" name="Rechte verbindingslijn 180"/>
            <p:cNvCxnSpPr/>
            <p:nvPr userDrawn="1"/>
          </p:nvCxnSpPr>
          <p:spPr>
            <a:xfrm>
              <a:off x="-2959100" y="274900"/>
              <a:ext cx="2674470" cy="0"/>
            </a:xfrm>
            <a:prstGeom prst="line">
              <a:avLst/>
            </a:prstGeom>
            <a:noFill/>
            <a:ln w="9525" cap="flat" cmpd="sng" algn="ctr">
              <a:solidFill>
                <a:schemeClr val="accent1"/>
              </a:solidFill>
              <a:prstDash val="solid"/>
            </a:ln>
            <a:effectLst/>
          </p:spPr>
        </p:cxnSp>
        <p:cxnSp>
          <p:nvCxnSpPr>
            <p:cNvPr id="182" name="Rechte verbindingslijn 181"/>
            <p:cNvCxnSpPr/>
            <p:nvPr userDrawn="1"/>
          </p:nvCxnSpPr>
          <p:spPr>
            <a:xfrm>
              <a:off x="-2959100" y="1841989"/>
              <a:ext cx="2661379" cy="0"/>
            </a:xfrm>
            <a:prstGeom prst="line">
              <a:avLst/>
            </a:prstGeom>
            <a:noFill/>
            <a:ln w="9525" cap="flat" cmpd="sng" algn="ctr">
              <a:solidFill>
                <a:schemeClr val="accent1"/>
              </a:solidFill>
              <a:prstDash val="solid"/>
            </a:ln>
            <a:effectLst/>
          </p:spPr>
        </p:cxnSp>
        <p:cxnSp>
          <p:nvCxnSpPr>
            <p:cNvPr id="183" name="Rechte verbindingslijn 182"/>
            <p:cNvCxnSpPr/>
            <p:nvPr userDrawn="1"/>
          </p:nvCxnSpPr>
          <p:spPr>
            <a:xfrm>
              <a:off x="-2959100" y="5249278"/>
              <a:ext cx="2661379" cy="0"/>
            </a:xfrm>
            <a:prstGeom prst="line">
              <a:avLst/>
            </a:prstGeom>
            <a:noFill/>
            <a:ln w="9525" cap="flat" cmpd="sng" algn="ctr">
              <a:solidFill>
                <a:schemeClr val="accent1"/>
              </a:solidFill>
              <a:prstDash val="solid"/>
            </a:ln>
            <a:effectLst/>
          </p:spPr>
        </p:cxnSp>
        <p:grpSp>
          <p:nvGrpSpPr>
            <p:cNvPr id="184" name="Groep 183"/>
            <p:cNvGrpSpPr/>
            <p:nvPr userDrawn="1"/>
          </p:nvGrpSpPr>
          <p:grpSpPr>
            <a:xfrm>
              <a:off x="-1948476" y="816741"/>
              <a:ext cx="409108" cy="427699"/>
              <a:chOff x="-1085063" y="758027"/>
              <a:chExt cx="633799" cy="622540"/>
            </a:xfrm>
          </p:grpSpPr>
          <p:sp>
            <p:nvSpPr>
              <p:cNvPr id="240" name="Afgeronde rechthoek 239"/>
              <p:cNvSpPr/>
              <p:nvPr userDrawn="1"/>
            </p:nvSpPr>
            <p:spPr>
              <a:xfrm>
                <a:off x="-108506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241" name="Groep 240"/>
              <p:cNvGrpSpPr/>
              <p:nvPr userDrawn="1"/>
            </p:nvGrpSpPr>
            <p:grpSpPr>
              <a:xfrm>
                <a:off x="-977739" y="864082"/>
                <a:ext cx="419168" cy="410429"/>
                <a:chOff x="6366933" y="309013"/>
                <a:chExt cx="1901295" cy="1861668"/>
              </a:xfrm>
              <a:solidFill>
                <a:srgbClr val="000000"/>
              </a:solidFill>
            </p:grpSpPr>
            <p:sp>
              <p:nvSpPr>
                <p:cNvPr id="242" name="Rechthoek 241"/>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43" name="Rechthoek 242"/>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44" name="Rechthoek 243"/>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45" name="Rechthoek 244"/>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46" name="Rechthoek 245"/>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47" name="Rechthoek 246"/>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48" name="Rechthoek 247"/>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49" name="Rechthoek 248"/>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0" name="Rechthoek 249"/>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1" name="Rechthoek 250"/>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2" name="Vrije vorm 251"/>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nvGrpSpPr>
            <p:cNvPr id="185" name="Groep 184"/>
            <p:cNvGrpSpPr/>
            <p:nvPr userDrawn="1"/>
          </p:nvGrpSpPr>
          <p:grpSpPr>
            <a:xfrm>
              <a:off x="-2950232" y="1207835"/>
              <a:ext cx="532929" cy="509563"/>
              <a:chOff x="-2880382" y="802341"/>
              <a:chExt cx="532929" cy="509563"/>
            </a:xfrm>
          </p:grpSpPr>
          <p:sp>
            <p:nvSpPr>
              <p:cNvPr id="218" name="Rechthoek 217"/>
              <p:cNvSpPr/>
              <p:nvPr userDrawn="1"/>
            </p:nvSpPr>
            <p:spPr>
              <a:xfrm>
                <a:off x="-2880382" y="802341"/>
                <a:ext cx="532929" cy="509563"/>
              </a:xfrm>
              <a:prstGeom prst="rect">
                <a:avLst/>
              </a:prstGeom>
              <a:solidFill>
                <a:sysClr val="window" lastClr="FFFFFF"/>
              </a:soli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pic>
            <p:nvPicPr>
              <p:cNvPr id="219"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635852" y="822181"/>
                <a:ext cx="226442" cy="208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0"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848026" y="822181"/>
                <a:ext cx="207168" cy="213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21" name="Groep 220"/>
              <p:cNvGrpSpPr/>
              <p:nvPr userDrawn="1"/>
            </p:nvGrpSpPr>
            <p:grpSpPr>
              <a:xfrm>
                <a:off x="-2802433" y="1123442"/>
                <a:ext cx="132915" cy="104889"/>
                <a:chOff x="-2796392" y="1123442"/>
                <a:chExt cx="120832" cy="104889"/>
              </a:xfrm>
            </p:grpSpPr>
            <p:sp>
              <p:nvSpPr>
                <p:cNvPr id="235" name="Rechthoek 234"/>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36" name="Rechthoek 235"/>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37" name="Rechthoek 236"/>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38" name="Rechthoek 237"/>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39" name="Rechthoek 238"/>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222" name="Groep 221"/>
              <p:cNvGrpSpPr/>
              <p:nvPr userDrawn="1"/>
            </p:nvGrpSpPr>
            <p:grpSpPr>
              <a:xfrm>
                <a:off x="-2575417" y="1123442"/>
                <a:ext cx="133930" cy="104889"/>
                <a:chOff x="-2556734" y="1123442"/>
                <a:chExt cx="147324" cy="104889"/>
              </a:xfrm>
            </p:grpSpPr>
            <p:grpSp>
              <p:nvGrpSpPr>
                <p:cNvPr id="223" name="Groep 222"/>
                <p:cNvGrpSpPr/>
                <p:nvPr userDrawn="1"/>
              </p:nvGrpSpPr>
              <p:grpSpPr>
                <a:xfrm>
                  <a:off x="-2556734" y="1123442"/>
                  <a:ext cx="68206" cy="104889"/>
                  <a:chOff x="-2796392" y="1123442"/>
                  <a:chExt cx="120832" cy="104889"/>
                </a:xfrm>
              </p:grpSpPr>
              <p:sp>
                <p:nvSpPr>
                  <p:cNvPr id="230" name="Rechthoek 229"/>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31" name="Rechthoek 230"/>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32" name="Rechthoek 231"/>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33" name="Rechthoek 232"/>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34" name="Rechthoek 233"/>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224" name="Groep 223"/>
                <p:cNvGrpSpPr/>
                <p:nvPr userDrawn="1"/>
              </p:nvGrpSpPr>
              <p:grpSpPr>
                <a:xfrm>
                  <a:off x="-2477616" y="1123442"/>
                  <a:ext cx="68206" cy="104889"/>
                  <a:chOff x="-2796392" y="1123442"/>
                  <a:chExt cx="120832" cy="104889"/>
                </a:xfrm>
              </p:grpSpPr>
              <p:sp>
                <p:nvSpPr>
                  <p:cNvPr id="225" name="Rechthoek 224"/>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26" name="Rechthoek 225"/>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27" name="Rechthoek 226"/>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28" name="Rechthoek 227"/>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29" name="Rechthoek 228"/>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grpSp>
          <p:nvGrpSpPr>
            <p:cNvPr id="186" name="Groep 185"/>
            <p:cNvGrpSpPr/>
            <p:nvPr userDrawn="1"/>
          </p:nvGrpSpPr>
          <p:grpSpPr>
            <a:xfrm>
              <a:off x="-1948476" y="1281164"/>
              <a:ext cx="413704" cy="427699"/>
              <a:chOff x="-1845083" y="758027"/>
              <a:chExt cx="633799" cy="622540"/>
            </a:xfrm>
          </p:grpSpPr>
          <p:sp>
            <p:nvSpPr>
              <p:cNvPr id="205" name="Afgeronde rechthoek 204"/>
              <p:cNvSpPr/>
              <p:nvPr userDrawn="1"/>
            </p:nvSpPr>
            <p:spPr>
              <a:xfrm>
                <a:off x="-184508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206" name="Groep 205"/>
              <p:cNvGrpSpPr/>
              <p:nvPr userDrawn="1"/>
            </p:nvGrpSpPr>
            <p:grpSpPr>
              <a:xfrm>
                <a:off x="-1737762" y="864082"/>
                <a:ext cx="419168" cy="410429"/>
                <a:chOff x="3708400" y="309013"/>
                <a:chExt cx="1901295" cy="1861668"/>
              </a:xfrm>
              <a:solidFill>
                <a:srgbClr val="000000"/>
              </a:solidFill>
            </p:grpSpPr>
            <p:sp>
              <p:nvSpPr>
                <p:cNvPr id="207" name="Rechthoek 206"/>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08" name="Rechthoek 207"/>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09" name="Rechthoek 208"/>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10" name="Rechthoek 209"/>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11" name="Rechthoek 210"/>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12" name="Rechthoek 211"/>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13" name="Rechthoek 212"/>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14" name="Rechthoek 213"/>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15" name="Rechthoek 214"/>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16" name="Rechthoek 215"/>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17" name="Vrije vorm 216"/>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cxnSp>
          <p:nvCxnSpPr>
            <p:cNvPr id="187" name="Rechte verbindingslijn 186"/>
            <p:cNvCxnSpPr/>
            <p:nvPr userDrawn="1"/>
          </p:nvCxnSpPr>
          <p:spPr>
            <a:xfrm>
              <a:off x="-2814292" y="1441193"/>
              <a:ext cx="865816" cy="53821"/>
            </a:xfrm>
            <a:prstGeom prst="line">
              <a:avLst/>
            </a:prstGeom>
            <a:noFill/>
            <a:ln w="9525" cap="flat" cmpd="sng" algn="ctr">
              <a:solidFill>
                <a:schemeClr val="accent1"/>
              </a:solidFill>
              <a:prstDash val="solid"/>
              <a:headEnd type="oval"/>
            </a:ln>
            <a:effectLst/>
          </p:spPr>
        </p:cxnSp>
        <p:cxnSp>
          <p:nvCxnSpPr>
            <p:cNvPr id="188" name="Rechte verbindingslijn 187"/>
            <p:cNvCxnSpPr/>
            <p:nvPr userDrawn="1"/>
          </p:nvCxnSpPr>
          <p:spPr>
            <a:xfrm flipV="1">
              <a:off x="-2453902" y="1030591"/>
              <a:ext cx="505426" cy="283623"/>
            </a:xfrm>
            <a:prstGeom prst="line">
              <a:avLst/>
            </a:prstGeom>
            <a:noFill/>
            <a:ln w="9525" cap="flat" cmpd="sng" algn="ctr">
              <a:solidFill>
                <a:schemeClr val="accent1"/>
              </a:solidFill>
              <a:prstDash val="solid"/>
              <a:headEnd type="oval"/>
            </a:ln>
            <a:effectLst/>
          </p:spPr>
        </p:cxnSp>
        <p:sp>
          <p:nvSpPr>
            <p:cNvPr id="189" name="Textfield placeholder"/>
            <p:cNvSpPr txBox="1">
              <a:spLocks/>
            </p:cNvSpPr>
            <p:nvPr userDrawn="1"/>
          </p:nvSpPr>
          <p:spPr>
            <a:xfrm>
              <a:off x="-1341598" y="816743"/>
              <a:ext cx="1056968" cy="427698"/>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hoog</a:t>
              </a:r>
            </a:p>
          </p:txBody>
        </p:sp>
        <p:sp>
          <p:nvSpPr>
            <p:cNvPr id="190" name="Textfield placeholder"/>
            <p:cNvSpPr txBox="1">
              <a:spLocks/>
            </p:cNvSpPr>
            <p:nvPr userDrawn="1"/>
          </p:nvSpPr>
          <p:spPr>
            <a:xfrm>
              <a:off x="-1341599" y="1281164"/>
              <a:ext cx="1070223" cy="427699"/>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laag</a:t>
              </a:r>
            </a:p>
          </p:txBody>
        </p:sp>
        <p:sp>
          <p:nvSpPr>
            <p:cNvPr id="191" name="Ovaal 190"/>
            <p:cNvSpPr/>
            <p:nvPr userDrawn="1"/>
          </p:nvSpPr>
          <p:spPr>
            <a:xfrm>
              <a:off x="-2959433" y="338208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5</a:t>
              </a:r>
            </a:p>
          </p:txBody>
        </p:sp>
        <p:sp>
          <p:nvSpPr>
            <p:cNvPr id="192" name="Textfield placeholder"/>
            <p:cNvSpPr txBox="1">
              <a:spLocks/>
            </p:cNvSpPr>
            <p:nvPr userDrawn="1"/>
          </p:nvSpPr>
          <p:spPr>
            <a:xfrm>
              <a:off x="-2571950" y="3382082"/>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60000" lvl="4" indent="-360000" defTabSz="179388">
                <a:lnSpc>
                  <a:spcPct val="120000"/>
                </a:lnSpc>
                <a:spcBef>
                  <a:spcPts val="0"/>
                </a:spcBef>
                <a:spcAft>
                  <a:spcPts val="900"/>
                </a:spcAft>
                <a:buClr>
                  <a:srgbClr val="ED1A3B"/>
                </a:buClr>
                <a:buFont typeface="+mj-lt"/>
                <a:buAutoNum type="arabicPeriod"/>
                <a:defRPr/>
              </a:pPr>
              <a:r>
                <a:rPr lang="nl-NL" sz="1200" b="0" dirty="0">
                  <a:solidFill>
                    <a:srgbClr val="404040"/>
                  </a:solidFill>
                </a:rPr>
                <a:t>Numeriek (16 pt.)</a:t>
              </a:r>
            </a:p>
          </p:txBody>
        </p:sp>
        <p:grpSp>
          <p:nvGrpSpPr>
            <p:cNvPr id="193" name="Groep 192"/>
            <p:cNvGrpSpPr/>
            <p:nvPr userDrawn="1"/>
          </p:nvGrpSpPr>
          <p:grpSpPr>
            <a:xfrm>
              <a:off x="-2950232" y="816050"/>
              <a:ext cx="528695" cy="344202"/>
              <a:chOff x="-2880382" y="410556"/>
              <a:chExt cx="528695" cy="344202"/>
            </a:xfrm>
          </p:grpSpPr>
          <p:sp>
            <p:nvSpPr>
              <p:cNvPr id="203" name="Afgeronde rechthoek 202"/>
              <p:cNvSpPr/>
              <p:nvPr userDrawn="1"/>
            </p:nvSpPr>
            <p:spPr>
              <a:xfrm>
                <a:off x="-2874214" y="410556"/>
                <a:ext cx="522527" cy="339183"/>
              </a:xfrm>
              <a:prstGeom prst="roundRect">
                <a:avLst>
                  <a:gd name="adj" fmla="val 7565"/>
                </a:avLst>
              </a:prstGeom>
              <a:gradFill>
                <a:gsLst>
                  <a:gs pos="0">
                    <a:srgbClr val="FFEC8F"/>
                  </a:gs>
                  <a:gs pos="100000">
                    <a:srgbClr val="FFFFFF"/>
                  </a:gs>
                </a:gsLst>
                <a:lin ang="5400000" scaled="0"/>
              </a:gra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sp>
            <p:nvSpPr>
              <p:cNvPr id="204" name="Vrije vorm 203"/>
              <p:cNvSpPr/>
              <p:nvPr userDrawn="1"/>
            </p:nvSpPr>
            <p:spPr>
              <a:xfrm>
                <a:off x="-2880382" y="452699"/>
                <a:ext cx="528695" cy="302059"/>
              </a:xfrm>
              <a:custGeom>
                <a:avLst/>
                <a:gdLst>
                  <a:gd name="connsiteX0" fmla="*/ 55524 w 528695"/>
                  <a:gd name="connsiteY0" fmla="*/ 0 h 302059"/>
                  <a:gd name="connsiteX1" fmla="*/ 455496 w 528695"/>
                  <a:gd name="connsiteY1" fmla="*/ 0 h 302059"/>
                  <a:gd name="connsiteX2" fmla="*/ 475205 w 528695"/>
                  <a:gd name="connsiteY2" fmla="*/ 19709 h 302059"/>
                  <a:gd name="connsiteX3" fmla="*/ 475205 w 528695"/>
                  <a:gd name="connsiteY3" fmla="*/ 230056 h 302059"/>
                  <a:gd name="connsiteX4" fmla="*/ 516694 w 528695"/>
                  <a:gd name="connsiteY4" fmla="*/ 230056 h 302059"/>
                  <a:gd name="connsiteX5" fmla="*/ 528695 w 528695"/>
                  <a:gd name="connsiteY5" fmla="*/ 242057 h 302059"/>
                  <a:gd name="connsiteX6" fmla="*/ 528695 w 528695"/>
                  <a:gd name="connsiteY6" fmla="*/ 290058 h 302059"/>
                  <a:gd name="connsiteX7" fmla="*/ 516694 w 528695"/>
                  <a:gd name="connsiteY7" fmla="*/ 302059 h 302059"/>
                  <a:gd name="connsiteX8" fmla="*/ 12001 w 528695"/>
                  <a:gd name="connsiteY8" fmla="*/ 302059 h 302059"/>
                  <a:gd name="connsiteX9" fmla="*/ 0 w 528695"/>
                  <a:gd name="connsiteY9" fmla="*/ 290058 h 302059"/>
                  <a:gd name="connsiteX10" fmla="*/ 0 w 528695"/>
                  <a:gd name="connsiteY10" fmla="*/ 242057 h 302059"/>
                  <a:gd name="connsiteX11" fmla="*/ 12001 w 528695"/>
                  <a:gd name="connsiteY11" fmla="*/ 230056 h 302059"/>
                  <a:gd name="connsiteX12" fmla="*/ 35815 w 528695"/>
                  <a:gd name="connsiteY12" fmla="*/ 230056 h 302059"/>
                  <a:gd name="connsiteX13" fmla="*/ 35815 w 528695"/>
                  <a:gd name="connsiteY13" fmla="*/ 19709 h 302059"/>
                  <a:gd name="connsiteX14" fmla="*/ 55524 w 528695"/>
                  <a:gd name="connsiteY14" fmla="*/ 0 h 3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8695" h="302059">
                    <a:moveTo>
                      <a:pt x="55524" y="0"/>
                    </a:moveTo>
                    <a:lnTo>
                      <a:pt x="455496" y="0"/>
                    </a:lnTo>
                    <a:cubicBezTo>
                      <a:pt x="466381" y="0"/>
                      <a:pt x="475205" y="8824"/>
                      <a:pt x="475205" y="19709"/>
                    </a:cubicBezTo>
                    <a:lnTo>
                      <a:pt x="475205" y="230056"/>
                    </a:lnTo>
                    <a:lnTo>
                      <a:pt x="516694" y="230056"/>
                    </a:lnTo>
                    <a:cubicBezTo>
                      <a:pt x="523322" y="230056"/>
                      <a:pt x="528695" y="235429"/>
                      <a:pt x="528695" y="242057"/>
                    </a:cubicBezTo>
                    <a:lnTo>
                      <a:pt x="528695" y="290058"/>
                    </a:lnTo>
                    <a:cubicBezTo>
                      <a:pt x="528695" y="296686"/>
                      <a:pt x="523322" y="302059"/>
                      <a:pt x="516694" y="302059"/>
                    </a:cubicBezTo>
                    <a:lnTo>
                      <a:pt x="12001" y="302059"/>
                    </a:lnTo>
                    <a:cubicBezTo>
                      <a:pt x="5373" y="302059"/>
                      <a:pt x="0" y="296686"/>
                      <a:pt x="0" y="290058"/>
                    </a:cubicBezTo>
                    <a:lnTo>
                      <a:pt x="0" y="242057"/>
                    </a:lnTo>
                    <a:cubicBezTo>
                      <a:pt x="0" y="235429"/>
                      <a:pt x="5373" y="230056"/>
                      <a:pt x="12001" y="230056"/>
                    </a:cubicBezTo>
                    <a:lnTo>
                      <a:pt x="35815" y="230056"/>
                    </a:lnTo>
                    <a:lnTo>
                      <a:pt x="35815" y="19709"/>
                    </a:lnTo>
                    <a:cubicBezTo>
                      <a:pt x="35815" y="8824"/>
                      <a:pt x="44639" y="0"/>
                      <a:pt x="55524" y="0"/>
                    </a:cubicBezTo>
                    <a:close/>
                  </a:path>
                </a:pathLst>
              </a:custGeom>
              <a:solidFill>
                <a:sysClr val="window" lastClr="FFFFFF">
                  <a:lumMod val="95000"/>
                </a:sysClr>
              </a:solidFill>
              <a:ln w="9525" cap="flat" cmpd="sng" algn="ctr">
                <a:solidFill>
                  <a:srgbClr val="FFFFFF">
                    <a:lumMod val="90000"/>
                  </a:srgbClr>
                </a:solidFill>
                <a:prstDash val="solid"/>
                <a:miter lim="800000"/>
              </a:ln>
              <a:effectLst/>
            </p:spPr>
            <p:txBody>
              <a:bodyPr rot="0" spcFirstLastPara="0" vert="horz" wrap="square" lIns="108000" tIns="36000" rIns="108000" bIns="10800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900" dirty="0">
                    <a:solidFill>
                      <a:prstClr val="black"/>
                    </a:solidFill>
                    <a:latin typeface="Segoe UI Light"/>
                  </a:rPr>
                  <a:t>Start</a:t>
                </a:r>
              </a:p>
            </p:txBody>
          </p:sp>
        </p:grpSp>
        <p:sp>
          <p:nvSpPr>
            <p:cNvPr id="194" name="Tekstvak 65"/>
            <p:cNvSpPr txBox="1"/>
            <p:nvPr userDrawn="1"/>
          </p:nvSpPr>
          <p:spPr>
            <a:xfrm>
              <a:off x="-2959433" y="372104"/>
              <a:ext cx="2679887" cy="453396"/>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nl-NL" sz="1200" kern="0" dirty="0">
                  <a:solidFill>
                    <a:srgbClr val="000000"/>
                  </a:solidFill>
                  <a:latin typeface="Segoe UI Light" panose="020B0502040204020203" pitchFamily="34" charset="0"/>
                  <a:cs typeface="Segoe UI Light" panose="020B0502040204020203" pitchFamily="34" charset="0"/>
                </a:rPr>
                <a:t>Ga naar de tab </a:t>
              </a:r>
              <a:r>
                <a:rPr lang="nl-NL" sz="1200" b="1" kern="0" dirty="0">
                  <a:solidFill>
                    <a:srgbClr val="000000"/>
                  </a:solidFill>
                  <a:latin typeface="Segoe UI Light" panose="020B0502040204020203" pitchFamily="34" charset="0"/>
                  <a:cs typeface="Segoe UI Light" panose="020B0502040204020203" pitchFamily="34" charset="0"/>
                </a:rPr>
                <a:t>Start’ </a:t>
              </a:r>
              <a:r>
                <a:rPr lang="nl-NL" sz="1200" kern="0" dirty="0">
                  <a:solidFill>
                    <a:srgbClr val="000000"/>
                  </a:solidFill>
                  <a:latin typeface="Segoe UI Light" panose="020B0502040204020203" pitchFamily="34" charset="0"/>
                  <a:cs typeface="Segoe UI Light" panose="020B0502040204020203" pitchFamily="34" charset="0"/>
                </a:rPr>
                <a:t>en vind onderstaande knoppen onder </a:t>
              </a:r>
              <a:r>
                <a:rPr lang="nl-NL" sz="1200" b="1" kern="0" dirty="0">
                  <a:solidFill>
                    <a:srgbClr val="000000"/>
                  </a:solidFill>
                  <a:latin typeface="Segoe UI Light" panose="020B0502040204020203" pitchFamily="34" charset="0"/>
                  <a:cs typeface="Segoe UI Light" panose="020B0502040204020203" pitchFamily="34" charset="0"/>
                </a:rPr>
                <a:t>‘Alinea’</a:t>
              </a:r>
            </a:p>
          </p:txBody>
        </p:sp>
        <p:sp>
          <p:nvSpPr>
            <p:cNvPr id="195" name="Ovaal 194"/>
            <p:cNvSpPr/>
            <p:nvPr userDrawn="1"/>
          </p:nvSpPr>
          <p:spPr>
            <a:xfrm>
              <a:off x="-2959433" y="375153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6</a:t>
              </a:r>
            </a:p>
          </p:txBody>
        </p:sp>
        <p:sp>
          <p:nvSpPr>
            <p:cNvPr id="196" name="Textfield placeholder"/>
            <p:cNvSpPr txBox="1">
              <a:spLocks/>
            </p:cNvSpPr>
            <p:nvPr userDrawn="1"/>
          </p:nvSpPr>
          <p:spPr>
            <a:xfrm>
              <a:off x="-2571950" y="3751536"/>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0000" lvl="5" indent="-270000" defTabSz="179388">
                <a:lnSpc>
                  <a:spcPct val="120000"/>
                </a:lnSpc>
                <a:spcAft>
                  <a:spcPts val="900"/>
                </a:spcAft>
                <a:buClr>
                  <a:srgbClr val="ED1A3B"/>
                </a:buClr>
                <a:buSzPct val="80000"/>
                <a:buFont typeface="Wingdings 3" panose="05040102010807070707" pitchFamily="18" charset="2"/>
                <a:buChar char=""/>
                <a:defRPr/>
              </a:pPr>
              <a:r>
                <a:rPr lang="nl-NL" sz="1200" cap="none" dirty="0">
                  <a:solidFill>
                    <a:srgbClr val="535353"/>
                  </a:solidFill>
                </a:rPr>
                <a:t># Bullets (16 pt.)</a:t>
              </a:r>
            </a:p>
          </p:txBody>
        </p:sp>
        <p:sp>
          <p:nvSpPr>
            <p:cNvPr id="197" name="Ovaal 196"/>
            <p:cNvSpPr/>
            <p:nvPr userDrawn="1"/>
          </p:nvSpPr>
          <p:spPr>
            <a:xfrm>
              <a:off x="-2959433" y="414870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7</a:t>
              </a:r>
            </a:p>
          </p:txBody>
        </p:sp>
        <p:sp>
          <p:nvSpPr>
            <p:cNvPr id="198" name="Textfield placeholder"/>
            <p:cNvSpPr txBox="1">
              <a:spLocks/>
            </p:cNvSpPr>
            <p:nvPr userDrawn="1"/>
          </p:nvSpPr>
          <p:spPr>
            <a:xfrm>
              <a:off x="-2571950" y="414870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6" indent="0" defTabSz="179388">
                <a:lnSpc>
                  <a:spcPct val="120000"/>
                </a:lnSpc>
                <a:spcBef>
                  <a:spcPts val="0"/>
                </a:spcBef>
                <a:spcAft>
                  <a:spcPts val="900"/>
                </a:spcAft>
                <a:buClr>
                  <a:srgbClr val="ED1A3B"/>
                </a:buClr>
                <a:buSzPct val="90000"/>
                <a:buFont typeface="+mj-lt"/>
                <a:buNone/>
                <a:defRPr/>
              </a:pPr>
              <a:r>
                <a:rPr lang="nl-NL" sz="1200" i="1" dirty="0">
                  <a:solidFill>
                    <a:srgbClr val="404040"/>
                  </a:solidFill>
                </a:rPr>
                <a:t>Cursief donker (16 pt.)</a:t>
              </a:r>
            </a:p>
          </p:txBody>
        </p:sp>
        <p:sp>
          <p:nvSpPr>
            <p:cNvPr id="199" name="Ovaal 198"/>
            <p:cNvSpPr/>
            <p:nvPr userDrawn="1"/>
          </p:nvSpPr>
          <p:spPr>
            <a:xfrm>
              <a:off x="-2959433" y="454586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8</a:t>
              </a:r>
            </a:p>
          </p:txBody>
        </p:sp>
        <p:sp>
          <p:nvSpPr>
            <p:cNvPr id="200" name="Textfield placeholder"/>
            <p:cNvSpPr txBox="1">
              <a:spLocks/>
            </p:cNvSpPr>
            <p:nvPr userDrawn="1"/>
          </p:nvSpPr>
          <p:spPr>
            <a:xfrm>
              <a:off x="-2571950" y="4545864"/>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7" indent="0" defTabSz="179388">
                <a:lnSpc>
                  <a:spcPct val="80000"/>
                </a:lnSpc>
                <a:spcBef>
                  <a:spcPts val="0"/>
                </a:spcBef>
                <a:spcAft>
                  <a:spcPts val="900"/>
                </a:spcAft>
                <a:buClr>
                  <a:srgbClr val="ED1A3B"/>
                </a:buClr>
                <a:buFont typeface="Arial" pitchFamily="34" charset="0"/>
                <a:buNone/>
                <a:defRPr/>
              </a:pPr>
              <a:r>
                <a:rPr lang="nl-NL" sz="1200" i="1" dirty="0">
                  <a:solidFill>
                    <a:srgbClr val="A3B0C0"/>
                  </a:solidFill>
                </a:rPr>
                <a:t>Cursief Licht (16 pt.)</a:t>
              </a:r>
            </a:p>
          </p:txBody>
        </p:sp>
        <p:sp>
          <p:nvSpPr>
            <p:cNvPr id="201" name="Ovaal 200"/>
            <p:cNvSpPr/>
            <p:nvPr userDrawn="1"/>
          </p:nvSpPr>
          <p:spPr>
            <a:xfrm>
              <a:off x="-2959433" y="488761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9</a:t>
              </a:r>
            </a:p>
          </p:txBody>
        </p:sp>
        <p:sp>
          <p:nvSpPr>
            <p:cNvPr id="202" name="Textfield placeholder"/>
            <p:cNvSpPr txBox="1">
              <a:spLocks/>
            </p:cNvSpPr>
            <p:nvPr userDrawn="1"/>
          </p:nvSpPr>
          <p:spPr>
            <a:xfrm>
              <a:off x="-2571950" y="488761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8" indent="0" defTabSz="179388">
                <a:lnSpc>
                  <a:spcPct val="80000"/>
                </a:lnSpc>
                <a:spcBef>
                  <a:spcPts val="0"/>
                </a:spcBef>
                <a:spcAft>
                  <a:spcPts val="900"/>
                </a:spcAft>
                <a:buClr>
                  <a:srgbClr val="ED1A3B"/>
                </a:buClr>
                <a:buFont typeface="Arial" pitchFamily="34" charset="0"/>
                <a:buNone/>
                <a:defRPr/>
              </a:pPr>
              <a:r>
                <a:rPr lang="nl-NL" sz="1400" b="1" dirty="0">
                  <a:solidFill>
                    <a:srgbClr val="ED1A3B"/>
                  </a:solidFill>
                </a:rPr>
                <a:t>Subtitel (18 pt.)</a:t>
              </a:r>
            </a:p>
          </p:txBody>
        </p:sp>
      </p:grpSp>
      <p:sp>
        <p:nvSpPr>
          <p:cNvPr id="118" name="Hyperlink - Inhoudsopgave">
            <a:hlinkClick r:id="rId4" action="ppaction://hlinksldjump"/>
          </p:cNvPr>
          <p:cNvSpPr/>
          <p:nvPr userDrawn="1"/>
        </p:nvSpPr>
        <p:spPr>
          <a:xfrm>
            <a:off x="10197856" y="5889801"/>
            <a:ext cx="2000494" cy="968199"/>
          </a:xfrm>
          <a:prstGeom prst="rect">
            <a:avLst/>
          </a:prstGeom>
          <a:solidFill>
            <a:srgbClr val="ED1A3B">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19" name="Grijze achtergrond"/>
          <p:cNvSpPr/>
          <p:nvPr/>
        </p:nvSpPr>
        <p:spPr>
          <a:xfrm>
            <a:off x="664804" y="1358671"/>
            <a:ext cx="10871230" cy="444046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en-GB">
              <a:solidFill>
                <a:srgbClr val="FFFFFF"/>
              </a:solidFill>
            </a:endParaRPr>
          </a:p>
        </p:txBody>
      </p:sp>
      <p:cxnSp>
        <p:nvCxnSpPr>
          <p:cNvPr id="36" name="Grijze lijn - onder"/>
          <p:cNvCxnSpPr/>
          <p:nvPr userDrawn="1"/>
        </p:nvCxnSpPr>
        <p:spPr>
          <a:xfrm flipH="1">
            <a:off x="664804" y="5776291"/>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7" name="Grijze lijn - boven"/>
          <p:cNvCxnSpPr/>
          <p:nvPr userDrawn="1"/>
        </p:nvCxnSpPr>
        <p:spPr>
          <a:xfrm flipH="1">
            <a:off x="664804" y="1358670"/>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96" name="Laptop"/>
          <p:cNvPicPr preferRelativeResize="0">
            <a:picLocks/>
          </p:cNvPicPr>
          <p:nvPr/>
        </p:nvPicPr>
        <p:blipFill rotWithShape="1">
          <a:blip r:embed="rId5" cstate="screen">
            <a:extLst>
              <a:ext uri="{28A0092B-C50C-407E-A947-70E740481C1C}">
                <a14:useLocalDpi xmlns:a14="http://schemas.microsoft.com/office/drawing/2010/main"/>
              </a:ext>
            </a:extLst>
          </a:blip>
          <a:srcRect/>
          <a:stretch/>
        </p:blipFill>
        <p:spPr>
          <a:xfrm>
            <a:off x="2444223" y="1350605"/>
            <a:ext cx="7309903" cy="4860000"/>
          </a:xfrm>
          <a:prstGeom prst="rect">
            <a:avLst/>
          </a:prstGeom>
        </p:spPr>
      </p:pic>
      <p:sp>
        <p:nvSpPr>
          <p:cNvPr id="34" name="Tijdelijke aanduiding voor Dianummer"/>
          <p:cNvSpPr>
            <a:spLocks noGrp="1"/>
          </p:cNvSpPr>
          <p:nvPr>
            <p:ph type="sldNum" sz="quarter" idx="4"/>
          </p:nvPr>
        </p:nvSpPr>
        <p:spPr>
          <a:xfrm>
            <a:off x="5770549" y="6295992"/>
            <a:ext cx="657251" cy="365125"/>
          </a:xfrm>
          <a:prstGeom prst="rect">
            <a:avLst/>
          </a:prstGeom>
        </p:spPr>
        <p:txBody>
          <a:bodyPr vert="horz" lIns="91440" tIns="45720" rIns="91440" bIns="45720" rtlCol="0" anchor="ctr"/>
          <a:lstStyle>
            <a:lvl1pPr algn="ctr">
              <a:defRPr sz="800">
                <a:solidFill>
                  <a:schemeClr val="tx1">
                    <a:tint val="75000"/>
                  </a:schemeClr>
                </a:solidFill>
              </a:defRPr>
            </a:lvl1pPr>
          </a:lstStyle>
          <a:p>
            <a:fld id="{1B3FA67A-C720-417A-A072-0CD211FD8662}" type="slidenum">
              <a:rPr lang="nl-NL" smtClean="0">
                <a:solidFill>
                  <a:srgbClr val="000000">
                    <a:tint val="75000"/>
                  </a:srgbClr>
                </a:solidFill>
              </a:rPr>
              <a:pPr/>
              <a:t>‹nr.›</a:t>
            </a:fld>
            <a:endParaRPr lang="nl-NL" dirty="0">
              <a:solidFill>
                <a:srgbClr val="000000">
                  <a:tint val="75000"/>
                </a:srgbClr>
              </a:solidFill>
            </a:endParaRPr>
          </a:p>
        </p:txBody>
      </p:sp>
      <p:sp>
        <p:nvSpPr>
          <p:cNvPr id="3" name="Tijdelijke aanduiding voor Media"/>
          <p:cNvSpPr>
            <a:spLocks noGrp="1"/>
          </p:cNvSpPr>
          <p:nvPr>
            <p:ph type="media" sz="quarter" idx="16"/>
          </p:nvPr>
        </p:nvSpPr>
        <p:spPr>
          <a:xfrm>
            <a:off x="3218424" y="1716963"/>
            <a:ext cx="5761500" cy="3240000"/>
          </a:xfrm>
          <a:ln>
            <a:solidFill>
              <a:schemeClr val="tx2"/>
            </a:solidFill>
          </a:ln>
        </p:spPr>
        <p:txBody>
          <a:bodyPr anchor="ctr"/>
          <a:lstStyle>
            <a:lvl1pPr algn="ctr">
              <a:defRPr/>
            </a:lvl1pPr>
          </a:lstStyle>
          <a:p>
            <a:r>
              <a:rPr lang="nl-NL"/>
              <a:t>Klik op het pictogram als u media wilt toevoegen</a:t>
            </a:r>
          </a:p>
        </p:txBody>
      </p:sp>
      <p:sp>
        <p:nvSpPr>
          <p:cNvPr id="14" name="Tijdelijke aanduiding voor Subtitel"/>
          <p:cNvSpPr>
            <a:spLocks noGrp="1"/>
          </p:cNvSpPr>
          <p:nvPr>
            <p:ph type="body" idx="14"/>
          </p:nvPr>
        </p:nvSpPr>
        <p:spPr>
          <a:xfrm>
            <a:off x="664109" y="1001348"/>
            <a:ext cx="10870131" cy="317758"/>
          </a:xfrm>
        </p:spPr>
        <p:txBody>
          <a:bodyPr bIns="72000" anchor="t" anchorCtr="0"/>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15" name="Tijdelijke aanduiding voor Titel"/>
          <p:cNvSpPr>
            <a:spLocks noGrp="1"/>
          </p:cNvSpPr>
          <p:nvPr>
            <p:ph type="title"/>
          </p:nvPr>
        </p:nvSpPr>
        <p:spPr>
          <a:xfrm>
            <a:off x="664109" y="464521"/>
            <a:ext cx="10870131" cy="533219"/>
          </a:xfrm>
        </p:spPr>
        <p:txBody>
          <a:bodyPr/>
          <a:lstStyle/>
          <a:p>
            <a:r>
              <a:rPr lang="nl-NL"/>
              <a:t>Klik om stijl te bewerken</a:t>
            </a:r>
            <a:endParaRPr lang="nl-NL" dirty="0"/>
          </a:p>
        </p:txBody>
      </p:sp>
    </p:spTree>
    <p:extLst>
      <p:ext uri="{BB962C8B-B14F-4D97-AF65-F5344CB8AC3E}">
        <p14:creationId xmlns:p14="http://schemas.microsoft.com/office/powerpoint/2010/main" val="3783802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Aangepaste indeli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datum 2"/>
          <p:cNvSpPr>
            <a:spLocks noGrp="1"/>
          </p:cNvSpPr>
          <p:nvPr>
            <p:ph type="dt" sz="half" idx="10"/>
          </p:nvPr>
        </p:nvSpPr>
        <p:spPr/>
        <p:txBody>
          <a:bodyPr/>
          <a:lstStyle/>
          <a:p>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5" name="Tijdelijke aanduiding voor dianummer 4"/>
          <p:cNvSpPr>
            <a:spLocks noGrp="1"/>
          </p:cNvSpPr>
          <p:nvPr>
            <p:ph type="sldNum" sz="quarter" idx="12"/>
          </p:nvPr>
        </p:nvSpPr>
        <p:spPr/>
        <p:txBody>
          <a:bodyPr/>
          <a:lstStyle/>
          <a:p>
            <a:fld id="{0059D162-729F-4880-A2FD-35DE0263B4F3}" type="slidenum">
              <a:rPr lang="nl-NL" smtClean="0"/>
              <a:pPr/>
              <a:t>‹nr.›</a:t>
            </a:fld>
            <a:endParaRPr lang="nl-NL" dirty="0"/>
          </a:p>
        </p:txBody>
      </p:sp>
      <p:sp>
        <p:nvSpPr>
          <p:cNvPr id="6" name="Text Placeholder 2"/>
          <p:cNvSpPr>
            <a:spLocks noGrp="1"/>
          </p:cNvSpPr>
          <p:nvPr>
            <p:ph idx="1"/>
          </p:nvPr>
        </p:nvSpPr>
        <p:spPr>
          <a:xfrm>
            <a:off x="480250" y="1342801"/>
            <a:ext cx="11093775" cy="5049836"/>
          </a:xfrm>
          <a:prstGeom prst="rect">
            <a:avLst/>
          </a:prstGeom>
        </p:spPr>
        <p:txBody>
          <a:bodyPr vert="horz" lIns="91440" tIns="45720" rIns="91440" bIns="45720" rtlCol="0">
            <a:normAutofit/>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dirty="0"/>
          </a:p>
        </p:txBody>
      </p:sp>
    </p:spTree>
    <p:extLst>
      <p:ext uri="{BB962C8B-B14F-4D97-AF65-F5344CB8AC3E}">
        <p14:creationId xmlns:p14="http://schemas.microsoft.com/office/powerpoint/2010/main" val="108030045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ekst">
    <p:spTree>
      <p:nvGrpSpPr>
        <p:cNvPr id="1" name=""/>
        <p:cNvGrpSpPr/>
        <p:nvPr/>
      </p:nvGrpSpPr>
      <p:grpSpPr>
        <a:xfrm>
          <a:off x="0" y="0"/>
          <a:ext cx="0" cy="0"/>
          <a:chOff x="0" y="0"/>
          <a:chExt cx="0" cy="0"/>
        </a:xfrm>
      </p:grpSpPr>
      <p:sp>
        <p:nvSpPr>
          <p:cNvPr id="3" name="Tijdelijke aanduiding voor inhoud 2"/>
          <p:cNvSpPr>
            <a:spLocks noGrp="1"/>
          </p:cNvSpPr>
          <p:nvPr>
            <p:ph idx="1" hasCustomPrompt="1"/>
          </p:nvPr>
        </p:nvSpPr>
        <p:spPr>
          <a:xfrm>
            <a:off x="663732" y="1896987"/>
            <a:ext cx="10901675" cy="4459771"/>
          </a:xfrm>
          <a:prstGeom prst="rect">
            <a:avLst/>
          </a:prstGeom>
        </p:spPr>
        <p:txBody>
          <a:bodyPr/>
          <a:lstStyle>
            <a:lvl1pPr marL="0" indent="0">
              <a:buFontTx/>
              <a:buNone/>
              <a:defRPr/>
            </a:lvl1pPr>
            <a:lvl2pPr marL="0" indent="0">
              <a:buFontTx/>
              <a:buNone/>
              <a:defRPr/>
            </a:lvl2pPr>
            <a:lvl3pPr marL="0" indent="0">
              <a:buFontTx/>
              <a:buNone/>
              <a:defRPr/>
            </a:lvl3pPr>
            <a:lvl4pPr marL="0" indent="0">
              <a:buFontTx/>
              <a:buNone/>
              <a:defRPr/>
            </a:lvl4pPr>
            <a:lvl5pPr marL="0" indent="0">
              <a:buFontTx/>
              <a:buNone/>
              <a:defRPr baseline="0"/>
            </a:lvl5pPr>
          </a:lstStyle>
          <a:p>
            <a:pPr lvl="0"/>
            <a:r>
              <a:rPr lang="nl-NL" dirty="0"/>
              <a:t>Klik om de tekst te bewerken</a:t>
            </a:r>
          </a:p>
          <a:p>
            <a:pPr lvl="1"/>
            <a:r>
              <a:rPr lang="nl-NL" dirty="0"/>
              <a:t>Tweede niveau tekst</a:t>
            </a:r>
          </a:p>
          <a:p>
            <a:pPr lvl="2"/>
            <a:r>
              <a:rPr lang="nl-NL" dirty="0"/>
              <a:t>Derde niveau tekst</a:t>
            </a:r>
          </a:p>
          <a:p>
            <a:pPr lvl="3"/>
            <a:r>
              <a:rPr lang="nl-NL" dirty="0"/>
              <a:t>Vierde niveau tekst</a:t>
            </a:r>
          </a:p>
          <a:p>
            <a:pPr lvl="4"/>
            <a:r>
              <a:rPr lang="nl-NL" dirty="0"/>
              <a:t>Vijfde niveau tekst</a:t>
            </a:r>
          </a:p>
        </p:txBody>
      </p:sp>
      <p:sp>
        <p:nvSpPr>
          <p:cNvPr id="5" name="Tijdelijke aanduiding voor voettekst 4"/>
          <p:cNvSpPr>
            <a:spLocks noGrp="1"/>
          </p:cNvSpPr>
          <p:nvPr>
            <p:ph type="ftr" sz="quarter" idx="11"/>
          </p:nvPr>
        </p:nvSpPr>
        <p:spPr>
          <a:xfrm rot="16200000">
            <a:off x="-1747950" y="3479250"/>
            <a:ext cx="4231171" cy="320674"/>
          </a:xfrm>
        </p:spPr>
        <p:txBody>
          <a:bodyPr/>
          <a:lstStyle/>
          <a:p>
            <a:r>
              <a:rPr lang="nl-NL"/>
              <a:t>Titel bewerken</a:t>
            </a:r>
          </a:p>
        </p:txBody>
      </p:sp>
      <p:sp>
        <p:nvSpPr>
          <p:cNvPr id="6" name="Tijdelijke aanduiding voor dianummer 5"/>
          <p:cNvSpPr>
            <a:spLocks noGrp="1"/>
          </p:cNvSpPr>
          <p:nvPr>
            <p:ph type="sldNum" sz="quarter" idx="12"/>
          </p:nvPr>
        </p:nvSpPr>
        <p:spPr/>
        <p:txBody>
          <a:bodyPr/>
          <a:lstStyle>
            <a:lvl1pPr algn="ctr">
              <a:defRPr/>
            </a:lvl1pPr>
          </a:lstStyle>
          <a:p>
            <a:fld id="{8C6BC05E-DB9A-EB4A-A776-575FA40369A3}" type="slidenum">
              <a:rPr lang="nl-NL" smtClean="0"/>
              <a:pPr/>
              <a:t>‹nr.›</a:t>
            </a:fld>
            <a:endParaRPr lang="nl-NL" dirty="0"/>
          </a:p>
        </p:txBody>
      </p:sp>
      <p:sp>
        <p:nvSpPr>
          <p:cNvPr id="8" name="Titel 1"/>
          <p:cNvSpPr>
            <a:spLocks noGrp="1"/>
          </p:cNvSpPr>
          <p:nvPr>
            <p:ph type="title" hasCustomPrompt="1"/>
          </p:nvPr>
        </p:nvSpPr>
        <p:spPr>
          <a:xfrm>
            <a:off x="662945" y="1290298"/>
            <a:ext cx="10901675" cy="565535"/>
          </a:xfrm>
          <a:prstGeom prst="rect">
            <a:avLst/>
          </a:prstGeom>
        </p:spPr>
        <p:txBody>
          <a:bodyPr/>
          <a:lstStyle>
            <a:lvl1pPr>
              <a:defRPr>
                <a:solidFill>
                  <a:srgbClr val="002328"/>
                </a:solidFill>
              </a:defRPr>
            </a:lvl1pPr>
          </a:lstStyle>
          <a:p>
            <a:r>
              <a:rPr lang="nl-NL" dirty="0"/>
              <a:t>Titel bewerken</a:t>
            </a:r>
          </a:p>
        </p:txBody>
      </p:sp>
    </p:spTree>
    <p:extLst>
      <p:ext uri="{BB962C8B-B14F-4D97-AF65-F5344CB8AC3E}">
        <p14:creationId xmlns:p14="http://schemas.microsoft.com/office/powerpoint/2010/main" val="231739168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983077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100% tekst">
    <p:spTree>
      <p:nvGrpSpPr>
        <p:cNvPr id="1" name=""/>
        <p:cNvGrpSpPr/>
        <p:nvPr/>
      </p:nvGrpSpPr>
      <p:grpSpPr>
        <a:xfrm>
          <a:off x="0" y="0"/>
          <a:ext cx="0" cy="0"/>
          <a:chOff x="0" y="0"/>
          <a:chExt cx="0" cy="0"/>
        </a:xfrm>
      </p:grpSpPr>
      <p:sp>
        <p:nvSpPr>
          <p:cNvPr id="9" name="Naam indeling - 100% tekst"/>
          <p:cNvSpPr txBox="1"/>
          <p:nvPr/>
        </p:nvSpPr>
        <p:spPr>
          <a:xfrm>
            <a:off x="2" y="-453265"/>
            <a:ext cx="3582333" cy="276871"/>
          </a:xfrm>
          <a:prstGeom prst="rect">
            <a:avLst/>
          </a:prstGeom>
          <a:noFill/>
        </p:spPr>
        <p:txBody>
          <a:bodyPr wrap="square" lIns="0" tIns="0" rIns="0" bIns="0" rtlCol="0">
            <a:spAutoFit/>
          </a:bodyPr>
          <a:lstStyle/>
          <a:p>
            <a:pPr defTabSz="913601"/>
            <a:r>
              <a:rPr lang="nl-NL" sz="1799" dirty="0">
                <a:solidFill>
                  <a:srgbClr val="404040"/>
                </a:solidFill>
                <a:latin typeface="Calibri" panose="020F0502020204030204" pitchFamily="34" charset="0"/>
              </a:rPr>
              <a:t>100% tekst</a:t>
            </a:r>
            <a:endParaRPr lang="en-GB" sz="1799" dirty="0">
              <a:solidFill>
                <a:srgbClr val="404040"/>
              </a:solidFill>
              <a:latin typeface="Calibri" panose="020F0502020204030204" pitchFamily="34" charset="0"/>
            </a:endParaRPr>
          </a:p>
        </p:txBody>
      </p:sp>
      <p:grpSp>
        <p:nvGrpSpPr>
          <p:cNvPr id="178" name="Instructie - Tekst niveaus"/>
          <p:cNvGrpSpPr/>
          <p:nvPr userDrawn="1"/>
        </p:nvGrpSpPr>
        <p:grpSpPr>
          <a:xfrm>
            <a:off x="-3117849" y="365"/>
            <a:ext cx="2823358" cy="5254723"/>
            <a:chOff x="-2959433" y="-5444"/>
            <a:chExt cx="2822623" cy="5254722"/>
          </a:xfrm>
        </p:grpSpPr>
        <p:sp>
          <p:nvSpPr>
            <p:cNvPr id="179" name="Rechthoek 178"/>
            <p:cNvSpPr/>
            <p:nvPr userDrawn="1"/>
          </p:nvSpPr>
          <p:spPr>
            <a:xfrm>
              <a:off x="-2959433" y="-5444"/>
              <a:ext cx="2572469" cy="280344"/>
            </a:xfrm>
            <a:prstGeom prst="rect">
              <a:avLst/>
            </a:prstGeom>
            <a:noFill/>
            <a:ln w="25400" cap="flat" cmpd="sng" algn="ctr">
              <a:noFill/>
              <a:prstDash val="solid"/>
            </a:ln>
            <a:effectLst/>
          </p:spPr>
          <p:txBody>
            <a:bodyPr lIns="0" tIns="0" rIns="0" bIns="0" rtlCol="0" anchor="t"/>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nl-NL" sz="1599" b="1" kern="0" dirty="0">
                  <a:solidFill>
                    <a:srgbClr val="ED1A3B"/>
                  </a:solidFill>
                  <a:cs typeface="Segoe UI Light" panose="020B0502040204020203" pitchFamily="34" charset="0"/>
                </a:rPr>
                <a:t>TEKST NIVEAUS</a:t>
              </a:r>
            </a:p>
          </p:txBody>
        </p:sp>
        <p:sp>
          <p:nvSpPr>
            <p:cNvPr id="180" name="Textfield placeholder"/>
            <p:cNvSpPr txBox="1">
              <a:spLocks/>
            </p:cNvSpPr>
            <p:nvPr userDrawn="1"/>
          </p:nvSpPr>
          <p:spPr>
            <a:xfrm>
              <a:off x="-2587337" y="2675411"/>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39699" lvl="2" indent="-269849" defTabSz="1792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a:solidFill>
                    <a:srgbClr val="404040"/>
                  </a:solidFill>
                </a:rPr>
                <a:t>Sub-bullets (16 pt.)</a:t>
              </a:r>
            </a:p>
          </p:txBody>
        </p:sp>
        <p:sp>
          <p:nvSpPr>
            <p:cNvPr id="181" name="Ovaal 180"/>
            <p:cNvSpPr/>
            <p:nvPr userDrawn="1"/>
          </p:nvSpPr>
          <p:spPr>
            <a:xfrm>
              <a:off x="-2959433" y="196874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49" kern="0" dirty="0">
                  <a:solidFill>
                    <a:prstClr val="white"/>
                  </a:solidFill>
                  <a:cs typeface="Segoe UI Light" panose="020B0502040204020203" pitchFamily="34" charset="0"/>
                </a:rPr>
                <a:t>1</a:t>
              </a:r>
            </a:p>
          </p:txBody>
        </p:sp>
        <p:sp>
          <p:nvSpPr>
            <p:cNvPr id="182" name="Ovaal 181"/>
            <p:cNvSpPr/>
            <p:nvPr userDrawn="1"/>
          </p:nvSpPr>
          <p:spPr>
            <a:xfrm>
              <a:off x="-2959433" y="232207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49" kern="0" dirty="0">
                  <a:solidFill>
                    <a:prstClr val="white"/>
                  </a:solidFill>
                  <a:cs typeface="Segoe UI Light" panose="020B0502040204020203" pitchFamily="34" charset="0"/>
                </a:rPr>
                <a:t>2</a:t>
              </a:r>
            </a:p>
          </p:txBody>
        </p:sp>
        <p:sp>
          <p:nvSpPr>
            <p:cNvPr id="183" name="Ovaal 182"/>
            <p:cNvSpPr/>
            <p:nvPr userDrawn="1"/>
          </p:nvSpPr>
          <p:spPr>
            <a:xfrm>
              <a:off x="-2959433" y="267541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49" kern="0" dirty="0">
                  <a:solidFill>
                    <a:prstClr val="white"/>
                  </a:solidFill>
                  <a:cs typeface="Segoe UI Light" panose="020B0502040204020203" pitchFamily="34" charset="0"/>
                </a:rPr>
                <a:t>3</a:t>
              </a:r>
            </a:p>
          </p:txBody>
        </p:sp>
        <p:sp>
          <p:nvSpPr>
            <p:cNvPr id="184" name="Ovaal 183"/>
            <p:cNvSpPr/>
            <p:nvPr userDrawn="1"/>
          </p:nvSpPr>
          <p:spPr>
            <a:xfrm>
              <a:off x="-2959433" y="302874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49" kern="0" dirty="0">
                  <a:solidFill>
                    <a:prstClr val="white"/>
                  </a:solidFill>
                  <a:cs typeface="Segoe UI Light" panose="020B0502040204020203" pitchFamily="34" charset="0"/>
                </a:rPr>
                <a:t>4</a:t>
              </a:r>
            </a:p>
          </p:txBody>
        </p:sp>
        <p:sp>
          <p:nvSpPr>
            <p:cNvPr id="185" name="Textfield placeholder"/>
            <p:cNvSpPr txBox="1">
              <a:spLocks/>
            </p:cNvSpPr>
            <p:nvPr userDrawn="1"/>
          </p:nvSpPr>
          <p:spPr>
            <a:xfrm>
              <a:off x="-2571950" y="1966925"/>
              <a:ext cx="2163709" cy="261500"/>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79288">
                <a:lnSpc>
                  <a:spcPct val="120000"/>
                </a:lnSpc>
                <a:spcBef>
                  <a:spcPts val="0"/>
                </a:spcBef>
                <a:spcAft>
                  <a:spcPts val="900"/>
                </a:spcAft>
                <a:buClr>
                  <a:srgbClr val="000000"/>
                </a:buClr>
                <a:buSzPct val="100000"/>
                <a:buFont typeface="Arial" pitchFamily="34" charset="0"/>
                <a:buNone/>
                <a:defRPr/>
              </a:pPr>
              <a:r>
                <a:rPr lang="nl-NL" sz="1200" dirty="0">
                  <a:solidFill>
                    <a:srgbClr val="535353"/>
                  </a:solidFill>
                </a:rPr>
                <a:t>Leestekst (16 pt.)</a:t>
              </a:r>
            </a:p>
          </p:txBody>
        </p:sp>
        <p:sp>
          <p:nvSpPr>
            <p:cNvPr id="186" name="Textfield placeholder"/>
            <p:cNvSpPr txBox="1">
              <a:spLocks/>
            </p:cNvSpPr>
            <p:nvPr userDrawn="1"/>
          </p:nvSpPr>
          <p:spPr>
            <a:xfrm>
              <a:off x="-2571950" y="2322077"/>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69849" lvl="1" indent="-269849" defTabSz="1792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err="1">
                  <a:solidFill>
                    <a:srgbClr val="535353"/>
                  </a:solidFill>
                </a:rPr>
                <a:t>Bullets</a:t>
              </a:r>
              <a:r>
                <a:rPr lang="nl-NL" sz="1200" dirty="0">
                  <a:solidFill>
                    <a:srgbClr val="535353"/>
                  </a:solidFill>
                </a:rPr>
                <a:t> (16 </a:t>
              </a:r>
              <a:r>
                <a:rPr lang="nl-NL" sz="1200" dirty="0" err="1">
                  <a:solidFill>
                    <a:srgbClr val="535353"/>
                  </a:solidFill>
                </a:rPr>
                <a:t>pt</a:t>
              </a:r>
              <a:r>
                <a:rPr lang="nl-NL" sz="1200" dirty="0">
                  <a:solidFill>
                    <a:srgbClr val="535353"/>
                  </a:solidFill>
                </a:rPr>
                <a:t>.)</a:t>
              </a:r>
            </a:p>
          </p:txBody>
        </p:sp>
        <p:sp>
          <p:nvSpPr>
            <p:cNvPr id="187" name="Textfield placeholder"/>
            <p:cNvSpPr txBox="1">
              <a:spLocks/>
            </p:cNvSpPr>
            <p:nvPr userDrawn="1"/>
          </p:nvSpPr>
          <p:spPr>
            <a:xfrm>
              <a:off x="-2571951" y="3028747"/>
              <a:ext cx="2435141"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09548" lvl="3" indent="-269849" defTabSz="179288">
                <a:lnSpc>
                  <a:spcPct val="120000"/>
                </a:lnSpc>
                <a:spcBef>
                  <a:spcPts val="0"/>
                </a:spcBef>
                <a:spcAft>
                  <a:spcPts val="900"/>
                </a:spcAft>
                <a:buClr>
                  <a:schemeClr val="accent2"/>
                </a:buClr>
                <a:buSzPct val="80000"/>
                <a:buFont typeface="Wingdings 3" panose="05040102010807070707" pitchFamily="18" charset="2"/>
                <a:buChar char=""/>
                <a:defRPr/>
              </a:pPr>
              <a:r>
                <a:rPr lang="nl-NL" sz="1200" b="0" dirty="0">
                  <a:solidFill>
                    <a:srgbClr val="404040"/>
                  </a:solidFill>
                </a:rPr>
                <a:t>Sub-sub-</a:t>
              </a:r>
              <a:r>
                <a:rPr lang="nl-NL" sz="1200" b="0" dirty="0" err="1">
                  <a:solidFill>
                    <a:srgbClr val="404040"/>
                  </a:solidFill>
                </a:rPr>
                <a:t>bullets</a:t>
              </a:r>
              <a:r>
                <a:rPr lang="nl-NL" sz="1200" b="0" dirty="0">
                  <a:solidFill>
                    <a:srgbClr val="404040"/>
                  </a:solidFill>
                </a:rPr>
                <a:t> (16 </a:t>
              </a:r>
              <a:r>
                <a:rPr lang="nl-NL" sz="1200" b="0" dirty="0" err="1">
                  <a:solidFill>
                    <a:srgbClr val="404040"/>
                  </a:solidFill>
                </a:rPr>
                <a:t>pt</a:t>
              </a:r>
              <a:r>
                <a:rPr lang="nl-NL" sz="1200" b="0" dirty="0">
                  <a:solidFill>
                    <a:srgbClr val="404040"/>
                  </a:solidFill>
                </a:rPr>
                <a:t>.)</a:t>
              </a:r>
            </a:p>
          </p:txBody>
        </p:sp>
        <p:cxnSp>
          <p:nvCxnSpPr>
            <p:cNvPr id="188" name="Rechte verbindingslijn 187"/>
            <p:cNvCxnSpPr/>
            <p:nvPr userDrawn="1"/>
          </p:nvCxnSpPr>
          <p:spPr>
            <a:xfrm>
              <a:off x="-2959100" y="274900"/>
              <a:ext cx="2674470" cy="0"/>
            </a:xfrm>
            <a:prstGeom prst="line">
              <a:avLst/>
            </a:prstGeom>
            <a:noFill/>
            <a:ln w="9525" cap="flat" cmpd="sng" algn="ctr">
              <a:solidFill>
                <a:schemeClr val="accent1"/>
              </a:solidFill>
              <a:prstDash val="solid"/>
            </a:ln>
            <a:effectLst/>
          </p:spPr>
        </p:cxnSp>
        <p:cxnSp>
          <p:nvCxnSpPr>
            <p:cNvPr id="189" name="Rechte verbindingslijn 188"/>
            <p:cNvCxnSpPr/>
            <p:nvPr userDrawn="1"/>
          </p:nvCxnSpPr>
          <p:spPr>
            <a:xfrm>
              <a:off x="-2959100" y="1841989"/>
              <a:ext cx="2661379" cy="0"/>
            </a:xfrm>
            <a:prstGeom prst="line">
              <a:avLst/>
            </a:prstGeom>
            <a:noFill/>
            <a:ln w="9525" cap="flat" cmpd="sng" algn="ctr">
              <a:solidFill>
                <a:schemeClr val="accent1"/>
              </a:solidFill>
              <a:prstDash val="solid"/>
            </a:ln>
            <a:effectLst/>
          </p:spPr>
        </p:cxnSp>
        <p:cxnSp>
          <p:nvCxnSpPr>
            <p:cNvPr id="190" name="Rechte verbindingslijn 189"/>
            <p:cNvCxnSpPr/>
            <p:nvPr userDrawn="1"/>
          </p:nvCxnSpPr>
          <p:spPr>
            <a:xfrm>
              <a:off x="-2959100" y="5249278"/>
              <a:ext cx="2661379" cy="0"/>
            </a:xfrm>
            <a:prstGeom prst="line">
              <a:avLst/>
            </a:prstGeom>
            <a:noFill/>
            <a:ln w="9525" cap="flat" cmpd="sng" algn="ctr">
              <a:solidFill>
                <a:schemeClr val="accent1"/>
              </a:solidFill>
              <a:prstDash val="solid"/>
            </a:ln>
            <a:effectLst/>
          </p:spPr>
        </p:cxnSp>
        <p:grpSp>
          <p:nvGrpSpPr>
            <p:cNvPr id="191" name="Groep 190"/>
            <p:cNvGrpSpPr/>
            <p:nvPr userDrawn="1"/>
          </p:nvGrpSpPr>
          <p:grpSpPr>
            <a:xfrm>
              <a:off x="-1948476" y="816741"/>
              <a:ext cx="409108" cy="427699"/>
              <a:chOff x="-1085063" y="758027"/>
              <a:chExt cx="633799" cy="622540"/>
            </a:xfrm>
          </p:grpSpPr>
          <p:sp>
            <p:nvSpPr>
              <p:cNvPr id="247" name="Afgeronde rechthoek 246"/>
              <p:cNvSpPr/>
              <p:nvPr userDrawn="1"/>
            </p:nvSpPr>
            <p:spPr>
              <a:xfrm>
                <a:off x="-108506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sz="1799" kern="0" dirty="0">
                  <a:solidFill>
                    <a:srgbClr val="EF291F"/>
                  </a:solidFill>
                  <a:cs typeface="Segoe UI Light" panose="020B0502040204020203" pitchFamily="34" charset="0"/>
                </a:endParaRPr>
              </a:p>
            </p:txBody>
          </p:sp>
          <p:grpSp>
            <p:nvGrpSpPr>
              <p:cNvPr id="248" name="Groep 247"/>
              <p:cNvGrpSpPr/>
              <p:nvPr userDrawn="1"/>
            </p:nvGrpSpPr>
            <p:grpSpPr>
              <a:xfrm>
                <a:off x="-977739" y="864082"/>
                <a:ext cx="419168" cy="410429"/>
                <a:chOff x="6366933" y="309013"/>
                <a:chExt cx="1901295" cy="1861668"/>
              </a:xfrm>
              <a:solidFill>
                <a:srgbClr val="000000"/>
              </a:solidFill>
            </p:grpSpPr>
            <p:sp>
              <p:nvSpPr>
                <p:cNvPr id="249" name="Rechthoek 248"/>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sz="1799" kern="0" dirty="0">
                    <a:solidFill>
                      <a:srgbClr val="EF291F"/>
                    </a:solidFill>
                    <a:cs typeface="Segoe UI Light" panose="020B0502040204020203" pitchFamily="34" charset="0"/>
                  </a:endParaRPr>
                </a:p>
              </p:txBody>
            </p:sp>
            <p:sp>
              <p:nvSpPr>
                <p:cNvPr id="250" name="Rechthoek 249"/>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sz="1799" kern="0" dirty="0">
                    <a:solidFill>
                      <a:srgbClr val="EF291F"/>
                    </a:solidFill>
                    <a:cs typeface="Segoe UI Light" panose="020B0502040204020203" pitchFamily="34" charset="0"/>
                  </a:endParaRPr>
                </a:p>
              </p:txBody>
            </p:sp>
            <p:sp>
              <p:nvSpPr>
                <p:cNvPr id="251" name="Rechthoek 250"/>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sz="1799" kern="0" dirty="0">
                    <a:solidFill>
                      <a:srgbClr val="EF291F"/>
                    </a:solidFill>
                    <a:cs typeface="Segoe UI Light" panose="020B0502040204020203" pitchFamily="34" charset="0"/>
                  </a:endParaRPr>
                </a:p>
              </p:txBody>
            </p:sp>
            <p:sp>
              <p:nvSpPr>
                <p:cNvPr id="252" name="Rechthoek 251"/>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sz="1799" kern="0" dirty="0">
                    <a:solidFill>
                      <a:srgbClr val="EF291F"/>
                    </a:solidFill>
                    <a:cs typeface="Segoe UI Light" panose="020B0502040204020203" pitchFamily="34" charset="0"/>
                  </a:endParaRPr>
                </a:p>
              </p:txBody>
            </p:sp>
            <p:sp>
              <p:nvSpPr>
                <p:cNvPr id="253" name="Rechthoek 252"/>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sz="1799" kern="0" dirty="0">
                    <a:solidFill>
                      <a:srgbClr val="EF291F"/>
                    </a:solidFill>
                    <a:cs typeface="Segoe UI Light" panose="020B0502040204020203" pitchFamily="34" charset="0"/>
                  </a:endParaRPr>
                </a:p>
              </p:txBody>
            </p:sp>
            <p:sp>
              <p:nvSpPr>
                <p:cNvPr id="254" name="Rechthoek 253"/>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sz="1799" kern="0" dirty="0">
                    <a:solidFill>
                      <a:srgbClr val="EF291F"/>
                    </a:solidFill>
                    <a:cs typeface="Segoe UI Light" panose="020B0502040204020203" pitchFamily="34" charset="0"/>
                  </a:endParaRPr>
                </a:p>
              </p:txBody>
            </p:sp>
            <p:sp>
              <p:nvSpPr>
                <p:cNvPr id="255" name="Rechthoek 254"/>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sz="1799" kern="0" dirty="0">
                    <a:solidFill>
                      <a:srgbClr val="EF291F"/>
                    </a:solidFill>
                    <a:cs typeface="Segoe UI Light" panose="020B0502040204020203" pitchFamily="34" charset="0"/>
                  </a:endParaRPr>
                </a:p>
              </p:txBody>
            </p:sp>
            <p:sp>
              <p:nvSpPr>
                <p:cNvPr id="256" name="Rechthoek 255"/>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sz="1799" kern="0" dirty="0">
                    <a:solidFill>
                      <a:srgbClr val="EF291F"/>
                    </a:solidFill>
                    <a:cs typeface="Segoe UI Light" panose="020B0502040204020203" pitchFamily="34" charset="0"/>
                  </a:endParaRPr>
                </a:p>
              </p:txBody>
            </p:sp>
            <p:sp>
              <p:nvSpPr>
                <p:cNvPr id="257" name="Rechthoek 256"/>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sz="1799" kern="0" dirty="0">
                    <a:solidFill>
                      <a:srgbClr val="EF291F"/>
                    </a:solidFill>
                    <a:cs typeface="Segoe UI Light" panose="020B0502040204020203" pitchFamily="34" charset="0"/>
                  </a:endParaRPr>
                </a:p>
              </p:txBody>
            </p:sp>
            <p:sp>
              <p:nvSpPr>
                <p:cNvPr id="258" name="Rechthoek 257"/>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sz="1799" kern="0" dirty="0">
                    <a:solidFill>
                      <a:srgbClr val="EF291F"/>
                    </a:solidFill>
                    <a:cs typeface="Segoe UI Light" panose="020B0502040204020203" pitchFamily="34" charset="0"/>
                  </a:endParaRPr>
                </a:p>
              </p:txBody>
            </p:sp>
            <p:sp>
              <p:nvSpPr>
                <p:cNvPr id="259" name="Vrije vorm 258"/>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sz="1799" kern="0" dirty="0">
                    <a:solidFill>
                      <a:srgbClr val="EF291F"/>
                    </a:solidFill>
                    <a:cs typeface="Segoe UI Light" panose="020B0502040204020203" pitchFamily="34" charset="0"/>
                  </a:endParaRPr>
                </a:p>
              </p:txBody>
            </p:sp>
          </p:grpSp>
        </p:grpSp>
        <p:grpSp>
          <p:nvGrpSpPr>
            <p:cNvPr id="192" name="Groep 191"/>
            <p:cNvGrpSpPr/>
            <p:nvPr userDrawn="1"/>
          </p:nvGrpSpPr>
          <p:grpSpPr>
            <a:xfrm>
              <a:off x="-2950232" y="1207835"/>
              <a:ext cx="532929" cy="509563"/>
              <a:chOff x="-2880382" y="802341"/>
              <a:chExt cx="532929" cy="509563"/>
            </a:xfrm>
          </p:grpSpPr>
          <p:sp>
            <p:nvSpPr>
              <p:cNvPr id="225" name="Rechthoek 224"/>
              <p:cNvSpPr/>
              <p:nvPr userDrawn="1"/>
            </p:nvSpPr>
            <p:spPr>
              <a:xfrm>
                <a:off x="-2880382" y="802341"/>
                <a:ext cx="532929" cy="509563"/>
              </a:xfrm>
              <a:prstGeom prst="rect">
                <a:avLst/>
              </a:prstGeom>
              <a:solidFill>
                <a:sysClr val="window" lastClr="FFFFFF"/>
              </a:soli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sz="1799" kern="0" dirty="0">
                  <a:solidFill>
                    <a:prstClr val="white"/>
                  </a:solidFill>
                  <a:latin typeface="Segoe UI Light"/>
                </a:endParaRPr>
              </a:p>
            </p:txBody>
          </p:sp>
          <p:pic>
            <p:nvPicPr>
              <p:cNvPr id="22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635852" y="822181"/>
                <a:ext cx="226442" cy="208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7"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848026" y="822181"/>
                <a:ext cx="207168" cy="213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28" name="Groep 227"/>
              <p:cNvGrpSpPr/>
              <p:nvPr userDrawn="1"/>
            </p:nvGrpSpPr>
            <p:grpSpPr>
              <a:xfrm>
                <a:off x="-2802433" y="1123442"/>
                <a:ext cx="132915" cy="104889"/>
                <a:chOff x="-2796392" y="1123442"/>
                <a:chExt cx="120832" cy="104889"/>
              </a:xfrm>
            </p:grpSpPr>
            <p:sp>
              <p:nvSpPr>
                <p:cNvPr id="242" name="Rechthoek 241"/>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sz="1799" kern="0" dirty="0">
                    <a:solidFill>
                      <a:srgbClr val="EF291F"/>
                    </a:solidFill>
                    <a:cs typeface="Segoe UI Light" panose="020B0502040204020203" pitchFamily="34" charset="0"/>
                  </a:endParaRPr>
                </a:p>
              </p:txBody>
            </p:sp>
            <p:sp>
              <p:nvSpPr>
                <p:cNvPr id="243" name="Rechthoek 242"/>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sz="1799" kern="0" dirty="0">
                    <a:solidFill>
                      <a:srgbClr val="EF291F"/>
                    </a:solidFill>
                    <a:cs typeface="Segoe UI Light" panose="020B0502040204020203" pitchFamily="34" charset="0"/>
                  </a:endParaRPr>
                </a:p>
              </p:txBody>
            </p:sp>
            <p:sp>
              <p:nvSpPr>
                <p:cNvPr id="244" name="Rechthoek 243"/>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sz="1799" kern="0" dirty="0">
                    <a:solidFill>
                      <a:srgbClr val="EF291F"/>
                    </a:solidFill>
                    <a:cs typeface="Segoe UI Light" panose="020B0502040204020203" pitchFamily="34" charset="0"/>
                  </a:endParaRPr>
                </a:p>
              </p:txBody>
            </p:sp>
            <p:sp>
              <p:nvSpPr>
                <p:cNvPr id="245" name="Rechthoek 244"/>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sz="1799" kern="0" dirty="0">
                    <a:solidFill>
                      <a:srgbClr val="EF291F"/>
                    </a:solidFill>
                    <a:cs typeface="Segoe UI Light" panose="020B0502040204020203" pitchFamily="34" charset="0"/>
                  </a:endParaRPr>
                </a:p>
              </p:txBody>
            </p:sp>
            <p:sp>
              <p:nvSpPr>
                <p:cNvPr id="246" name="Rechthoek 245"/>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sz="1799" kern="0" dirty="0">
                    <a:solidFill>
                      <a:srgbClr val="EF291F"/>
                    </a:solidFill>
                    <a:cs typeface="Segoe UI Light" panose="020B0502040204020203" pitchFamily="34" charset="0"/>
                  </a:endParaRPr>
                </a:p>
              </p:txBody>
            </p:sp>
          </p:grpSp>
          <p:grpSp>
            <p:nvGrpSpPr>
              <p:cNvPr id="229" name="Groep 228"/>
              <p:cNvGrpSpPr/>
              <p:nvPr userDrawn="1"/>
            </p:nvGrpSpPr>
            <p:grpSpPr>
              <a:xfrm>
                <a:off x="-2575417" y="1123442"/>
                <a:ext cx="133930" cy="104889"/>
                <a:chOff x="-2556734" y="1123442"/>
                <a:chExt cx="147324" cy="104889"/>
              </a:xfrm>
            </p:grpSpPr>
            <p:grpSp>
              <p:nvGrpSpPr>
                <p:cNvPr id="230" name="Groep 229"/>
                <p:cNvGrpSpPr/>
                <p:nvPr userDrawn="1"/>
              </p:nvGrpSpPr>
              <p:grpSpPr>
                <a:xfrm>
                  <a:off x="-2556734" y="1123442"/>
                  <a:ext cx="68206" cy="104889"/>
                  <a:chOff x="-2796392" y="1123442"/>
                  <a:chExt cx="120832" cy="104889"/>
                </a:xfrm>
              </p:grpSpPr>
              <p:sp>
                <p:nvSpPr>
                  <p:cNvPr id="237" name="Rechthoek 236"/>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sz="1799" kern="0" dirty="0">
                      <a:solidFill>
                        <a:srgbClr val="EF291F"/>
                      </a:solidFill>
                      <a:cs typeface="Segoe UI Light" panose="020B0502040204020203" pitchFamily="34" charset="0"/>
                    </a:endParaRPr>
                  </a:p>
                </p:txBody>
              </p:sp>
              <p:sp>
                <p:nvSpPr>
                  <p:cNvPr id="238" name="Rechthoek 237"/>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sz="1799" kern="0" dirty="0">
                      <a:solidFill>
                        <a:srgbClr val="EF291F"/>
                      </a:solidFill>
                      <a:cs typeface="Segoe UI Light" panose="020B0502040204020203" pitchFamily="34" charset="0"/>
                    </a:endParaRPr>
                  </a:p>
                </p:txBody>
              </p:sp>
              <p:sp>
                <p:nvSpPr>
                  <p:cNvPr id="239" name="Rechthoek 238"/>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sz="1799" kern="0" dirty="0">
                      <a:solidFill>
                        <a:srgbClr val="EF291F"/>
                      </a:solidFill>
                      <a:cs typeface="Segoe UI Light" panose="020B0502040204020203" pitchFamily="34" charset="0"/>
                    </a:endParaRPr>
                  </a:p>
                </p:txBody>
              </p:sp>
              <p:sp>
                <p:nvSpPr>
                  <p:cNvPr id="240" name="Rechthoek 239"/>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sz="1799" kern="0" dirty="0">
                      <a:solidFill>
                        <a:srgbClr val="EF291F"/>
                      </a:solidFill>
                      <a:cs typeface="Segoe UI Light" panose="020B0502040204020203" pitchFamily="34" charset="0"/>
                    </a:endParaRPr>
                  </a:p>
                </p:txBody>
              </p:sp>
              <p:sp>
                <p:nvSpPr>
                  <p:cNvPr id="241" name="Rechthoek 240"/>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sz="1799" kern="0" dirty="0">
                      <a:solidFill>
                        <a:srgbClr val="EF291F"/>
                      </a:solidFill>
                      <a:cs typeface="Segoe UI Light" panose="020B0502040204020203" pitchFamily="34" charset="0"/>
                    </a:endParaRPr>
                  </a:p>
                </p:txBody>
              </p:sp>
            </p:grpSp>
            <p:grpSp>
              <p:nvGrpSpPr>
                <p:cNvPr id="231" name="Groep 230"/>
                <p:cNvGrpSpPr/>
                <p:nvPr userDrawn="1"/>
              </p:nvGrpSpPr>
              <p:grpSpPr>
                <a:xfrm>
                  <a:off x="-2477616" y="1123442"/>
                  <a:ext cx="68206" cy="104889"/>
                  <a:chOff x="-2796392" y="1123442"/>
                  <a:chExt cx="120832" cy="104889"/>
                </a:xfrm>
              </p:grpSpPr>
              <p:sp>
                <p:nvSpPr>
                  <p:cNvPr id="232" name="Rechthoek 231"/>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sz="1799" kern="0" dirty="0">
                      <a:solidFill>
                        <a:srgbClr val="EF291F"/>
                      </a:solidFill>
                      <a:cs typeface="Segoe UI Light" panose="020B0502040204020203" pitchFamily="34" charset="0"/>
                    </a:endParaRPr>
                  </a:p>
                </p:txBody>
              </p:sp>
              <p:sp>
                <p:nvSpPr>
                  <p:cNvPr id="233" name="Rechthoek 232"/>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sz="1799" kern="0" dirty="0">
                      <a:solidFill>
                        <a:srgbClr val="EF291F"/>
                      </a:solidFill>
                      <a:cs typeface="Segoe UI Light" panose="020B0502040204020203" pitchFamily="34" charset="0"/>
                    </a:endParaRPr>
                  </a:p>
                </p:txBody>
              </p:sp>
              <p:sp>
                <p:nvSpPr>
                  <p:cNvPr id="234" name="Rechthoek 233"/>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sz="1799" kern="0" dirty="0">
                      <a:solidFill>
                        <a:srgbClr val="EF291F"/>
                      </a:solidFill>
                      <a:cs typeface="Segoe UI Light" panose="020B0502040204020203" pitchFamily="34" charset="0"/>
                    </a:endParaRPr>
                  </a:p>
                </p:txBody>
              </p:sp>
              <p:sp>
                <p:nvSpPr>
                  <p:cNvPr id="235" name="Rechthoek 234"/>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sz="1799" kern="0" dirty="0">
                      <a:solidFill>
                        <a:srgbClr val="EF291F"/>
                      </a:solidFill>
                      <a:cs typeface="Segoe UI Light" panose="020B0502040204020203" pitchFamily="34" charset="0"/>
                    </a:endParaRPr>
                  </a:p>
                </p:txBody>
              </p:sp>
              <p:sp>
                <p:nvSpPr>
                  <p:cNvPr id="236" name="Rechthoek 235"/>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sz="1799" kern="0" dirty="0">
                      <a:solidFill>
                        <a:srgbClr val="EF291F"/>
                      </a:solidFill>
                      <a:cs typeface="Segoe UI Light" panose="020B0502040204020203" pitchFamily="34" charset="0"/>
                    </a:endParaRPr>
                  </a:p>
                </p:txBody>
              </p:sp>
            </p:grpSp>
          </p:grpSp>
        </p:grpSp>
        <p:grpSp>
          <p:nvGrpSpPr>
            <p:cNvPr id="193" name="Groep 192"/>
            <p:cNvGrpSpPr/>
            <p:nvPr userDrawn="1"/>
          </p:nvGrpSpPr>
          <p:grpSpPr>
            <a:xfrm>
              <a:off x="-1948476" y="1281164"/>
              <a:ext cx="413704" cy="427699"/>
              <a:chOff x="-1845083" y="758027"/>
              <a:chExt cx="633799" cy="622540"/>
            </a:xfrm>
          </p:grpSpPr>
          <p:sp>
            <p:nvSpPr>
              <p:cNvPr id="212" name="Afgeronde rechthoek 211"/>
              <p:cNvSpPr/>
              <p:nvPr userDrawn="1"/>
            </p:nvSpPr>
            <p:spPr>
              <a:xfrm>
                <a:off x="-184508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sz="1799" kern="0" dirty="0">
                  <a:solidFill>
                    <a:srgbClr val="EF291F"/>
                  </a:solidFill>
                  <a:cs typeface="Segoe UI Light" panose="020B0502040204020203" pitchFamily="34" charset="0"/>
                </a:endParaRPr>
              </a:p>
            </p:txBody>
          </p:sp>
          <p:grpSp>
            <p:nvGrpSpPr>
              <p:cNvPr id="213" name="Groep 212"/>
              <p:cNvGrpSpPr/>
              <p:nvPr userDrawn="1"/>
            </p:nvGrpSpPr>
            <p:grpSpPr>
              <a:xfrm>
                <a:off x="-1737762" y="864082"/>
                <a:ext cx="419168" cy="410429"/>
                <a:chOff x="3708400" y="309013"/>
                <a:chExt cx="1901295" cy="1861668"/>
              </a:xfrm>
              <a:solidFill>
                <a:srgbClr val="000000"/>
              </a:solidFill>
            </p:grpSpPr>
            <p:sp>
              <p:nvSpPr>
                <p:cNvPr id="214" name="Rechthoek 213"/>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sz="1799" kern="0" dirty="0">
                    <a:solidFill>
                      <a:srgbClr val="EF291F"/>
                    </a:solidFill>
                    <a:cs typeface="Segoe UI Light" panose="020B0502040204020203" pitchFamily="34" charset="0"/>
                  </a:endParaRPr>
                </a:p>
              </p:txBody>
            </p:sp>
            <p:sp>
              <p:nvSpPr>
                <p:cNvPr id="215" name="Rechthoek 214"/>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sz="1799" kern="0" dirty="0">
                    <a:solidFill>
                      <a:srgbClr val="EF291F"/>
                    </a:solidFill>
                    <a:cs typeface="Segoe UI Light" panose="020B0502040204020203" pitchFamily="34" charset="0"/>
                  </a:endParaRPr>
                </a:p>
              </p:txBody>
            </p:sp>
            <p:sp>
              <p:nvSpPr>
                <p:cNvPr id="216" name="Rechthoek 215"/>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sz="1799" kern="0" dirty="0">
                    <a:solidFill>
                      <a:srgbClr val="EF291F"/>
                    </a:solidFill>
                    <a:cs typeface="Segoe UI Light" panose="020B0502040204020203" pitchFamily="34" charset="0"/>
                  </a:endParaRPr>
                </a:p>
              </p:txBody>
            </p:sp>
            <p:sp>
              <p:nvSpPr>
                <p:cNvPr id="217" name="Rechthoek 216"/>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sz="1799" kern="0" dirty="0">
                    <a:solidFill>
                      <a:srgbClr val="EF291F"/>
                    </a:solidFill>
                    <a:cs typeface="Segoe UI Light" panose="020B0502040204020203" pitchFamily="34" charset="0"/>
                  </a:endParaRPr>
                </a:p>
              </p:txBody>
            </p:sp>
            <p:sp>
              <p:nvSpPr>
                <p:cNvPr id="218" name="Rechthoek 217"/>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sz="1799" kern="0" dirty="0">
                    <a:solidFill>
                      <a:srgbClr val="EF291F"/>
                    </a:solidFill>
                    <a:cs typeface="Segoe UI Light" panose="020B0502040204020203" pitchFamily="34" charset="0"/>
                  </a:endParaRPr>
                </a:p>
              </p:txBody>
            </p:sp>
            <p:sp>
              <p:nvSpPr>
                <p:cNvPr id="219" name="Rechthoek 218"/>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sz="1799" kern="0" dirty="0">
                    <a:solidFill>
                      <a:srgbClr val="EF291F"/>
                    </a:solidFill>
                    <a:cs typeface="Segoe UI Light" panose="020B0502040204020203" pitchFamily="34" charset="0"/>
                  </a:endParaRPr>
                </a:p>
              </p:txBody>
            </p:sp>
            <p:sp>
              <p:nvSpPr>
                <p:cNvPr id="220" name="Rechthoek 219"/>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sz="1799" kern="0" dirty="0">
                    <a:solidFill>
                      <a:srgbClr val="EF291F"/>
                    </a:solidFill>
                    <a:cs typeface="Segoe UI Light" panose="020B0502040204020203" pitchFamily="34" charset="0"/>
                  </a:endParaRPr>
                </a:p>
              </p:txBody>
            </p:sp>
            <p:sp>
              <p:nvSpPr>
                <p:cNvPr id="221" name="Rechthoek 220"/>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sz="1799" kern="0" dirty="0">
                    <a:solidFill>
                      <a:srgbClr val="EF291F"/>
                    </a:solidFill>
                    <a:cs typeface="Segoe UI Light" panose="020B0502040204020203" pitchFamily="34" charset="0"/>
                  </a:endParaRPr>
                </a:p>
              </p:txBody>
            </p:sp>
            <p:sp>
              <p:nvSpPr>
                <p:cNvPr id="222" name="Rechthoek 221"/>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sz="1799" kern="0" dirty="0">
                    <a:solidFill>
                      <a:srgbClr val="EF291F"/>
                    </a:solidFill>
                    <a:cs typeface="Segoe UI Light" panose="020B0502040204020203" pitchFamily="34" charset="0"/>
                  </a:endParaRPr>
                </a:p>
              </p:txBody>
            </p:sp>
            <p:sp>
              <p:nvSpPr>
                <p:cNvPr id="223" name="Rechthoek 222"/>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sz="1799" kern="0" dirty="0">
                    <a:solidFill>
                      <a:srgbClr val="EF291F"/>
                    </a:solidFill>
                    <a:cs typeface="Segoe UI Light" panose="020B0502040204020203" pitchFamily="34" charset="0"/>
                  </a:endParaRPr>
                </a:p>
              </p:txBody>
            </p:sp>
            <p:sp>
              <p:nvSpPr>
                <p:cNvPr id="224" name="Vrije vorm 223"/>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sz="1799" kern="0" dirty="0">
                    <a:solidFill>
                      <a:srgbClr val="EF291F"/>
                    </a:solidFill>
                    <a:cs typeface="Segoe UI Light" panose="020B0502040204020203" pitchFamily="34" charset="0"/>
                  </a:endParaRPr>
                </a:p>
              </p:txBody>
            </p:sp>
          </p:grpSp>
        </p:grpSp>
        <p:cxnSp>
          <p:nvCxnSpPr>
            <p:cNvPr id="194" name="Rechte verbindingslijn 193"/>
            <p:cNvCxnSpPr/>
            <p:nvPr userDrawn="1"/>
          </p:nvCxnSpPr>
          <p:spPr>
            <a:xfrm>
              <a:off x="-2814292" y="1441193"/>
              <a:ext cx="865816" cy="53821"/>
            </a:xfrm>
            <a:prstGeom prst="line">
              <a:avLst/>
            </a:prstGeom>
            <a:noFill/>
            <a:ln w="9525" cap="flat" cmpd="sng" algn="ctr">
              <a:solidFill>
                <a:schemeClr val="accent1"/>
              </a:solidFill>
              <a:prstDash val="solid"/>
              <a:headEnd type="oval"/>
            </a:ln>
            <a:effectLst/>
          </p:spPr>
        </p:cxnSp>
        <p:cxnSp>
          <p:nvCxnSpPr>
            <p:cNvPr id="195" name="Rechte verbindingslijn 194"/>
            <p:cNvCxnSpPr/>
            <p:nvPr userDrawn="1"/>
          </p:nvCxnSpPr>
          <p:spPr>
            <a:xfrm flipV="1">
              <a:off x="-2453902" y="1030591"/>
              <a:ext cx="505426" cy="283623"/>
            </a:xfrm>
            <a:prstGeom prst="line">
              <a:avLst/>
            </a:prstGeom>
            <a:noFill/>
            <a:ln w="9525" cap="flat" cmpd="sng" algn="ctr">
              <a:solidFill>
                <a:schemeClr val="accent1"/>
              </a:solidFill>
              <a:prstDash val="solid"/>
              <a:headEnd type="oval"/>
            </a:ln>
            <a:effectLst/>
          </p:spPr>
        </p:cxnSp>
        <p:sp>
          <p:nvSpPr>
            <p:cNvPr id="196" name="Textfield placeholder"/>
            <p:cNvSpPr txBox="1">
              <a:spLocks/>
            </p:cNvSpPr>
            <p:nvPr userDrawn="1"/>
          </p:nvSpPr>
          <p:spPr>
            <a:xfrm>
              <a:off x="-1341598" y="816743"/>
              <a:ext cx="1056968" cy="427698"/>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hoog</a:t>
              </a:r>
            </a:p>
          </p:txBody>
        </p:sp>
        <p:sp>
          <p:nvSpPr>
            <p:cNvPr id="197" name="Textfield placeholder"/>
            <p:cNvSpPr txBox="1">
              <a:spLocks/>
            </p:cNvSpPr>
            <p:nvPr userDrawn="1"/>
          </p:nvSpPr>
          <p:spPr>
            <a:xfrm>
              <a:off x="-1341599" y="1281164"/>
              <a:ext cx="1070223" cy="427699"/>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laag</a:t>
              </a:r>
            </a:p>
          </p:txBody>
        </p:sp>
        <p:sp>
          <p:nvSpPr>
            <p:cNvPr id="198" name="Ovaal 197"/>
            <p:cNvSpPr/>
            <p:nvPr userDrawn="1"/>
          </p:nvSpPr>
          <p:spPr>
            <a:xfrm>
              <a:off x="-2959433" y="338208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49" kern="0" dirty="0">
                  <a:solidFill>
                    <a:prstClr val="white"/>
                  </a:solidFill>
                  <a:cs typeface="Segoe UI Light" panose="020B0502040204020203" pitchFamily="34" charset="0"/>
                </a:rPr>
                <a:t>5</a:t>
              </a:r>
            </a:p>
          </p:txBody>
        </p:sp>
        <p:sp>
          <p:nvSpPr>
            <p:cNvPr id="199" name="Textfield placeholder"/>
            <p:cNvSpPr txBox="1">
              <a:spLocks/>
            </p:cNvSpPr>
            <p:nvPr userDrawn="1"/>
          </p:nvSpPr>
          <p:spPr>
            <a:xfrm>
              <a:off x="-2571950" y="3382082"/>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59799" lvl="4" indent="-359799" defTabSz="179288">
                <a:lnSpc>
                  <a:spcPct val="120000"/>
                </a:lnSpc>
                <a:spcBef>
                  <a:spcPts val="0"/>
                </a:spcBef>
                <a:spcAft>
                  <a:spcPts val="900"/>
                </a:spcAft>
                <a:buClr>
                  <a:srgbClr val="ED1A3B"/>
                </a:buClr>
                <a:buFont typeface="+mj-lt"/>
                <a:buAutoNum type="arabicPeriod"/>
                <a:defRPr/>
              </a:pPr>
              <a:r>
                <a:rPr lang="nl-NL" sz="1200" b="0" dirty="0">
                  <a:solidFill>
                    <a:srgbClr val="404040"/>
                  </a:solidFill>
                </a:rPr>
                <a:t>Numeriek (16 pt.)</a:t>
              </a:r>
            </a:p>
          </p:txBody>
        </p:sp>
        <p:grpSp>
          <p:nvGrpSpPr>
            <p:cNvPr id="200" name="Groep 199"/>
            <p:cNvGrpSpPr/>
            <p:nvPr userDrawn="1"/>
          </p:nvGrpSpPr>
          <p:grpSpPr>
            <a:xfrm>
              <a:off x="-2950232" y="816050"/>
              <a:ext cx="528695" cy="344202"/>
              <a:chOff x="-2880382" y="410556"/>
              <a:chExt cx="528695" cy="344202"/>
            </a:xfrm>
          </p:grpSpPr>
          <p:sp>
            <p:nvSpPr>
              <p:cNvPr id="210" name="Afgeronde rechthoek 209"/>
              <p:cNvSpPr/>
              <p:nvPr userDrawn="1"/>
            </p:nvSpPr>
            <p:spPr>
              <a:xfrm>
                <a:off x="-2874214" y="410556"/>
                <a:ext cx="522527" cy="339183"/>
              </a:xfrm>
              <a:prstGeom prst="roundRect">
                <a:avLst>
                  <a:gd name="adj" fmla="val 7565"/>
                </a:avLst>
              </a:prstGeom>
              <a:gradFill>
                <a:gsLst>
                  <a:gs pos="0">
                    <a:srgbClr val="FFEC8F"/>
                  </a:gs>
                  <a:gs pos="100000">
                    <a:srgbClr val="FFFFFF"/>
                  </a:gs>
                </a:gsLst>
                <a:lin ang="5400000" scaled="0"/>
              </a:gra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sz="1799" kern="0" dirty="0">
                  <a:solidFill>
                    <a:prstClr val="white"/>
                  </a:solidFill>
                  <a:latin typeface="Segoe UI Light"/>
                </a:endParaRPr>
              </a:p>
            </p:txBody>
          </p:sp>
          <p:sp>
            <p:nvSpPr>
              <p:cNvPr id="211" name="Vrije vorm 210"/>
              <p:cNvSpPr/>
              <p:nvPr userDrawn="1"/>
            </p:nvSpPr>
            <p:spPr>
              <a:xfrm>
                <a:off x="-2880382" y="452699"/>
                <a:ext cx="528695" cy="302059"/>
              </a:xfrm>
              <a:custGeom>
                <a:avLst/>
                <a:gdLst>
                  <a:gd name="connsiteX0" fmla="*/ 55524 w 528695"/>
                  <a:gd name="connsiteY0" fmla="*/ 0 h 302059"/>
                  <a:gd name="connsiteX1" fmla="*/ 455496 w 528695"/>
                  <a:gd name="connsiteY1" fmla="*/ 0 h 302059"/>
                  <a:gd name="connsiteX2" fmla="*/ 475205 w 528695"/>
                  <a:gd name="connsiteY2" fmla="*/ 19709 h 302059"/>
                  <a:gd name="connsiteX3" fmla="*/ 475205 w 528695"/>
                  <a:gd name="connsiteY3" fmla="*/ 230056 h 302059"/>
                  <a:gd name="connsiteX4" fmla="*/ 516694 w 528695"/>
                  <a:gd name="connsiteY4" fmla="*/ 230056 h 302059"/>
                  <a:gd name="connsiteX5" fmla="*/ 528695 w 528695"/>
                  <a:gd name="connsiteY5" fmla="*/ 242057 h 302059"/>
                  <a:gd name="connsiteX6" fmla="*/ 528695 w 528695"/>
                  <a:gd name="connsiteY6" fmla="*/ 290058 h 302059"/>
                  <a:gd name="connsiteX7" fmla="*/ 516694 w 528695"/>
                  <a:gd name="connsiteY7" fmla="*/ 302059 h 302059"/>
                  <a:gd name="connsiteX8" fmla="*/ 12001 w 528695"/>
                  <a:gd name="connsiteY8" fmla="*/ 302059 h 302059"/>
                  <a:gd name="connsiteX9" fmla="*/ 0 w 528695"/>
                  <a:gd name="connsiteY9" fmla="*/ 290058 h 302059"/>
                  <a:gd name="connsiteX10" fmla="*/ 0 w 528695"/>
                  <a:gd name="connsiteY10" fmla="*/ 242057 h 302059"/>
                  <a:gd name="connsiteX11" fmla="*/ 12001 w 528695"/>
                  <a:gd name="connsiteY11" fmla="*/ 230056 h 302059"/>
                  <a:gd name="connsiteX12" fmla="*/ 35815 w 528695"/>
                  <a:gd name="connsiteY12" fmla="*/ 230056 h 302059"/>
                  <a:gd name="connsiteX13" fmla="*/ 35815 w 528695"/>
                  <a:gd name="connsiteY13" fmla="*/ 19709 h 302059"/>
                  <a:gd name="connsiteX14" fmla="*/ 55524 w 528695"/>
                  <a:gd name="connsiteY14" fmla="*/ 0 h 3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8695" h="302059">
                    <a:moveTo>
                      <a:pt x="55524" y="0"/>
                    </a:moveTo>
                    <a:lnTo>
                      <a:pt x="455496" y="0"/>
                    </a:lnTo>
                    <a:cubicBezTo>
                      <a:pt x="466381" y="0"/>
                      <a:pt x="475205" y="8824"/>
                      <a:pt x="475205" y="19709"/>
                    </a:cubicBezTo>
                    <a:lnTo>
                      <a:pt x="475205" y="230056"/>
                    </a:lnTo>
                    <a:lnTo>
                      <a:pt x="516694" y="230056"/>
                    </a:lnTo>
                    <a:cubicBezTo>
                      <a:pt x="523322" y="230056"/>
                      <a:pt x="528695" y="235429"/>
                      <a:pt x="528695" y="242057"/>
                    </a:cubicBezTo>
                    <a:lnTo>
                      <a:pt x="528695" y="290058"/>
                    </a:lnTo>
                    <a:cubicBezTo>
                      <a:pt x="528695" y="296686"/>
                      <a:pt x="523322" y="302059"/>
                      <a:pt x="516694" y="302059"/>
                    </a:cubicBezTo>
                    <a:lnTo>
                      <a:pt x="12001" y="302059"/>
                    </a:lnTo>
                    <a:cubicBezTo>
                      <a:pt x="5373" y="302059"/>
                      <a:pt x="0" y="296686"/>
                      <a:pt x="0" y="290058"/>
                    </a:cubicBezTo>
                    <a:lnTo>
                      <a:pt x="0" y="242057"/>
                    </a:lnTo>
                    <a:cubicBezTo>
                      <a:pt x="0" y="235429"/>
                      <a:pt x="5373" y="230056"/>
                      <a:pt x="12001" y="230056"/>
                    </a:cubicBezTo>
                    <a:lnTo>
                      <a:pt x="35815" y="230056"/>
                    </a:lnTo>
                    <a:lnTo>
                      <a:pt x="35815" y="19709"/>
                    </a:lnTo>
                    <a:cubicBezTo>
                      <a:pt x="35815" y="8824"/>
                      <a:pt x="44639" y="0"/>
                      <a:pt x="55524" y="0"/>
                    </a:cubicBezTo>
                    <a:close/>
                  </a:path>
                </a:pathLst>
              </a:custGeom>
              <a:solidFill>
                <a:sysClr val="window" lastClr="FFFFFF">
                  <a:lumMod val="95000"/>
                </a:sysClr>
              </a:solidFill>
              <a:ln w="9525" cap="flat" cmpd="sng" algn="ctr">
                <a:solidFill>
                  <a:srgbClr val="FFFFFF">
                    <a:lumMod val="90000"/>
                  </a:srgbClr>
                </a:solidFill>
                <a:prstDash val="solid"/>
                <a:miter lim="800000"/>
              </a:ln>
              <a:effectLst/>
            </p:spPr>
            <p:txBody>
              <a:bodyPr rot="0" spcFirstLastPara="0" vert="horz" wrap="square" lIns="108000" tIns="36000" rIns="108000" bIns="10800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900" dirty="0">
                    <a:solidFill>
                      <a:prstClr val="black"/>
                    </a:solidFill>
                    <a:latin typeface="Segoe UI Light"/>
                  </a:rPr>
                  <a:t>Start</a:t>
                </a:r>
              </a:p>
            </p:txBody>
          </p:sp>
        </p:grpSp>
        <p:sp>
          <p:nvSpPr>
            <p:cNvPr id="201" name="Tekstvak 65"/>
            <p:cNvSpPr txBox="1"/>
            <p:nvPr userDrawn="1"/>
          </p:nvSpPr>
          <p:spPr>
            <a:xfrm>
              <a:off x="-2959433" y="372104"/>
              <a:ext cx="2679887" cy="453396"/>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nl-NL" sz="1200" kern="0" dirty="0">
                  <a:solidFill>
                    <a:srgbClr val="000000"/>
                  </a:solidFill>
                  <a:latin typeface="Segoe UI Light" panose="020B0502040204020203" pitchFamily="34" charset="0"/>
                  <a:cs typeface="Segoe UI Light" panose="020B0502040204020203" pitchFamily="34" charset="0"/>
                </a:rPr>
                <a:t>Ga naar de tab </a:t>
              </a:r>
              <a:r>
                <a:rPr lang="nl-NL" sz="1200" b="1" kern="0" dirty="0">
                  <a:solidFill>
                    <a:srgbClr val="000000"/>
                  </a:solidFill>
                  <a:latin typeface="Segoe UI Light" panose="020B0502040204020203" pitchFamily="34" charset="0"/>
                  <a:cs typeface="Segoe UI Light" panose="020B0502040204020203" pitchFamily="34" charset="0"/>
                </a:rPr>
                <a:t>Start’ </a:t>
              </a:r>
              <a:r>
                <a:rPr lang="nl-NL" sz="1200" kern="0" dirty="0">
                  <a:solidFill>
                    <a:srgbClr val="000000"/>
                  </a:solidFill>
                  <a:latin typeface="Segoe UI Light" panose="020B0502040204020203" pitchFamily="34" charset="0"/>
                  <a:cs typeface="Segoe UI Light" panose="020B0502040204020203" pitchFamily="34" charset="0"/>
                </a:rPr>
                <a:t>en vind onderstaande knoppen onder </a:t>
              </a:r>
              <a:r>
                <a:rPr lang="nl-NL" sz="1200" b="1" kern="0" dirty="0">
                  <a:solidFill>
                    <a:srgbClr val="000000"/>
                  </a:solidFill>
                  <a:latin typeface="Segoe UI Light" panose="020B0502040204020203" pitchFamily="34" charset="0"/>
                  <a:cs typeface="Segoe UI Light" panose="020B0502040204020203" pitchFamily="34" charset="0"/>
                </a:rPr>
                <a:t>‘Alinea’</a:t>
              </a:r>
            </a:p>
          </p:txBody>
        </p:sp>
        <p:sp>
          <p:nvSpPr>
            <p:cNvPr id="202" name="Ovaal 201"/>
            <p:cNvSpPr/>
            <p:nvPr userDrawn="1"/>
          </p:nvSpPr>
          <p:spPr>
            <a:xfrm>
              <a:off x="-2959433" y="375153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49" kern="0" dirty="0">
                  <a:solidFill>
                    <a:prstClr val="white"/>
                  </a:solidFill>
                  <a:cs typeface="Segoe UI Light" panose="020B0502040204020203" pitchFamily="34" charset="0"/>
                </a:rPr>
                <a:t>6</a:t>
              </a:r>
            </a:p>
          </p:txBody>
        </p:sp>
        <p:sp>
          <p:nvSpPr>
            <p:cNvPr id="203" name="Textfield placeholder"/>
            <p:cNvSpPr txBox="1">
              <a:spLocks/>
            </p:cNvSpPr>
            <p:nvPr userDrawn="1"/>
          </p:nvSpPr>
          <p:spPr>
            <a:xfrm>
              <a:off x="-2571950" y="3751536"/>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29648" lvl="5" indent="-269849" defTabSz="179288">
                <a:lnSpc>
                  <a:spcPct val="120000"/>
                </a:lnSpc>
                <a:spcAft>
                  <a:spcPts val="900"/>
                </a:spcAft>
                <a:buClr>
                  <a:srgbClr val="ED1A3B"/>
                </a:buClr>
                <a:buSzPct val="80000"/>
                <a:buFont typeface="Wingdings 3" panose="05040102010807070707" pitchFamily="18" charset="2"/>
                <a:buChar char=""/>
                <a:defRPr/>
              </a:pPr>
              <a:r>
                <a:rPr lang="nl-NL" sz="1200" cap="none" dirty="0">
                  <a:solidFill>
                    <a:srgbClr val="535353"/>
                  </a:solidFill>
                </a:rPr>
                <a:t># Bullets (16 pt.)</a:t>
              </a:r>
            </a:p>
          </p:txBody>
        </p:sp>
        <p:sp>
          <p:nvSpPr>
            <p:cNvPr id="204" name="Ovaal 203"/>
            <p:cNvSpPr/>
            <p:nvPr userDrawn="1"/>
          </p:nvSpPr>
          <p:spPr>
            <a:xfrm>
              <a:off x="-2959433" y="414870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49" kern="0" dirty="0">
                  <a:solidFill>
                    <a:prstClr val="white"/>
                  </a:solidFill>
                  <a:cs typeface="Segoe UI Light" panose="020B0502040204020203" pitchFamily="34" charset="0"/>
                </a:rPr>
                <a:t>7</a:t>
              </a:r>
            </a:p>
          </p:txBody>
        </p:sp>
        <p:sp>
          <p:nvSpPr>
            <p:cNvPr id="205" name="Textfield placeholder"/>
            <p:cNvSpPr txBox="1">
              <a:spLocks/>
            </p:cNvSpPr>
            <p:nvPr userDrawn="1"/>
          </p:nvSpPr>
          <p:spPr>
            <a:xfrm>
              <a:off x="-2571950" y="414870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6" indent="0" defTabSz="179288">
                <a:lnSpc>
                  <a:spcPct val="120000"/>
                </a:lnSpc>
                <a:spcBef>
                  <a:spcPts val="0"/>
                </a:spcBef>
                <a:spcAft>
                  <a:spcPts val="900"/>
                </a:spcAft>
                <a:buClr>
                  <a:srgbClr val="ED1A3B"/>
                </a:buClr>
                <a:buSzPct val="90000"/>
                <a:buFont typeface="+mj-lt"/>
                <a:buNone/>
                <a:defRPr/>
              </a:pPr>
              <a:r>
                <a:rPr lang="nl-NL" sz="1200" i="1" dirty="0">
                  <a:solidFill>
                    <a:srgbClr val="404040"/>
                  </a:solidFill>
                </a:rPr>
                <a:t>Cursief donker (16 pt.)</a:t>
              </a:r>
            </a:p>
          </p:txBody>
        </p:sp>
        <p:sp>
          <p:nvSpPr>
            <p:cNvPr id="206" name="Ovaal 205"/>
            <p:cNvSpPr/>
            <p:nvPr userDrawn="1"/>
          </p:nvSpPr>
          <p:spPr>
            <a:xfrm>
              <a:off x="-2959433" y="454586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49" kern="0" dirty="0">
                  <a:solidFill>
                    <a:prstClr val="white"/>
                  </a:solidFill>
                  <a:cs typeface="Segoe UI Light" panose="020B0502040204020203" pitchFamily="34" charset="0"/>
                </a:rPr>
                <a:t>8</a:t>
              </a:r>
            </a:p>
          </p:txBody>
        </p:sp>
        <p:sp>
          <p:nvSpPr>
            <p:cNvPr id="207" name="Textfield placeholder"/>
            <p:cNvSpPr txBox="1">
              <a:spLocks/>
            </p:cNvSpPr>
            <p:nvPr userDrawn="1"/>
          </p:nvSpPr>
          <p:spPr>
            <a:xfrm>
              <a:off x="-2571950" y="4545864"/>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7" indent="0" defTabSz="179288">
                <a:lnSpc>
                  <a:spcPct val="80000"/>
                </a:lnSpc>
                <a:spcBef>
                  <a:spcPts val="0"/>
                </a:spcBef>
                <a:spcAft>
                  <a:spcPts val="900"/>
                </a:spcAft>
                <a:buClr>
                  <a:srgbClr val="ED1A3B"/>
                </a:buClr>
                <a:buFont typeface="Arial" pitchFamily="34" charset="0"/>
                <a:buNone/>
                <a:defRPr/>
              </a:pPr>
              <a:r>
                <a:rPr lang="nl-NL" sz="1200" i="1" dirty="0">
                  <a:solidFill>
                    <a:srgbClr val="A3B0C0"/>
                  </a:solidFill>
                </a:rPr>
                <a:t>Cursief Licht (16 pt.)</a:t>
              </a:r>
            </a:p>
          </p:txBody>
        </p:sp>
        <p:sp>
          <p:nvSpPr>
            <p:cNvPr id="208" name="Ovaal 207"/>
            <p:cNvSpPr/>
            <p:nvPr userDrawn="1"/>
          </p:nvSpPr>
          <p:spPr>
            <a:xfrm>
              <a:off x="-2959433" y="488761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49" kern="0" dirty="0">
                  <a:solidFill>
                    <a:prstClr val="white"/>
                  </a:solidFill>
                  <a:cs typeface="Segoe UI Light" panose="020B0502040204020203" pitchFamily="34" charset="0"/>
                </a:rPr>
                <a:t>9</a:t>
              </a:r>
            </a:p>
          </p:txBody>
        </p:sp>
        <p:sp>
          <p:nvSpPr>
            <p:cNvPr id="209" name="Textfield placeholder"/>
            <p:cNvSpPr txBox="1">
              <a:spLocks/>
            </p:cNvSpPr>
            <p:nvPr userDrawn="1"/>
          </p:nvSpPr>
          <p:spPr>
            <a:xfrm>
              <a:off x="-2571950" y="488761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8" indent="0" defTabSz="179288">
                <a:lnSpc>
                  <a:spcPct val="80000"/>
                </a:lnSpc>
                <a:spcBef>
                  <a:spcPts val="0"/>
                </a:spcBef>
                <a:spcAft>
                  <a:spcPts val="900"/>
                </a:spcAft>
                <a:buClr>
                  <a:srgbClr val="ED1A3B"/>
                </a:buClr>
                <a:buFont typeface="Arial" pitchFamily="34" charset="0"/>
                <a:buNone/>
                <a:defRPr/>
              </a:pPr>
              <a:r>
                <a:rPr lang="nl-NL" sz="1399" b="1" dirty="0">
                  <a:solidFill>
                    <a:srgbClr val="ED1A3B"/>
                  </a:solidFill>
                </a:rPr>
                <a:t>Subtitel (18 pt.)</a:t>
              </a:r>
            </a:p>
          </p:txBody>
        </p:sp>
      </p:grpSp>
      <p:sp>
        <p:nvSpPr>
          <p:cNvPr id="91" name="Hyperlink - Inhoudsopgave">
            <a:hlinkClick r:id="rId4" action="ppaction://hlinksldjump"/>
          </p:cNvPr>
          <p:cNvSpPr/>
          <p:nvPr userDrawn="1"/>
        </p:nvSpPr>
        <p:spPr>
          <a:xfrm>
            <a:off x="10197857" y="5889802"/>
            <a:ext cx="2000493" cy="968199"/>
          </a:xfrm>
          <a:prstGeom prst="rect">
            <a:avLst/>
          </a:prstGeom>
          <a:solidFill>
            <a:srgbClr val="ED1A3B">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01"/>
            <a:endParaRPr lang="nl-NL" sz="1799">
              <a:solidFill>
                <a:srgbClr val="FFFFFF"/>
              </a:solidFill>
            </a:endParaRPr>
          </a:p>
        </p:txBody>
      </p:sp>
      <p:sp>
        <p:nvSpPr>
          <p:cNvPr id="93" name="Tijdelijke aanduiding voor Dianummer"/>
          <p:cNvSpPr>
            <a:spLocks noGrp="1"/>
          </p:cNvSpPr>
          <p:nvPr>
            <p:ph type="sldNum" sz="quarter" idx="4"/>
          </p:nvPr>
        </p:nvSpPr>
        <p:spPr>
          <a:xfrm>
            <a:off x="5770550" y="6295992"/>
            <a:ext cx="657251" cy="365125"/>
          </a:xfrm>
          <a:prstGeom prst="rect">
            <a:avLst/>
          </a:prstGeom>
        </p:spPr>
        <p:txBody>
          <a:bodyPr vert="horz" lIns="91440" tIns="45720" rIns="91440" bIns="45720" rtlCol="0" anchor="ctr"/>
          <a:lstStyle>
            <a:lvl1pPr algn="ctr">
              <a:defRPr sz="800">
                <a:solidFill>
                  <a:schemeClr val="tx1">
                    <a:tint val="75000"/>
                  </a:schemeClr>
                </a:solidFill>
              </a:defRPr>
            </a:lvl1pPr>
          </a:lstStyle>
          <a:p>
            <a:fld id="{1B3FA67A-C720-417A-A072-0CD211FD8662}" type="slidenum">
              <a:rPr lang="nl-NL" smtClean="0">
                <a:solidFill>
                  <a:srgbClr val="000000">
                    <a:tint val="75000"/>
                  </a:srgbClr>
                </a:solidFill>
              </a:rPr>
              <a:pPr/>
              <a:t>‹nr.›</a:t>
            </a:fld>
            <a:endParaRPr lang="nl-NL" dirty="0">
              <a:solidFill>
                <a:srgbClr val="000000">
                  <a:tint val="75000"/>
                </a:srgbClr>
              </a:solidFill>
            </a:endParaRPr>
          </a:p>
        </p:txBody>
      </p:sp>
      <p:sp>
        <p:nvSpPr>
          <p:cNvPr id="3" name="Tijdelijke aanduiding voor Tekst"/>
          <p:cNvSpPr>
            <a:spLocks noGrp="1"/>
          </p:cNvSpPr>
          <p:nvPr>
            <p:ph type="body" orient="vert" idx="1" hasCustomPrompt="1"/>
          </p:nvPr>
        </p:nvSpPr>
        <p:spPr>
          <a:xfrm>
            <a:off x="664110" y="1720867"/>
            <a:ext cx="10870131" cy="3693600"/>
          </a:xfrm>
        </p:spPr>
        <p:txBody>
          <a:bodyPr vert="horz"/>
          <a:lstStyle>
            <a:lvl1pPr>
              <a:defRPr sz="1599"/>
            </a:lvl1pPr>
            <a:lvl2pPr>
              <a:defRPr sz="1599"/>
            </a:lvl2pPr>
            <a:lvl3pPr>
              <a:defRPr sz="1599"/>
            </a:lvl3pPr>
            <a:lvl4pPr>
              <a:defRPr sz="1599"/>
            </a:lvl4pPr>
            <a:lvl5pPr>
              <a:defRPr sz="1599"/>
            </a:lvl5pPr>
            <a:lvl6pPr>
              <a:defRPr sz="1599"/>
            </a:lvl6pPr>
            <a:lvl7pPr>
              <a:defRPr sz="1599"/>
            </a:lvl7pPr>
            <a:lvl8pPr>
              <a:defRPr sz="1599"/>
            </a:lvl8pPr>
            <a:lvl9pPr>
              <a:defRPr sz="1799"/>
            </a:lvl9pPr>
          </a:lstStyle>
          <a:p>
            <a:pPr lvl="0"/>
            <a:r>
              <a:rPr lang="nl-NL" dirty="0"/>
              <a:t>Leestekst</a:t>
            </a:r>
          </a:p>
          <a:p>
            <a:pPr lvl="1"/>
            <a:r>
              <a:rPr lang="nl-NL" dirty="0"/>
              <a:t>Bullets</a:t>
            </a:r>
          </a:p>
          <a:p>
            <a:pPr lvl="2"/>
            <a:r>
              <a:rPr lang="nl-NL" dirty="0"/>
              <a:t>Sub-bullets</a:t>
            </a:r>
          </a:p>
          <a:p>
            <a:pPr lvl="3"/>
            <a:r>
              <a:rPr lang="nl-NL" dirty="0"/>
              <a:t>Sub-sub-bullets</a:t>
            </a:r>
          </a:p>
          <a:p>
            <a:pPr lvl="4"/>
            <a:r>
              <a:rPr lang="nl-NL" dirty="0"/>
              <a:t>Numeriek</a:t>
            </a:r>
          </a:p>
          <a:p>
            <a:pPr lvl="5"/>
            <a:r>
              <a:rPr lang="nl-NL" dirty="0"/>
              <a:t># Bullets</a:t>
            </a:r>
          </a:p>
          <a:p>
            <a:pPr lvl="6"/>
            <a:r>
              <a:rPr lang="nl-NL" dirty="0"/>
              <a:t>Cursief donker</a:t>
            </a:r>
          </a:p>
          <a:p>
            <a:pPr lvl="7"/>
            <a:r>
              <a:rPr lang="nl-NL" dirty="0"/>
              <a:t>Cursief licht</a:t>
            </a:r>
          </a:p>
          <a:p>
            <a:pPr lvl="8"/>
            <a:r>
              <a:rPr lang="nl-NL" dirty="0"/>
              <a:t>Subtitel</a:t>
            </a:r>
          </a:p>
        </p:txBody>
      </p:sp>
      <p:sp>
        <p:nvSpPr>
          <p:cNvPr id="2" name="Tijdelijke aanduiding voor Titel"/>
          <p:cNvSpPr>
            <a:spLocks noGrp="1"/>
          </p:cNvSpPr>
          <p:nvPr>
            <p:ph type="title"/>
          </p:nvPr>
        </p:nvSpPr>
        <p:spPr>
          <a:xfrm>
            <a:off x="664110" y="464521"/>
            <a:ext cx="10870131" cy="533219"/>
          </a:xfrm>
        </p:spPr>
        <p:txBody>
          <a:bodyPr/>
          <a:lstStyle/>
          <a:p>
            <a:r>
              <a:rPr lang="en-US"/>
              <a:t>Click to edit Master title style</a:t>
            </a:r>
            <a:endParaRPr lang="nl-NL" dirty="0"/>
          </a:p>
        </p:txBody>
      </p:sp>
    </p:spTree>
    <p:extLst>
      <p:ext uri="{BB962C8B-B14F-4D97-AF65-F5344CB8AC3E}">
        <p14:creationId xmlns:p14="http://schemas.microsoft.com/office/powerpoint/2010/main" val="3996073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obj">
  <p:cSld name="Titel en objec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de stijl te bewerken</a:t>
            </a:r>
            <a:endParaRPr lang="en-GB" dirty="0"/>
          </a:p>
        </p:txBody>
      </p:sp>
      <p:sp>
        <p:nvSpPr>
          <p:cNvPr id="3" name="Content Placeholder 2"/>
          <p:cNvSpPr>
            <a:spLocks noGrp="1"/>
          </p:cNvSpPr>
          <p:nvPr>
            <p:ph idx="1"/>
          </p:nvPr>
        </p:nvSpPr>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GB" dirty="0"/>
          </a:p>
        </p:txBody>
      </p:sp>
      <p:sp>
        <p:nvSpPr>
          <p:cNvPr id="10" name="Date Placeholder 1"/>
          <p:cNvSpPr>
            <a:spLocks noGrp="1"/>
          </p:cNvSpPr>
          <p:nvPr>
            <p:ph type="dt" sz="half" idx="10"/>
          </p:nvPr>
        </p:nvSpPr>
        <p:spPr>
          <a:xfrm>
            <a:off x="780780" y="6435017"/>
            <a:ext cx="4321415" cy="173892"/>
          </a:xfrm>
        </p:spPr>
        <p:txBody>
          <a:bodyPr/>
          <a:lstStyle>
            <a:lvl1pPr>
              <a:defRPr/>
            </a:lvl1pPr>
          </a:lstStyle>
          <a:p>
            <a:fld id="{EDB44664-3D40-427D-9616-F1C79D4BE58B}" type="datetime2">
              <a:rPr lang="nl-NL" smtClean="0"/>
              <a:pPr/>
              <a:t>maandag 6 januari 2020</a:t>
            </a:fld>
            <a:endParaRPr lang="en-GB"/>
          </a:p>
        </p:txBody>
      </p:sp>
      <p:sp>
        <p:nvSpPr>
          <p:cNvPr id="11" name="Footer Placeholder 2"/>
          <p:cNvSpPr>
            <a:spLocks noGrp="1"/>
          </p:cNvSpPr>
          <p:nvPr>
            <p:ph type="ftr" sz="quarter" idx="11"/>
          </p:nvPr>
        </p:nvSpPr>
        <p:spPr>
          <a:xfrm>
            <a:off x="9068707" y="6443809"/>
            <a:ext cx="1232379" cy="158750"/>
          </a:xfrm>
        </p:spPr>
        <p:txBody>
          <a:bodyPr/>
          <a:lstStyle>
            <a:lvl1pPr>
              <a:defRPr/>
            </a:lvl1pPr>
          </a:lstStyle>
          <a:p>
            <a:r>
              <a:rPr lang="en-GB" dirty="0"/>
              <a:t>© 2016 BDO</a:t>
            </a:r>
          </a:p>
        </p:txBody>
      </p:sp>
      <p:sp>
        <p:nvSpPr>
          <p:cNvPr id="7" name="Slide Number Placeholder 3"/>
          <p:cNvSpPr>
            <a:spLocks noGrp="1"/>
          </p:cNvSpPr>
          <p:nvPr>
            <p:ph type="sldNum" sz="quarter" idx="12"/>
          </p:nvPr>
        </p:nvSpPr>
        <p:spPr>
          <a:xfrm>
            <a:off x="4852214" y="6443809"/>
            <a:ext cx="2846282" cy="165100"/>
          </a:xfrm>
        </p:spPr>
        <p:txBody>
          <a:bodyPr/>
          <a:lstStyle>
            <a:lvl1pPr algn="ctr">
              <a:defRPr/>
            </a:lvl1pPr>
          </a:lstStyle>
          <a:p>
            <a:r>
              <a:rPr lang="en-GB" dirty="0" err="1"/>
              <a:t>Pagina</a:t>
            </a:r>
            <a:r>
              <a:rPr lang="en-GB" dirty="0"/>
              <a:t> </a:t>
            </a:r>
            <a:fld id="{70F63238-C654-4236-9828-76E35876810C}" type="slidenum">
              <a:rPr lang="nl-NL" smtClean="0"/>
              <a:pPr/>
              <a:t>‹nr.›</a:t>
            </a:fld>
            <a:endParaRPr lang="nl-NL" dirty="0"/>
          </a:p>
        </p:txBody>
      </p:sp>
    </p:spTree>
    <p:extLst>
      <p:ext uri="{BB962C8B-B14F-4D97-AF65-F5344CB8AC3E}">
        <p14:creationId xmlns:p14="http://schemas.microsoft.com/office/powerpoint/2010/main" val="26326212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Werkveld met titel">
    <p:spTree>
      <p:nvGrpSpPr>
        <p:cNvPr id="1" name=""/>
        <p:cNvGrpSpPr/>
        <p:nvPr/>
      </p:nvGrpSpPr>
      <p:grpSpPr>
        <a:xfrm>
          <a:off x="0" y="0"/>
          <a:ext cx="0" cy="0"/>
          <a:chOff x="0" y="0"/>
          <a:chExt cx="0" cy="0"/>
        </a:xfrm>
      </p:grpSpPr>
      <p:sp>
        <p:nvSpPr>
          <p:cNvPr id="11" name="Naam indeling - Werkveld met titel"/>
          <p:cNvSpPr txBox="1"/>
          <p:nvPr/>
        </p:nvSpPr>
        <p:spPr>
          <a:xfrm>
            <a:off x="1" y="-453266"/>
            <a:ext cx="3582333" cy="276999"/>
          </a:xfrm>
          <a:prstGeom prst="rect">
            <a:avLst/>
          </a:prstGeom>
          <a:noFill/>
        </p:spPr>
        <p:txBody>
          <a:bodyPr wrap="square" lIns="0" tIns="0" rIns="0" bIns="0" rtlCol="0">
            <a:spAutoFit/>
          </a:bodyPr>
          <a:lstStyle/>
          <a:p>
            <a:pPr defTabSz="914112"/>
            <a:r>
              <a:rPr lang="nl-NL" dirty="0">
                <a:solidFill>
                  <a:srgbClr val="404040"/>
                </a:solidFill>
                <a:latin typeface="Calibri" panose="020F0502020204030204" pitchFamily="34" charset="0"/>
              </a:rPr>
              <a:t>Werkveld met titel</a:t>
            </a:r>
            <a:endParaRPr lang="en-GB" dirty="0">
              <a:solidFill>
                <a:srgbClr val="404040"/>
              </a:solidFill>
              <a:latin typeface="Calibri" panose="020F0502020204030204" pitchFamily="34" charset="0"/>
            </a:endParaRPr>
          </a:p>
        </p:txBody>
      </p:sp>
      <p:grpSp>
        <p:nvGrpSpPr>
          <p:cNvPr id="185" name="Instructie - Tekst niveaus"/>
          <p:cNvGrpSpPr/>
          <p:nvPr userDrawn="1"/>
        </p:nvGrpSpPr>
        <p:grpSpPr>
          <a:xfrm>
            <a:off x="-3117849" y="365"/>
            <a:ext cx="2823358" cy="5254722"/>
            <a:chOff x="-2959433" y="-5444"/>
            <a:chExt cx="2822623" cy="5254722"/>
          </a:xfrm>
        </p:grpSpPr>
        <p:sp>
          <p:nvSpPr>
            <p:cNvPr id="186" name="Rechthoek 185"/>
            <p:cNvSpPr/>
            <p:nvPr userDrawn="1"/>
          </p:nvSpPr>
          <p:spPr>
            <a:xfrm>
              <a:off x="-2959433" y="-5444"/>
              <a:ext cx="2572469" cy="280344"/>
            </a:xfrm>
            <a:prstGeom prst="rect">
              <a:avLst/>
            </a:prstGeom>
            <a:noFill/>
            <a:ln w="25400" cap="flat" cmpd="sng" algn="ctr">
              <a:noFill/>
              <a:prstDash val="solid"/>
            </a:ln>
            <a:effectLst/>
          </p:spPr>
          <p:txBody>
            <a:bodyPr lIns="0" tIns="0" rIns="0" bIns="0" rtlCol="0" anchor="t"/>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nl-NL" sz="1600" b="1" kern="0" dirty="0">
                  <a:solidFill>
                    <a:srgbClr val="ED1A3B"/>
                  </a:solidFill>
                  <a:cs typeface="Segoe UI Light" panose="020B0502040204020203" pitchFamily="34" charset="0"/>
                </a:rPr>
                <a:t>TEKST NIVEAUS</a:t>
              </a:r>
            </a:p>
          </p:txBody>
        </p:sp>
        <p:sp>
          <p:nvSpPr>
            <p:cNvPr id="187" name="Textfield placeholder"/>
            <p:cNvSpPr txBox="1">
              <a:spLocks/>
            </p:cNvSpPr>
            <p:nvPr userDrawn="1"/>
          </p:nvSpPr>
          <p:spPr>
            <a:xfrm>
              <a:off x="-2587337" y="2675411"/>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0" lvl="2"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a:solidFill>
                    <a:srgbClr val="404040"/>
                  </a:solidFill>
                </a:rPr>
                <a:t>Sub-bullets (16 pt.)</a:t>
              </a:r>
            </a:p>
          </p:txBody>
        </p:sp>
        <p:sp>
          <p:nvSpPr>
            <p:cNvPr id="188" name="Ovaal 187"/>
            <p:cNvSpPr/>
            <p:nvPr userDrawn="1"/>
          </p:nvSpPr>
          <p:spPr>
            <a:xfrm>
              <a:off x="-2959433" y="196874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1</a:t>
              </a:r>
            </a:p>
          </p:txBody>
        </p:sp>
        <p:sp>
          <p:nvSpPr>
            <p:cNvPr id="189" name="Ovaal 188"/>
            <p:cNvSpPr/>
            <p:nvPr userDrawn="1"/>
          </p:nvSpPr>
          <p:spPr>
            <a:xfrm>
              <a:off x="-2959433" y="232207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2</a:t>
              </a:r>
            </a:p>
          </p:txBody>
        </p:sp>
        <p:sp>
          <p:nvSpPr>
            <p:cNvPr id="190" name="Ovaal 189"/>
            <p:cNvSpPr/>
            <p:nvPr userDrawn="1"/>
          </p:nvSpPr>
          <p:spPr>
            <a:xfrm>
              <a:off x="-2959433" y="267541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3</a:t>
              </a:r>
            </a:p>
          </p:txBody>
        </p:sp>
        <p:sp>
          <p:nvSpPr>
            <p:cNvPr id="191" name="Ovaal 190"/>
            <p:cNvSpPr/>
            <p:nvPr userDrawn="1"/>
          </p:nvSpPr>
          <p:spPr>
            <a:xfrm>
              <a:off x="-2959433" y="302874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4</a:t>
              </a:r>
            </a:p>
          </p:txBody>
        </p:sp>
        <p:sp>
          <p:nvSpPr>
            <p:cNvPr id="192" name="Textfield placeholder"/>
            <p:cNvSpPr txBox="1">
              <a:spLocks/>
            </p:cNvSpPr>
            <p:nvPr userDrawn="1"/>
          </p:nvSpPr>
          <p:spPr>
            <a:xfrm>
              <a:off x="-2571950" y="1966925"/>
              <a:ext cx="2163709" cy="261500"/>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79388">
                <a:lnSpc>
                  <a:spcPct val="120000"/>
                </a:lnSpc>
                <a:spcBef>
                  <a:spcPts val="0"/>
                </a:spcBef>
                <a:spcAft>
                  <a:spcPts val="900"/>
                </a:spcAft>
                <a:buClr>
                  <a:srgbClr val="000000"/>
                </a:buClr>
                <a:buSzPct val="100000"/>
                <a:buFont typeface="Arial" pitchFamily="34" charset="0"/>
                <a:buNone/>
                <a:defRPr/>
              </a:pPr>
              <a:r>
                <a:rPr lang="nl-NL" sz="1200" dirty="0">
                  <a:solidFill>
                    <a:srgbClr val="535353"/>
                  </a:solidFill>
                </a:rPr>
                <a:t>Leestekst (16 pt.)</a:t>
              </a:r>
            </a:p>
          </p:txBody>
        </p:sp>
        <p:sp>
          <p:nvSpPr>
            <p:cNvPr id="193" name="Textfield placeholder"/>
            <p:cNvSpPr txBox="1">
              <a:spLocks/>
            </p:cNvSpPr>
            <p:nvPr userDrawn="1"/>
          </p:nvSpPr>
          <p:spPr>
            <a:xfrm>
              <a:off x="-2571950" y="2322077"/>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70000" lvl="1"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err="1">
                  <a:solidFill>
                    <a:srgbClr val="535353"/>
                  </a:solidFill>
                </a:rPr>
                <a:t>Bullets</a:t>
              </a:r>
              <a:r>
                <a:rPr lang="nl-NL" sz="1200" dirty="0">
                  <a:solidFill>
                    <a:srgbClr val="535353"/>
                  </a:solidFill>
                </a:rPr>
                <a:t> (16 </a:t>
              </a:r>
              <a:r>
                <a:rPr lang="nl-NL" sz="1200" dirty="0" err="1">
                  <a:solidFill>
                    <a:srgbClr val="535353"/>
                  </a:solidFill>
                </a:rPr>
                <a:t>pt</a:t>
              </a:r>
              <a:r>
                <a:rPr lang="nl-NL" sz="1200" dirty="0">
                  <a:solidFill>
                    <a:srgbClr val="535353"/>
                  </a:solidFill>
                </a:rPr>
                <a:t>.)</a:t>
              </a:r>
            </a:p>
          </p:txBody>
        </p:sp>
        <p:sp>
          <p:nvSpPr>
            <p:cNvPr id="194" name="Textfield placeholder"/>
            <p:cNvSpPr txBox="1">
              <a:spLocks/>
            </p:cNvSpPr>
            <p:nvPr userDrawn="1"/>
          </p:nvSpPr>
          <p:spPr>
            <a:xfrm>
              <a:off x="-2571951" y="3028747"/>
              <a:ext cx="2435141"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10000" lvl="3" indent="-270000" defTabSz="179388">
                <a:lnSpc>
                  <a:spcPct val="120000"/>
                </a:lnSpc>
                <a:spcBef>
                  <a:spcPts val="0"/>
                </a:spcBef>
                <a:spcAft>
                  <a:spcPts val="900"/>
                </a:spcAft>
                <a:buClr>
                  <a:schemeClr val="accent2"/>
                </a:buClr>
                <a:buSzPct val="80000"/>
                <a:buFont typeface="Wingdings 3" panose="05040102010807070707" pitchFamily="18" charset="2"/>
                <a:buChar char=""/>
                <a:defRPr/>
              </a:pPr>
              <a:r>
                <a:rPr lang="nl-NL" sz="1200" b="0" dirty="0">
                  <a:solidFill>
                    <a:srgbClr val="404040"/>
                  </a:solidFill>
                </a:rPr>
                <a:t>Sub-sub-bullets (16 pt.)</a:t>
              </a:r>
            </a:p>
          </p:txBody>
        </p:sp>
        <p:cxnSp>
          <p:nvCxnSpPr>
            <p:cNvPr id="195" name="Rechte verbindingslijn 194"/>
            <p:cNvCxnSpPr/>
            <p:nvPr userDrawn="1"/>
          </p:nvCxnSpPr>
          <p:spPr>
            <a:xfrm>
              <a:off x="-2959100" y="274900"/>
              <a:ext cx="2674470" cy="0"/>
            </a:xfrm>
            <a:prstGeom prst="line">
              <a:avLst/>
            </a:prstGeom>
            <a:noFill/>
            <a:ln w="9525" cap="flat" cmpd="sng" algn="ctr">
              <a:solidFill>
                <a:schemeClr val="accent1"/>
              </a:solidFill>
              <a:prstDash val="solid"/>
            </a:ln>
            <a:effectLst/>
          </p:spPr>
        </p:cxnSp>
        <p:cxnSp>
          <p:nvCxnSpPr>
            <p:cNvPr id="196" name="Rechte verbindingslijn 195"/>
            <p:cNvCxnSpPr/>
            <p:nvPr userDrawn="1"/>
          </p:nvCxnSpPr>
          <p:spPr>
            <a:xfrm>
              <a:off x="-2959100" y="1841989"/>
              <a:ext cx="2661379" cy="0"/>
            </a:xfrm>
            <a:prstGeom prst="line">
              <a:avLst/>
            </a:prstGeom>
            <a:noFill/>
            <a:ln w="9525" cap="flat" cmpd="sng" algn="ctr">
              <a:solidFill>
                <a:schemeClr val="accent1"/>
              </a:solidFill>
              <a:prstDash val="solid"/>
            </a:ln>
            <a:effectLst/>
          </p:spPr>
        </p:cxnSp>
        <p:cxnSp>
          <p:nvCxnSpPr>
            <p:cNvPr id="197" name="Rechte verbindingslijn 196"/>
            <p:cNvCxnSpPr/>
            <p:nvPr userDrawn="1"/>
          </p:nvCxnSpPr>
          <p:spPr>
            <a:xfrm>
              <a:off x="-2959100" y="5249278"/>
              <a:ext cx="2661379" cy="0"/>
            </a:xfrm>
            <a:prstGeom prst="line">
              <a:avLst/>
            </a:prstGeom>
            <a:noFill/>
            <a:ln w="9525" cap="flat" cmpd="sng" algn="ctr">
              <a:solidFill>
                <a:schemeClr val="accent1"/>
              </a:solidFill>
              <a:prstDash val="solid"/>
            </a:ln>
            <a:effectLst/>
          </p:spPr>
        </p:cxnSp>
        <p:grpSp>
          <p:nvGrpSpPr>
            <p:cNvPr id="198" name="Groep 197"/>
            <p:cNvGrpSpPr/>
            <p:nvPr userDrawn="1"/>
          </p:nvGrpSpPr>
          <p:grpSpPr>
            <a:xfrm>
              <a:off x="-1948476" y="816741"/>
              <a:ext cx="409108" cy="427699"/>
              <a:chOff x="-1085063" y="758027"/>
              <a:chExt cx="633799" cy="622540"/>
            </a:xfrm>
          </p:grpSpPr>
          <p:sp>
            <p:nvSpPr>
              <p:cNvPr id="254" name="Afgeronde rechthoek 253"/>
              <p:cNvSpPr/>
              <p:nvPr userDrawn="1"/>
            </p:nvSpPr>
            <p:spPr>
              <a:xfrm>
                <a:off x="-108506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255" name="Groep 254"/>
              <p:cNvGrpSpPr/>
              <p:nvPr userDrawn="1"/>
            </p:nvGrpSpPr>
            <p:grpSpPr>
              <a:xfrm>
                <a:off x="-977739" y="864082"/>
                <a:ext cx="419168" cy="410429"/>
                <a:chOff x="6366933" y="309013"/>
                <a:chExt cx="1901295" cy="1861668"/>
              </a:xfrm>
              <a:solidFill>
                <a:srgbClr val="000000"/>
              </a:solidFill>
            </p:grpSpPr>
            <p:sp>
              <p:nvSpPr>
                <p:cNvPr id="256" name="Rechthoek 255"/>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7" name="Rechthoek 256"/>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8" name="Rechthoek 257"/>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9" name="Rechthoek 258"/>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0" name="Rechthoek 259"/>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1" name="Rechthoek 260"/>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2" name="Rechthoek 261"/>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3" name="Rechthoek 262"/>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4" name="Rechthoek 263"/>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5" name="Rechthoek 264"/>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6" name="Vrije vorm 265"/>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nvGrpSpPr>
            <p:cNvPr id="199" name="Groep 198"/>
            <p:cNvGrpSpPr/>
            <p:nvPr userDrawn="1"/>
          </p:nvGrpSpPr>
          <p:grpSpPr>
            <a:xfrm>
              <a:off x="-2950232" y="1207835"/>
              <a:ext cx="532929" cy="509563"/>
              <a:chOff x="-2880382" y="802341"/>
              <a:chExt cx="532929" cy="509563"/>
            </a:xfrm>
          </p:grpSpPr>
          <p:sp>
            <p:nvSpPr>
              <p:cNvPr id="232" name="Rechthoek 231"/>
              <p:cNvSpPr/>
              <p:nvPr userDrawn="1"/>
            </p:nvSpPr>
            <p:spPr>
              <a:xfrm>
                <a:off x="-2880382" y="802341"/>
                <a:ext cx="532929" cy="509563"/>
              </a:xfrm>
              <a:prstGeom prst="rect">
                <a:avLst/>
              </a:prstGeom>
              <a:solidFill>
                <a:sysClr val="window" lastClr="FFFFFF"/>
              </a:soli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pic>
            <p:nvPicPr>
              <p:cNvPr id="233"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635852" y="822181"/>
                <a:ext cx="226442" cy="208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4"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848026" y="822181"/>
                <a:ext cx="207168" cy="213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5" name="Groep 234"/>
              <p:cNvGrpSpPr/>
              <p:nvPr userDrawn="1"/>
            </p:nvGrpSpPr>
            <p:grpSpPr>
              <a:xfrm>
                <a:off x="-2802433" y="1123442"/>
                <a:ext cx="132915" cy="104889"/>
                <a:chOff x="-2796392" y="1123442"/>
                <a:chExt cx="120832" cy="104889"/>
              </a:xfrm>
            </p:grpSpPr>
            <p:sp>
              <p:nvSpPr>
                <p:cNvPr id="249" name="Rechthoek 248"/>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0" name="Rechthoek 249"/>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1" name="Rechthoek 250"/>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2" name="Rechthoek 251"/>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3" name="Rechthoek 252"/>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236" name="Groep 235"/>
              <p:cNvGrpSpPr/>
              <p:nvPr userDrawn="1"/>
            </p:nvGrpSpPr>
            <p:grpSpPr>
              <a:xfrm>
                <a:off x="-2575417" y="1123442"/>
                <a:ext cx="133930" cy="104889"/>
                <a:chOff x="-2556734" y="1123442"/>
                <a:chExt cx="147324" cy="104889"/>
              </a:xfrm>
            </p:grpSpPr>
            <p:grpSp>
              <p:nvGrpSpPr>
                <p:cNvPr id="237" name="Groep 236"/>
                <p:cNvGrpSpPr/>
                <p:nvPr userDrawn="1"/>
              </p:nvGrpSpPr>
              <p:grpSpPr>
                <a:xfrm>
                  <a:off x="-2556734" y="1123442"/>
                  <a:ext cx="68206" cy="104889"/>
                  <a:chOff x="-2796392" y="1123442"/>
                  <a:chExt cx="120832" cy="104889"/>
                </a:xfrm>
              </p:grpSpPr>
              <p:sp>
                <p:nvSpPr>
                  <p:cNvPr id="244" name="Rechthoek 243"/>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45" name="Rechthoek 244"/>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46" name="Rechthoek 245"/>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47" name="Rechthoek 246"/>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48" name="Rechthoek 247"/>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238" name="Groep 237"/>
                <p:cNvGrpSpPr/>
                <p:nvPr userDrawn="1"/>
              </p:nvGrpSpPr>
              <p:grpSpPr>
                <a:xfrm>
                  <a:off x="-2477616" y="1123442"/>
                  <a:ext cx="68206" cy="104889"/>
                  <a:chOff x="-2796392" y="1123442"/>
                  <a:chExt cx="120832" cy="104889"/>
                </a:xfrm>
              </p:grpSpPr>
              <p:sp>
                <p:nvSpPr>
                  <p:cNvPr id="239" name="Rechthoek 238"/>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40" name="Rechthoek 239"/>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41" name="Rechthoek 240"/>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42" name="Rechthoek 241"/>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43" name="Rechthoek 242"/>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grpSp>
          <p:nvGrpSpPr>
            <p:cNvPr id="200" name="Groep 199"/>
            <p:cNvGrpSpPr/>
            <p:nvPr userDrawn="1"/>
          </p:nvGrpSpPr>
          <p:grpSpPr>
            <a:xfrm>
              <a:off x="-1948476" y="1281164"/>
              <a:ext cx="413704" cy="427699"/>
              <a:chOff x="-1845083" y="758027"/>
              <a:chExt cx="633799" cy="622540"/>
            </a:xfrm>
          </p:grpSpPr>
          <p:sp>
            <p:nvSpPr>
              <p:cNvPr id="219" name="Afgeronde rechthoek 218"/>
              <p:cNvSpPr/>
              <p:nvPr userDrawn="1"/>
            </p:nvSpPr>
            <p:spPr>
              <a:xfrm>
                <a:off x="-184508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220" name="Groep 219"/>
              <p:cNvGrpSpPr/>
              <p:nvPr userDrawn="1"/>
            </p:nvGrpSpPr>
            <p:grpSpPr>
              <a:xfrm>
                <a:off x="-1737762" y="864082"/>
                <a:ext cx="419168" cy="410429"/>
                <a:chOff x="3708400" y="309013"/>
                <a:chExt cx="1901295" cy="1861668"/>
              </a:xfrm>
              <a:solidFill>
                <a:srgbClr val="000000"/>
              </a:solidFill>
            </p:grpSpPr>
            <p:sp>
              <p:nvSpPr>
                <p:cNvPr id="221" name="Rechthoek 220"/>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22" name="Rechthoek 221"/>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23" name="Rechthoek 222"/>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24" name="Rechthoek 223"/>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25" name="Rechthoek 224"/>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26" name="Rechthoek 225"/>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27" name="Rechthoek 226"/>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28" name="Rechthoek 227"/>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29" name="Rechthoek 228"/>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30" name="Rechthoek 229"/>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31" name="Vrije vorm 230"/>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cxnSp>
          <p:nvCxnSpPr>
            <p:cNvPr id="201" name="Rechte verbindingslijn 200"/>
            <p:cNvCxnSpPr/>
            <p:nvPr userDrawn="1"/>
          </p:nvCxnSpPr>
          <p:spPr>
            <a:xfrm>
              <a:off x="-2814292" y="1441193"/>
              <a:ext cx="865816" cy="53821"/>
            </a:xfrm>
            <a:prstGeom prst="line">
              <a:avLst/>
            </a:prstGeom>
            <a:noFill/>
            <a:ln w="9525" cap="flat" cmpd="sng" algn="ctr">
              <a:solidFill>
                <a:schemeClr val="accent1"/>
              </a:solidFill>
              <a:prstDash val="solid"/>
              <a:headEnd type="oval"/>
            </a:ln>
            <a:effectLst/>
          </p:spPr>
        </p:cxnSp>
        <p:cxnSp>
          <p:nvCxnSpPr>
            <p:cNvPr id="202" name="Rechte verbindingslijn 201"/>
            <p:cNvCxnSpPr/>
            <p:nvPr userDrawn="1"/>
          </p:nvCxnSpPr>
          <p:spPr>
            <a:xfrm flipV="1">
              <a:off x="-2453902" y="1030591"/>
              <a:ext cx="505426" cy="283623"/>
            </a:xfrm>
            <a:prstGeom prst="line">
              <a:avLst/>
            </a:prstGeom>
            <a:noFill/>
            <a:ln w="9525" cap="flat" cmpd="sng" algn="ctr">
              <a:solidFill>
                <a:schemeClr val="accent1"/>
              </a:solidFill>
              <a:prstDash val="solid"/>
              <a:headEnd type="oval"/>
            </a:ln>
            <a:effectLst/>
          </p:spPr>
        </p:cxnSp>
        <p:sp>
          <p:nvSpPr>
            <p:cNvPr id="203" name="Textfield placeholder"/>
            <p:cNvSpPr txBox="1">
              <a:spLocks/>
            </p:cNvSpPr>
            <p:nvPr userDrawn="1"/>
          </p:nvSpPr>
          <p:spPr>
            <a:xfrm>
              <a:off x="-1341598" y="816743"/>
              <a:ext cx="1056968" cy="427698"/>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hoog</a:t>
              </a:r>
            </a:p>
          </p:txBody>
        </p:sp>
        <p:sp>
          <p:nvSpPr>
            <p:cNvPr id="204" name="Textfield placeholder"/>
            <p:cNvSpPr txBox="1">
              <a:spLocks/>
            </p:cNvSpPr>
            <p:nvPr userDrawn="1"/>
          </p:nvSpPr>
          <p:spPr>
            <a:xfrm>
              <a:off x="-1341599" y="1281164"/>
              <a:ext cx="1070223" cy="427699"/>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laag</a:t>
              </a:r>
            </a:p>
          </p:txBody>
        </p:sp>
        <p:sp>
          <p:nvSpPr>
            <p:cNvPr id="205" name="Ovaal 204"/>
            <p:cNvSpPr/>
            <p:nvPr userDrawn="1"/>
          </p:nvSpPr>
          <p:spPr>
            <a:xfrm>
              <a:off x="-2959433" y="338208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5</a:t>
              </a:r>
            </a:p>
          </p:txBody>
        </p:sp>
        <p:sp>
          <p:nvSpPr>
            <p:cNvPr id="206" name="Textfield placeholder"/>
            <p:cNvSpPr txBox="1">
              <a:spLocks/>
            </p:cNvSpPr>
            <p:nvPr userDrawn="1"/>
          </p:nvSpPr>
          <p:spPr>
            <a:xfrm>
              <a:off x="-2571950" y="3382082"/>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60000" lvl="4" indent="-360000" defTabSz="179388">
                <a:lnSpc>
                  <a:spcPct val="120000"/>
                </a:lnSpc>
                <a:spcBef>
                  <a:spcPts val="0"/>
                </a:spcBef>
                <a:spcAft>
                  <a:spcPts val="900"/>
                </a:spcAft>
                <a:buClr>
                  <a:srgbClr val="ED1A3B"/>
                </a:buClr>
                <a:buFont typeface="+mj-lt"/>
                <a:buAutoNum type="arabicPeriod"/>
                <a:defRPr/>
              </a:pPr>
              <a:r>
                <a:rPr lang="nl-NL" sz="1200" b="0" dirty="0">
                  <a:solidFill>
                    <a:srgbClr val="404040"/>
                  </a:solidFill>
                </a:rPr>
                <a:t>Numeriek (16 pt.)</a:t>
              </a:r>
            </a:p>
          </p:txBody>
        </p:sp>
        <p:grpSp>
          <p:nvGrpSpPr>
            <p:cNvPr id="207" name="Groep 206"/>
            <p:cNvGrpSpPr/>
            <p:nvPr userDrawn="1"/>
          </p:nvGrpSpPr>
          <p:grpSpPr>
            <a:xfrm>
              <a:off x="-2950232" y="816050"/>
              <a:ext cx="528695" cy="344202"/>
              <a:chOff x="-2880382" y="410556"/>
              <a:chExt cx="528695" cy="344202"/>
            </a:xfrm>
          </p:grpSpPr>
          <p:sp>
            <p:nvSpPr>
              <p:cNvPr id="217" name="Afgeronde rechthoek 216"/>
              <p:cNvSpPr/>
              <p:nvPr userDrawn="1"/>
            </p:nvSpPr>
            <p:spPr>
              <a:xfrm>
                <a:off x="-2874214" y="410556"/>
                <a:ext cx="522527" cy="339183"/>
              </a:xfrm>
              <a:prstGeom prst="roundRect">
                <a:avLst>
                  <a:gd name="adj" fmla="val 7565"/>
                </a:avLst>
              </a:prstGeom>
              <a:gradFill>
                <a:gsLst>
                  <a:gs pos="0">
                    <a:srgbClr val="FFEC8F"/>
                  </a:gs>
                  <a:gs pos="100000">
                    <a:srgbClr val="FFFFFF"/>
                  </a:gs>
                </a:gsLst>
                <a:lin ang="5400000" scaled="0"/>
              </a:gra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sp>
            <p:nvSpPr>
              <p:cNvPr id="218" name="Vrije vorm 217"/>
              <p:cNvSpPr/>
              <p:nvPr userDrawn="1"/>
            </p:nvSpPr>
            <p:spPr>
              <a:xfrm>
                <a:off x="-2880382" y="452699"/>
                <a:ext cx="528695" cy="302059"/>
              </a:xfrm>
              <a:custGeom>
                <a:avLst/>
                <a:gdLst>
                  <a:gd name="connsiteX0" fmla="*/ 55524 w 528695"/>
                  <a:gd name="connsiteY0" fmla="*/ 0 h 302059"/>
                  <a:gd name="connsiteX1" fmla="*/ 455496 w 528695"/>
                  <a:gd name="connsiteY1" fmla="*/ 0 h 302059"/>
                  <a:gd name="connsiteX2" fmla="*/ 475205 w 528695"/>
                  <a:gd name="connsiteY2" fmla="*/ 19709 h 302059"/>
                  <a:gd name="connsiteX3" fmla="*/ 475205 w 528695"/>
                  <a:gd name="connsiteY3" fmla="*/ 230056 h 302059"/>
                  <a:gd name="connsiteX4" fmla="*/ 516694 w 528695"/>
                  <a:gd name="connsiteY4" fmla="*/ 230056 h 302059"/>
                  <a:gd name="connsiteX5" fmla="*/ 528695 w 528695"/>
                  <a:gd name="connsiteY5" fmla="*/ 242057 h 302059"/>
                  <a:gd name="connsiteX6" fmla="*/ 528695 w 528695"/>
                  <a:gd name="connsiteY6" fmla="*/ 290058 h 302059"/>
                  <a:gd name="connsiteX7" fmla="*/ 516694 w 528695"/>
                  <a:gd name="connsiteY7" fmla="*/ 302059 h 302059"/>
                  <a:gd name="connsiteX8" fmla="*/ 12001 w 528695"/>
                  <a:gd name="connsiteY8" fmla="*/ 302059 h 302059"/>
                  <a:gd name="connsiteX9" fmla="*/ 0 w 528695"/>
                  <a:gd name="connsiteY9" fmla="*/ 290058 h 302059"/>
                  <a:gd name="connsiteX10" fmla="*/ 0 w 528695"/>
                  <a:gd name="connsiteY10" fmla="*/ 242057 h 302059"/>
                  <a:gd name="connsiteX11" fmla="*/ 12001 w 528695"/>
                  <a:gd name="connsiteY11" fmla="*/ 230056 h 302059"/>
                  <a:gd name="connsiteX12" fmla="*/ 35815 w 528695"/>
                  <a:gd name="connsiteY12" fmla="*/ 230056 h 302059"/>
                  <a:gd name="connsiteX13" fmla="*/ 35815 w 528695"/>
                  <a:gd name="connsiteY13" fmla="*/ 19709 h 302059"/>
                  <a:gd name="connsiteX14" fmla="*/ 55524 w 528695"/>
                  <a:gd name="connsiteY14" fmla="*/ 0 h 3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8695" h="302059">
                    <a:moveTo>
                      <a:pt x="55524" y="0"/>
                    </a:moveTo>
                    <a:lnTo>
                      <a:pt x="455496" y="0"/>
                    </a:lnTo>
                    <a:cubicBezTo>
                      <a:pt x="466381" y="0"/>
                      <a:pt x="475205" y="8824"/>
                      <a:pt x="475205" y="19709"/>
                    </a:cubicBezTo>
                    <a:lnTo>
                      <a:pt x="475205" y="230056"/>
                    </a:lnTo>
                    <a:lnTo>
                      <a:pt x="516694" y="230056"/>
                    </a:lnTo>
                    <a:cubicBezTo>
                      <a:pt x="523322" y="230056"/>
                      <a:pt x="528695" y="235429"/>
                      <a:pt x="528695" y="242057"/>
                    </a:cubicBezTo>
                    <a:lnTo>
                      <a:pt x="528695" y="290058"/>
                    </a:lnTo>
                    <a:cubicBezTo>
                      <a:pt x="528695" y="296686"/>
                      <a:pt x="523322" y="302059"/>
                      <a:pt x="516694" y="302059"/>
                    </a:cubicBezTo>
                    <a:lnTo>
                      <a:pt x="12001" y="302059"/>
                    </a:lnTo>
                    <a:cubicBezTo>
                      <a:pt x="5373" y="302059"/>
                      <a:pt x="0" y="296686"/>
                      <a:pt x="0" y="290058"/>
                    </a:cubicBezTo>
                    <a:lnTo>
                      <a:pt x="0" y="242057"/>
                    </a:lnTo>
                    <a:cubicBezTo>
                      <a:pt x="0" y="235429"/>
                      <a:pt x="5373" y="230056"/>
                      <a:pt x="12001" y="230056"/>
                    </a:cubicBezTo>
                    <a:lnTo>
                      <a:pt x="35815" y="230056"/>
                    </a:lnTo>
                    <a:lnTo>
                      <a:pt x="35815" y="19709"/>
                    </a:lnTo>
                    <a:cubicBezTo>
                      <a:pt x="35815" y="8824"/>
                      <a:pt x="44639" y="0"/>
                      <a:pt x="55524" y="0"/>
                    </a:cubicBezTo>
                    <a:close/>
                  </a:path>
                </a:pathLst>
              </a:custGeom>
              <a:solidFill>
                <a:sysClr val="window" lastClr="FFFFFF">
                  <a:lumMod val="95000"/>
                </a:sysClr>
              </a:solidFill>
              <a:ln w="9525" cap="flat" cmpd="sng" algn="ctr">
                <a:solidFill>
                  <a:srgbClr val="FFFFFF">
                    <a:lumMod val="90000"/>
                  </a:srgbClr>
                </a:solidFill>
                <a:prstDash val="solid"/>
                <a:miter lim="800000"/>
              </a:ln>
              <a:effectLst/>
            </p:spPr>
            <p:txBody>
              <a:bodyPr rot="0" spcFirstLastPara="0" vert="horz" wrap="square" lIns="108000" tIns="36000" rIns="108000" bIns="10800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900" dirty="0">
                    <a:solidFill>
                      <a:prstClr val="black"/>
                    </a:solidFill>
                    <a:latin typeface="Segoe UI Light"/>
                  </a:rPr>
                  <a:t>Start</a:t>
                </a:r>
              </a:p>
            </p:txBody>
          </p:sp>
        </p:grpSp>
        <p:sp>
          <p:nvSpPr>
            <p:cNvPr id="208" name="Tekstvak 65"/>
            <p:cNvSpPr txBox="1"/>
            <p:nvPr userDrawn="1"/>
          </p:nvSpPr>
          <p:spPr>
            <a:xfrm>
              <a:off x="-2959433" y="372104"/>
              <a:ext cx="2679887" cy="453396"/>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nl-NL" sz="1200" kern="0" dirty="0">
                  <a:solidFill>
                    <a:srgbClr val="000000"/>
                  </a:solidFill>
                  <a:latin typeface="Segoe UI Light" panose="020B0502040204020203" pitchFamily="34" charset="0"/>
                  <a:cs typeface="Segoe UI Light" panose="020B0502040204020203" pitchFamily="34" charset="0"/>
                </a:rPr>
                <a:t>Ga naar de tab </a:t>
              </a:r>
              <a:r>
                <a:rPr lang="nl-NL" sz="1200" b="1" kern="0" dirty="0">
                  <a:solidFill>
                    <a:srgbClr val="000000"/>
                  </a:solidFill>
                  <a:latin typeface="Segoe UI Light" panose="020B0502040204020203" pitchFamily="34" charset="0"/>
                  <a:cs typeface="Segoe UI Light" panose="020B0502040204020203" pitchFamily="34" charset="0"/>
                </a:rPr>
                <a:t>Start’ </a:t>
              </a:r>
              <a:r>
                <a:rPr lang="nl-NL" sz="1200" kern="0" dirty="0">
                  <a:solidFill>
                    <a:srgbClr val="000000"/>
                  </a:solidFill>
                  <a:latin typeface="Segoe UI Light" panose="020B0502040204020203" pitchFamily="34" charset="0"/>
                  <a:cs typeface="Segoe UI Light" panose="020B0502040204020203" pitchFamily="34" charset="0"/>
                </a:rPr>
                <a:t>en vind onderstaande knoppen onder </a:t>
              </a:r>
              <a:r>
                <a:rPr lang="nl-NL" sz="1200" b="1" kern="0" dirty="0">
                  <a:solidFill>
                    <a:srgbClr val="000000"/>
                  </a:solidFill>
                  <a:latin typeface="Segoe UI Light" panose="020B0502040204020203" pitchFamily="34" charset="0"/>
                  <a:cs typeface="Segoe UI Light" panose="020B0502040204020203" pitchFamily="34" charset="0"/>
                </a:rPr>
                <a:t>‘Alinea’</a:t>
              </a:r>
            </a:p>
          </p:txBody>
        </p:sp>
        <p:sp>
          <p:nvSpPr>
            <p:cNvPr id="209" name="Ovaal 208"/>
            <p:cNvSpPr/>
            <p:nvPr userDrawn="1"/>
          </p:nvSpPr>
          <p:spPr>
            <a:xfrm>
              <a:off x="-2959433" y="375153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6</a:t>
              </a:r>
            </a:p>
          </p:txBody>
        </p:sp>
        <p:sp>
          <p:nvSpPr>
            <p:cNvPr id="210" name="Textfield placeholder"/>
            <p:cNvSpPr txBox="1">
              <a:spLocks/>
            </p:cNvSpPr>
            <p:nvPr userDrawn="1"/>
          </p:nvSpPr>
          <p:spPr>
            <a:xfrm>
              <a:off x="-2571950" y="3751536"/>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0000" lvl="5" indent="-270000" defTabSz="179388">
                <a:lnSpc>
                  <a:spcPct val="120000"/>
                </a:lnSpc>
                <a:spcAft>
                  <a:spcPts val="900"/>
                </a:spcAft>
                <a:buClr>
                  <a:srgbClr val="ED1A3B"/>
                </a:buClr>
                <a:buSzPct val="80000"/>
                <a:buFont typeface="Wingdings 3" panose="05040102010807070707" pitchFamily="18" charset="2"/>
                <a:buChar char=""/>
                <a:defRPr/>
              </a:pPr>
              <a:r>
                <a:rPr lang="nl-NL" sz="1200" cap="none" dirty="0">
                  <a:solidFill>
                    <a:srgbClr val="535353"/>
                  </a:solidFill>
                </a:rPr>
                <a:t># Bullets (16 pt.)</a:t>
              </a:r>
            </a:p>
          </p:txBody>
        </p:sp>
        <p:sp>
          <p:nvSpPr>
            <p:cNvPr id="211" name="Ovaal 210"/>
            <p:cNvSpPr/>
            <p:nvPr userDrawn="1"/>
          </p:nvSpPr>
          <p:spPr>
            <a:xfrm>
              <a:off x="-2959433" y="414870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7</a:t>
              </a:r>
            </a:p>
          </p:txBody>
        </p:sp>
        <p:sp>
          <p:nvSpPr>
            <p:cNvPr id="212" name="Textfield placeholder"/>
            <p:cNvSpPr txBox="1">
              <a:spLocks/>
            </p:cNvSpPr>
            <p:nvPr userDrawn="1"/>
          </p:nvSpPr>
          <p:spPr>
            <a:xfrm>
              <a:off x="-2571950" y="414870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6" indent="0" defTabSz="179388">
                <a:lnSpc>
                  <a:spcPct val="120000"/>
                </a:lnSpc>
                <a:spcBef>
                  <a:spcPts val="0"/>
                </a:spcBef>
                <a:spcAft>
                  <a:spcPts val="900"/>
                </a:spcAft>
                <a:buClr>
                  <a:srgbClr val="ED1A3B"/>
                </a:buClr>
                <a:buSzPct val="90000"/>
                <a:buFont typeface="+mj-lt"/>
                <a:buNone/>
                <a:defRPr/>
              </a:pPr>
              <a:r>
                <a:rPr lang="nl-NL" sz="1200" i="1" dirty="0">
                  <a:solidFill>
                    <a:srgbClr val="404040"/>
                  </a:solidFill>
                </a:rPr>
                <a:t>Cursief donker (16 pt.)</a:t>
              </a:r>
            </a:p>
          </p:txBody>
        </p:sp>
        <p:sp>
          <p:nvSpPr>
            <p:cNvPr id="213" name="Ovaal 212"/>
            <p:cNvSpPr/>
            <p:nvPr userDrawn="1"/>
          </p:nvSpPr>
          <p:spPr>
            <a:xfrm>
              <a:off x="-2959433" y="454586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8</a:t>
              </a:r>
            </a:p>
          </p:txBody>
        </p:sp>
        <p:sp>
          <p:nvSpPr>
            <p:cNvPr id="214" name="Textfield placeholder"/>
            <p:cNvSpPr txBox="1">
              <a:spLocks/>
            </p:cNvSpPr>
            <p:nvPr userDrawn="1"/>
          </p:nvSpPr>
          <p:spPr>
            <a:xfrm>
              <a:off x="-2571950" y="4545864"/>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7" indent="0" defTabSz="179388">
                <a:lnSpc>
                  <a:spcPct val="80000"/>
                </a:lnSpc>
                <a:spcBef>
                  <a:spcPts val="0"/>
                </a:spcBef>
                <a:spcAft>
                  <a:spcPts val="900"/>
                </a:spcAft>
                <a:buClr>
                  <a:srgbClr val="ED1A3B"/>
                </a:buClr>
                <a:buFont typeface="Arial" pitchFamily="34" charset="0"/>
                <a:buNone/>
                <a:defRPr/>
              </a:pPr>
              <a:r>
                <a:rPr lang="nl-NL" sz="1200" i="1" dirty="0">
                  <a:solidFill>
                    <a:srgbClr val="A3B0C0"/>
                  </a:solidFill>
                </a:rPr>
                <a:t>Cursief Licht (16 pt.)</a:t>
              </a:r>
            </a:p>
          </p:txBody>
        </p:sp>
        <p:sp>
          <p:nvSpPr>
            <p:cNvPr id="215" name="Ovaal 214"/>
            <p:cNvSpPr/>
            <p:nvPr userDrawn="1"/>
          </p:nvSpPr>
          <p:spPr>
            <a:xfrm>
              <a:off x="-2959433" y="488761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9</a:t>
              </a:r>
            </a:p>
          </p:txBody>
        </p:sp>
        <p:sp>
          <p:nvSpPr>
            <p:cNvPr id="216" name="Textfield placeholder"/>
            <p:cNvSpPr txBox="1">
              <a:spLocks/>
            </p:cNvSpPr>
            <p:nvPr userDrawn="1"/>
          </p:nvSpPr>
          <p:spPr>
            <a:xfrm>
              <a:off x="-2571950" y="488761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8" indent="0" defTabSz="179388">
                <a:lnSpc>
                  <a:spcPct val="80000"/>
                </a:lnSpc>
                <a:spcBef>
                  <a:spcPts val="0"/>
                </a:spcBef>
                <a:spcAft>
                  <a:spcPts val="900"/>
                </a:spcAft>
                <a:buClr>
                  <a:srgbClr val="ED1A3B"/>
                </a:buClr>
                <a:buFont typeface="Arial" pitchFamily="34" charset="0"/>
                <a:buNone/>
                <a:defRPr/>
              </a:pPr>
              <a:r>
                <a:rPr lang="nl-NL" sz="1400" b="1" dirty="0">
                  <a:solidFill>
                    <a:srgbClr val="ED1A3B"/>
                  </a:solidFill>
                </a:rPr>
                <a:t>Subtitel (18 pt.)</a:t>
              </a:r>
            </a:p>
          </p:txBody>
        </p:sp>
      </p:grpSp>
      <p:sp>
        <p:nvSpPr>
          <p:cNvPr id="94" name="Hyperlink - Inhoudsopgave">
            <a:hlinkClick r:id="rId4" action="ppaction://hlinksldjump"/>
          </p:cNvPr>
          <p:cNvSpPr/>
          <p:nvPr userDrawn="1"/>
        </p:nvSpPr>
        <p:spPr>
          <a:xfrm>
            <a:off x="10197856" y="5889801"/>
            <a:ext cx="2000494" cy="968199"/>
          </a:xfrm>
          <a:prstGeom prst="rect">
            <a:avLst/>
          </a:prstGeom>
          <a:solidFill>
            <a:srgbClr val="ED1A3B">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10" name="Grijze achtergrond"/>
          <p:cNvSpPr/>
          <p:nvPr/>
        </p:nvSpPr>
        <p:spPr>
          <a:xfrm>
            <a:off x="663748" y="1358671"/>
            <a:ext cx="10870492" cy="444046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en-GB">
              <a:solidFill>
                <a:srgbClr val="FFFFFF"/>
              </a:solidFill>
            </a:endParaRPr>
          </a:p>
        </p:txBody>
      </p:sp>
      <p:cxnSp>
        <p:nvCxnSpPr>
          <p:cNvPr id="20" name="Grijze lijn - onder"/>
          <p:cNvCxnSpPr/>
          <p:nvPr/>
        </p:nvCxnSpPr>
        <p:spPr>
          <a:xfrm flipH="1">
            <a:off x="664804" y="5776291"/>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 name="Grijze lijn - boven"/>
          <p:cNvCxnSpPr/>
          <p:nvPr/>
        </p:nvCxnSpPr>
        <p:spPr>
          <a:xfrm flipH="1">
            <a:off x="664804" y="1358670"/>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98" name="Tijdelijke aanduiding voor Dianummer"/>
          <p:cNvSpPr>
            <a:spLocks noGrp="1"/>
          </p:cNvSpPr>
          <p:nvPr>
            <p:ph type="sldNum" sz="quarter" idx="4"/>
          </p:nvPr>
        </p:nvSpPr>
        <p:spPr>
          <a:xfrm>
            <a:off x="5770549" y="6295992"/>
            <a:ext cx="657251" cy="365125"/>
          </a:xfrm>
          <a:prstGeom prst="rect">
            <a:avLst/>
          </a:prstGeom>
        </p:spPr>
        <p:txBody>
          <a:bodyPr vert="horz" lIns="91440" tIns="45720" rIns="91440" bIns="45720" rtlCol="0" anchor="ctr"/>
          <a:lstStyle>
            <a:lvl1pPr algn="ctr">
              <a:defRPr sz="800">
                <a:solidFill>
                  <a:schemeClr val="tx1">
                    <a:tint val="75000"/>
                  </a:schemeClr>
                </a:solidFill>
              </a:defRPr>
            </a:lvl1pPr>
          </a:lstStyle>
          <a:p>
            <a:fld id="{1B3FA67A-C720-417A-A072-0CD211FD8662}" type="slidenum">
              <a:rPr lang="nl-NL" smtClean="0">
                <a:solidFill>
                  <a:srgbClr val="000000">
                    <a:tint val="75000"/>
                  </a:srgbClr>
                </a:solidFill>
              </a:rPr>
              <a:pPr/>
              <a:t>‹nr.›</a:t>
            </a:fld>
            <a:endParaRPr lang="nl-NL" dirty="0">
              <a:solidFill>
                <a:srgbClr val="000000">
                  <a:tint val="75000"/>
                </a:srgbClr>
              </a:solidFill>
            </a:endParaRPr>
          </a:p>
        </p:txBody>
      </p:sp>
      <p:sp>
        <p:nvSpPr>
          <p:cNvPr id="3" name="Tijdelijke aanduiding voor Tekst"/>
          <p:cNvSpPr>
            <a:spLocks noGrp="1"/>
          </p:cNvSpPr>
          <p:nvPr>
            <p:ph type="body" orient="vert" idx="1"/>
          </p:nvPr>
        </p:nvSpPr>
        <p:spPr>
          <a:xfrm>
            <a:off x="664109" y="1720868"/>
            <a:ext cx="10870131" cy="336533"/>
          </a:xfrm>
        </p:spPr>
        <p:txBody>
          <a:bodyPr vert="horz"/>
          <a:lstStyle>
            <a:lvl1pPr algn="ctr">
              <a:defRPr sz="1600"/>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12" name="Tijdelijke aanduiding voor Subtitel"/>
          <p:cNvSpPr>
            <a:spLocks noGrp="1"/>
          </p:cNvSpPr>
          <p:nvPr>
            <p:ph type="body" idx="14"/>
          </p:nvPr>
        </p:nvSpPr>
        <p:spPr>
          <a:xfrm>
            <a:off x="664109" y="1001348"/>
            <a:ext cx="10870131" cy="317758"/>
          </a:xfrm>
        </p:spPr>
        <p:txBody>
          <a:bodyPr bIns="72000" anchor="t" anchorCtr="0"/>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15" name="Tijdelijke aanduiding voor Titel"/>
          <p:cNvSpPr>
            <a:spLocks noGrp="1"/>
          </p:cNvSpPr>
          <p:nvPr>
            <p:ph type="title"/>
          </p:nvPr>
        </p:nvSpPr>
        <p:spPr>
          <a:xfrm>
            <a:off x="664109" y="464521"/>
            <a:ext cx="10870131" cy="533219"/>
          </a:xfrm>
        </p:spPr>
        <p:txBody>
          <a:bodyPr/>
          <a:lstStyle/>
          <a:p>
            <a:r>
              <a:rPr lang="nl-NL"/>
              <a:t>Klik om stijl te bewerken</a:t>
            </a:r>
            <a:endParaRPr lang="nl-NL" dirty="0"/>
          </a:p>
        </p:txBody>
      </p:sp>
    </p:spTree>
    <p:extLst>
      <p:ext uri="{BB962C8B-B14F-4D97-AF65-F5344CB8AC3E}">
        <p14:creationId xmlns:p14="http://schemas.microsoft.com/office/powerpoint/2010/main" val="1711339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fbeelding 25%">
    <p:spTree>
      <p:nvGrpSpPr>
        <p:cNvPr id="1" name=""/>
        <p:cNvGrpSpPr/>
        <p:nvPr/>
      </p:nvGrpSpPr>
      <p:grpSpPr>
        <a:xfrm>
          <a:off x="0" y="0"/>
          <a:ext cx="0" cy="0"/>
          <a:chOff x="0" y="0"/>
          <a:chExt cx="0" cy="0"/>
        </a:xfrm>
      </p:grpSpPr>
      <p:sp>
        <p:nvSpPr>
          <p:cNvPr id="11" name="Naam indeling - Afbeelding 25%"/>
          <p:cNvSpPr txBox="1"/>
          <p:nvPr/>
        </p:nvSpPr>
        <p:spPr>
          <a:xfrm>
            <a:off x="1" y="-453266"/>
            <a:ext cx="3582333" cy="276999"/>
          </a:xfrm>
          <a:prstGeom prst="rect">
            <a:avLst/>
          </a:prstGeom>
          <a:noFill/>
        </p:spPr>
        <p:txBody>
          <a:bodyPr wrap="square" lIns="0" tIns="0" rIns="0" bIns="0" rtlCol="0">
            <a:spAutoFit/>
          </a:bodyPr>
          <a:lstStyle/>
          <a:p>
            <a:pPr defTabSz="914112"/>
            <a:r>
              <a:rPr lang="nl-NL" dirty="0">
                <a:solidFill>
                  <a:srgbClr val="404040"/>
                </a:solidFill>
                <a:latin typeface="Calibri" panose="020F0502020204030204" pitchFamily="34" charset="0"/>
              </a:rPr>
              <a:t>Afbeelding 25%</a:t>
            </a:r>
            <a:endParaRPr lang="en-GB" dirty="0">
              <a:solidFill>
                <a:srgbClr val="404040"/>
              </a:solidFill>
              <a:latin typeface="Calibri" panose="020F0502020204030204" pitchFamily="34" charset="0"/>
            </a:endParaRPr>
          </a:p>
        </p:txBody>
      </p:sp>
      <p:grpSp>
        <p:nvGrpSpPr>
          <p:cNvPr id="121" name="Instructie - Afbeelding invoegen"/>
          <p:cNvGrpSpPr/>
          <p:nvPr/>
        </p:nvGrpSpPr>
        <p:grpSpPr>
          <a:xfrm>
            <a:off x="12437931" y="14898"/>
            <a:ext cx="2717569" cy="3676571"/>
            <a:chOff x="12434693" y="14897"/>
            <a:chExt cx="2716862" cy="3676571"/>
          </a:xfrm>
        </p:grpSpPr>
        <p:sp>
          <p:nvSpPr>
            <p:cNvPr id="122" name="Rechthoek 121"/>
            <p:cNvSpPr/>
            <p:nvPr/>
          </p:nvSpPr>
          <p:spPr>
            <a:xfrm>
              <a:off x="12441150" y="14897"/>
              <a:ext cx="2696270" cy="161771"/>
            </a:xfrm>
            <a:prstGeom prst="rect">
              <a:avLst/>
            </a:prstGeom>
            <a:noFill/>
            <a:ln w="25400" cap="flat" cmpd="sng" algn="ctr">
              <a:noFill/>
              <a:prstDash val="solid"/>
            </a:ln>
            <a:effectLst/>
          </p:spPr>
          <p:txBody>
            <a:bodyPr lIns="0" tIns="0" rIns="0" bIns="0" rtlCol="0" anchor="t"/>
            <a:lstStyle/>
            <a:p>
              <a:pPr defTabSz="914112">
                <a:lnSpc>
                  <a:spcPct val="80000"/>
                </a:lnSpc>
              </a:pPr>
              <a:r>
                <a:rPr lang="nl-NL" sz="1600" b="1" kern="0" cap="all" dirty="0">
                  <a:solidFill>
                    <a:srgbClr val="ED1A3B"/>
                  </a:solidFill>
                  <a:cs typeface="Segoe UI Light" panose="020B0502040204020203" pitchFamily="34" charset="0"/>
                </a:rPr>
                <a:t>AFBEELDING INVOEGEN</a:t>
              </a:r>
            </a:p>
          </p:txBody>
        </p:sp>
        <p:sp>
          <p:nvSpPr>
            <p:cNvPr id="123" name="Tekstvak 33"/>
            <p:cNvSpPr txBox="1"/>
            <p:nvPr/>
          </p:nvSpPr>
          <p:spPr>
            <a:xfrm>
              <a:off x="12441149" y="814239"/>
              <a:ext cx="2710405" cy="719877"/>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Indien nodig, verwijder de bestaande afbeelding. Klik op het pictogram </a:t>
              </a:r>
              <a:br>
                <a:rPr lang="nl-NL" sz="1200" kern="0" dirty="0">
                  <a:solidFill>
                    <a:srgbClr val="000000"/>
                  </a:solidFill>
                  <a:latin typeface="Trebuchet MS"/>
                  <a:cs typeface="Segoe UI Light" panose="020B0502040204020203" pitchFamily="34" charset="0"/>
                </a:rPr>
              </a:br>
              <a:r>
                <a:rPr lang="nl-NL" sz="1200" kern="0" dirty="0">
                  <a:solidFill>
                    <a:srgbClr val="000000"/>
                  </a:solidFill>
                  <a:latin typeface="Trebuchet MS"/>
                  <a:cs typeface="Segoe UI Light" panose="020B0502040204020203" pitchFamily="34" charset="0"/>
                </a:rPr>
                <a:t>om een afbeelding in te voegen</a:t>
              </a:r>
              <a:br>
                <a:rPr lang="nl-NL" sz="1200" kern="0" dirty="0">
                  <a:solidFill>
                    <a:srgbClr val="000000"/>
                  </a:solidFill>
                  <a:latin typeface="Trebuchet MS"/>
                  <a:cs typeface="Segoe UI Light" panose="020B0502040204020203" pitchFamily="34" charset="0"/>
                </a:rPr>
              </a:br>
              <a:r>
                <a:rPr lang="nl-NL" sz="1100" i="1" kern="0" dirty="0">
                  <a:solidFill>
                    <a:srgbClr val="000000"/>
                  </a:solidFill>
                  <a:latin typeface="Trebuchet MS"/>
                  <a:cs typeface="Segoe UI Light" panose="020B0502040204020203" pitchFamily="34" charset="0"/>
                </a:rPr>
                <a:t>(zie onderstaand voorbeeld).</a:t>
              </a:r>
            </a:p>
          </p:txBody>
        </p:sp>
        <p:sp>
          <p:nvSpPr>
            <p:cNvPr id="124" name="Tekstvak 33"/>
            <p:cNvSpPr txBox="1"/>
            <p:nvPr/>
          </p:nvSpPr>
          <p:spPr>
            <a:xfrm>
              <a:off x="12441149" y="2793904"/>
              <a:ext cx="2710405" cy="395943"/>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Selecteer de afbeelding die u wilt invoegen en klik op </a:t>
              </a:r>
              <a:r>
                <a:rPr lang="nl-NL" sz="1200" b="1" kern="0" dirty="0">
                  <a:solidFill>
                    <a:srgbClr val="000000"/>
                  </a:solidFill>
                  <a:latin typeface="Trebuchet MS"/>
                  <a:cs typeface="Segoe UI Light" panose="020B0502040204020203" pitchFamily="34" charset="0"/>
                </a:rPr>
                <a:t>‘Invoegen’</a:t>
              </a:r>
            </a:p>
          </p:txBody>
        </p:sp>
        <p:sp>
          <p:nvSpPr>
            <p:cNvPr id="125" name="Ovaal 124"/>
            <p:cNvSpPr/>
            <p:nvPr/>
          </p:nvSpPr>
          <p:spPr>
            <a:xfrm>
              <a:off x="12441150" y="379292"/>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1</a:t>
              </a:r>
            </a:p>
          </p:txBody>
        </p:sp>
        <p:sp>
          <p:nvSpPr>
            <p:cNvPr id="126" name="Ovaal 125"/>
            <p:cNvSpPr/>
            <p:nvPr/>
          </p:nvSpPr>
          <p:spPr>
            <a:xfrm>
              <a:off x="12441150" y="2337208"/>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2</a:t>
              </a:r>
            </a:p>
          </p:txBody>
        </p:sp>
        <p:cxnSp>
          <p:nvCxnSpPr>
            <p:cNvPr id="127" name="Rechte verbindingslijn 126"/>
            <p:cNvCxnSpPr/>
            <p:nvPr/>
          </p:nvCxnSpPr>
          <p:spPr>
            <a:xfrm>
              <a:off x="12441150" y="248176"/>
              <a:ext cx="2710405" cy="0"/>
            </a:xfrm>
            <a:prstGeom prst="line">
              <a:avLst/>
            </a:prstGeom>
            <a:noFill/>
            <a:ln w="9525" cap="flat" cmpd="sng" algn="ctr">
              <a:solidFill>
                <a:schemeClr val="accent1"/>
              </a:solidFill>
              <a:prstDash val="solid"/>
            </a:ln>
            <a:effectLst/>
          </p:spPr>
        </p:cxnSp>
        <p:cxnSp>
          <p:nvCxnSpPr>
            <p:cNvPr id="128" name="Rechte verbindingslijn 127"/>
            <p:cNvCxnSpPr/>
            <p:nvPr/>
          </p:nvCxnSpPr>
          <p:spPr>
            <a:xfrm>
              <a:off x="12441149" y="2212830"/>
              <a:ext cx="2710405" cy="0"/>
            </a:xfrm>
            <a:prstGeom prst="line">
              <a:avLst/>
            </a:prstGeom>
            <a:noFill/>
            <a:ln w="9525" cap="flat" cmpd="sng" algn="ctr">
              <a:solidFill>
                <a:schemeClr val="accent1"/>
              </a:solidFill>
              <a:prstDash val="solid"/>
            </a:ln>
            <a:effectLst/>
          </p:spPr>
        </p:cxnSp>
        <p:cxnSp>
          <p:nvCxnSpPr>
            <p:cNvPr id="129" name="Rechte verbindingslijn 128"/>
            <p:cNvCxnSpPr/>
            <p:nvPr/>
          </p:nvCxnSpPr>
          <p:spPr>
            <a:xfrm>
              <a:off x="12444679" y="3691468"/>
              <a:ext cx="2706875" cy="0"/>
            </a:xfrm>
            <a:prstGeom prst="line">
              <a:avLst/>
            </a:prstGeom>
            <a:noFill/>
            <a:ln w="9525" cap="flat" cmpd="sng" algn="ctr">
              <a:solidFill>
                <a:schemeClr val="accent1"/>
              </a:solidFill>
              <a:prstDash val="solid"/>
            </a:ln>
            <a:effectLst/>
          </p:spPr>
        </p:cxnSp>
        <p:pic>
          <p:nvPicPr>
            <p:cNvPr id="130" name="Icoontje afbeeldi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434693" y="1677764"/>
              <a:ext cx="403210" cy="403210"/>
            </a:xfrm>
            <a:prstGeom prst="rect">
              <a:avLst/>
            </a:prstGeom>
          </p:spPr>
        </p:pic>
        <p:grpSp>
          <p:nvGrpSpPr>
            <p:cNvPr id="131" name="Groep 130"/>
            <p:cNvGrpSpPr/>
            <p:nvPr/>
          </p:nvGrpSpPr>
          <p:grpSpPr>
            <a:xfrm>
              <a:off x="12450571" y="3301369"/>
              <a:ext cx="1002992" cy="267962"/>
              <a:chOff x="13560784" y="3471416"/>
              <a:chExt cx="1114138" cy="297656"/>
            </a:xfrm>
          </p:grpSpPr>
          <p:sp>
            <p:nvSpPr>
              <p:cNvPr id="132" name="Afgeronde rechthoek 88"/>
              <p:cNvSpPr/>
              <p:nvPr/>
            </p:nvSpPr>
            <p:spPr>
              <a:xfrm>
                <a:off x="13560784" y="3471416"/>
                <a:ext cx="1114138" cy="297656"/>
              </a:xfrm>
              <a:prstGeom prst="roundRect">
                <a:avLst/>
              </a:prstGeom>
              <a:gradFill flip="none" rotWithShape="1">
                <a:gsLst>
                  <a:gs pos="4000">
                    <a:srgbClr val="00B0F0"/>
                  </a:gs>
                  <a:gs pos="0">
                    <a:srgbClr val="0070C0"/>
                  </a:gs>
                  <a:gs pos="100000">
                    <a:srgbClr val="0070C0"/>
                  </a:gs>
                  <a:gs pos="12000">
                    <a:srgbClr val="D1EAFF"/>
                  </a:gs>
                  <a:gs pos="96000">
                    <a:srgbClr val="00B0F0"/>
                  </a:gs>
                  <a:gs pos="89000">
                    <a:srgbClr val="DDF4FF"/>
                  </a:gs>
                  <a:gs pos="43000">
                    <a:srgbClr val="D1EAFF"/>
                  </a:gs>
                  <a:gs pos="51000">
                    <a:srgbClr val="DDF4FF"/>
                  </a:gs>
                </a:gsLst>
                <a:lin ang="16200000" scaled="1"/>
                <a:tileRect/>
              </a:gradFill>
              <a:ln w="63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dirty="0">
                  <a:solidFill>
                    <a:srgbClr val="FFFFFF"/>
                  </a:solidFill>
                </a:endParaRPr>
              </a:p>
            </p:txBody>
          </p:sp>
          <p:sp>
            <p:nvSpPr>
              <p:cNvPr id="133" name="Tekstvak 132"/>
              <p:cNvSpPr txBox="1"/>
              <p:nvPr/>
            </p:nvSpPr>
            <p:spPr>
              <a:xfrm>
                <a:off x="13573594" y="3488254"/>
                <a:ext cx="888311" cy="273506"/>
              </a:xfrm>
              <a:prstGeom prst="rect">
                <a:avLst/>
              </a:prstGeom>
              <a:noFill/>
            </p:spPr>
            <p:txBody>
              <a:bodyPr wrap="square" rtlCol="0" anchor="ctr">
                <a:spAutoFit/>
              </a:bodyPr>
              <a:lstStyle>
                <a:defPPr>
                  <a:defRPr lang="nl-NL"/>
                </a:defPPr>
                <a:lvl1pPr marR="0" lvl="0" indent="0" algn="ctr" fontAlgn="auto">
                  <a:lnSpc>
                    <a:spcPct val="100000"/>
                  </a:lnSpc>
                  <a:spcBef>
                    <a:spcPts val="0"/>
                  </a:spcBef>
                  <a:spcAft>
                    <a:spcPts val="0"/>
                  </a:spcAft>
                  <a:buClrTx/>
                  <a:buSzTx/>
                  <a:buFontTx/>
                  <a:buNone/>
                  <a:tabLst/>
                  <a:defRPr kumimoji="0" sz="900" i="0" u="none" strike="noStrike" kern="0" cap="none" spc="0" normalizeH="0" baseline="0">
                    <a:ln>
                      <a:noFill/>
                    </a:ln>
                    <a:effectLst>
                      <a:outerShdw blurRad="25400" algn="ctr" rotWithShape="0">
                        <a:prstClr val="white"/>
                      </a:outerShdw>
                    </a:effectLst>
                    <a:uLnTx/>
                    <a:uFillTx/>
                    <a:latin typeface="Segoe UI Light" panose="020B0502040204020203" pitchFamily="34" charset="0"/>
                    <a:cs typeface="Segoe UI Light" panose="020B0502040204020203" pitchFamily="34" charset="0"/>
                  </a:defRPr>
                </a:lvl1pPr>
                <a:lvl2pPr fontAlgn="base">
                  <a:spcBef>
                    <a:spcPct val="0"/>
                  </a:spcBef>
                  <a:spcAft>
                    <a:spcPct val="0"/>
                  </a:spcAft>
                  <a:defRPr>
                    <a:latin typeface="Arial" charset="0"/>
                    <a:cs typeface="Arial" charset="0"/>
                  </a:defRPr>
                </a:lvl2pPr>
                <a:lvl3pPr fontAlgn="base">
                  <a:spcBef>
                    <a:spcPct val="0"/>
                  </a:spcBef>
                  <a:spcAft>
                    <a:spcPct val="0"/>
                  </a:spcAft>
                  <a:defRPr>
                    <a:latin typeface="Arial" charset="0"/>
                    <a:cs typeface="Arial" charset="0"/>
                  </a:defRPr>
                </a:lvl3pPr>
                <a:lvl4pPr fontAlgn="base">
                  <a:spcBef>
                    <a:spcPct val="0"/>
                  </a:spcBef>
                  <a:spcAft>
                    <a:spcPct val="0"/>
                  </a:spcAft>
                  <a:defRPr>
                    <a:latin typeface="Arial" charset="0"/>
                    <a:cs typeface="Arial" charset="0"/>
                  </a:defRPr>
                </a:lvl4pPr>
                <a:lvl5pPr fontAlgn="base">
                  <a:spcBef>
                    <a:spcPct val="0"/>
                  </a:spcBef>
                  <a:spcAft>
                    <a:spcPct val="0"/>
                  </a:spcAft>
                  <a:defRPr>
                    <a:latin typeface="Arial" charset="0"/>
                    <a:cs typeface="Arial" charset="0"/>
                  </a:defRPr>
                </a:lvl5pPr>
                <a:lvl6pPr>
                  <a:defRPr>
                    <a:latin typeface="Arial" charset="0"/>
                    <a:cs typeface="Arial" charset="0"/>
                  </a:defRPr>
                </a:lvl6pPr>
                <a:lvl7pPr>
                  <a:defRPr>
                    <a:latin typeface="Arial" charset="0"/>
                    <a:cs typeface="Arial" charset="0"/>
                  </a:defRPr>
                </a:lvl7pPr>
                <a:lvl8pPr>
                  <a:defRPr>
                    <a:latin typeface="Arial" charset="0"/>
                    <a:cs typeface="Arial" charset="0"/>
                  </a:defRPr>
                </a:lvl8pPr>
                <a:lvl9pPr>
                  <a:defRPr>
                    <a:latin typeface="Arial" charset="0"/>
                    <a:cs typeface="Arial" charset="0"/>
                  </a:defRPr>
                </a:lvl9pPr>
              </a:lstStyle>
              <a:p>
                <a:pPr defTabSz="914112"/>
                <a:r>
                  <a:rPr lang="nl-NL" sz="1000" dirty="0">
                    <a:solidFill>
                      <a:srgbClr val="000000"/>
                    </a:solidFill>
                    <a:latin typeface="Trebuchet MS"/>
                  </a:rPr>
                  <a:t>Invoegen</a:t>
                </a:r>
              </a:p>
            </p:txBody>
          </p:sp>
          <p:cxnSp>
            <p:nvCxnSpPr>
              <p:cNvPr id="134" name="Rechte verbindingslijn 133"/>
              <p:cNvCxnSpPr/>
              <p:nvPr/>
            </p:nvCxnSpPr>
            <p:spPr>
              <a:xfrm>
                <a:off x="14461905" y="3507058"/>
                <a:ext cx="0" cy="224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5" name="Gelijkbenige driehoek 134"/>
              <p:cNvSpPr/>
              <p:nvPr/>
            </p:nvSpPr>
            <p:spPr>
              <a:xfrm rot="10800000">
                <a:off x="14518584" y="3600521"/>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112"/>
                <a:endParaRPr lang="nl-NL" dirty="0">
                  <a:solidFill>
                    <a:srgbClr val="FFFFFF"/>
                  </a:solidFill>
                </a:endParaRPr>
              </a:p>
            </p:txBody>
          </p:sp>
        </p:grpSp>
      </p:grpSp>
      <p:grpSp>
        <p:nvGrpSpPr>
          <p:cNvPr id="222" name="Instructie - Tekst niveaus"/>
          <p:cNvGrpSpPr/>
          <p:nvPr userDrawn="1"/>
        </p:nvGrpSpPr>
        <p:grpSpPr>
          <a:xfrm>
            <a:off x="-3117849" y="365"/>
            <a:ext cx="2823358" cy="5254722"/>
            <a:chOff x="-2959433" y="-5444"/>
            <a:chExt cx="2822623" cy="5254722"/>
          </a:xfrm>
        </p:grpSpPr>
        <p:sp>
          <p:nvSpPr>
            <p:cNvPr id="223" name="Rechthoek 222"/>
            <p:cNvSpPr/>
            <p:nvPr userDrawn="1"/>
          </p:nvSpPr>
          <p:spPr>
            <a:xfrm>
              <a:off x="-2959433" y="-5444"/>
              <a:ext cx="2572469" cy="280344"/>
            </a:xfrm>
            <a:prstGeom prst="rect">
              <a:avLst/>
            </a:prstGeom>
            <a:noFill/>
            <a:ln w="25400" cap="flat" cmpd="sng" algn="ctr">
              <a:noFill/>
              <a:prstDash val="solid"/>
            </a:ln>
            <a:effectLst/>
          </p:spPr>
          <p:txBody>
            <a:bodyPr lIns="0" tIns="0" rIns="0" bIns="0" rtlCol="0" anchor="t"/>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nl-NL" sz="1600" b="1" kern="0" dirty="0">
                  <a:solidFill>
                    <a:srgbClr val="ED1A3B"/>
                  </a:solidFill>
                  <a:cs typeface="Segoe UI Light" panose="020B0502040204020203" pitchFamily="34" charset="0"/>
                </a:rPr>
                <a:t>TEKST NIVEAUS</a:t>
              </a:r>
            </a:p>
          </p:txBody>
        </p:sp>
        <p:sp>
          <p:nvSpPr>
            <p:cNvPr id="224" name="Textfield placeholder"/>
            <p:cNvSpPr txBox="1">
              <a:spLocks/>
            </p:cNvSpPr>
            <p:nvPr userDrawn="1"/>
          </p:nvSpPr>
          <p:spPr>
            <a:xfrm>
              <a:off x="-2587337" y="2675411"/>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0" lvl="2"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a:solidFill>
                    <a:srgbClr val="404040"/>
                  </a:solidFill>
                </a:rPr>
                <a:t>Sub-bullets (16 pt.)</a:t>
              </a:r>
            </a:p>
          </p:txBody>
        </p:sp>
        <p:sp>
          <p:nvSpPr>
            <p:cNvPr id="225" name="Ovaal 224"/>
            <p:cNvSpPr/>
            <p:nvPr userDrawn="1"/>
          </p:nvSpPr>
          <p:spPr>
            <a:xfrm>
              <a:off x="-2959433" y="196874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1</a:t>
              </a:r>
            </a:p>
          </p:txBody>
        </p:sp>
        <p:sp>
          <p:nvSpPr>
            <p:cNvPr id="226" name="Ovaal 225"/>
            <p:cNvSpPr/>
            <p:nvPr userDrawn="1"/>
          </p:nvSpPr>
          <p:spPr>
            <a:xfrm>
              <a:off x="-2959433" y="232207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2</a:t>
              </a:r>
            </a:p>
          </p:txBody>
        </p:sp>
        <p:sp>
          <p:nvSpPr>
            <p:cNvPr id="227" name="Ovaal 226"/>
            <p:cNvSpPr/>
            <p:nvPr userDrawn="1"/>
          </p:nvSpPr>
          <p:spPr>
            <a:xfrm>
              <a:off x="-2959433" y="267541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3</a:t>
              </a:r>
            </a:p>
          </p:txBody>
        </p:sp>
        <p:sp>
          <p:nvSpPr>
            <p:cNvPr id="228" name="Ovaal 227"/>
            <p:cNvSpPr/>
            <p:nvPr userDrawn="1"/>
          </p:nvSpPr>
          <p:spPr>
            <a:xfrm>
              <a:off x="-2959433" y="302874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4</a:t>
              </a:r>
            </a:p>
          </p:txBody>
        </p:sp>
        <p:sp>
          <p:nvSpPr>
            <p:cNvPr id="229" name="Textfield placeholder"/>
            <p:cNvSpPr txBox="1">
              <a:spLocks/>
            </p:cNvSpPr>
            <p:nvPr userDrawn="1"/>
          </p:nvSpPr>
          <p:spPr>
            <a:xfrm>
              <a:off x="-2571950" y="1966925"/>
              <a:ext cx="2163709" cy="261500"/>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79388">
                <a:lnSpc>
                  <a:spcPct val="120000"/>
                </a:lnSpc>
                <a:spcBef>
                  <a:spcPts val="0"/>
                </a:spcBef>
                <a:spcAft>
                  <a:spcPts val="900"/>
                </a:spcAft>
                <a:buClr>
                  <a:srgbClr val="000000"/>
                </a:buClr>
                <a:buSzPct val="100000"/>
                <a:buFont typeface="Arial" pitchFamily="34" charset="0"/>
                <a:buNone/>
                <a:defRPr/>
              </a:pPr>
              <a:r>
                <a:rPr lang="nl-NL" sz="1200" dirty="0">
                  <a:solidFill>
                    <a:srgbClr val="535353"/>
                  </a:solidFill>
                </a:rPr>
                <a:t>Leestekst (16 pt.)</a:t>
              </a:r>
            </a:p>
          </p:txBody>
        </p:sp>
        <p:sp>
          <p:nvSpPr>
            <p:cNvPr id="230" name="Textfield placeholder"/>
            <p:cNvSpPr txBox="1">
              <a:spLocks/>
            </p:cNvSpPr>
            <p:nvPr userDrawn="1"/>
          </p:nvSpPr>
          <p:spPr>
            <a:xfrm>
              <a:off x="-2571950" y="2322077"/>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70000" lvl="1"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err="1">
                  <a:solidFill>
                    <a:srgbClr val="535353"/>
                  </a:solidFill>
                </a:rPr>
                <a:t>Bullets</a:t>
              </a:r>
              <a:r>
                <a:rPr lang="nl-NL" sz="1200" dirty="0">
                  <a:solidFill>
                    <a:srgbClr val="535353"/>
                  </a:solidFill>
                </a:rPr>
                <a:t> (16 </a:t>
              </a:r>
              <a:r>
                <a:rPr lang="nl-NL" sz="1200" dirty="0" err="1">
                  <a:solidFill>
                    <a:srgbClr val="535353"/>
                  </a:solidFill>
                </a:rPr>
                <a:t>pt</a:t>
              </a:r>
              <a:r>
                <a:rPr lang="nl-NL" sz="1200" dirty="0">
                  <a:solidFill>
                    <a:srgbClr val="535353"/>
                  </a:solidFill>
                </a:rPr>
                <a:t>.)</a:t>
              </a:r>
            </a:p>
          </p:txBody>
        </p:sp>
        <p:sp>
          <p:nvSpPr>
            <p:cNvPr id="231" name="Textfield placeholder"/>
            <p:cNvSpPr txBox="1">
              <a:spLocks/>
            </p:cNvSpPr>
            <p:nvPr userDrawn="1"/>
          </p:nvSpPr>
          <p:spPr>
            <a:xfrm>
              <a:off x="-2571951" y="3028747"/>
              <a:ext cx="2435141"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10000" lvl="3" indent="-270000" defTabSz="179388">
                <a:lnSpc>
                  <a:spcPct val="120000"/>
                </a:lnSpc>
                <a:spcBef>
                  <a:spcPts val="0"/>
                </a:spcBef>
                <a:spcAft>
                  <a:spcPts val="900"/>
                </a:spcAft>
                <a:buClr>
                  <a:schemeClr val="accent2"/>
                </a:buClr>
                <a:buSzPct val="80000"/>
                <a:buFont typeface="Wingdings 3" panose="05040102010807070707" pitchFamily="18" charset="2"/>
                <a:buChar char=""/>
                <a:defRPr/>
              </a:pPr>
              <a:r>
                <a:rPr lang="nl-NL" sz="1200" b="0" dirty="0">
                  <a:solidFill>
                    <a:srgbClr val="404040"/>
                  </a:solidFill>
                </a:rPr>
                <a:t>Sub-sub-bullets (16 pt.)</a:t>
              </a:r>
            </a:p>
          </p:txBody>
        </p:sp>
        <p:cxnSp>
          <p:nvCxnSpPr>
            <p:cNvPr id="232" name="Rechte verbindingslijn 231"/>
            <p:cNvCxnSpPr/>
            <p:nvPr userDrawn="1"/>
          </p:nvCxnSpPr>
          <p:spPr>
            <a:xfrm>
              <a:off x="-2959100" y="274900"/>
              <a:ext cx="2674470" cy="0"/>
            </a:xfrm>
            <a:prstGeom prst="line">
              <a:avLst/>
            </a:prstGeom>
            <a:noFill/>
            <a:ln w="9525" cap="flat" cmpd="sng" algn="ctr">
              <a:solidFill>
                <a:schemeClr val="accent1"/>
              </a:solidFill>
              <a:prstDash val="solid"/>
            </a:ln>
            <a:effectLst/>
          </p:spPr>
        </p:cxnSp>
        <p:cxnSp>
          <p:nvCxnSpPr>
            <p:cNvPr id="233" name="Rechte verbindingslijn 232"/>
            <p:cNvCxnSpPr/>
            <p:nvPr userDrawn="1"/>
          </p:nvCxnSpPr>
          <p:spPr>
            <a:xfrm>
              <a:off x="-2959100" y="1841989"/>
              <a:ext cx="2661379" cy="0"/>
            </a:xfrm>
            <a:prstGeom prst="line">
              <a:avLst/>
            </a:prstGeom>
            <a:noFill/>
            <a:ln w="9525" cap="flat" cmpd="sng" algn="ctr">
              <a:solidFill>
                <a:schemeClr val="accent1"/>
              </a:solidFill>
              <a:prstDash val="solid"/>
            </a:ln>
            <a:effectLst/>
          </p:spPr>
        </p:cxnSp>
        <p:cxnSp>
          <p:nvCxnSpPr>
            <p:cNvPr id="234" name="Rechte verbindingslijn 233"/>
            <p:cNvCxnSpPr/>
            <p:nvPr userDrawn="1"/>
          </p:nvCxnSpPr>
          <p:spPr>
            <a:xfrm>
              <a:off x="-2959100" y="5249278"/>
              <a:ext cx="2661379" cy="0"/>
            </a:xfrm>
            <a:prstGeom prst="line">
              <a:avLst/>
            </a:prstGeom>
            <a:noFill/>
            <a:ln w="9525" cap="flat" cmpd="sng" algn="ctr">
              <a:solidFill>
                <a:schemeClr val="accent1"/>
              </a:solidFill>
              <a:prstDash val="solid"/>
            </a:ln>
            <a:effectLst/>
          </p:spPr>
        </p:cxnSp>
        <p:grpSp>
          <p:nvGrpSpPr>
            <p:cNvPr id="235" name="Groep 234"/>
            <p:cNvGrpSpPr/>
            <p:nvPr userDrawn="1"/>
          </p:nvGrpSpPr>
          <p:grpSpPr>
            <a:xfrm>
              <a:off x="-1948476" y="816741"/>
              <a:ext cx="409108" cy="427699"/>
              <a:chOff x="-1085063" y="758027"/>
              <a:chExt cx="633799" cy="622540"/>
            </a:xfrm>
          </p:grpSpPr>
          <p:sp>
            <p:nvSpPr>
              <p:cNvPr id="291" name="Afgeronde rechthoek 290"/>
              <p:cNvSpPr/>
              <p:nvPr userDrawn="1"/>
            </p:nvSpPr>
            <p:spPr>
              <a:xfrm>
                <a:off x="-108506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292" name="Groep 291"/>
              <p:cNvGrpSpPr/>
              <p:nvPr userDrawn="1"/>
            </p:nvGrpSpPr>
            <p:grpSpPr>
              <a:xfrm>
                <a:off x="-977739" y="864082"/>
                <a:ext cx="419168" cy="410429"/>
                <a:chOff x="6366933" y="309013"/>
                <a:chExt cx="1901295" cy="1861668"/>
              </a:xfrm>
              <a:solidFill>
                <a:srgbClr val="000000"/>
              </a:solidFill>
            </p:grpSpPr>
            <p:sp>
              <p:nvSpPr>
                <p:cNvPr id="293" name="Rechthoek 292"/>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4" name="Rechthoek 293"/>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5" name="Rechthoek 294"/>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6" name="Rechthoek 295"/>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7" name="Rechthoek 296"/>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8" name="Rechthoek 297"/>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9" name="Rechthoek 298"/>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0" name="Rechthoek 299"/>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1" name="Rechthoek 300"/>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2" name="Rechthoek 301"/>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303" name="Vrije vorm 302"/>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nvGrpSpPr>
            <p:cNvPr id="236" name="Groep 235"/>
            <p:cNvGrpSpPr/>
            <p:nvPr userDrawn="1"/>
          </p:nvGrpSpPr>
          <p:grpSpPr>
            <a:xfrm>
              <a:off x="-2950232" y="1207835"/>
              <a:ext cx="532929" cy="509563"/>
              <a:chOff x="-2880382" y="802341"/>
              <a:chExt cx="532929" cy="509563"/>
            </a:xfrm>
          </p:grpSpPr>
          <p:sp>
            <p:nvSpPr>
              <p:cNvPr id="269" name="Rechthoek 268"/>
              <p:cNvSpPr/>
              <p:nvPr userDrawn="1"/>
            </p:nvSpPr>
            <p:spPr>
              <a:xfrm>
                <a:off x="-2880382" y="802341"/>
                <a:ext cx="532929" cy="509563"/>
              </a:xfrm>
              <a:prstGeom prst="rect">
                <a:avLst/>
              </a:prstGeom>
              <a:solidFill>
                <a:sysClr val="window" lastClr="FFFFFF"/>
              </a:soli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pic>
            <p:nvPicPr>
              <p:cNvPr id="270"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635852" y="822181"/>
                <a:ext cx="226442" cy="208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1"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848026" y="822181"/>
                <a:ext cx="207168" cy="213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72" name="Groep 271"/>
              <p:cNvGrpSpPr/>
              <p:nvPr userDrawn="1"/>
            </p:nvGrpSpPr>
            <p:grpSpPr>
              <a:xfrm>
                <a:off x="-2802433" y="1123442"/>
                <a:ext cx="132915" cy="104889"/>
                <a:chOff x="-2796392" y="1123442"/>
                <a:chExt cx="120832" cy="104889"/>
              </a:xfrm>
            </p:grpSpPr>
            <p:sp>
              <p:nvSpPr>
                <p:cNvPr id="286" name="Rechthoek 285"/>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7" name="Rechthoek 286"/>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8" name="Rechthoek 287"/>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9" name="Rechthoek 288"/>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0" name="Rechthoek 289"/>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273" name="Groep 272"/>
              <p:cNvGrpSpPr/>
              <p:nvPr userDrawn="1"/>
            </p:nvGrpSpPr>
            <p:grpSpPr>
              <a:xfrm>
                <a:off x="-2575417" y="1123442"/>
                <a:ext cx="133930" cy="104889"/>
                <a:chOff x="-2556734" y="1123442"/>
                <a:chExt cx="147324" cy="104889"/>
              </a:xfrm>
            </p:grpSpPr>
            <p:grpSp>
              <p:nvGrpSpPr>
                <p:cNvPr id="274" name="Groep 273"/>
                <p:cNvGrpSpPr/>
                <p:nvPr userDrawn="1"/>
              </p:nvGrpSpPr>
              <p:grpSpPr>
                <a:xfrm>
                  <a:off x="-2556734" y="1123442"/>
                  <a:ext cx="68206" cy="104889"/>
                  <a:chOff x="-2796392" y="1123442"/>
                  <a:chExt cx="120832" cy="104889"/>
                </a:xfrm>
              </p:grpSpPr>
              <p:sp>
                <p:nvSpPr>
                  <p:cNvPr id="281" name="Rechthoek 280"/>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2" name="Rechthoek 281"/>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3" name="Rechthoek 282"/>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4" name="Rechthoek 283"/>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5" name="Rechthoek 284"/>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275" name="Groep 274"/>
                <p:cNvGrpSpPr/>
                <p:nvPr userDrawn="1"/>
              </p:nvGrpSpPr>
              <p:grpSpPr>
                <a:xfrm>
                  <a:off x="-2477616" y="1123442"/>
                  <a:ext cx="68206" cy="104889"/>
                  <a:chOff x="-2796392" y="1123442"/>
                  <a:chExt cx="120832" cy="104889"/>
                </a:xfrm>
              </p:grpSpPr>
              <p:sp>
                <p:nvSpPr>
                  <p:cNvPr id="276" name="Rechthoek 275"/>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7" name="Rechthoek 276"/>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8" name="Rechthoek 277"/>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9" name="Rechthoek 278"/>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0" name="Rechthoek 279"/>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grpSp>
          <p:nvGrpSpPr>
            <p:cNvPr id="237" name="Groep 236"/>
            <p:cNvGrpSpPr/>
            <p:nvPr userDrawn="1"/>
          </p:nvGrpSpPr>
          <p:grpSpPr>
            <a:xfrm>
              <a:off x="-1948476" y="1281164"/>
              <a:ext cx="413704" cy="427699"/>
              <a:chOff x="-1845083" y="758027"/>
              <a:chExt cx="633799" cy="622540"/>
            </a:xfrm>
          </p:grpSpPr>
          <p:sp>
            <p:nvSpPr>
              <p:cNvPr id="256" name="Afgeronde rechthoek 255"/>
              <p:cNvSpPr/>
              <p:nvPr userDrawn="1"/>
            </p:nvSpPr>
            <p:spPr>
              <a:xfrm>
                <a:off x="-184508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257" name="Groep 256"/>
              <p:cNvGrpSpPr/>
              <p:nvPr userDrawn="1"/>
            </p:nvGrpSpPr>
            <p:grpSpPr>
              <a:xfrm>
                <a:off x="-1737762" y="864082"/>
                <a:ext cx="419168" cy="410429"/>
                <a:chOff x="3708400" y="309013"/>
                <a:chExt cx="1901295" cy="1861668"/>
              </a:xfrm>
              <a:solidFill>
                <a:srgbClr val="000000"/>
              </a:solidFill>
            </p:grpSpPr>
            <p:sp>
              <p:nvSpPr>
                <p:cNvPr id="258" name="Rechthoek 257"/>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9" name="Rechthoek 258"/>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0" name="Rechthoek 259"/>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1" name="Rechthoek 260"/>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2" name="Rechthoek 261"/>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3" name="Rechthoek 262"/>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4" name="Rechthoek 263"/>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5" name="Rechthoek 264"/>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6" name="Rechthoek 265"/>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7" name="Rechthoek 266"/>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8" name="Vrije vorm 267"/>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cxnSp>
          <p:nvCxnSpPr>
            <p:cNvPr id="238" name="Rechte verbindingslijn 237"/>
            <p:cNvCxnSpPr/>
            <p:nvPr userDrawn="1"/>
          </p:nvCxnSpPr>
          <p:spPr>
            <a:xfrm>
              <a:off x="-2814292" y="1441193"/>
              <a:ext cx="865816" cy="53821"/>
            </a:xfrm>
            <a:prstGeom prst="line">
              <a:avLst/>
            </a:prstGeom>
            <a:noFill/>
            <a:ln w="9525" cap="flat" cmpd="sng" algn="ctr">
              <a:solidFill>
                <a:schemeClr val="accent1"/>
              </a:solidFill>
              <a:prstDash val="solid"/>
              <a:headEnd type="oval"/>
            </a:ln>
            <a:effectLst/>
          </p:spPr>
        </p:cxnSp>
        <p:cxnSp>
          <p:nvCxnSpPr>
            <p:cNvPr id="239" name="Rechte verbindingslijn 238"/>
            <p:cNvCxnSpPr/>
            <p:nvPr userDrawn="1"/>
          </p:nvCxnSpPr>
          <p:spPr>
            <a:xfrm flipV="1">
              <a:off x="-2453902" y="1030591"/>
              <a:ext cx="505426" cy="283623"/>
            </a:xfrm>
            <a:prstGeom prst="line">
              <a:avLst/>
            </a:prstGeom>
            <a:noFill/>
            <a:ln w="9525" cap="flat" cmpd="sng" algn="ctr">
              <a:solidFill>
                <a:schemeClr val="accent1"/>
              </a:solidFill>
              <a:prstDash val="solid"/>
              <a:headEnd type="oval"/>
            </a:ln>
            <a:effectLst/>
          </p:spPr>
        </p:cxnSp>
        <p:sp>
          <p:nvSpPr>
            <p:cNvPr id="240" name="Textfield placeholder"/>
            <p:cNvSpPr txBox="1">
              <a:spLocks/>
            </p:cNvSpPr>
            <p:nvPr userDrawn="1"/>
          </p:nvSpPr>
          <p:spPr>
            <a:xfrm>
              <a:off x="-1341598" y="816743"/>
              <a:ext cx="1056968" cy="427698"/>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hoog</a:t>
              </a:r>
            </a:p>
          </p:txBody>
        </p:sp>
        <p:sp>
          <p:nvSpPr>
            <p:cNvPr id="241" name="Textfield placeholder"/>
            <p:cNvSpPr txBox="1">
              <a:spLocks/>
            </p:cNvSpPr>
            <p:nvPr userDrawn="1"/>
          </p:nvSpPr>
          <p:spPr>
            <a:xfrm>
              <a:off x="-1341599" y="1281164"/>
              <a:ext cx="1070223" cy="427699"/>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laag</a:t>
              </a:r>
            </a:p>
          </p:txBody>
        </p:sp>
        <p:sp>
          <p:nvSpPr>
            <p:cNvPr id="242" name="Ovaal 241"/>
            <p:cNvSpPr/>
            <p:nvPr userDrawn="1"/>
          </p:nvSpPr>
          <p:spPr>
            <a:xfrm>
              <a:off x="-2959433" y="338208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5</a:t>
              </a:r>
            </a:p>
          </p:txBody>
        </p:sp>
        <p:sp>
          <p:nvSpPr>
            <p:cNvPr id="243" name="Textfield placeholder"/>
            <p:cNvSpPr txBox="1">
              <a:spLocks/>
            </p:cNvSpPr>
            <p:nvPr userDrawn="1"/>
          </p:nvSpPr>
          <p:spPr>
            <a:xfrm>
              <a:off x="-2571950" y="3382082"/>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60000" lvl="4" indent="-360000" defTabSz="179388">
                <a:lnSpc>
                  <a:spcPct val="120000"/>
                </a:lnSpc>
                <a:spcBef>
                  <a:spcPts val="0"/>
                </a:spcBef>
                <a:spcAft>
                  <a:spcPts val="900"/>
                </a:spcAft>
                <a:buClr>
                  <a:srgbClr val="ED1A3B"/>
                </a:buClr>
                <a:buFont typeface="+mj-lt"/>
                <a:buAutoNum type="arabicPeriod"/>
                <a:defRPr/>
              </a:pPr>
              <a:r>
                <a:rPr lang="nl-NL" sz="1200" b="0" dirty="0">
                  <a:solidFill>
                    <a:srgbClr val="404040"/>
                  </a:solidFill>
                </a:rPr>
                <a:t>Numeriek (16 pt.)</a:t>
              </a:r>
            </a:p>
          </p:txBody>
        </p:sp>
        <p:grpSp>
          <p:nvGrpSpPr>
            <p:cNvPr id="244" name="Groep 243"/>
            <p:cNvGrpSpPr/>
            <p:nvPr userDrawn="1"/>
          </p:nvGrpSpPr>
          <p:grpSpPr>
            <a:xfrm>
              <a:off x="-2950232" y="816050"/>
              <a:ext cx="528695" cy="344202"/>
              <a:chOff x="-2880382" y="410556"/>
              <a:chExt cx="528695" cy="344202"/>
            </a:xfrm>
          </p:grpSpPr>
          <p:sp>
            <p:nvSpPr>
              <p:cNvPr id="254" name="Afgeronde rechthoek 253"/>
              <p:cNvSpPr/>
              <p:nvPr userDrawn="1"/>
            </p:nvSpPr>
            <p:spPr>
              <a:xfrm>
                <a:off x="-2874214" y="410556"/>
                <a:ext cx="522527" cy="339183"/>
              </a:xfrm>
              <a:prstGeom prst="roundRect">
                <a:avLst>
                  <a:gd name="adj" fmla="val 7565"/>
                </a:avLst>
              </a:prstGeom>
              <a:gradFill>
                <a:gsLst>
                  <a:gs pos="0">
                    <a:srgbClr val="FFEC8F"/>
                  </a:gs>
                  <a:gs pos="100000">
                    <a:srgbClr val="FFFFFF"/>
                  </a:gs>
                </a:gsLst>
                <a:lin ang="5400000" scaled="0"/>
              </a:gra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sp>
            <p:nvSpPr>
              <p:cNvPr id="255" name="Vrije vorm 254"/>
              <p:cNvSpPr/>
              <p:nvPr userDrawn="1"/>
            </p:nvSpPr>
            <p:spPr>
              <a:xfrm>
                <a:off x="-2880382" y="452699"/>
                <a:ext cx="528695" cy="302059"/>
              </a:xfrm>
              <a:custGeom>
                <a:avLst/>
                <a:gdLst>
                  <a:gd name="connsiteX0" fmla="*/ 55524 w 528695"/>
                  <a:gd name="connsiteY0" fmla="*/ 0 h 302059"/>
                  <a:gd name="connsiteX1" fmla="*/ 455496 w 528695"/>
                  <a:gd name="connsiteY1" fmla="*/ 0 h 302059"/>
                  <a:gd name="connsiteX2" fmla="*/ 475205 w 528695"/>
                  <a:gd name="connsiteY2" fmla="*/ 19709 h 302059"/>
                  <a:gd name="connsiteX3" fmla="*/ 475205 w 528695"/>
                  <a:gd name="connsiteY3" fmla="*/ 230056 h 302059"/>
                  <a:gd name="connsiteX4" fmla="*/ 516694 w 528695"/>
                  <a:gd name="connsiteY4" fmla="*/ 230056 h 302059"/>
                  <a:gd name="connsiteX5" fmla="*/ 528695 w 528695"/>
                  <a:gd name="connsiteY5" fmla="*/ 242057 h 302059"/>
                  <a:gd name="connsiteX6" fmla="*/ 528695 w 528695"/>
                  <a:gd name="connsiteY6" fmla="*/ 290058 h 302059"/>
                  <a:gd name="connsiteX7" fmla="*/ 516694 w 528695"/>
                  <a:gd name="connsiteY7" fmla="*/ 302059 h 302059"/>
                  <a:gd name="connsiteX8" fmla="*/ 12001 w 528695"/>
                  <a:gd name="connsiteY8" fmla="*/ 302059 h 302059"/>
                  <a:gd name="connsiteX9" fmla="*/ 0 w 528695"/>
                  <a:gd name="connsiteY9" fmla="*/ 290058 h 302059"/>
                  <a:gd name="connsiteX10" fmla="*/ 0 w 528695"/>
                  <a:gd name="connsiteY10" fmla="*/ 242057 h 302059"/>
                  <a:gd name="connsiteX11" fmla="*/ 12001 w 528695"/>
                  <a:gd name="connsiteY11" fmla="*/ 230056 h 302059"/>
                  <a:gd name="connsiteX12" fmla="*/ 35815 w 528695"/>
                  <a:gd name="connsiteY12" fmla="*/ 230056 h 302059"/>
                  <a:gd name="connsiteX13" fmla="*/ 35815 w 528695"/>
                  <a:gd name="connsiteY13" fmla="*/ 19709 h 302059"/>
                  <a:gd name="connsiteX14" fmla="*/ 55524 w 528695"/>
                  <a:gd name="connsiteY14" fmla="*/ 0 h 3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8695" h="302059">
                    <a:moveTo>
                      <a:pt x="55524" y="0"/>
                    </a:moveTo>
                    <a:lnTo>
                      <a:pt x="455496" y="0"/>
                    </a:lnTo>
                    <a:cubicBezTo>
                      <a:pt x="466381" y="0"/>
                      <a:pt x="475205" y="8824"/>
                      <a:pt x="475205" y="19709"/>
                    </a:cubicBezTo>
                    <a:lnTo>
                      <a:pt x="475205" y="230056"/>
                    </a:lnTo>
                    <a:lnTo>
                      <a:pt x="516694" y="230056"/>
                    </a:lnTo>
                    <a:cubicBezTo>
                      <a:pt x="523322" y="230056"/>
                      <a:pt x="528695" y="235429"/>
                      <a:pt x="528695" y="242057"/>
                    </a:cubicBezTo>
                    <a:lnTo>
                      <a:pt x="528695" y="290058"/>
                    </a:lnTo>
                    <a:cubicBezTo>
                      <a:pt x="528695" y="296686"/>
                      <a:pt x="523322" y="302059"/>
                      <a:pt x="516694" y="302059"/>
                    </a:cubicBezTo>
                    <a:lnTo>
                      <a:pt x="12001" y="302059"/>
                    </a:lnTo>
                    <a:cubicBezTo>
                      <a:pt x="5373" y="302059"/>
                      <a:pt x="0" y="296686"/>
                      <a:pt x="0" y="290058"/>
                    </a:cubicBezTo>
                    <a:lnTo>
                      <a:pt x="0" y="242057"/>
                    </a:lnTo>
                    <a:cubicBezTo>
                      <a:pt x="0" y="235429"/>
                      <a:pt x="5373" y="230056"/>
                      <a:pt x="12001" y="230056"/>
                    </a:cubicBezTo>
                    <a:lnTo>
                      <a:pt x="35815" y="230056"/>
                    </a:lnTo>
                    <a:lnTo>
                      <a:pt x="35815" y="19709"/>
                    </a:lnTo>
                    <a:cubicBezTo>
                      <a:pt x="35815" y="8824"/>
                      <a:pt x="44639" y="0"/>
                      <a:pt x="55524" y="0"/>
                    </a:cubicBezTo>
                    <a:close/>
                  </a:path>
                </a:pathLst>
              </a:custGeom>
              <a:solidFill>
                <a:sysClr val="window" lastClr="FFFFFF">
                  <a:lumMod val="95000"/>
                </a:sysClr>
              </a:solidFill>
              <a:ln w="9525" cap="flat" cmpd="sng" algn="ctr">
                <a:solidFill>
                  <a:srgbClr val="FFFFFF">
                    <a:lumMod val="90000"/>
                  </a:srgbClr>
                </a:solidFill>
                <a:prstDash val="solid"/>
                <a:miter lim="800000"/>
              </a:ln>
              <a:effectLst/>
            </p:spPr>
            <p:txBody>
              <a:bodyPr rot="0" spcFirstLastPara="0" vert="horz" wrap="square" lIns="108000" tIns="36000" rIns="108000" bIns="10800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900" dirty="0">
                    <a:solidFill>
                      <a:prstClr val="black"/>
                    </a:solidFill>
                    <a:latin typeface="Segoe UI Light"/>
                  </a:rPr>
                  <a:t>Start</a:t>
                </a:r>
              </a:p>
            </p:txBody>
          </p:sp>
        </p:grpSp>
        <p:sp>
          <p:nvSpPr>
            <p:cNvPr id="245" name="Tekstvak 65"/>
            <p:cNvSpPr txBox="1"/>
            <p:nvPr userDrawn="1"/>
          </p:nvSpPr>
          <p:spPr>
            <a:xfrm>
              <a:off x="-2959433" y="372104"/>
              <a:ext cx="2679887" cy="453396"/>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nl-NL" sz="1200" kern="0" dirty="0">
                  <a:solidFill>
                    <a:srgbClr val="000000"/>
                  </a:solidFill>
                  <a:latin typeface="Segoe UI Light" panose="020B0502040204020203" pitchFamily="34" charset="0"/>
                  <a:cs typeface="Segoe UI Light" panose="020B0502040204020203" pitchFamily="34" charset="0"/>
                </a:rPr>
                <a:t>Ga naar de tab </a:t>
              </a:r>
              <a:r>
                <a:rPr lang="nl-NL" sz="1200" b="1" kern="0" dirty="0">
                  <a:solidFill>
                    <a:srgbClr val="000000"/>
                  </a:solidFill>
                  <a:latin typeface="Segoe UI Light" panose="020B0502040204020203" pitchFamily="34" charset="0"/>
                  <a:cs typeface="Segoe UI Light" panose="020B0502040204020203" pitchFamily="34" charset="0"/>
                </a:rPr>
                <a:t>Start’ </a:t>
              </a:r>
              <a:r>
                <a:rPr lang="nl-NL" sz="1200" kern="0" dirty="0">
                  <a:solidFill>
                    <a:srgbClr val="000000"/>
                  </a:solidFill>
                  <a:latin typeface="Segoe UI Light" panose="020B0502040204020203" pitchFamily="34" charset="0"/>
                  <a:cs typeface="Segoe UI Light" panose="020B0502040204020203" pitchFamily="34" charset="0"/>
                </a:rPr>
                <a:t>en vind onderstaande knoppen onder </a:t>
              </a:r>
              <a:r>
                <a:rPr lang="nl-NL" sz="1200" b="1" kern="0" dirty="0">
                  <a:solidFill>
                    <a:srgbClr val="000000"/>
                  </a:solidFill>
                  <a:latin typeface="Segoe UI Light" panose="020B0502040204020203" pitchFamily="34" charset="0"/>
                  <a:cs typeface="Segoe UI Light" panose="020B0502040204020203" pitchFamily="34" charset="0"/>
                </a:rPr>
                <a:t>‘Alinea’</a:t>
              </a:r>
            </a:p>
          </p:txBody>
        </p:sp>
        <p:sp>
          <p:nvSpPr>
            <p:cNvPr id="246" name="Ovaal 245"/>
            <p:cNvSpPr/>
            <p:nvPr userDrawn="1"/>
          </p:nvSpPr>
          <p:spPr>
            <a:xfrm>
              <a:off x="-2959433" y="375153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6</a:t>
              </a:r>
            </a:p>
          </p:txBody>
        </p:sp>
        <p:sp>
          <p:nvSpPr>
            <p:cNvPr id="247" name="Textfield placeholder"/>
            <p:cNvSpPr txBox="1">
              <a:spLocks/>
            </p:cNvSpPr>
            <p:nvPr userDrawn="1"/>
          </p:nvSpPr>
          <p:spPr>
            <a:xfrm>
              <a:off x="-2571950" y="3751536"/>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0000" lvl="5" indent="-270000" defTabSz="179388">
                <a:lnSpc>
                  <a:spcPct val="120000"/>
                </a:lnSpc>
                <a:spcAft>
                  <a:spcPts val="900"/>
                </a:spcAft>
                <a:buClr>
                  <a:srgbClr val="ED1A3B"/>
                </a:buClr>
                <a:buSzPct val="80000"/>
                <a:buFont typeface="Wingdings 3" panose="05040102010807070707" pitchFamily="18" charset="2"/>
                <a:buChar char=""/>
                <a:defRPr/>
              </a:pPr>
              <a:r>
                <a:rPr lang="nl-NL" sz="1200" cap="none" dirty="0">
                  <a:solidFill>
                    <a:srgbClr val="535353"/>
                  </a:solidFill>
                </a:rPr>
                <a:t># Bullets (16 pt.)</a:t>
              </a:r>
            </a:p>
          </p:txBody>
        </p:sp>
        <p:sp>
          <p:nvSpPr>
            <p:cNvPr id="248" name="Ovaal 247"/>
            <p:cNvSpPr/>
            <p:nvPr userDrawn="1"/>
          </p:nvSpPr>
          <p:spPr>
            <a:xfrm>
              <a:off x="-2959433" y="414870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7</a:t>
              </a:r>
            </a:p>
          </p:txBody>
        </p:sp>
        <p:sp>
          <p:nvSpPr>
            <p:cNvPr id="249" name="Textfield placeholder"/>
            <p:cNvSpPr txBox="1">
              <a:spLocks/>
            </p:cNvSpPr>
            <p:nvPr userDrawn="1"/>
          </p:nvSpPr>
          <p:spPr>
            <a:xfrm>
              <a:off x="-2571950" y="414870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6" indent="0" defTabSz="179388">
                <a:lnSpc>
                  <a:spcPct val="120000"/>
                </a:lnSpc>
                <a:spcBef>
                  <a:spcPts val="0"/>
                </a:spcBef>
                <a:spcAft>
                  <a:spcPts val="900"/>
                </a:spcAft>
                <a:buClr>
                  <a:srgbClr val="ED1A3B"/>
                </a:buClr>
                <a:buSzPct val="90000"/>
                <a:buFont typeface="+mj-lt"/>
                <a:buNone/>
                <a:defRPr/>
              </a:pPr>
              <a:r>
                <a:rPr lang="nl-NL" sz="1200" i="1" dirty="0">
                  <a:solidFill>
                    <a:srgbClr val="404040"/>
                  </a:solidFill>
                </a:rPr>
                <a:t>Cursief donker (16 pt.)</a:t>
              </a:r>
            </a:p>
          </p:txBody>
        </p:sp>
        <p:sp>
          <p:nvSpPr>
            <p:cNvPr id="250" name="Ovaal 249"/>
            <p:cNvSpPr/>
            <p:nvPr userDrawn="1"/>
          </p:nvSpPr>
          <p:spPr>
            <a:xfrm>
              <a:off x="-2959433" y="454586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8</a:t>
              </a:r>
            </a:p>
          </p:txBody>
        </p:sp>
        <p:sp>
          <p:nvSpPr>
            <p:cNvPr id="251" name="Textfield placeholder"/>
            <p:cNvSpPr txBox="1">
              <a:spLocks/>
            </p:cNvSpPr>
            <p:nvPr userDrawn="1"/>
          </p:nvSpPr>
          <p:spPr>
            <a:xfrm>
              <a:off x="-2571950" y="4545864"/>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7" indent="0" defTabSz="179388">
                <a:lnSpc>
                  <a:spcPct val="80000"/>
                </a:lnSpc>
                <a:spcBef>
                  <a:spcPts val="0"/>
                </a:spcBef>
                <a:spcAft>
                  <a:spcPts val="900"/>
                </a:spcAft>
                <a:buClr>
                  <a:srgbClr val="ED1A3B"/>
                </a:buClr>
                <a:buFont typeface="Arial" pitchFamily="34" charset="0"/>
                <a:buNone/>
                <a:defRPr/>
              </a:pPr>
              <a:r>
                <a:rPr lang="nl-NL" sz="1200" i="1" dirty="0">
                  <a:solidFill>
                    <a:srgbClr val="A3B0C0"/>
                  </a:solidFill>
                </a:rPr>
                <a:t>Cursief Licht (16 pt.)</a:t>
              </a:r>
            </a:p>
          </p:txBody>
        </p:sp>
        <p:sp>
          <p:nvSpPr>
            <p:cNvPr id="252" name="Ovaal 251"/>
            <p:cNvSpPr/>
            <p:nvPr userDrawn="1"/>
          </p:nvSpPr>
          <p:spPr>
            <a:xfrm>
              <a:off x="-2959433" y="488761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9</a:t>
              </a:r>
            </a:p>
          </p:txBody>
        </p:sp>
        <p:sp>
          <p:nvSpPr>
            <p:cNvPr id="253" name="Textfield placeholder"/>
            <p:cNvSpPr txBox="1">
              <a:spLocks/>
            </p:cNvSpPr>
            <p:nvPr userDrawn="1"/>
          </p:nvSpPr>
          <p:spPr>
            <a:xfrm>
              <a:off x="-2571950" y="488761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8" indent="0" defTabSz="179388">
                <a:lnSpc>
                  <a:spcPct val="80000"/>
                </a:lnSpc>
                <a:spcBef>
                  <a:spcPts val="0"/>
                </a:spcBef>
                <a:spcAft>
                  <a:spcPts val="900"/>
                </a:spcAft>
                <a:buClr>
                  <a:srgbClr val="ED1A3B"/>
                </a:buClr>
                <a:buFont typeface="Arial" pitchFamily="34" charset="0"/>
                <a:buNone/>
                <a:defRPr/>
              </a:pPr>
              <a:r>
                <a:rPr lang="nl-NL" sz="1400" b="1" dirty="0">
                  <a:solidFill>
                    <a:srgbClr val="ED1A3B"/>
                  </a:solidFill>
                </a:rPr>
                <a:t>Subtitel (18 pt.)</a:t>
              </a:r>
            </a:p>
          </p:txBody>
        </p:sp>
      </p:grpSp>
      <p:sp>
        <p:nvSpPr>
          <p:cNvPr id="108" name="Hyperlink - Inhoudsopgave">
            <a:hlinkClick r:id="rId5" action="ppaction://hlinksldjump"/>
          </p:cNvPr>
          <p:cNvSpPr/>
          <p:nvPr userDrawn="1"/>
        </p:nvSpPr>
        <p:spPr>
          <a:xfrm>
            <a:off x="10197856" y="5889801"/>
            <a:ext cx="2000494" cy="968199"/>
          </a:xfrm>
          <a:prstGeom prst="rect">
            <a:avLst/>
          </a:prstGeom>
          <a:solidFill>
            <a:srgbClr val="ED1A3B">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cxnSp>
        <p:nvCxnSpPr>
          <p:cNvPr id="18" name="Grijze lijn - onder"/>
          <p:cNvCxnSpPr/>
          <p:nvPr/>
        </p:nvCxnSpPr>
        <p:spPr>
          <a:xfrm flipH="1">
            <a:off x="8731406" y="5776291"/>
            <a:ext cx="2802835"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5" name="Grijze lijn - boven"/>
          <p:cNvCxnSpPr/>
          <p:nvPr/>
        </p:nvCxnSpPr>
        <p:spPr>
          <a:xfrm flipH="1">
            <a:off x="664804" y="1358670"/>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06" name="Tijdelijke aanduiding voor Dianummer"/>
          <p:cNvSpPr>
            <a:spLocks noGrp="1"/>
          </p:cNvSpPr>
          <p:nvPr>
            <p:ph type="sldNum" sz="quarter" idx="4"/>
          </p:nvPr>
        </p:nvSpPr>
        <p:spPr>
          <a:xfrm>
            <a:off x="5770549" y="6295992"/>
            <a:ext cx="657251" cy="365125"/>
          </a:xfrm>
          <a:prstGeom prst="rect">
            <a:avLst/>
          </a:prstGeom>
        </p:spPr>
        <p:txBody>
          <a:bodyPr vert="horz" lIns="91440" tIns="45720" rIns="91440" bIns="45720" rtlCol="0" anchor="ctr"/>
          <a:lstStyle>
            <a:lvl1pPr algn="ctr">
              <a:defRPr sz="800">
                <a:solidFill>
                  <a:schemeClr val="tx1">
                    <a:tint val="75000"/>
                  </a:schemeClr>
                </a:solidFill>
              </a:defRPr>
            </a:lvl1pPr>
          </a:lstStyle>
          <a:p>
            <a:fld id="{1B3FA67A-C720-417A-A072-0CD211FD8662}" type="slidenum">
              <a:rPr lang="nl-NL" smtClean="0">
                <a:solidFill>
                  <a:srgbClr val="000000">
                    <a:tint val="75000"/>
                  </a:srgbClr>
                </a:solidFill>
              </a:rPr>
              <a:pPr/>
              <a:t>‹nr.›</a:t>
            </a:fld>
            <a:endParaRPr lang="nl-NL" dirty="0">
              <a:solidFill>
                <a:srgbClr val="000000">
                  <a:tint val="75000"/>
                </a:srgbClr>
              </a:solidFill>
            </a:endParaRPr>
          </a:p>
        </p:txBody>
      </p:sp>
      <p:sp>
        <p:nvSpPr>
          <p:cNvPr id="7" name="Tijdelijke aanduiding voor Afbeelding"/>
          <p:cNvSpPr>
            <a:spLocks noGrp="1"/>
          </p:cNvSpPr>
          <p:nvPr>
            <p:ph type="pic" idx="13"/>
          </p:nvPr>
        </p:nvSpPr>
        <p:spPr>
          <a:xfrm>
            <a:off x="8731407" y="1377951"/>
            <a:ext cx="2804628" cy="4382770"/>
          </a:xfrm>
          <a:solidFill>
            <a:schemeClr val="accent5">
              <a:lumMod val="20000"/>
              <a:lumOff val="80000"/>
            </a:schemeClr>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3" name="Tijdelijke aanduiding voor Tekst"/>
          <p:cNvSpPr>
            <a:spLocks noGrp="1"/>
          </p:cNvSpPr>
          <p:nvPr>
            <p:ph type="body" orient="vert" idx="1" hasCustomPrompt="1"/>
          </p:nvPr>
        </p:nvSpPr>
        <p:spPr>
          <a:xfrm>
            <a:off x="664109" y="1720867"/>
            <a:ext cx="7620811" cy="3693600"/>
          </a:xfrm>
        </p:spPr>
        <p:txBody>
          <a:bodyPr vert="horz"/>
          <a:lstStyle>
            <a:lvl1pPr>
              <a:defRPr sz="1600"/>
            </a:lvl1pPr>
            <a:lvl2pPr>
              <a:defRPr sz="1600"/>
            </a:lvl2pPr>
            <a:lvl3pPr>
              <a:defRPr sz="1600"/>
            </a:lvl3pPr>
            <a:lvl4pPr>
              <a:defRPr sz="1600"/>
            </a:lvl4pPr>
            <a:lvl5pPr>
              <a:defRPr sz="1600"/>
            </a:lvl5pPr>
            <a:lvl6pPr>
              <a:defRPr sz="1600"/>
            </a:lvl6pPr>
            <a:lvl7pPr>
              <a:defRPr sz="1600"/>
            </a:lvl7pPr>
            <a:lvl8pPr>
              <a:defRPr sz="1600"/>
            </a:lvl8pPr>
          </a:lstStyle>
          <a:p>
            <a:pPr lvl="0"/>
            <a:r>
              <a:rPr lang="nl-NL" dirty="0"/>
              <a:t>Leestekst</a:t>
            </a:r>
          </a:p>
          <a:p>
            <a:pPr lvl="1"/>
            <a:r>
              <a:rPr lang="nl-NL" dirty="0"/>
              <a:t>Bullets</a:t>
            </a:r>
          </a:p>
          <a:p>
            <a:pPr lvl="2"/>
            <a:r>
              <a:rPr lang="nl-NL" dirty="0"/>
              <a:t>Sub-bullets</a:t>
            </a:r>
          </a:p>
          <a:p>
            <a:pPr lvl="3"/>
            <a:r>
              <a:rPr lang="nl-NL" dirty="0"/>
              <a:t>Sub-sub-bullets</a:t>
            </a:r>
          </a:p>
          <a:p>
            <a:pPr lvl="4"/>
            <a:r>
              <a:rPr lang="nl-NL" dirty="0"/>
              <a:t>Numeriek</a:t>
            </a:r>
          </a:p>
          <a:p>
            <a:pPr lvl="5"/>
            <a:r>
              <a:rPr lang="nl-NL" dirty="0"/>
              <a:t># Bullets</a:t>
            </a:r>
          </a:p>
          <a:p>
            <a:pPr lvl="6"/>
            <a:r>
              <a:rPr lang="nl-NL" dirty="0"/>
              <a:t>Cursief donker</a:t>
            </a:r>
          </a:p>
          <a:p>
            <a:pPr lvl="7"/>
            <a:r>
              <a:rPr lang="nl-NL" dirty="0"/>
              <a:t>Cursief licht</a:t>
            </a:r>
          </a:p>
          <a:p>
            <a:pPr lvl="8"/>
            <a:r>
              <a:rPr lang="nl-NL" dirty="0"/>
              <a:t>Subtitel</a:t>
            </a:r>
          </a:p>
        </p:txBody>
      </p:sp>
      <p:sp>
        <p:nvSpPr>
          <p:cNvPr id="12" name="Tijdelijke aanduiding voor Subtitel"/>
          <p:cNvSpPr>
            <a:spLocks noGrp="1"/>
          </p:cNvSpPr>
          <p:nvPr>
            <p:ph type="body" idx="14"/>
          </p:nvPr>
        </p:nvSpPr>
        <p:spPr>
          <a:xfrm>
            <a:off x="664109" y="1001348"/>
            <a:ext cx="10870131" cy="317758"/>
          </a:xfrm>
        </p:spPr>
        <p:txBody>
          <a:bodyPr bIns="72000" anchor="t" anchorCtr="0"/>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13" name="Tijdelijke aanduiding voor Titel"/>
          <p:cNvSpPr>
            <a:spLocks noGrp="1"/>
          </p:cNvSpPr>
          <p:nvPr>
            <p:ph type="title"/>
          </p:nvPr>
        </p:nvSpPr>
        <p:spPr>
          <a:xfrm>
            <a:off x="664109" y="464521"/>
            <a:ext cx="10870131" cy="533219"/>
          </a:xfrm>
        </p:spPr>
        <p:txBody>
          <a:bodyPr/>
          <a:lstStyle/>
          <a:p>
            <a:r>
              <a:rPr lang="nl-NL"/>
              <a:t>Klik om stijl te bewerken</a:t>
            </a:r>
            <a:endParaRPr lang="nl-NL" dirty="0"/>
          </a:p>
        </p:txBody>
      </p:sp>
    </p:spTree>
    <p:extLst>
      <p:ext uri="{BB962C8B-B14F-4D97-AF65-F5344CB8AC3E}">
        <p14:creationId xmlns:p14="http://schemas.microsoft.com/office/powerpoint/2010/main" val="2046045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fbeelding 50%">
    <p:spTree>
      <p:nvGrpSpPr>
        <p:cNvPr id="1" name=""/>
        <p:cNvGrpSpPr/>
        <p:nvPr/>
      </p:nvGrpSpPr>
      <p:grpSpPr>
        <a:xfrm>
          <a:off x="0" y="0"/>
          <a:ext cx="0" cy="0"/>
          <a:chOff x="0" y="0"/>
          <a:chExt cx="0" cy="0"/>
        </a:xfrm>
      </p:grpSpPr>
      <p:sp>
        <p:nvSpPr>
          <p:cNvPr id="13" name="Naam indeling - Afbeelding 50%"/>
          <p:cNvSpPr txBox="1"/>
          <p:nvPr/>
        </p:nvSpPr>
        <p:spPr>
          <a:xfrm>
            <a:off x="1" y="-453266"/>
            <a:ext cx="3582333" cy="276999"/>
          </a:xfrm>
          <a:prstGeom prst="rect">
            <a:avLst/>
          </a:prstGeom>
          <a:noFill/>
        </p:spPr>
        <p:txBody>
          <a:bodyPr wrap="square" lIns="0" tIns="0" rIns="0" bIns="0" rtlCol="0">
            <a:spAutoFit/>
          </a:bodyPr>
          <a:lstStyle/>
          <a:p>
            <a:pPr defTabSz="914112"/>
            <a:r>
              <a:rPr lang="nl-NL" dirty="0">
                <a:solidFill>
                  <a:srgbClr val="404040"/>
                </a:solidFill>
                <a:latin typeface="Calibri" panose="020F0502020204030204" pitchFamily="34" charset="0"/>
              </a:rPr>
              <a:t>Afbeelding 50%</a:t>
            </a:r>
            <a:endParaRPr lang="en-GB" dirty="0">
              <a:solidFill>
                <a:srgbClr val="404040"/>
              </a:solidFill>
              <a:latin typeface="Calibri" panose="020F0502020204030204" pitchFamily="34" charset="0"/>
            </a:endParaRPr>
          </a:p>
        </p:txBody>
      </p:sp>
      <p:grpSp>
        <p:nvGrpSpPr>
          <p:cNvPr id="98" name="Instructie - Afbeelding invoegen"/>
          <p:cNvGrpSpPr/>
          <p:nvPr/>
        </p:nvGrpSpPr>
        <p:grpSpPr>
          <a:xfrm>
            <a:off x="12437931" y="14898"/>
            <a:ext cx="2717569" cy="3676571"/>
            <a:chOff x="12434693" y="14897"/>
            <a:chExt cx="2716862" cy="3676571"/>
          </a:xfrm>
        </p:grpSpPr>
        <p:sp>
          <p:nvSpPr>
            <p:cNvPr id="99" name="Rechthoek 98"/>
            <p:cNvSpPr/>
            <p:nvPr/>
          </p:nvSpPr>
          <p:spPr>
            <a:xfrm>
              <a:off x="12441150" y="14897"/>
              <a:ext cx="2696270" cy="161771"/>
            </a:xfrm>
            <a:prstGeom prst="rect">
              <a:avLst/>
            </a:prstGeom>
            <a:noFill/>
            <a:ln w="25400" cap="flat" cmpd="sng" algn="ctr">
              <a:noFill/>
              <a:prstDash val="solid"/>
            </a:ln>
            <a:effectLst/>
          </p:spPr>
          <p:txBody>
            <a:bodyPr lIns="0" tIns="0" rIns="0" bIns="0" rtlCol="0" anchor="t"/>
            <a:lstStyle/>
            <a:p>
              <a:pPr defTabSz="914112">
                <a:lnSpc>
                  <a:spcPct val="80000"/>
                </a:lnSpc>
              </a:pPr>
              <a:r>
                <a:rPr lang="nl-NL" sz="1600" b="1" kern="0" cap="all" dirty="0">
                  <a:solidFill>
                    <a:srgbClr val="ED1A3B"/>
                  </a:solidFill>
                  <a:cs typeface="Segoe UI Light" panose="020B0502040204020203" pitchFamily="34" charset="0"/>
                </a:rPr>
                <a:t>AFBEELDING INVOEGEN</a:t>
              </a:r>
            </a:p>
          </p:txBody>
        </p:sp>
        <p:sp>
          <p:nvSpPr>
            <p:cNvPr id="100" name="Tekstvak 33"/>
            <p:cNvSpPr txBox="1"/>
            <p:nvPr/>
          </p:nvSpPr>
          <p:spPr>
            <a:xfrm>
              <a:off x="12441149" y="814239"/>
              <a:ext cx="2710405" cy="719877"/>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Indien nodig, verwijder de bestaande afbeelding. Klik op het pictogram </a:t>
              </a:r>
              <a:br>
                <a:rPr lang="nl-NL" sz="1200" kern="0" dirty="0">
                  <a:solidFill>
                    <a:srgbClr val="000000"/>
                  </a:solidFill>
                  <a:latin typeface="Trebuchet MS"/>
                  <a:cs typeface="Segoe UI Light" panose="020B0502040204020203" pitchFamily="34" charset="0"/>
                </a:rPr>
              </a:br>
              <a:r>
                <a:rPr lang="nl-NL" sz="1200" kern="0" dirty="0">
                  <a:solidFill>
                    <a:srgbClr val="000000"/>
                  </a:solidFill>
                  <a:latin typeface="Trebuchet MS"/>
                  <a:cs typeface="Segoe UI Light" panose="020B0502040204020203" pitchFamily="34" charset="0"/>
                </a:rPr>
                <a:t>om een afbeelding in te voegen</a:t>
              </a:r>
              <a:br>
                <a:rPr lang="nl-NL" sz="1200" kern="0" dirty="0">
                  <a:solidFill>
                    <a:srgbClr val="000000"/>
                  </a:solidFill>
                  <a:latin typeface="Trebuchet MS"/>
                  <a:cs typeface="Segoe UI Light" panose="020B0502040204020203" pitchFamily="34" charset="0"/>
                </a:rPr>
              </a:br>
              <a:r>
                <a:rPr lang="nl-NL" sz="1100" i="1" kern="0" dirty="0">
                  <a:solidFill>
                    <a:srgbClr val="000000"/>
                  </a:solidFill>
                  <a:latin typeface="Trebuchet MS"/>
                  <a:cs typeface="Segoe UI Light" panose="020B0502040204020203" pitchFamily="34" charset="0"/>
                </a:rPr>
                <a:t>(zie onderstaand voorbeeld).</a:t>
              </a:r>
            </a:p>
          </p:txBody>
        </p:sp>
        <p:sp>
          <p:nvSpPr>
            <p:cNvPr id="101" name="Tekstvak 33"/>
            <p:cNvSpPr txBox="1"/>
            <p:nvPr/>
          </p:nvSpPr>
          <p:spPr>
            <a:xfrm>
              <a:off x="12441149" y="2793904"/>
              <a:ext cx="2710405" cy="395943"/>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Selecteer de afbeelding die u wilt invoegen en klik op </a:t>
              </a:r>
              <a:r>
                <a:rPr lang="nl-NL" sz="1200" b="1" kern="0" dirty="0">
                  <a:solidFill>
                    <a:srgbClr val="000000"/>
                  </a:solidFill>
                  <a:latin typeface="Trebuchet MS"/>
                  <a:cs typeface="Segoe UI Light" panose="020B0502040204020203" pitchFamily="34" charset="0"/>
                </a:rPr>
                <a:t>‘Invoegen’</a:t>
              </a:r>
            </a:p>
          </p:txBody>
        </p:sp>
        <p:sp>
          <p:nvSpPr>
            <p:cNvPr id="102" name="Ovaal 101"/>
            <p:cNvSpPr/>
            <p:nvPr/>
          </p:nvSpPr>
          <p:spPr>
            <a:xfrm>
              <a:off x="12441150" y="379292"/>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1</a:t>
              </a:r>
            </a:p>
          </p:txBody>
        </p:sp>
        <p:sp>
          <p:nvSpPr>
            <p:cNvPr id="103" name="Ovaal 102"/>
            <p:cNvSpPr/>
            <p:nvPr/>
          </p:nvSpPr>
          <p:spPr>
            <a:xfrm>
              <a:off x="12441150" y="2337208"/>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2</a:t>
              </a:r>
            </a:p>
          </p:txBody>
        </p:sp>
        <p:cxnSp>
          <p:nvCxnSpPr>
            <p:cNvPr id="104" name="Rechte verbindingslijn 103"/>
            <p:cNvCxnSpPr/>
            <p:nvPr/>
          </p:nvCxnSpPr>
          <p:spPr>
            <a:xfrm>
              <a:off x="12441150" y="248176"/>
              <a:ext cx="2710405" cy="0"/>
            </a:xfrm>
            <a:prstGeom prst="line">
              <a:avLst/>
            </a:prstGeom>
            <a:noFill/>
            <a:ln w="9525" cap="flat" cmpd="sng" algn="ctr">
              <a:solidFill>
                <a:schemeClr val="accent1"/>
              </a:solidFill>
              <a:prstDash val="solid"/>
            </a:ln>
            <a:effectLst/>
          </p:spPr>
        </p:cxnSp>
        <p:cxnSp>
          <p:nvCxnSpPr>
            <p:cNvPr id="105" name="Rechte verbindingslijn 104"/>
            <p:cNvCxnSpPr/>
            <p:nvPr/>
          </p:nvCxnSpPr>
          <p:spPr>
            <a:xfrm>
              <a:off x="12441149" y="2212830"/>
              <a:ext cx="2710405" cy="0"/>
            </a:xfrm>
            <a:prstGeom prst="line">
              <a:avLst/>
            </a:prstGeom>
            <a:noFill/>
            <a:ln w="9525" cap="flat" cmpd="sng" algn="ctr">
              <a:solidFill>
                <a:schemeClr val="accent1"/>
              </a:solidFill>
              <a:prstDash val="solid"/>
            </a:ln>
            <a:effectLst/>
          </p:spPr>
        </p:cxnSp>
        <p:cxnSp>
          <p:nvCxnSpPr>
            <p:cNvPr id="106" name="Rechte verbindingslijn 105"/>
            <p:cNvCxnSpPr/>
            <p:nvPr/>
          </p:nvCxnSpPr>
          <p:spPr>
            <a:xfrm>
              <a:off x="12444679" y="3691468"/>
              <a:ext cx="2706875" cy="0"/>
            </a:xfrm>
            <a:prstGeom prst="line">
              <a:avLst/>
            </a:prstGeom>
            <a:noFill/>
            <a:ln w="9525" cap="flat" cmpd="sng" algn="ctr">
              <a:solidFill>
                <a:schemeClr val="accent1"/>
              </a:solidFill>
              <a:prstDash val="solid"/>
            </a:ln>
            <a:effectLst/>
          </p:spPr>
        </p:cxnSp>
        <p:pic>
          <p:nvPicPr>
            <p:cNvPr id="107" name="Icoontje afbeeldi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434693" y="1677764"/>
              <a:ext cx="403210" cy="403210"/>
            </a:xfrm>
            <a:prstGeom prst="rect">
              <a:avLst/>
            </a:prstGeom>
          </p:spPr>
        </p:pic>
        <p:grpSp>
          <p:nvGrpSpPr>
            <p:cNvPr id="108" name="Groep 107"/>
            <p:cNvGrpSpPr/>
            <p:nvPr/>
          </p:nvGrpSpPr>
          <p:grpSpPr>
            <a:xfrm>
              <a:off x="12450571" y="3301369"/>
              <a:ext cx="1002992" cy="267962"/>
              <a:chOff x="13560784" y="3471416"/>
              <a:chExt cx="1114138" cy="297656"/>
            </a:xfrm>
          </p:grpSpPr>
          <p:sp>
            <p:nvSpPr>
              <p:cNvPr id="109" name="Afgeronde rechthoek 88"/>
              <p:cNvSpPr/>
              <p:nvPr/>
            </p:nvSpPr>
            <p:spPr>
              <a:xfrm>
                <a:off x="13560784" y="3471416"/>
                <a:ext cx="1114138" cy="297656"/>
              </a:xfrm>
              <a:prstGeom prst="roundRect">
                <a:avLst/>
              </a:prstGeom>
              <a:gradFill flip="none" rotWithShape="1">
                <a:gsLst>
                  <a:gs pos="4000">
                    <a:srgbClr val="00B0F0"/>
                  </a:gs>
                  <a:gs pos="0">
                    <a:srgbClr val="0070C0"/>
                  </a:gs>
                  <a:gs pos="100000">
                    <a:srgbClr val="0070C0"/>
                  </a:gs>
                  <a:gs pos="12000">
                    <a:srgbClr val="D1EAFF"/>
                  </a:gs>
                  <a:gs pos="96000">
                    <a:srgbClr val="00B0F0"/>
                  </a:gs>
                  <a:gs pos="89000">
                    <a:srgbClr val="DDF4FF"/>
                  </a:gs>
                  <a:gs pos="43000">
                    <a:srgbClr val="D1EAFF"/>
                  </a:gs>
                  <a:gs pos="51000">
                    <a:srgbClr val="DDF4FF"/>
                  </a:gs>
                </a:gsLst>
                <a:lin ang="16200000" scaled="1"/>
                <a:tileRect/>
              </a:gradFill>
              <a:ln w="63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dirty="0">
                  <a:solidFill>
                    <a:srgbClr val="FFFFFF"/>
                  </a:solidFill>
                </a:endParaRPr>
              </a:p>
            </p:txBody>
          </p:sp>
          <p:sp>
            <p:nvSpPr>
              <p:cNvPr id="110" name="Tekstvak 109"/>
              <p:cNvSpPr txBox="1"/>
              <p:nvPr/>
            </p:nvSpPr>
            <p:spPr>
              <a:xfrm>
                <a:off x="13573594" y="3488254"/>
                <a:ext cx="888311" cy="273506"/>
              </a:xfrm>
              <a:prstGeom prst="rect">
                <a:avLst/>
              </a:prstGeom>
              <a:noFill/>
            </p:spPr>
            <p:txBody>
              <a:bodyPr wrap="square" rtlCol="0" anchor="ctr">
                <a:spAutoFit/>
              </a:bodyPr>
              <a:lstStyle>
                <a:defPPr>
                  <a:defRPr lang="nl-NL"/>
                </a:defPPr>
                <a:lvl1pPr marR="0" lvl="0" indent="0" algn="ctr" fontAlgn="auto">
                  <a:lnSpc>
                    <a:spcPct val="100000"/>
                  </a:lnSpc>
                  <a:spcBef>
                    <a:spcPts val="0"/>
                  </a:spcBef>
                  <a:spcAft>
                    <a:spcPts val="0"/>
                  </a:spcAft>
                  <a:buClrTx/>
                  <a:buSzTx/>
                  <a:buFontTx/>
                  <a:buNone/>
                  <a:tabLst/>
                  <a:defRPr kumimoji="0" sz="900" i="0" u="none" strike="noStrike" kern="0" cap="none" spc="0" normalizeH="0" baseline="0">
                    <a:ln>
                      <a:noFill/>
                    </a:ln>
                    <a:effectLst>
                      <a:outerShdw blurRad="25400" algn="ctr" rotWithShape="0">
                        <a:prstClr val="white"/>
                      </a:outerShdw>
                    </a:effectLst>
                    <a:uLnTx/>
                    <a:uFillTx/>
                    <a:latin typeface="Segoe UI Light" panose="020B0502040204020203" pitchFamily="34" charset="0"/>
                    <a:cs typeface="Segoe UI Light" panose="020B0502040204020203" pitchFamily="34" charset="0"/>
                  </a:defRPr>
                </a:lvl1pPr>
                <a:lvl2pPr fontAlgn="base">
                  <a:spcBef>
                    <a:spcPct val="0"/>
                  </a:spcBef>
                  <a:spcAft>
                    <a:spcPct val="0"/>
                  </a:spcAft>
                  <a:defRPr>
                    <a:latin typeface="Arial" charset="0"/>
                    <a:cs typeface="Arial" charset="0"/>
                  </a:defRPr>
                </a:lvl2pPr>
                <a:lvl3pPr fontAlgn="base">
                  <a:spcBef>
                    <a:spcPct val="0"/>
                  </a:spcBef>
                  <a:spcAft>
                    <a:spcPct val="0"/>
                  </a:spcAft>
                  <a:defRPr>
                    <a:latin typeface="Arial" charset="0"/>
                    <a:cs typeface="Arial" charset="0"/>
                  </a:defRPr>
                </a:lvl3pPr>
                <a:lvl4pPr fontAlgn="base">
                  <a:spcBef>
                    <a:spcPct val="0"/>
                  </a:spcBef>
                  <a:spcAft>
                    <a:spcPct val="0"/>
                  </a:spcAft>
                  <a:defRPr>
                    <a:latin typeface="Arial" charset="0"/>
                    <a:cs typeface="Arial" charset="0"/>
                  </a:defRPr>
                </a:lvl4pPr>
                <a:lvl5pPr fontAlgn="base">
                  <a:spcBef>
                    <a:spcPct val="0"/>
                  </a:spcBef>
                  <a:spcAft>
                    <a:spcPct val="0"/>
                  </a:spcAft>
                  <a:defRPr>
                    <a:latin typeface="Arial" charset="0"/>
                    <a:cs typeface="Arial" charset="0"/>
                  </a:defRPr>
                </a:lvl5pPr>
                <a:lvl6pPr>
                  <a:defRPr>
                    <a:latin typeface="Arial" charset="0"/>
                    <a:cs typeface="Arial" charset="0"/>
                  </a:defRPr>
                </a:lvl6pPr>
                <a:lvl7pPr>
                  <a:defRPr>
                    <a:latin typeface="Arial" charset="0"/>
                    <a:cs typeface="Arial" charset="0"/>
                  </a:defRPr>
                </a:lvl7pPr>
                <a:lvl8pPr>
                  <a:defRPr>
                    <a:latin typeface="Arial" charset="0"/>
                    <a:cs typeface="Arial" charset="0"/>
                  </a:defRPr>
                </a:lvl8pPr>
                <a:lvl9pPr>
                  <a:defRPr>
                    <a:latin typeface="Arial" charset="0"/>
                    <a:cs typeface="Arial" charset="0"/>
                  </a:defRPr>
                </a:lvl9pPr>
              </a:lstStyle>
              <a:p>
                <a:pPr defTabSz="914112"/>
                <a:r>
                  <a:rPr lang="nl-NL" sz="1000" dirty="0">
                    <a:solidFill>
                      <a:srgbClr val="000000"/>
                    </a:solidFill>
                    <a:latin typeface="Trebuchet MS"/>
                  </a:rPr>
                  <a:t>Invoegen</a:t>
                </a:r>
              </a:p>
            </p:txBody>
          </p:sp>
          <p:cxnSp>
            <p:nvCxnSpPr>
              <p:cNvPr id="111" name="Rechte verbindingslijn 110"/>
              <p:cNvCxnSpPr/>
              <p:nvPr/>
            </p:nvCxnSpPr>
            <p:spPr>
              <a:xfrm>
                <a:off x="14461905" y="3507058"/>
                <a:ext cx="0" cy="224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2" name="Gelijkbenige driehoek 111"/>
              <p:cNvSpPr/>
              <p:nvPr/>
            </p:nvSpPr>
            <p:spPr>
              <a:xfrm rot="10800000">
                <a:off x="14518584" y="3600521"/>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112"/>
                <a:endParaRPr lang="nl-NL" dirty="0">
                  <a:solidFill>
                    <a:srgbClr val="FFFFFF"/>
                  </a:solidFill>
                </a:endParaRPr>
              </a:p>
            </p:txBody>
          </p:sp>
        </p:grpSp>
      </p:grpSp>
      <p:grpSp>
        <p:nvGrpSpPr>
          <p:cNvPr id="214" name="Instructie - Tekst niveaus"/>
          <p:cNvGrpSpPr/>
          <p:nvPr userDrawn="1"/>
        </p:nvGrpSpPr>
        <p:grpSpPr>
          <a:xfrm>
            <a:off x="-3117849" y="365"/>
            <a:ext cx="2823358" cy="5254722"/>
            <a:chOff x="-2959433" y="-5444"/>
            <a:chExt cx="2822623" cy="5254722"/>
          </a:xfrm>
        </p:grpSpPr>
        <p:sp>
          <p:nvSpPr>
            <p:cNvPr id="215" name="Rechthoek 214"/>
            <p:cNvSpPr/>
            <p:nvPr userDrawn="1"/>
          </p:nvSpPr>
          <p:spPr>
            <a:xfrm>
              <a:off x="-2959433" y="-5444"/>
              <a:ext cx="2572469" cy="280344"/>
            </a:xfrm>
            <a:prstGeom prst="rect">
              <a:avLst/>
            </a:prstGeom>
            <a:noFill/>
            <a:ln w="25400" cap="flat" cmpd="sng" algn="ctr">
              <a:noFill/>
              <a:prstDash val="solid"/>
            </a:ln>
            <a:effectLst/>
          </p:spPr>
          <p:txBody>
            <a:bodyPr lIns="0" tIns="0" rIns="0" bIns="0" rtlCol="0" anchor="t"/>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nl-NL" sz="1600" b="1" kern="0" dirty="0">
                  <a:solidFill>
                    <a:srgbClr val="ED1A3B"/>
                  </a:solidFill>
                  <a:cs typeface="Segoe UI Light" panose="020B0502040204020203" pitchFamily="34" charset="0"/>
                </a:rPr>
                <a:t>TEKST NIVEAUS</a:t>
              </a:r>
            </a:p>
          </p:txBody>
        </p:sp>
        <p:sp>
          <p:nvSpPr>
            <p:cNvPr id="216" name="Textfield placeholder"/>
            <p:cNvSpPr txBox="1">
              <a:spLocks/>
            </p:cNvSpPr>
            <p:nvPr userDrawn="1"/>
          </p:nvSpPr>
          <p:spPr>
            <a:xfrm>
              <a:off x="-2587337" y="2675411"/>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0" lvl="2"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a:solidFill>
                    <a:srgbClr val="404040"/>
                  </a:solidFill>
                </a:rPr>
                <a:t>Sub-bullets (16 pt.)</a:t>
              </a:r>
            </a:p>
          </p:txBody>
        </p:sp>
        <p:sp>
          <p:nvSpPr>
            <p:cNvPr id="217" name="Ovaal 216"/>
            <p:cNvSpPr/>
            <p:nvPr userDrawn="1"/>
          </p:nvSpPr>
          <p:spPr>
            <a:xfrm>
              <a:off x="-2959433" y="196874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1</a:t>
              </a:r>
            </a:p>
          </p:txBody>
        </p:sp>
        <p:sp>
          <p:nvSpPr>
            <p:cNvPr id="218" name="Ovaal 217"/>
            <p:cNvSpPr/>
            <p:nvPr userDrawn="1"/>
          </p:nvSpPr>
          <p:spPr>
            <a:xfrm>
              <a:off x="-2959433" y="232207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2</a:t>
              </a:r>
            </a:p>
          </p:txBody>
        </p:sp>
        <p:sp>
          <p:nvSpPr>
            <p:cNvPr id="219" name="Ovaal 218"/>
            <p:cNvSpPr/>
            <p:nvPr userDrawn="1"/>
          </p:nvSpPr>
          <p:spPr>
            <a:xfrm>
              <a:off x="-2959433" y="267541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3</a:t>
              </a:r>
            </a:p>
          </p:txBody>
        </p:sp>
        <p:sp>
          <p:nvSpPr>
            <p:cNvPr id="220" name="Ovaal 219"/>
            <p:cNvSpPr/>
            <p:nvPr userDrawn="1"/>
          </p:nvSpPr>
          <p:spPr>
            <a:xfrm>
              <a:off x="-2959433" y="302874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4</a:t>
              </a:r>
            </a:p>
          </p:txBody>
        </p:sp>
        <p:sp>
          <p:nvSpPr>
            <p:cNvPr id="221" name="Textfield placeholder"/>
            <p:cNvSpPr txBox="1">
              <a:spLocks/>
            </p:cNvSpPr>
            <p:nvPr userDrawn="1"/>
          </p:nvSpPr>
          <p:spPr>
            <a:xfrm>
              <a:off x="-2571950" y="1966925"/>
              <a:ext cx="2163709" cy="261500"/>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79388">
                <a:lnSpc>
                  <a:spcPct val="120000"/>
                </a:lnSpc>
                <a:spcBef>
                  <a:spcPts val="0"/>
                </a:spcBef>
                <a:spcAft>
                  <a:spcPts val="900"/>
                </a:spcAft>
                <a:buClr>
                  <a:srgbClr val="000000"/>
                </a:buClr>
                <a:buSzPct val="100000"/>
                <a:buFont typeface="Arial" pitchFamily="34" charset="0"/>
                <a:buNone/>
                <a:defRPr/>
              </a:pPr>
              <a:r>
                <a:rPr lang="nl-NL" sz="1200" dirty="0">
                  <a:solidFill>
                    <a:srgbClr val="535353"/>
                  </a:solidFill>
                </a:rPr>
                <a:t>Leestekst (16 pt.)</a:t>
              </a:r>
            </a:p>
          </p:txBody>
        </p:sp>
        <p:sp>
          <p:nvSpPr>
            <p:cNvPr id="222" name="Textfield placeholder"/>
            <p:cNvSpPr txBox="1">
              <a:spLocks/>
            </p:cNvSpPr>
            <p:nvPr userDrawn="1"/>
          </p:nvSpPr>
          <p:spPr>
            <a:xfrm>
              <a:off x="-2571950" y="2322077"/>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70000" lvl="1"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err="1">
                  <a:solidFill>
                    <a:srgbClr val="535353"/>
                  </a:solidFill>
                </a:rPr>
                <a:t>Bullets</a:t>
              </a:r>
              <a:r>
                <a:rPr lang="nl-NL" sz="1200" dirty="0">
                  <a:solidFill>
                    <a:srgbClr val="535353"/>
                  </a:solidFill>
                </a:rPr>
                <a:t> (16 </a:t>
              </a:r>
              <a:r>
                <a:rPr lang="nl-NL" sz="1200" dirty="0" err="1">
                  <a:solidFill>
                    <a:srgbClr val="535353"/>
                  </a:solidFill>
                </a:rPr>
                <a:t>pt</a:t>
              </a:r>
              <a:r>
                <a:rPr lang="nl-NL" sz="1200" dirty="0">
                  <a:solidFill>
                    <a:srgbClr val="535353"/>
                  </a:solidFill>
                </a:rPr>
                <a:t>.)</a:t>
              </a:r>
            </a:p>
          </p:txBody>
        </p:sp>
        <p:sp>
          <p:nvSpPr>
            <p:cNvPr id="223" name="Textfield placeholder"/>
            <p:cNvSpPr txBox="1">
              <a:spLocks/>
            </p:cNvSpPr>
            <p:nvPr userDrawn="1"/>
          </p:nvSpPr>
          <p:spPr>
            <a:xfrm>
              <a:off x="-2571951" y="3028747"/>
              <a:ext cx="2435141"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10000" lvl="3" indent="-270000" defTabSz="179388">
                <a:lnSpc>
                  <a:spcPct val="120000"/>
                </a:lnSpc>
                <a:spcBef>
                  <a:spcPts val="0"/>
                </a:spcBef>
                <a:spcAft>
                  <a:spcPts val="900"/>
                </a:spcAft>
                <a:buClr>
                  <a:schemeClr val="accent2"/>
                </a:buClr>
                <a:buSzPct val="80000"/>
                <a:buFont typeface="Wingdings 3" panose="05040102010807070707" pitchFamily="18" charset="2"/>
                <a:buChar char=""/>
                <a:defRPr/>
              </a:pPr>
              <a:r>
                <a:rPr lang="nl-NL" sz="1200" b="0" dirty="0">
                  <a:solidFill>
                    <a:srgbClr val="404040"/>
                  </a:solidFill>
                </a:rPr>
                <a:t>Sub-sub-bullets (16 pt.)</a:t>
              </a:r>
            </a:p>
          </p:txBody>
        </p:sp>
        <p:cxnSp>
          <p:nvCxnSpPr>
            <p:cNvPr id="224" name="Rechte verbindingslijn 223"/>
            <p:cNvCxnSpPr/>
            <p:nvPr userDrawn="1"/>
          </p:nvCxnSpPr>
          <p:spPr>
            <a:xfrm>
              <a:off x="-2959100" y="274900"/>
              <a:ext cx="2674470" cy="0"/>
            </a:xfrm>
            <a:prstGeom prst="line">
              <a:avLst/>
            </a:prstGeom>
            <a:noFill/>
            <a:ln w="9525" cap="flat" cmpd="sng" algn="ctr">
              <a:solidFill>
                <a:schemeClr val="accent1"/>
              </a:solidFill>
              <a:prstDash val="solid"/>
            </a:ln>
            <a:effectLst/>
          </p:spPr>
        </p:cxnSp>
        <p:cxnSp>
          <p:nvCxnSpPr>
            <p:cNvPr id="225" name="Rechte verbindingslijn 224"/>
            <p:cNvCxnSpPr/>
            <p:nvPr userDrawn="1"/>
          </p:nvCxnSpPr>
          <p:spPr>
            <a:xfrm>
              <a:off x="-2959100" y="1841989"/>
              <a:ext cx="2661379" cy="0"/>
            </a:xfrm>
            <a:prstGeom prst="line">
              <a:avLst/>
            </a:prstGeom>
            <a:noFill/>
            <a:ln w="9525" cap="flat" cmpd="sng" algn="ctr">
              <a:solidFill>
                <a:schemeClr val="accent1"/>
              </a:solidFill>
              <a:prstDash val="solid"/>
            </a:ln>
            <a:effectLst/>
          </p:spPr>
        </p:cxnSp>
        <p:cxnSp>
          <p:nvCxnSpPr>
            <p:cNvPr id="226" name="Rechte verbindingslijn 225"/>
            <p:cNvCxnSpPr/>
            <p:nvPr userDrawn="1"/>
          </p:nvCxnSpPr>
          <p:spPr>
            <a:xfrm>
              <a:off x="-2959100" y="5249278"/>
              <a:ext cx="2661379" cy="0"/>
            </a:xfrm>
            <a:prstGeom prst="line">
              <a:avLst/>
            </a:prstGeom>
            <a:noFill/>
            <a:ln w="9525" cap="flat" cmpd="sng" algn="ctr">
              <a:solidFill>
                <a:schemeClr val="accent1"/>
              </a:solidFill>
              <a:prstDash val="solid"/>
            </a:ln>
            <a:effectLst/>
          </p:spPr>
        </p:cxnSp>
        <p:grpSp>
          <p:nvGrpSpPr>
            <p:cNvPr id="227" name="Groep 226"/>
            <p:cNvGrpSpPr/>
            <p:nvPr userDrawn="1"/>
          </p:nvGrpSpPr>
          <p:grpSpPr>
            <a:xfrm>
              <a:off x="-1948476" y="816741"/>
              <a:ext cx="409108" cy="427699"/>
              <a:chOff x="-1085063" y="758027"/>
              <a:chExt cx="633799" cy="622540"/>
            </a:xfrm>
          </p:grpSpPr>
          <p:sp>
            <p:nvSpPr>
              <p:cNvPr id="283" name="Afgeronde rechthoek 282"/>
              <p:cNvSpPr/>
              <p:nvPr userDrawn="1"/>
            </p:nvSpPr>
            <p:spPr>
              <a:xfrm>
                <a:off x="-108506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284" name="Groep 283"/>
              <p:cNvGrpSpPr/>
              <p:nvPr userDrawn="1"/>
            </p:nvGrpSpPr>
            <p:grpSpPr>
              <a:xfrm>
                <a:off x="-977739" y="864082"/>
                <a:ext cx="419168" cy="410429"/>
                <a:chOff x="6366933" y="309013"/>
                <a:chExt cx="1901295" cy="1861668"/>
              </a:xfrm>
              <a:solidFill>
                <a:srgbClr val="000000"/>
              </a:solidFill>
            </p:grpSpPr>
            <p:sp>
              <p:nvSpPr>
                <p:cNvPr id="285" name="Rechthoek 284"/>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6" name="Rechthoek 285"/>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7" name="Rechthoek 286"/>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8" name="Rechthoek 287"/>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9" name="Rechthoek 288"/>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0" name="Rechthoek 289"/>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1" name="Rechthoek 290"/>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2" name="Rechthoek 291"/>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3" name="Rechthoek 292"/>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4" name="Rechthoek 293"/>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5" name="Vrije vorm 294"/>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nvGrpSpPr>
            <p:cNvPr id="228" name="Groep 227"/>
            <p:cNvGrpSpPr/>
            <p:nvPr userDrawn="1"/>
          </p:nvGrpSpPr>
          <p:grpSpPr>
            <a:xfrm>
              <a:off x="-2950232" y="1207835"/>
              <a:ext cx="532929" cy="509563"/>
              <a:chOff x="-2880382" y="802341"/>
              <a:chExt cx="532929" cy="509563"/>
            </a:xfrm>
          </p:grpSpPr>
          <p:sp>
            <p:nvSpPr>
              <p:cNvPr id="261" name="Rechthoek 260"/>
              <p:cNvSpPr/>
              <p:nvPr userDrawn="1"/>
            </p:nvSpPr>
            <p:spPr>
              <a:xfrm>
                <a:off x="-2880382" y="802341"/>
                <a:ext cx="532929" cy="509563"/>
              </a:xfrm>
              <a:prstGeom prst="rect">
                <a:avLst/>
              </a:prstGeom>
              <a:solidFill>
                <a:sysClr val="window" lastClr="FFFFFF"/>
              </a:soli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pic>
            <p:nvPicPr>
              <p:cNvPr id="26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635852" y="822181"/>
                <a:ext cx="226442" cy="208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3"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848026" y="822181"/>
                <a:ext cx="207168" cy="213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64" name="Groep 263"/>
              <p:cNvGrpSpPr/>
              <p:nvPr userDrawn="1"/>
            </p:nvGrpSpPr>
            <p:grpSpPr>
              <a:xfrm>
                <a:off x="-2802433" y="1123442"/>
                <a:ext cx="132915" cy="104889"/>
                <a:chOff x="-2796392" y="1123442"/>
                <a:chExt cx="120832" cy="104889"/>
              </a:xfrm>
            </p:grpSpPr>
            <p:sp>
              <p:nvSpPr>
                <p:cNvPr id="278" name="Rechthoek 277"/>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9" name="Rechthoek 278"/>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0" name="Rechthoek 279"/>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1" name="Rechthoek 280"/>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2" name="Rechthoek 281"/>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265" name="Groep 264"/>
              <p:cNvGrpSpPr/>
              <p:nvPr userDrawn="1"/>
            </p:nvGrpSpPr>
            <p:grpSpPr>
              <a:xfrm>
                <a:off x="-2575417" y="1123442"/>
                <a:ext cx="133930" cy="104889"/>
                <a:chOff x="-2556734" y="1123442"/>
                <a:chExt cx="147324" cy="104889"/>
              </a:xfrm>
            </p:grpSpPr>
            <p:grpSp>
              <p:nvGrpSpPr>
                <p:cNvPr id="266" name="Groep 265"/>
                <p:cNvGrpSpPr/>
                <p:nvPr userDrawn="1"/>
              </p:nvGrpSpPr>
              <p:grpSpPr>
                <a:xfrm>
                  <a:off x="-2556734" y="1123442"/>
                  <a:ext cx="68206" cy="104889"/>
                  <a:chOff x="-2796392" y="1123442"/>
                  <a:chExt cx="120832" cy="104889"/>
                </a:xfrm>
              </p:grpSpPr>
              <p:sp>
                <p:nvSpPr>
                  <p:cNvPr id="273" name="Rechthoek 272"/>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4" name="Rechthoek 273"/>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5" name="Rechthoek 274"/>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6" name="Rechthoek 275"/>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7" name="Rechthoek 276"/>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267" name="Groep 266"/>
                <p:cNvGrpSpPr/>
                <p:nvPr userDrawn="1"/>
              </p:nvGrpSpPr>
              <p:grpSpPr>
                <a:xfrm>
                  <a:off x="-2477616" y="1123442"/>
                  <a:ext cx="68206" cy="104889"/>
                  <a:chOff x="-2796392" y="1123442"/>
                  <a:chExt cx="120832" cy="104889"/>
                </a:xfrm>
              </p:grpSpPr>
              <p:sp>
                <p:nvSpPr>
                  <p:cNvPr id="268" name="Rechthoek 267"/>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9" name="Rechthoek 268"/>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0" name="Rechthoek 269"/>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1" name="Rechthoek 270"/>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2" name="Rechthoek 271"/>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grpSp>
          <p:nvGrpSpPr>
            <p:cNvPr id="229" name="Groep 228"/>
            <p:cNvGrpSpPr/>
            <p:nvPr userDrawn="1"/>
          </p:nvGrpSpPr>
          <p:grpSpPr>
            <a:xfrm>
              <a:off x="-1948476" y="1281164"/>
              <a:ext cx="413704" cy="427699"/>
              <a:chOff x="-1845083" y="758027"/>
              <a:chExt cx="633799" cy="622540"/>
            </a:xfrm>
          </p:grpSpPr>
          <p:sp>
            <p:nvSpPr>
              <p:cNvPr id="248" name="Afgeronde rechthoek 247"/>
              <p:cNvSpPr/>
              <p:nvPr userDrawn="1"/>
            </p:nvSpPr>
            <p:spPr>
              <a:xfrm>
                <a:off x="-184508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249" name="Groep 248"/>
              <p:cNvGrpSpPr/>
              <p:nvPr userDrawn="1"/>
            </p:nvGrpSpPr>
            <p:grpSpPr>
              <a:xfrm>
                <a:off x="-1737762" y="864082"/>
                <a:ext cx="419168" cy="410429"/>
                <a:chOff x="3708400" y="309013"/>
                <a:chExt cx="1901295" cy="1861668"/>
              </a:xfrm>
              <a:solidFill>
                <a:srgbClr val="000000"/>
              </a:solidFill>
            </p:grpSpPr>
            <p:sp>
              <p:nvSpPr>
                <p:cNvPr id="250" name="Rechthoek 249"/>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1" name="Rechthoek 250"/>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2" name="Rechthoek 251"/>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3" name="Rechthoek 252"/>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4" name="Rechthoek 253"/>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5" name="Rechthoek 254"/>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6" name="Rechthoek 255"/>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7" name="Rechthoek 256"/>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8" name="Rechthoek 257"/>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9" name="Rechthoek 258"/>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0" name="Vrije vorm 259"/>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cxnSp>
          <p:nvCxnSpPr>
            <p:cNvPr id="230" name="Rechte verbindingslijn 229"/>
            <p:cNvCxnSpPr/>
            <p:nvPr userDrawn="1"/>
          </p:nvCxnSpPr>
          <p:spPr>
            <a:xfrm>
              <a:off x="-2814292" y="1441193"/>
              <a:ext cx="865816" cy="53821"/>
            </a:xfrm>
            <a:prstGeom prst="line">
              <a:avLst/>
            </a:prstGeom>
            <a:noFill/>
            <a:ln w="9525" cap="flat" cmpd="sng" algn="ctr">
              <a:solidFill>
                <a:schemeClr val="accent1"/>
              </a:solidFill>
              <a:prstDash val="solid"/>
              <a:headEnd type="oval"/>
            </a:ln>
            <a:effectLst/>
          </p:spPr>
        </p:cxnSp>
        <p:cxnSp>
          <p:nvCxnSpPr>
            <p:cNvPr id="231" name="Rechte verbindingslijn 230"/>
            <p:cNvCxnSpPr/>
            <p:nvPr userDrawn="1"/>
          </p:nvCxnSpPr>
          <p:spPr>
            <a:xfrm flipV="1">
              <a:off x="-2453902" y="1030591"/>
              <a:ext cx="505426" cy="283623"/>
            </a:xfrm>
            <a:prstGeom prst="line">
              <a:avLst/>
            </a:prstGeom>
            <a:noFill/>
            <a:ln w="9525" cap="flat" cmpd="sng" algn="ctr">
              <a:solidFill>
                <a:schemeClr val="accent1"/>
              </a:solidFill>
              <a:prstDash val="solid"/>
              <a:headEnd type="oval"/>
            </a:ln>
            <a:effectLst/>
          </p:spPr>
        </p:cxnSp>
        <p:sp>
          <p:nvSpPr>
            <p:cNvPr id="232" name="Textfield placeholder"/>
            <p:cNvSpPr txBox="1">
              <a:spLocks/>
            </p:cNvSpPr>
            <p:nvPr userDrawn="1"/>
          </p:nvSpPr>
          <p:spPr>
            <a:xfrm>
              <a:off x="-1341598" y="816743"/>
              <a:ext cx="1056968" cy="427698"/>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hoog</a:t>
              </a:r>
            </a:p>
          </p:txBody>
        </p:sp>
        <p:sp>
          <p:nvSpPr>
            <p:cNvPr id="233" name="Textfield placeholder"/>
            <p:cNvSpPr txBox="1">
              <a:spLocks/>
            </p:cNvSpPr>
            <p:nvPr userDrawn="1"/>
          </p:nvSpPr>
          <p:spPr>
            <a:xfrm>
              <a:off x="-1341599" y="1281164"/>
              <a:ext cx="1070223" cy="427699"/>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laag</a:t>
              </a:r>
            </a:p>
          </p:txBody>
        </p:sp>
        <p:sp>
          <p:nvSpPr>
            <p:cNvPr id="234" name="Ovaal 233"/>
            <p:cNvSpPr/>
            <p:nvPr userDrawn="1"/>
          </p:nvSpPr>
          <p:spPr>
            <a:xfrm>
              <a:off x="-2959433" y="338208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5</a:t>
              </a:r>
            </a:p>
          </p:txBody>
        </p:sp>
        <p:sp>
          <p:nvSpPr>
            <p:cNvPr id="235" name="Textfield placeholder"/>
            <p:cNvSpPr txBox="1">
              <a:spLocks/>
            </p:cNvSpPr>
            <p:nvPr userDrawn="1"/>
          </p:nvSpPr>
          <p:spPr>
            <a:xfrm>
              <a:off x="-2571950" y="3382082"/>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60000" lvl="4" indent="-360000" defTabSz="179388">
                <a:lnSpc>
                  <a:spcPct val="120000"/>
                </a:lnSpc>
                <a:spcBef>
                  <a:spcPts val="0"/>
                </a:spcBef>
                <a:spcAft>
                  <a:spcPts val="900"/>
                </a:spcAft>
                <a:buClr>
                  <a:srgbClr val="ED1A3B"/>
                </a:buClr>
                <a:buFont typeface="+mj-lt"/>
                <a:buAutoNum type="arabicPeriod"/>
                <a:defRPr/>
              </a:pPr>
              <a:r>
                <a:rPr lang="nl-NL" sz="1200" b="0" dirty="0">
                  <a:solidFill>
                    <a:srgbClr val="404040"/>
                  </a:solidFill>
                </a:rPr>
                <a:t>Numeriek (16 pt.)</a:t>
              </a:r>
            </a:p>
          </p:txBody>
        </p:sp>
        <p:grpSp>
          <p:nvGrpSpPr>
            <p:cNvPr id="236" name="Groep 235"/>
            <p:cNvGrpSpPr/>
            <p:nvPr userDrawn="1"/>
          </p:nvGrpSpPr>
          <p:grpSpPr>
            <a:xfrm>
              <a:off x="-2950232" y="816050"/>
              <a:ext cx="528695" cy="344202"/>
              <a:chOff x="-2880382" y="410556"/>
              <a:chExt cx="528695" cy="344202"/>
            </a:xfrm>
          </p:grpSpPr>
          <p:sp>
            <p:nvSpPr>
              <p:cNvPr id="246" name="Afgeronde rechthoek 245"/>
              <p:cNvSpPr/>
              <p:nvPr userDrawn="1"/>
            </p:nvSpPr>
            <p:spPr>
              <a:xfrm>
                <a:off x="-2874214" y="410556"/>
                <a:ext cx="522527" cy="339183"/>
              </a:xfrm>
              <a:prstGeom prst="roundRect">
                <a:avLst>
                  <a:gd name="adj" fmla="val 7565"/>
                </a:avLst>
              </a:prstGeom>
              <a:gradFill>
                <a:gsLst>
                  <a:gs pos="0">
                    <a:srgbClr val="FFEC8F"/>
                  </a:gs>
                  <a:gs pos="100000">
                    <a:srgbClr val="FFFFFF"/>
                  </a:gs>
                </a:gsLst>
                <a:lin ang="5400000" scaled="0"/>
              </a:gra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sp>
            <p:nvSpPr>
              <p:cNvPr id="247" name="Vrije vorm 246"/>
              <p:cNvSpPr/>
              <p:nvPr userDrawn="1"/>
            </p:nvSpPr>
            <p:spPr>
              <a:xfrm>
                <a:off x="-2880382" y="452699"/>
                <a:ext cx="528695" cy="302059"/>
              </a:xfrm>
              <a:custGeom>
                <a:avLst/>
                <a:gdLst>
                  <a:gd name="connsiteX0" fmla="*/ 55524 w 528695"/>
                  <a:gd name="connsiteY0" fmla="*/ 0 h 302059"/>
                  <a:gd name="connsiteX1" fmla="*/ 455496 w 528695"/>
                  <a:gd name="connsiteY1" fmla="*/ 0 h 302059"/>
                  <a:gd name="connsiteX2" fmla="*/ 475205 w 528695"/>
                  <a:gd name="connsiteY2" fmla="*/ 19709 h 302059"/>
                  <a:gd name="connsiteX3" fmla="*/ 475205 w 528695"/>
                  <a:gd name="connsiteY3" fmla="*/ 230056 h 302059"/>
                  <a:gd name="connsiteX4" fmla="*/ 516694 w 528695"/>
                  <a:gd name="connsiteY4" fmla="*/ 230056 h 302059"/>
                  <a:gd name="connsiteX5" fmla="*/ 528695 w 528695"/>
                  <a:gd name="connsiteY5" fmla="*/ 242057 h 302059"/>
                  <a:gd name="connsiteX6" fmla="*/ 528695 w 528695"/>
                  <a:gd name="connsiteY6" fmla="*/ 290058 h 302059"/>
                  <a:gd name="connsiteX7" fmla="*/ 516694 w 528695"/>
                  <a:gd name="connsiteY7" fmla="*/ 302059 h 302059"/>
                  <a:gd name="connsiteX8" fmla="*/ 12001 w 528695"/>
                  <a:gd name="connsiteY8" fmla="*/ 302059 h 302059"/>
                  <a:gd name="connsiteX9" fmla="*/ 0 w 528695"/>
                  <a:gd name="connsiteY9" fmla="*/ 290058 h 302059"/>
                  <a:gd name="connsiteX10" fmla="*/ 0 w 528695"/>
                  <a:gd name="connsiteY10" fmla="*/ 242057 h 302059"/>
                  <a:gd name="connsiteX11" fmla="*/ 12001 w 528695"/>
                  <a:gd name="connsiteY11" fmla="*/ 230056 h 302059"/>
                  <a:gd name="connsiteX12" fmla="*/ 35815 w 528695"/>
                  <a:gd name="connsiteY12" fmla="*/ 230056 h 302059"/>
                  <a:gd name="connsiteX13" fmla="*/ 35815 w 528695"/>
                  <a:gd name="connsiteY13" fmla="*/ 19709 h 302059"/>
                  <a:gd name="connsiteX14" fmla="*/ 55524 w 528695"/>
                  <a:gd name="connsiteY14" fmla="*/ 0 h 3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8695" h="302059">
                    <a:moveTo>
                      <a:pt x="55524" y="0"/>
                    </a:moveTo>
                    <a:lnTo>
                      <a:pt x="455496" y="0"/>
                    </a:lnTo>
                    <a:cubicBezTo>
                      <a:pt x="466381" y="0"/>
                      <a:pt x="475205" y="8824"/>
                      <a:pt x="475205" y="19709"/>
                    </a:cubicBezTo>
                    <a:lnTo>
                      <a:pt x="475205" y="230056"/>
                    </a:lnTo>
                    <a:lnTo>
                      <a:pt x="516694" y="230056"/>
                    </a:lnTo>
                    <a:cubicBezTo>
                      <a:pt x="523322" y="230056"/>
                      <a:pt x="528695" y="235429"/>
                      <a:pt x="528695" y="242057"/>
                    </a:cubicBezTo>
                    <a:lnTo>
                      <a:pt x="528695" y="290058"/>
                    </a:lnTo>
                    <a:cubicBezTo>
                      <a:pt x="528695" y="296686"/>
                      <a:pt x="523322" y="302059"/>
                      <a:pt x="516694" y="302059"/>
                    </a:cubicBezTo>
                    <a:lnTo>
                      <a:pt x="12001" y="302059"/>
                    </a:lnTo>
                    <a:cubicBezTo>
                      <a:pt x="5373" y="302059"/>
                      <a:pt x="0" y="296686"/>
                      <a:pt x="0" y="290058"/>
                    </a:cubicBezTo>
                    <a:lnTo>
                      <a:pt x="0" y="242057"/>
                    </a:lnTo>
                    <a:cubicBezTo>
                      <a:pt x="0" y="235429"/>
                      <a:pt x="5373" y="230056"/>
                      <a:pt x="12001" y="230056"/>
                    </a:cubicBezTo>
                    <a:lnTo>
                      <a:pt x="35815" y="230056"/>
                    </a:lnTo>
                    <a:lnTo>
                      <a:pt x="35815" y="19709"/>
                    </a:lnTo>
                    <a:cubicBezTo>
                      <a:pt x="35815" y="8824"/>
                      <a:pt x="44639" y="0"/>
                      <a:pt x="55524" y="0"/>
                    </a:cubicBezTo>
                    <a:close/>
                  </a:path>
                </a:pathLst>
              </a:custGeom>
              <a:solidFill>
                <a:sysClr val="window" lastClr="FFFFFF">
                  <a:lumMod val="95000"/>
                </a:sysClr>
              </a:solidFill>
              <a:ln w="9525" cap="flat" cmpd="sng" algn="ctr">
                <a:solidFill>
                  <a:srgbClr val="FFFFFF">
                    <a:lumMod val="90000"/>
                  </a:srgbClr>
                </a:solidFill>
                <a:prstDash val="solid"/>
                <a:miter lim="800000"/>
              </a:ln>
              <a:effectLst/>
            </p:spPr>
            <p:txBody>
              <a:bodyPr rot="0" spcFirstLastPara="0" vert="horz" wrap="square" lIns="108000" tIns="36000" rIns="108000" bIns="10800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900" dirty="0">
                    <a:solidFill>
                      <a:prstClr val="black"/>
                    </a:solidFill>
                    <a:latin typeface="Segoe UI Light"/>
                  </a:rPr>
                  <a:t>Start</a:t>
                </a:r>
              </a:p>
            </p:txBody>
          </p:sp>
        </p:grpSp>
        <p:sp>
          <p:nvSpPr>
            <p:cNvPr id="237" name="Tekstvak 65"/>
            <p:cNvSpPr txBox="1"/>
            <p:nvPr userDrawn="1"/>
          </p:nvSpPr>
          <p:spPr>
            <a:xfrm>
              <a:off x="-2959433" y="372104"/>
              <a:ext cx="2679887" cy="453396"/>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nl-NL" sz="1200" kern="0" dirty="0">
                  <a:solidFill>
                    <a:srgbClr val="000000"/>
                  </a:solidFill>
                  <a:latin typeface="Segoe UI Light" panose="020B0502040204020203" pitchFamily="34" charset="0"/>
                  <a:cs typeface="Segoe UI Light" panose="020B0502040204020203" pitchFamily="34" charset="0"/>
                </a:rPr>
                <a:t>Ga naar de tab </a:t>
              </a:r>
              <a:r>
                <a:rPr lang="nl-NL" sz="1200" b="1" kern="0" dirty="0">
                  <a:solidFill>
                    <a:srgbClr val="000000"/>
                  </a:solidFill>
                  <a:latin typeface="Segoe UI Light" panose="020B0502040204020203" pitchFamily="34" charset="0"/>
                  <a:cs typeface="Segoe UI Light" panose="020B0502040204020203" pitchFamily="34" charset="0"/>
                </a:rPr>
                <a:t>Start’ </a:t>
              </a:r>
              <a:r>
                <a:rPr lang="nl-NL" sz="1200" kern="0" dirty="0">
                  <a:solidFill>
                    <a:srgbClr val="000000"/>
                  </a:solidFill>
                  <a:latin typeface="Segoe UI Light" panose="020B0502040204020203" pitchFamily="34" charset="0"/>
                  <a:cs typeface="Segoe UI Light" panose="020B0502040204020203" pitchFamily="34" charset="0"/>
                </a:rPr>
                <a:t>en vind onderstaande knoppen onder </a:t>
              </a:r>
              <a:r>
                <a:rPr lang="nl-NL" sz="1200" b="1" kern="0" dirty="0">
                  <a:solidFill>
                    <a:srgbClr val="000000"/>
                  </a:solidFill>
                  <a:latin typeface="Segoe UI Light" panose="020B0502040204020203" pitchFamily="34" charset="0"/>
                  <a:cs typeface="Segoe UI Light" panose="020B0502040204020203" pitchFamily="34" charset="0"/>
                </a:rPr>
                <a:t>‘Alinea’</a:t>
              </a:r>
            </a:p>
          </p:txBody>
        </p:sp>
        <p:sp>
          <p:nvSpPr>
            <p:cNvPr id="238" name="Ovaal 237"/>
            <p:cNvSpPr/>
            <p:nvPr userDrawn="1"/>
          </p:nvSpPr>
          <p:spPr>
            <a:xfrm>
              <a:off x="-2959433" y="375153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6</a:t>
              </a:r>
            </a:p>
          </p:txBody>
        </p:sp>
        <p:sp>
          <p:nvSpPr>
            <p:cNvPr id="239" name="Textfield placeholder"/>
            <p:cNvSpPr txBox="1">
              <a:spLocks/>
            </p:cNvSpPr>
            <p:nvPr userDrawn="1"/>
          </p:nvSpPr>
          <p:spPr>
            <a:xfrm>
              <a:off x="-2571950" y="3751536"/>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0000" lvl="5" indent="-270000" defTabSz="179388">
                <a:lnSpc>
                  <a:spcPct val="120000"/>
                </a:lnSpc>
                <a:spcAft>
                  <a:spcPts val="900"/>
                </a:spcAft>
                <a:buClr>
                  <a:srgbClr val="ED1A3B"/>
                </a:buClr>
                <a:buSzPct val="80000"/>
                <a:buFont typeface="Wingdings 3" panose="05040102010807070707" pitchFamily="18" charset="2"/>
                <a:buChar char=""/>
                <a:defRPr/>
              </a:pPr>
              <a:r>
                <a:rPr lang="nl-NL" sz="1200" cap="none" dirty="0">
                  <a:solidFill>
                    <a:srgbClr val="535353"/>
                  </a:solidFill>
                </a:rPr>
                <a:t># Bullets (16 pt.)</a:t>
              </a:r>
            </a:p>
          </p:txBody>
        </p:sp>
        <p:sp>
          <p:nvSpPr>
            <p:cNvPr id="240" name="Ovaal 239"/>
            <p:cNvSpPr/>
            <p:nvPr userDrawn="1"/>
          </p:nvSpPr>
          <p:spPr>
            <a:xfrm>
              <a:off x="-2959433" y="414870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7</a:t>
              </a:r>
            </a:p>
          </p:txBody>
        </p:sp>
        <p:sp>
          <p:nvSpPr>
            <p:cNvPr id="241" name="Textfield placeholder"/>
            <p:cNvSpPr txBox="1">
              <a:spLocks/>
            </p:cNvSpPr>
            <p:nvPr userDrawn="1"/>
          </p:nvSpPr>
          <p:spPr>
            <a:xfrm>
              <a:off x="-2571950" y="414870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6" indent="0" defTabSz="179388">
                <a:lnSpc>
                  <a:spcPct val="120000"/>
                </a:lnSpc>
                <a:spcBef>
                  <a:spcPts val="0"/>
                </a:spcBef>
                <a:spcAft>
                  <a:spcPts val="900"/>
                </a:spcAft>
                <a:buClr>
                  <a:srgbClr val="ED1A3B"/>
                </a:buClr>
                <a:buSzPct val="90000"/>
                <a:buFont typeface="+mj-lt"/>
                <a:buNone/>
                <a:defRPr/>
              </a:pPr>
              <a:r>
                <a:rPr lang="nl-NL" sz="1200" i="1" dirty="0">
                  <a:solidFill>
                    <a:srgbClr val="404040"/>
                  </a:solidFill>
                </a:rPr>
                <a:t>Cursief donker (16 pt.)</a:t>
              </a:r>
            </a:p>
          </p:txBody>
        </p:sp>
        <p:sp>
          <p:nvSpPr>
            <p:cNvPr id="242" name="Ovaal 241"/>
            <p:cNvSpPr/>
            <p:nvPr userDrawn="1"/>
          </p:nvSpPr>
          <p:spPr>
            <a:xfrm>
              <a:off x="-2959433" y="454586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8</a:t>
              </a:r>
            </a:p>
          </p:txBody>
        </p:sp>
        <p:sp>
          <p:nvSpPr>
            <p:cNvPr id="243" name="Textfield placeholder"/>
            <p:cNvSpPr txBox="1">
              <a:spLocks/>
            </p:cNvSpPr>
            <p:nvPr userDrawn="1"/>
          </p:nvSpPr>
          <p:spPr>
            <a:xfrm>
              <a:off x="-2571950" y="4545864"/>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7" indent="0" defTabSz="179388">
                <a:lnSpc>
                  <a:spcPct val="80000"/>
                </a:lnSpc>
                <a:spcBef>
                  <a:spcPts val="0"/>
                </a:spcBef>
                <a:spcAft>
                  <a:spcPts val="900"/>
                </a:spcAft>
                <a:buClr>
                  <a:srgbClr val="ED1A3B"/>
                </a:buClr>
                <a:buFont typeface="Arial" pitchFamily="34" charset="0"/>
                <a:buNone/>
                <a:defRPr/>
              </a:pPr>
              <a:r>
                <a:rPr lang="nl-NL" sz="1200" i="1" dirty="0">
                  <a:solidFill>
                    <a:srgbClr val="A3B0C0"/>
                  </a:solidFill>
                </a:rPr>
                <a:t>Cursief Licht (16 pt.)</a:t>
              </a:r>
            </a:p>
          </p:txBody>
        </p:sp>
        <p:sp>
          <p:nvSpPr>
            <p:cNvPr id="244" name="Ovaal 243"/>
            <p:cNvSpPr/>
            <p:nvPr userDrawn="1"/>
          </p:nvSpPr>
          <p:spPr>
            <a:xfrm>
              <a:off x="-2959433" y="488761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9</a:t>
              </a:r>
            </a:p>
          </p:txBody>
        </p:sp>
        <p:sp>
          <p:nvSpPr>
            <p:cNvPr id="245" name="Textfield placeholder"/>
            <p:cNvSpPr txBox="1">
              <a:spLocks/>
            </p:cNvSpPr>
            <p:nvPr userDrawn="1"/>
          </p:nvSpPr>
          <p:spPr>
            <a:xfrm>
              <a:off x="-2571950" y="488761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8" indent="0" defTabSz="179388">
                <a:lnSpc>
                  <a:spcPct val="80000"/>
                </a:lnSpc>
                <a:spcBef>
                  <a:spcPts val="0"/>
                </a:spcBef>
                <a:spcAft>
                  <a:spcPts val="900"/>
                </a:spcAft>
                <a:buClr>
                  <a:srgbClr val="ED1A3B"/>
                </a:buClr>
                <a:buFont typeface="Arial" pitchFamily="34" charset="0"/>
                <a:buNone/>
                <a:defRPr/>
              </a:pPr>
              <a:r>
                <a:rPr lang="nl-NL" sz="1400" b="1" dirty="0">
                  <a:solidFill>
                    <a:srgbClr val="ED1A3B"/>
                  </a:solidFill>
                </a:rPr>
                <a:t>Subtitel (18 pt.)</a:t>
              </a:r>
            </a:p>
          </p:txBody>
        </p:sp>
      </p:grpSp>
      <p:sp>
        <p:nvSpPr>
          <p:cNvPr id="115" name="Hyperlink - Inhoudsopgave">
            <a:hlinkClick r:id="rId5" action="ppaction://hlinksldjump"/>
          </p:cNvPr>
          <p:cNvSpPr/>
          <p:nvPr userDrawn="1"/>
        </p:nvSpPr>
        <p:spPr>
          <a:xfrm>
            <a:off x="10197856" y="5889801"/>
            <a:ext cx="2000494" cy="968199"/>
          </a:xfrm>
          <a:prstGeom prst="rect">
            <a:avLst/>
          </a:prstGeom>
          <a:solidFill>
            <a:srgbClr val="ED1A3B">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cxnSp>
        <p:nvCxnSpPr>
          <p:cNvPr id="16" name="Grijze lijn - onder"/>
          <p:cNvCxnSpPr/>
          <p:nvPr/>
        </p:nvCxnSpPr>
        <p:spPr>
          <a:xfrm flipH="1">
            <a:off x="6057606" y="5776291"/>
            <a:ext cx="5478429"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Grijze lijn - boven"/>
          <p:cNvCxnSpPr/>
          <p:nvPr/>
        </p:nvCxnSpPr>
        <p:spPr>
          <a:xfrm flipH="1">
            <a:off x="664804" y="1358670"/>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3" name="Tijdelijke aanduiding voor Dianummer"/>
          <p:cNvSpPr>
            <a:spLocks noGrp="1"/>
          </p:cNvSpPr>
          <p:nvPr>
            <p:ph type="sldNum" sz="quarter" idx="4"/>
          </p:nvPr>
        </p:nvSpPr>
        <p:spPr>
          <a:xfrm>
            <a:off x="5770549" y="6295992"/>
            <a:ext cx="657251" cy="365125"/>
          </a:xfrm>
          <a:prstGeom prst="rect">
            <a:avLst/>
          </a:prstGeom>
        </p:spPr>
        <p:txBody>
          <a:bodyPr vert="horz" lIns="91440" tIns="45720" rIns="91440" bIns="45720" rtlCol="0" anchor="ctr"/>
          <a:lstStyle>
            <a:lvl1pPr algn="ctr">
              <a:defRPr sz="800">
                <a:solidFill>
                  <a:schemeClr val="tx1">
                    <a:tint val="75000"/>
                  </a:schemeClr>
                </a:solidFill>
              </a:defRPr>
            </a:lvl1pPr>
          </a:lstStyle>
          <a:p>
            <a:fld id="{1B3FA67A-C720-417A-A072-0CD211FD8662}" type="slidenum">
              <a:rPr lang="nl-NL" smtClean="0">
                <a:solidFill>
                  <a:srgbClr val="000000">
                    <a:tint val="75000"/>
                  </a:srgbClr>
                </a:solidFill>
              </a:rPr>
              <a:pPr/>
              <a:t>‹nr.›</a:t>
            </a:fld>
            <a:endParaRPr lang="nl-NL" dirty="0">
              <a:solidFill>
                <a:srgbClr val="000000">
                  <a:tint val="75000"/>
                </a:srgbClr>
              </a:solidFill>
            </a:endParaRPr>
          </a:p>
        </p:txBody>
      </p:sp>
      <p:sp>
        <p:nvSpPr>
          <p:cNvPr id="7" name="Tijdelijke aanduiding voor Afbeelding"/>
          <p:cNvSpPr>
            <a:spLocks noGrp="1"/>
          </p:cNvSpPr>
          <p:nvPr>
            <p:ph type="pic" idx="13"/>
          </p:nvPr>
        </p:nvSpPr>
        <p:spPr>
          <a:xfrm>
            <a:off x="6057607" y="1377951"/>
            <a:ext cx="5478428" cy="4381200"/>
          </a:xfrm>
          <a:solidFill>
            <a:schemeClr val="accent5">
              <a:lumMod val="20000"/>
              <a:lumOff val="80000"/>
            </a:schemeClr>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p>
        </p:txBody>
      </p:sp>
      <p:sp>
        <p:nvSpPr>
          <p:cNvPr id="3" name="Tijdelijke aanduiding voor Tekst"/>
          <p:cNvSpPr>
            <a:spLocks noGrp="1"/>
          </p:cNvSpPr>
          <p:nvPr>
            <p:ph type="body" orient="vert" idx="1" hasCustomPrompt="1"/>
          </p:nvPr>
        </p:nvSpPr>
        <p:spPr>
          <a:xfrm>
            <a:off x="664110" y="1720867"/>
            <a:ext cx="4995214" cy="3693600"/>
          </a:xfrm>
        </p:spPr>
        <p:txBody>
          <a:bodyPr vert="horz"/>
          <a:lstStyle>
            <a:lvl1pPr>
              <a:defRPr sz="1600"/>
            </a:lvl1pPr>
            <a:lvl2pPr>
              <a:defRPr sz="1600"/>
            </a:lvl2pPr>
            <a:lvl3pPr>
              <a:defRPr sz="1600"/>
            </a:lvl3pPr>
            <a:lvl4pPr>
              <a:defRPr sz="1600"/>
            </a:lvl4pPr>
            <a:lvl5pPr>
              <a:defRPr sz="1600"/>
            </a:lvl5pPr>
            <a:lvl6pPr>
              <a:defRPr sz="1600"/>
            </a:lvl6pPr>
            <a:lvl7pPr>
              <a:defRPr sz="1600"/>
            </a:lvl7pPr>
            <a:lvl8pPr>
              <a:defRPr sz="1600"/>
            </a:lvl8pPr>
          </a:lstStyle>
          <a:p>
            <a:pPr lvl="0"/>
            <a:r>
              <a:rPr lang="nl-NL" dirty="0"/>
              <a:t>Leestekst</a:t>
            </a:r>
          </a:p>
          <a:p>
            <a:pPr lvl="1"/>
            <a:r>
              <a:rPr lang="nl-NL" dirty="0"/>
              <a:t>Bullets</a:t>
            </a:r>
          </a:p>
          <a:p>
            <a:pPr lvl="2"/>
            <a:r>
              <a:rPr lang="nl-NL" dirty="0"/>
              <a:t>Sub-bullets</a:t>
            </a:r>
          </a:p>
          <a:p>
            <a:pPr lvl="3"/>
            <a:r>
              <a:rPr lang="nl-NL" dirty="0"/>
              <a:t>Sub-sub-bullets</a:t>
            </a:r>
          </a:p>
          <a:p>
            <a:pPr lvl="4"/>
            <a:r>
              <a:rPr lang="nl-NL" dirty="0"/>
              <a:t>Numeriek</a:t>
            </a:r>
          </a:p>
          <a:p>
            <a:pPr lvl="5"/>
            <a:r>
              <a:rPr lang="nl-NL" dirty="0"/>
              <a:t># Bullets</a:t>
            </a:r>
          </a:p>
          <a:p>
            <a:pPr lvl="6"/>
            <a:r>
              <a:rPr lang="nl-NL" dirty="0"/>
              <a:t>Cursief donker</a:t>
            </a:r>
          </a:p>
          <a:p>
            <a:pPr lvl="7"/>
            <a:r>
              <a:rPr lang="nl-NL" dirty="0"/>
              <a:t>Cursief licht</a:t>
            </a:r>
          </a:p>
          <a:p>
            <a:pPr lvl="8"/>
            <a:r>
              <a:rPr lang="nl-NL" dirty="0"/>
              <a:t>Subtitel</a:t>
            </a:r>
          </a:p>
        </p:txBody>
      </p:sp>
      <p:sp>
        <p:nvSpPr>
          <p:cNvPr id="14" name="Tijdelijke aanduiding voor Subtitel"/>
          <p:cNvSpPr>
            <a:spLocks noGrp="1"/>
          </p:cNvSpPr>
          <p:nvPr>
            <p:ph type="body" idx="14"/>
          </p:nvPr>
        </p:nvSpPr>
        <p:spPr>
          <a:xfrm>
            <a:off x="664109" y="1001348"/>
            <a:ext cx="10870131" cy="317758"/>
          </a:xfrm>
        </p:spPr>
        <p:txBody>
          <a:bodyPr bIns="72000" anchor="t" anchorCtr="0"/>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11" name="Tijdelijke aanduiding voor Titel"/>
          <p:cNvSpPr>
            <a:spLocks noGrp="1"/>
          </p:cNvSpPr>
          <p:nvPr>
            <p:ph type="title"/>
          </p:nvPr>
        </p:nvSpPr>
        <p:spPr>
          <a:xfrm>
            <a:off x="664109" y="464521"/>
            <a:ext cx="10870131" cy="533219"/>
          </a:xfrm>
        </p:spPr>
        <p:txBody>
          <a:bodyPr/>
          <a:lstStyle/>
          <a:p>
            <a:r>
              <a:rPr lang="nl-NL"/>
              <a:t>Klik om stijl te bewerken</a:t>
            </a:r>
            <a:endParaRPr lang="nl-NL" dirty="0"/>
          </a:p>
        </p:txBody>
      </p:sp>
    </p:spTree>
    <p:extLst>
      <p:ext uri="{BB962C8B-B14F-4D97-AF65-F5344CB8AC3E}">
        <p14:creationId xmlns:p14="http://schemas.microsoft.com/office/powerpoint/2010/main" val="926998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fbeelding 75%">
    <p:spTree>
      <p:nvGrpSpPr>
        <p:cNvPr id="1" name=""/>
        <p:cNvGrpSpPr/>
        <p:nvPr/>
      </p:nvGrpSpPr>
      <p:grpSpPr>
        <a:xfrm>
          <a:off x="0" y="0"/>
          <a:ext cx="0" cy="0"/>
          <a:chOff x="0" y="0"/>
          <a:chExt cx="0" cy="0"/>
        </a:xfrm>
      </p:grpSpPr>
      <p:sp>
        <p:nvSpPr>
          <p:cNvPr id="11" name="Naam indeling - Afbeelding 75%"/>
          <p:cNvSpPr txBox="1"/>
          <p:nvPr/>
        </p:nvSpPr>
        <p:spPr>
          <a:xfrm>
            <a:off x="1" y="-453266"/>
            <a:ext cx="3582333" cy="276999"/>
          </a:xfrm>
          <a:prstGeom prst="rect">
            <a:avLst/>
          </a:prstGeom>
          <a:noFill/>
        </p:spPr>
        <p:txBody>
          <a:bodyPr wrap="square" lIns="0" tIns="0" rIns="0" bIns="0" rtlCol="0">
            <a:spAutoFit/>
          </a:bodyPr>
          <a:lstStyle/>
          <a:p>
            <a:pPr defTabSz="914112"/>
            <a:r>
              <a:rPr lang="nl-NL" dirty="0">
                <a:solidFill>
                  <a:srgbClr val="404040"/>
                </a:solidFill>
                <a:latin typeface="Calibri" panose="020F0502020204030204" pitchFamily="34" charset="0"/>
              </a:rPr>
              <a:t>Afbeelding 75%</a:t>
            </a:r>
            <a:endParaRPr lang="en-GB" dirty="0">
              <a:solidFill>
                <a:srgbClr val="404040"/>
              </a:solidFill>
              <a:latin typeface="Calibri" panose="020F0502020204030204" pitchFamily="34" charset="0"/>
            </a:endParaRPr>
          </a:p>
        </p:txBody>
      </p:sp>
      <p:grpSp>
        <p:nvGrpSpPr>
          <p:cNvPr id="98" name="Instructie - Afbeelding invoegen"/>
          <p:cNvGrpSpPr/>
          <p:nvPr/>
        </p:nvGrpSpPr>
        <p:grpSpPr>
          <a:xfrm>
            <a:off x="12437931" y="14898"/>
            <a:ext cx="2717569" cy="3676571"/>
            <a:chOff x="12434693" y="14897"/>
            <a:chExt cx="2716862" cy="3676571"/>
          </a:xfrm>
        </p:grpSpPr>
        <p:sp>
          <p:nvSpPr>
            <p:cNvPr id="99" name="Rechthoek 98"/>
            <p:cNvSpPr/>
            <p:nvPr/>
          </p:nvSpPr>
          <p:spPr>
            <a:xfrm>
              <a:off x="12441150" y="14897"/>
              <a:ext cx="2696270" cy="161771"/>
            </a:xfrm>
            <a:prstGeom prst="rect">
              <a:avLst/>
            </a:prstGeom>
            <a:noFill/>
            <a:ln w="25400" cap="flat" cmpd="sng" algn="ctr">
              <a:noFill/>
              <a:prstDash val="solid"/>
            </a:ln>
            <a:effectLst/>
          </p:spPr>
          <p:txBody>
            <a:bodyPr lIns="0" tIns="0" rIns="0" bIns="0" rtlCol="0" anchor="t"/>
            <a:lstStyle/>
            <a:p>
              <a:pPr defTabSz="914112">
                <a:lnSpc>
                  <a:spcPct val="80000"/>
                </a:lnSpc>
              </a:pPr>
              <a:r>
                <a:rPr lang="nl-NL" sz="1600" b="1" kern="0" cap="all" dirty="0">
                  <a:solidFill>
                    <a:srgbClr val="ED1A3B"/>
                  </a:solidFill>
                  <a:cs typeface="Segoe UI Light" panose="020B0502040204020203" pitchFamily="34" charset="0"/>
                </a:rPr>
                <a:t>AFBEELDING INVOEGEN</a:t>
              </a:r>
            </a:p>
          </p:txBody>
        </p:sp>
        <p:sp>
          <p:nvSpPr>
            <p:cNvPr id="100" name="Tekstvak 33"/>
            <p:cNvSpPr txBox="1"/>
            <p:nvPr/>
          </p:nvSpPr>
          <p:spPr>
            <a:xfrm>
              <a:off x="12441149" y="814239"/>
              <a:ext cx="2710405" cy="719877"/>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Indien nodig, verwijder de bestaande afbeelding. Klik op het pictogram </a:t>
              </a:r>
              <a:br>
                <a:rPr lang="nl-NL" sz="1200" kern="0" dirty="0">
                  <a:solidFill>
                    <a:srgbClr val="000000"/>
                  </a:solidFill>
                  <a:latin typeface="Trebuchet MS"/>
                  <a:cs typeface="Segoe UI Light" panose="020B0502040204020203" pitchFamily="34" charset="0"/>
                </a:rPr>
              </a:br>
              <a:r>
                <a:rPr lang="nl-NL" sz="1200" kern="0" dirty="0">
                  <a:solidFill>
                    <a:srgbClr val="000000"/>
                  </a:solidFill>
                  <a:latin typeface="Trebuchet MS"/>
                  <a:cs typeface="Segoe UI Light" panose="020B0502040204020203" pitchFamily="34" charset="0"/>
                </a:rPr>
                <a:t>om een afbeelding in te voegen</a:t>
              </a:r>
              <a:br>
                <a:rPr lang="nl-NL" sz="1200" kern="0" dirty="0">
                  <a:solidFill>
                    <a:srgbClr val="000000"/>
                  </a:solidFill>
                  <a:latin typeface="Trebuchet MS"/>
                  <a:cs typeface="Segoe UI Light" panose="020B0502040204020203" pitchFamily="34" charset="0"/>
                </a:rPr>
              </a:br>
              <a:r>
                <a:rPr lang="nl-NL" sz="1100" i="1" kern="0" dirty="0">
                  <a:solidFill>
                    <a:srgbClr val="000000"/>
                  </a:solidFill>
                  <a:latin typeface="Trebuchet MS"/>
                  <a:cs typeface="Segoe UI Light" panose="020B0502040204020203" pitchFamily="34" charset="0"/>
                </a:rPr>
                <a:t>(zie onderstaand voorbeeld).</a:t>
              </a:r>
            </a:p>
          </p:txBody>
        </p:sp>
        <p:sp>
          <p:nvSpPr>
            <p:cNvPr id="101" name="Tekstvak 33"/>
            <p:cNvSpPr txBox="1"/>
            <p:nvPr/>
          </p:nvSpPr>
          <p:spPr>
            <a:xfrm>
              <a:off x="12441149" y="2793904"/>
              <a:ext cx="2710405" cy="395943"/>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Selecteer de afbeelding die u wilt invoegen en klik op </a:t>
              </a:r>
              <a:r>
                <a:rPr lang="nl-NL" sz="1200" b="1" kern="0" dirty="0">
                  <a:solidFill>
                    <a:srgbClr val="000000"/>
                  </a:solidFill>
                  <a:latin typeface="Trebuchet MS"/>
                  <a:cs typeface="Segoe UI Light" panose="020B0502040204020203" pitchFamily="34" charset="0"/>
                </a:rPr>
                <a:t>‘Invoegen’</a:t>
              </a:r>
            </a:p>
          </p:txBody>
        </p:sp>
        <p:sp>
          <p:nvSpPr>
            <p:cNvPr id="102" name="Ovaal 101"/>
            <p:cNvSpPr/>
            <p:nvPr/>
          </p:nvSpPr>
          <p:spPr>
            <a:xfrm>
              <a:off x="12441150" y="379292"/>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1</a:t>
              </a:r>
            </a:p>
          </p:txBody>
        </p:sp>
        <p:sp>
          <p:nvSpPr>
            <p:cNvPr id="103" name="Ovaal 102"/>
            <p:cNvSpPr/>
            <p:nvPr/>
          </p:nvSpPr>
          <p:spPr>
            <a:xfrm>
              <a:off x="12441150" y="2337208"/>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2</a:t>
              </a:r>
            </a:p>
          </p:txBody>
        </p:sp>
        <p:cxnSp>
          <p:nvCxnSpPr>
            <p:cNvPr id="104" name="Rechte verbindingslijn 103"/>
            <p:cNvCxnSpPr/>
            <p:nvPr/>
          </p:nvCxnSpPr>
          <p:spPr>
            <a:xfrm>
              <a:off x="12441150" y="248176"/>
              <a:ext cx="2710405" cy="0"/>
            </a:xfrm>
            <a:prstGeom prst="line">
              <a:avLst/>
            </a:prstGeom>
            <a:noFill/>
            <a:ln w="9525" cap="flat" cmpd="sng" algn="ctr">
              <a:solidFill>
                <a:schemeClr val="accent1"/>
              </a:solidFill>
              <a:prstDash val="solid"/>
            </a:ln>
            <a:effectLst/>
          </p:spPr>
        </p:cxnSp>
        <p:cxnSp>
          <p:nvCxnSpPr>
            <p:cNvPr id="105" name="Rechte verbindingslijn 104"/>
            <p:cNvCxnSpPr/>
            <p:nvPr/>
          </p:nvCxnSpPr>
          <p:spPr>
            <a:xfrm>
              <a:off x="12441149" y="2212830"/>
              <a:ext cx="2710405" cy="0"/>
            </a:xfrm>
            <a:prstGeom prst="line">
              <a:avLst/>
            </a:prstGeom>
            <a:noFill/>
            <a:ln w="9525" cap="flat" cmpd="sng" algn="ctr">
              <a:solidFill>
                <a:schemeClr val="accent1"/>
              </a:solidFill>
              <a:prstDash val="solid"/>
            </a:ln>
            <a:effectLst/>
          </p:spPr>
        </p:cxnSp>
        <p:cxnSp>
          <p:nvCxnSpPr>
            <p:cNvPr id="106" name="Rechte verbindingslijn 105"/>
            <p:cNvCxnSpPr/>
            <p:nvPr/>
          </p:nvCxnSpPr>
          <p:spPr>
            <a:xfrm>
              <a:off x="12444679" y="3691468"/>
              <a:ext cx="2706875" cy="0"/>
            </a:xfrm>
            <a:prstGeom prst="line">
              <a:avLst/>
            </a:prstGeom>
            <a:noFill/>
            <a:ln w="9525" cap="flat" cmpd="sng" algn="ctr">
              <a:solidFill>
                <a:schemeClr val="accent1"/>
              </a:solidFill>
              <a:prstDash val="solid"/>
            </a:ln>
            <a:effectLst/>
          </p:spPr>
        </p:cxnSp>
        <p:pic>
          <p:nvPicPr>
            <p:cNvPr id="107" name="Icoontje afbeeldi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434693" y="1677764"/>
              <a:ext cx="403210" cy="403210"/>
            </a:xfrm>
            <a:prstGeom prst="rect">
              <a:avLst/>
            </a:prstGeom>
          </p:spPr>
        </p:pic>
        <p:grpSp>
          <p:nvGrpSpPr>
            <p:cNvPr id="108" name="Groep 107"/>
            <p:cNvGrpSpPr/>
            <p:nvPr/>
          </p:nvGrpSpPr>
          <p:grpSpPr>
            <a:xfrm>
              <a:off x="12450571" y="3301369"/>
              <a:ext cx="1002992" cy="267962"/>
              <a:chOff x="13560784" y="3471416"/>
              <a:chExt cx="1114138" cy="297656"/>
            </a:xfrm>
          </p:grpSpPr>
          <p:sp>
            <p:nvSpPr>
              <p:cNvPr id="109" name="Afgeronde rechthoek 88"/>
              <p:cNvSpPr/>
              <p:nvPr/>
            </p:nvSpPr>
            <p:spPr>
              <a:xfrm>
                <a:off x="13560784" y="3471416"/>
                <a:ext cx="1114138" cy="297656"/>
              </a:xfrm>
              <a:prstGeom prst="roundRect">
                <a:avLst/>
              </a:prstGeom>
              <a:gradFill flip="none" rotWithShape="1">
                <a:gsLst>
                  <a:gs pos="4000">
                    <a:srgbClr val="00B0F0"/>
                  </a:gs>
                  <a:gs pos="0">
                    <a:srgbClr val="0070C0"/>
                  </a:gs>
                  <a:gs pos="100000">
                    <a:srgbClr val="0070C0"/>
                  </a:gs>
                  <a:gs pos="12000">
                    <a:srgbClr val="D1EAFF"/>
                  </a:gs>
                  <a:gs pos="96000">
                    <a:srgbClr val="00B0F0"/>
                  </a:gs>
                  <a:gs pos="89000">
                    <a:srgbClr val="DDF4FF"/>
                  </a:gs>
                  <a:gs pos="43000">
                    <a:srgbClr val="D1EAFF"/>
                  </a:gs>
                  <a:gs pos="51000">
                    <a:srgbClr val="DDF4FF"/>
                  </a:gs>
                </a:gsLst>
                <a:lin ang="16200000" scaled="1"/>
                <a:tileRect/>
              </a:gradFill>
              <a:ln w="63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dirty="0">
                  <a:solidFill>
                    <a:srgbClr val="FFFFFF"/>
                  </a:solidFill>
                </a:endParaRPr>
              </a:p>
            </p:txBody>
          </p:sp>
          <p:sp>
            <p:nvSpPr>
              <p:cNvPr id="110" name="Tekstvak 109"/>
              <p:cNvSpPr txBox="1"/>
              <p:nvPr/>
            </p:nvSpPr>
            <p:spPr>
              <a:xfrm>
                <a:off x="13573594" y="3488254"/>
                <a:ext cx="888311" cy="273506"/>
              </a:xfrm>
              <a:prstGeom prst="rect">
                <a:avLst/>
              </a:prstGeom>
              <a:noFill/>
            </p:spPr>
            <p:txBody>
              <a:bodyPr wrap="square" rtlCol="0" anchor="ctr">
                <a:spAutoFit/>
              </a:bodyPr>
              <a:lstStyle>
                <a:defPPr>
                  <a:defRPr lang="nl-NL"/>
                </a:defPPr>
                <a:lvl1pPr marR="0" lvl="0" indent="0" algn="ctr" fontAlgn="auto">
                  <a:lnSpc>
                    <a:spcPct val="100000"/>
                  </a:lnSpc>
                  <a:spcBef>
                    <a:spcPts val="0"/>
                  </a:spcBef>
                  <a:spcAft>
                    <a:spcPts val="0"/>
                  </a:spcAft>
                  <a:buClrTx/>
                  <a:buSzTx/>
                  <a:buFontTx/>
                  <a:buNone/>
                  <a:tabLst/>
                  <a:defRPr kumimoji="0" sz="900" i="0" u="none" strike="noStrike" kern="0" cap="none" spc="0" normalizeH="0" baseline="0">
                    <a:ln>
                      <a:noFill/>
                    </a:ln>
                    <a:effectLst>
                      <a:outerShdw blurRad="25400" algn="ctr" rotWithShape="0">
                        <a:prstClr val="white"/>
                      </a:outerShdw>
                    </a:effectLst>
                    <a:uLnTx/>
                    <a:uFillTx/>
                    <a:latin typeface="Segoe UI Light" panose="020B0502040204020203" pitchFamily="34" charset="0"/>
                    <a:cs typeface="Segoe UI Light" panose="020B0502040204020203" pitchFamily="34" charset="0"/>
                  </a:defRPr>
                </a:lvl1pPr>
                <a:lvl2pPr fontAlgn="base">
                  <a:spcBef>
                    <a:spcPct val="0"/>
                  </a:spcBef>
                  <a:spcAft>
                    <a:spcPct val="0"/>
                  </a:spcAft>
                  <a:defRPr>
                    <a:latin typeface="Arial" charset="0"/>
                    <a:cs typeface="Arial" charset="0"/>
                  </a:defRPr>
                </a:lvl2pPr>
                <a:lvl3pPr fontAlgn="base">
                  <a:spcBef>
                    <a:spcPct val="0"/>
                  </a:spcBef>
                  <a:spcAft>
                    <a:spcPct val="0"/>
                  </a:spcAft>
                  <a:defRPr>
                    <a:latin typeface="Arial" charset="0"/>
                    <a:cs typeface="Arial" charset="0"/>
                  </a:defRPr>
                </a:lvl3pPr>
                <a:lvl4pPr fontAlgn="base">
                  <a:spcBef>
                    <a:spcPct val="0"/>
                  </a:spcBef>
                  <a:spcAft>
                    <a:spcPct val="0"/>
                  </a:spcAft>
                  <a:defRPr>
                    <a:latin typeface="Arial" charset="0"/>
                    <a:cs typeface="Arial" charset="0"/>
                  </a:defRPr>
                </a:lvl4pPr>
                <a:lvl5pPr fontAlgn="base">
                  <a:spcBef>
                    <a:spcPct val="0"/>
                  </a:spcBef>
                  <a:spcAft>
                    <a:spcPct val="0"/>
                  </a:spcAft>
                  <a:defRPr>
                    <a:latin typeface="Arial" charset="0"/>
                    <a:cs typeface="Arial" charset="0"/>
                  </a:defRPr>
                </a:lvl5pPr>
                <a:lvl6pPr>
                  <a:defRPr>
                    <a:latin typeface="Arial" charset="0"/>
                    <a:cs typeface="Arial" charset="0"/>
                  </a:defRPr>
                </a:lvl6pPr>
                <a:lvl7pPr>
                  <a:defRPr>
                    <a:latin typeface="Arial" charset="0"/>
                    <a:cs typeface="Arial" charset="0"/>
                  </a:defRPr>
                </a:lvl7pPr>
                <a:lvl8pPr>
                  <a:defRPr>
                    <a:latin typeface="Arial" charset="0"/>
                    <a:cs typeface="Arial" charset="0"/>
                  </a:defRPr>
                </a:lvl8pPr>
                <a:lvl9pPr>
                  <a:defRPr>
                    <a:latin typeface="Arial" charset="0"/>
                    <a:cs typeface="Arial" charset="0"/>
                  </a:defRPr>
                </a:lvl9pPr>
              </a:lstStyle>
              <a:p>
                <a:pPr defTabSz="914112"/>
                <a:r>
                  <a:rPr lang="nl-NL" sz="1000" dirty="0">
                    <a:solidFill>
                      <a:srgbClr val="000000"/>
                    </a:solidFill>
                    <a:latin typeface="Trebuchet MS"/>
                  </a:rPr>
                  <a:t>Invoegen</a:t>
                </a:r>
              </a:p>
            </p:txBody>
          </p:sp>
          <p:cxnSp>
            <p:nvCxnSpPr>
              <p:cNvPr id="111" name="Rechte verbindingslijn 110"/>
              <p:cNvCxnSpPr/>
              <p:nvPr/>
            </p:nvCxnSpPr>
            <p:spPr>
              <a:xfrm>
                <a:off x="14461905" y="3507058"/>
                <a:ext cx="0" cy="224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2" name="Gelijkbenige driehoek 111"/>
              <p:cNvSpPr/>
              <p:nvPr/>
            </p:nvSpPr>
            <p:spPr>
              <a:xfrm rot="10800000">
                <a:off x="14518584" y="3600521"/>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112"/>
                <a:endParaRPr lang="nl-NL" dirty="0">
                  <a:solidFill>
                    <a:srgbClr val="FFFFFF"/>
                  </a:solidFill>
                </a:endParaRPr>
              </a:p>
            </p:txBody>
          </p:sp>
        </p:grpSp>
      </p:grpSp>
      <p:grpSp>
        <p:nvGrpSpPr>
          <p:cNvPr id="214" name="Instructie - Tekst niveaus"/>
          <p:cNvGrpSpPr/>
          <p:nvPr userDrawn="1"/>
        </p:nvGrpSpPr>
        <p:grpSpPr>
          <a:xfrm>
            <a:off x="-3117849" y="365"/>
            <a:ext cx="2823358" cy="5254722"/>
            <a:chOff x="-2959433" y="-5444"/>
            <a:chExt cx="2822623" cy="5254722"/>
          </a:xfrm>
        </p:grpSpPr>
        <p:sp>
          <p:nvSpPr>
            <p:cNvPr id="215" name="Rechthoek 214"/>
            <p:cNvSpPr/>
            <p:nvPr userDrawn="1"/>
          </p:nvSpPr>
          <p:spPr>
            <a:xfrm>
              <a:off x="-2959433" y="-5444"/>
              <a:ext cx="2572469" cy="280344"/>
            </a:xfrm>
            <a:prstGeom prst="rect">
              <a:avLst/>
            </a:prstGeom>
            <a:noFill/>
            <a:ln w="25400" cap="flat" cmpd="sng" algn="ctr">
              <a:noFill/>
              <a:prstDash val="solid"/>
            </a:ln>
            <a:effectLst/>
          </p:spPr>
          <p:txBody>
            <a:bodyPr lIns="0" tIns="0" rIns="0" bIns="0" rtlCol="0" anchor="t"/>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nl-NL" sz="1600" b="1" kern="0" dirty="0">
                  <a:solidFill>
                    <a:srgbClr val="ED1A3B"/>
                  </a:solidFill>
                  <a:cs typeface="Segoe UI Light" panose="020B0502040204020203" pitchFamily="34" charset="0"/>
                </a:rPr>
                <a:t>TEKST NIVEAUS</a:t>
              </a:r>
            </a:p>
          </p:txBody>
        </p:sp>
        <p:sp>
          <p:nvSpPr>
            <p:cNvPr id="216" name="Textfield placeholder"/>
            <p:cNvSpPr txBox="1">
              <a:spLocks/>
            </p:cNvSpPr>
            <p:nvPr userDrawn="1"/>
          </p:nvSpPr>
          <p:spPr>
            <a:xfrm>
              <a:off x="-2587337" y="2675411"/>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0" lvl="2"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a:solidFill>
                    <a:srgbClr val="404040"/>
                  </a:solidFill>
                </a:rPr>
                <a:t>Sub-bullets (16 pt.)</a:t>
              </a:r>
            </a:p>
          </p:txBody>
        </p:sp>
        <p:sp>
          <p:nvSpPr>
            <p:cNvPr id="217" name="Ovaal 216"/>
            <p:cNvSpPr/>
            <p:nvPr userDrawn="1"/>
          </p:nvSpPr>
          <p:spPr>
            <a:xfrm>
              <a:off x="-2959433" y="196874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1</a:t>
              </a:r>
            </a:p>
          </p:txBody>
        </p:sp>
        <p:sp>
          <p:nvSpPr>
            <p:cNvPr id="218" name="Ovaal 217"/>
            <p:cNvSpPr/>
            <p:nvPr userDrawn="1"/>
          </p:nvSpPr>
          <p:spPr>
            <a:xfrm>
              <a:off x="-2959433" y="232207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2</a:t>
              </a:r>
            </a:p>
          </p:txBody>
        </p:sp>
        <p:sp>
          <p:nvSpPr>
            <p:cNvPr id="219" name="Ovaal 218"/>
            <p:cNvSpPr/>
            <p:nvPr userDrawn="1"/>
          </p:nvSpPr>
          <p:spPr>
            <a:xfrm>
              <a:off x="-2959433" y="267541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3</a:t>
              </a:r>
            </a:p>
          </p:txBody>
        </p:sp>
        <p:sp>
          <p:nvSpPr>
            <p:cNvPr id="220" name="Ovaal 219"/>
            <p:cNvSpPr/>
            <p:nvPr userDrawn="1"/>
          </p:nvSpPr>
          <p:spPr>
            <a:xfrm>
              <a:off x="-2959433" y="302874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4</a:t>
              </a:r>
            </a:p>
          </p:txBody>
        </p:sp>
        <p:sp>
          <p:nvSpPr>
            <p:cNvPr id="221" name="Textfield placeholder"/>
            <p:cNvSpPr txBox="1">
              <a:spLocks/>
            </p:cNvSpPr>
            <p:nvPr userDrawn="1"/>
          </p:nvSpPr>
          <p:spPr>
            <a:xfrm>
              <a:off x="-2571950" y="1966925"/>
              <a:ext cx="2163709" cy="261500"/>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79388">
                <a:lnSpc>
                  <a:spcPct val="120000"/>
                </a:lnSpc>
                <a:spcBef>
                  <a:spcPts val="0"/>
                </a:spcBef>
                <a:spcAft>
                  <a:spcPts val="900"/>
                </a:spcAft>
                <a:buClr>
                  <a:srgbClr val="000000"/>
                </a:buClr>
                <a:buSzPct val="100000"/>
                <a:buFont typeface="Arial" pitchFamily="34" charset="0"/>
                <a:buNone/>
                <a:defRPr/>
              </a:pPr>
              <a:r>
                <a:rPr lang="nl-NL" sz="1200" dirty="0">
                  <a:solidFill>
                    <a:srgbClr val="535353"/>
                  </a:solidFill>
                </a:rPr>
                <a:t>Leestekst (16 pt.)</a:t>
              </a:r>
            </a:p>
          </p:txBody>
        </p:sp>
        <p:sp>
          <p:nvSpPr>
            <p:cNvPr id="222" name="Textfield placeholder"/>
            <p:cNvSpPr txBox="1">
              <a:spLocks/>
            </p:cNvSpPr>
            <p:nvPr userDrawn="1"/>
          </p:nvSpPr>
          <p:spPr>
            <a:xfrm>
              <a:off x="-2571950" y="2322077"/>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70000" lvl="1"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err="1">
                  <a:solidFill>
                    <a:srgbClr val="535353"/>
                  </a:solidFill>
                </a:rPr>
                <a:t>Bullets</a:t>
              </a:r>
              <a:r>
                <a:rPr lang="nl-NL" sz="1200" dirty="0">
                  <a:solidFill>
                    <a:srgbClr val="535353"/>
                  </a:solidFill>
                </a:rPr>
                <a:t> (16 </a:t>
              </a:r>
              <a:r>
                <a:rPr lang="nl-NL" sz="1200" dirty="0" err="1">
                  <a:solidFill>
                    <a:srgbClr val="535353"/>
                  </a:solidFill>
                </a:rPr>
                <a:t>pt</a:t>
              </a:r>
              <a:r>
                <a:rPr lang="nl-NL" sz="1200" dirty="0">
                  <a:solidFill>
                    <a:srgbClr val="535353"/>
                  </a:solidFill>
                </a:rPr>
                <a:t>.)</a:t>
              </a:r>
            </a:p>
          </p:txBody>
        </p:sp>
        <p:sp>
          <p:nvSpPr>
            <p:cNvPr id="223" name="Textfield placeholder"/>
            <p:cNvSpPr txBox="1">
              <a:spLocks/>
            </p:cNvSpPr>
            <p:nvPr userDrawn="1"/>
          </p:nvSpPr>
          <p:spPr>
            <a:xfrm>
              <a:off x="-2571951" y="3028747"/>
              <a:ext cx="2435141"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10000" lvl="3" indent="-270000" defTabSz="179388">
                <a:lnSpc>
                  <a:spcPct val="120000"/>
                </a:lnSpc>
                <a:spcBef>
                  <a:spcPts val="0"/>
                </a:spcBef>
                <a:spcAft>
                  <a:spcPts val="900"/>
                </a:spcAft>
                <a:buClr>
                  <a:schemeClr val="accent2"/>
                </a:buClr>
                <a:buSzPct val="80000"/>
                <a:buFont typeface="Wingdings 3" panose="05040102010807070707" pitchFamily="18" charset="2"/>
                <a:buChar char=""/>
                <a:defRPr/>
              </a:pPr>
              <a:r>
                <a:rPr lang="nl-NL" sz="1200" b="0" dirty="0">
                  <a:solidFill>
                    <a:srgbClr val="404040"/>
                  </a:solidFill>
                </a:rPr>
                <a:t>Sub-sub-bullets (16 pt.)</a:t>
              </a:r>
            </a:p>
          </p:txBody>
        </p:sp>
        <p:cxnSp>
          <p:nvCxnSpPr>
            <p:cNvPr id="224" name="Rechte verbindingslijn 223"/>
            <p:cNvCxnSpPr/>
            <p:nvPr userDrawn="1"/>
          </p:nvCxnSpPr>
          <p:spPr>
            <a:xfrm>
              <a:off x="-2959100" y="274900"/>
              <a:ext cx="2674470" cy="0"/>
            </a:xfrm>
            <a:prstGeom prst="line">
              <a:avLst/>
            </a:prstGeom>
            <a:noFill/>
            <a:ln w="9525" cap="flat" cmpd="sng" algn="ctr">
              <a:solidFill>
                <a:schemeClr val="accent1"/>
              </a:solidFill>
              <a:prstDash val="solid"/>
            </a:ln>
            <a:effectLst/>
          </p:spPr>
        </p:cxnSp>
        <p:cxnSp>
          <p:nvCxnSpPr>
            <p:cNvPr id="225" name="Rechte verbindingslijn 224"/>
            <p:cNvCxnSpPr/>
            <p:nvPr userDrawn="1"/>
          </p:nvCxnSpPr>
          <p:spPr>
            <a:xfrm>
              <a:off x="-2959100" y="1841989"/>
              <a:ext cx="2661379" cy="0"/>
            </a:xfrm>
            <a:prstGeom prst="line">
              <a:avLst/>
            </a:prstGeom>
            <a:noFill/>
            <a:ln w="9525" cap="flat" cmpd="sng" algn="ctr">
              <a:solidFill>
                <a:schemeClr val="accent1"/>
              </a:solidFill>
              <a:prstDash val="solid"/>
            </a:ln>
            <a:effectLst/>
          </p:spPr>
        </p:cxnSp>
        <p:cxnSp>
          <p:nvCxnSpPr>
            <p:cNvPr id="226" name="Rechte verbindingslijn 225"/>
            <p:cNvCxnSpPr/>
            <p:nvPr userDrawn="1"/>
          </p:nvCxnSpPr>
          <p:spPr>
            <a:xfrm>
              <a:off x="-2959100" y="5249278"/>
              <a:ext cx="2661379" cy="0"/>
            </a:xfrm>
            <a:prstGeom prst="line">
              <a:avLst/>
            </a:prstGeom>
            <a:noFill/>
            <a:ln w="9525" cap="flat" cmpd="sng" algn="ctr">
              <a:solidFill>
                <a:schemeClr val="accent1"/>
              </a:solidFill>
              <a:prstDash val="solid"/>
            </a:ln>
            <a:effectLst/>
          </p:spPr>
        </p:cxnSp>
        <p:grpSp>
          <p:nvGrpSpPr>
            <p:cNvPr id="227" name="Groep 226"/>
            <p:cNvGrpSpPr/>
            <p:nvPr userDrawn="1"/>
          </p:nvGrpSpPr>
          <p:grpSpPr>
            <a:xfrm>
              <a:off x="-1948476" y="816741"/>
              <a:ext cx="409108" cy="427699"/>
              <a:chOff x="-1085063" y="758027"/>
              <a:chExt cx="633799" cy="622540"/>
            </a:xfrm>
          </p:grpSpPr>
          <p:sp>
            <p:nvSpPr>
              <p:cNvPr id="283" name="Afgeronde rechthoek 282"/>
              <p:cNvSpPr/>
              <p:nvPr userDrawn="1"/>
            </p:nvSpPr>
            <p:spPr>
              <a:xfrm>
                <a:off x="-108506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284" name="Groep 283"/>
              <p:cNvGrpSpPr/>
              <p:nvPr userDrawn="1"/>
            </p:nvGrpSpPr>
            <p:grpSpPr>
              <a:xfrm>
                <a:off x="-977739" y="864082"/>
                <a:ext cx="419168" cy="410429"/>
                <a:chOff x="6366933" y="309013"/>
                <a:chExt cx="1901295" cy="1861668"/>
              </a:xfrm>
              <a:solidFill>
                <a:srgbClr val="000000"/>
              </a:solidFill>
            </p:grpSpPr>
            <p:sp>
              <p:nvSpPr>
                <p:cNvPr id="285" name="Rechthoek 284"/>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6" name="Rechthoek 285"/>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7" name="Rechthoek 286"/>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8" name="Rechthoek 287"/>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9" name="Rechthoek 288"/>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0" name="Rechthoek 289"/>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1" name="Rechthoek 290"/>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2" name="Rechthoek 291"/>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3" name="Rechthoek 292"/>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4" name="Rechthoek 293"/>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95" name="Vrije vorm 294"/>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nvGrpSpPr>
            <p:cNvPr id="228" name="Groep 227"/>
            <p:cNvGrpSpPr/>
            <p:nvPr userDrawn="1"/>
          </p:nvGrpSpPr>
          <p:grpSpPr>
            <a:xfrm>
              <a:off x="-2950232" y="1207835"/>
              <a:ext cx="532929" cy="509563"/>
              <a:chOff x="-2880382" y="802341"/>
              <a:chExt cx="532929" cy="509563"/>
            </a:xfrm>
          </p:grpSpPr>
          <p:sp>
            <p:nvSpPr>
              <p:cNvPr id="261" name="Rechthoek 260"/>
              <p:cNvSpPr/>
              <p:nvPr userDrawn="1"/>
            </p:nvSpPr>
            <p:spPr>
              <a:xfrm>
                <a:off x="-2880382" y="802341"/>
                <a:ext cx="532929" cy="509563"/>
              </a:xfrm>
              <a:prstGeom prst="rect">
                <a:avLst/>
              </a:prstGeom>
              <a:solidFill>
                <a:sysClr val="window" lastClr="FFFFFF"/>
              </a:soli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pic>
            <p:nvPicPr>
              <p:cNvPr id="26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635852" y="822181"/>
                <a:ext cx="226442" cy="208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3"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848026" y="822181"/>
                <a:ext cx="207168" cy="213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64" name="Groep 263"/>
              <p:cNvGrpSpPr/>
              <p:nvPr userDrawn="1"/>
            </p:nvGrpSpPr>
            <p:grpSpPr>
              <a:xfrm>
                <a:off x="-2802433" y="1123442"/>
                <a:ext cx="132915" cy="104889"/>
                <a:chOff x="-2796392" y="1123442"/>
                <a:chExt cx="120832" cy="104889"/>
              </a:xfrm>
            </p:grpSpPr>
            <p:sp>
              <p:nvSpPr>
                <p:cNvPr id="278" name="Rechthoek 277"/>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9" name="Rechthoek 278"/>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0" name="Rechthoek 279"/>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1" name="Rechthoek 280"/>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82" name="Rechthoek 281"/>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265" name="Groep 264"/>
              <p:cNvGrpSpPr/>
              <p:nvPr userDrawn="1"/>
            </p:nvGrpSpPr>
            <p:grpSpPr>
              <a:xfrm>
                <a:off x="-2575417" y="1123442"/>
                <a:ext cx="133930" cy="104889"/>
                <a:chOff x="-2556734" y="1123442"/>
                <a:chExt cx="147324" cy="104889"/>
              </a:xfrm>
            </p:grpSpPr>
            <p:grpSp>
              <p:nvGrpSpPr>
                <p:cNvPr id="266" name="Groep 265"/>
                <p:cNvGrpSpPr/>
                <p:nvPr userDrawn="1"/>
              </p:nvGrpSpPr>
              <p:grpSpPr>
                <a:xfrm>
                  <a:off x="-2556734" y="1123442"/>
                  <a:ext cx="68206" cy="104889"/>
                  <a:chOff x="-2796392" y="1123442"/>
                  <a:chExt cx="120832" cy="104889"/>
                </a:xfrm>
              </p:grpSpPr>
              <p:sp>
                <p:nvSpPr>
                  <p:cNvPr id="273" name="Rechthoek 272"/>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4" name="Rechthoek 273"/>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5" name="Rechthoek 274"/>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6" name="Rechthoek 275"/>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7" name="Rechthoek 276"/>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267" name="Groep 266"/>
                <p:cNvGrpSpPr/>
                <p:nvPr userDrawn="1"/>
              </p:nvGrpSpPr>
              <p:grpSpPr>
                <a:xfrm>
                  <a:off x="-2477616" y="1123442"/>
                  <a:ext cx="68206" cy="104889"/>
                  <a:chOff x="-2796392" y="1123442"/>
                  <a:chExt cx="120832" cy="104889"/>
                </a:xfrm>
              </p:grpSpPr>
              <p:sp>
                <p:nvSpPr>
                  <p:cNvPr id="268" name="Rechthoek 267"/>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9" name="Rechthoek 268"/>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0" name="Rechthoek 269"/>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1" name="Rechthoek 270"/>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72" name="Rechthoek 271"/>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grpSp>
          <p:nvGrpSpPr>
            <p:cNvPr id="229" name="Groep 228"/>
            <p:cNvGrpSpPr/>
            <p:nvPr userDrawn="1"/>
          </p:nvGrpSpPr>
          <p:grpSpPr>
            <a:xfrm>
              <a:off x="-1948476" y="1281164"/>
              <a:ext cx="413704" cy="427699"/>
              <a:chOff x="-1845083" y="758027"/>
              <a:chExt cx="633799" cy="622540"/>
            </a:xfrm>
          </p:grpSpPr>
          <p:sp>
            <p:nvSpPr>
              <p:cNvPr id="248" name="Afgeronde rechthoek 247"/>
              <p:cNvSpPr/>
              <p:nvPr userDrawn="1"/>
            </p:nvSpPr>
            <p:spPr>
              <a:xfrm>
                <a:off x="-184508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249" name="Groep 248"/>
              <p:cNvGrpSpPr/>
              <p:nvPr userDrawn="1"/>
            </p:nvGrpSpPr>
            <p:grpSpPr>
              <a:xfrm>
                <a:off x="-1737762" y="864082"/>
                <a:ext cx="419168" cy="410429"/>
                <a:chOff x="3708400" y="309013"/>
                <a:chExt cx="1901295" cy="1861668"/>
              </a:xfrm>
              <a:solidFill>
                <a:srgbClr val="000000"/>
              </a:solidFill>
            </p:grpSpPr>
            <p:sp>
              <p:nvSpPr>
                <p:cNvPr id="250" name="Rechthoek 249"/>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1" name="Rechthoek 250"/>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2" name="Rechthoek 251"/>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3" name="Rechthoek 252"/>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4" name="Rechthoek 253"/>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5" name="Rechthoek 254"/>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6" name="Rechthoek 255"/>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7" name="Rechthoek 256"/>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8" name="Rechthoek 257"/>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59" name="Rechthoek 258"/>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260" name="Vrije vorm 259"/>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cxnSp>
          <p:nvCxnSpPr>
            <p:cNvPr id="230" name="Rechte verbindingslijn 229"/>
            <p:cNvCxnSpPr/>
            <p:nvPr userDrawn="1"/>
          </p:nvCxnSpPr>
          <p:spPr>
            <a:xfrm>
              <a:off x="-2814292" y="1441193"/>
              <a:ext cx="865816" cy="53821"/>
            </a:xfrm>
            <a:prstGeom prst="line">
              <a:avLst/>
            </a:prstGeom>
            <a:noFill/>
            <a:ln w="9525" cap="flat" cmpd="sng" algn="ctr">
              <a:solidFill>
                <a:schemeClr val="accent1"/>
              </a:solidFill>
              <a:prstDash val="solid"/>
              <a:headEnd type="oval"/>
            </a:ln>
            <a:effectLst/>
          </p:spPr>
        </p:cxnSp>
        <p:cxnSp>
          <p:nvCxnSpPr>
            <p:cNvPr id="231" name="Rechte verbindingslijn 230"/>
            <p:cNvCxnSpPr/>
            <p:nvPr userDrawn="1"/>
          </p:nvCxnSpPr>
          <p:spPr>
            <a:xfrm flipV="1">
              <a:off x="-2453902" y="1030591"/>
              <a:ext cx="505426" cy="283623"/>
            </a:xfrm>
            <a:prstGeom prst="line">
              <a:avLst/>
            </a:prstGeom>
            <a:noFill/>
            <a:ln w="9525" cap="flat" cmpd="sng" algn="ctr">
              <a:solidFill>
                <a:schemeClr val="accent1"/>
              </a:solidFill>
              <a:prstDash val="solid"/>
              <a:headEnd type="oval"/>
            </a:ln>
            <a:effectLst/>
          </p:spPr>
        </p:cxnSp>
        <p:sp>
          <p:nvSpPr>
            <p:cNvPr id="232" name="Textfield placeholder"/>
            <p:cNvSpPr txBox="1">
              <a:spLocks/>
            </p:cNvSpPr>
            <p:nvPr userDrawn="1"/>
          </p:nvSpPr>
          <p:spPr>
            <a:xfrm>
              <a:off x="-1341598" y="816743"/>
              <a:ext cx="1056968" cy="427698"/>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hoog</a:t>
              </a:r>
            </a:p>
          </p:txBody>
        </p:sp>
        <p:sp>
          <p:nvSpPr>
            <p:cNvPr id="233" name="Textfield placeholder"/>
            <p:cNvSpPr txBox="1">
              <a:spLocks/>
            </p:cNvSpPr>
            <p:nvPr userDrawn="1"/>
          </p:nvSpPr>
          <p:spPr>
            <a:xfrm>
              <a:off x="-1341599" y="1281164"/>
              <a:ext cx="1070223" cy="427699"/>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laag</a:t>
              </a:r>
            </a:p>
          </p:txBody>
        </p:sp>
        <p:sp>
          <p:nvSpPr>
            <p:cNvPr id="234" name="Ovaal 233"/>
            <p:cNvSpPr/>
            <p:nvPr userDrawn="1"/>
          </p:nvSpPr>
          <p:spPr>
            <a:xfrm>
              <a:off x="-2959433" y="338208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5</a:t>
              </a:r>
            </a:p>
          </p:txBody>
        </p:sp>
        <p:sp>
          <p:nvSpPr>
            <p:cNvPr id="235" name="Textfield placeholder"/>
            <p:cNvSpPr txBox="1">
              <a:spLocks/>
            </p:cNvSpPr>
            <p:nvPr userDrawn="1"/>
          </p:nvSpPr>
          <p:spPr>
            <a:xfrm>
              <a:off x="-2571950" y="3382082"/>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60000" lvl="4" indent="-360000" defTabSz="179388">
                <a:lnSpc>
                  <a:spcPct val="120000"/>
                </a:lnSpc>
                <a:spcBef>
                  <a:spcPts val="0"/>
                </a:spcBef>
                <a:spcAft>
                  <a:spcPts val="900"/>
                </a:spcAft>
                <a:buClr>
                  <a:srgbClr val="ED1A3B"/>
                </a:buClr>
                <a:buFont typeface="+mj-lt"/>
                <a:buAutoNum type="arabicPeriod"/>
                <a:defRPr/>
              </a:pPr>
              <a:r>
                <a:rPr lang="nl-NL" sz="1200" b="0" dirty="0">
                  <a:solidFill>
                    <a:srgbClr val="404040"/>
                  </a:solidFill>
                </a:rPr>
                <a:t>Numeriek (16 pt.)</a:t>
              </a:r>
            </a:p>
          </p:txBody>
        </p:sp>
        <p:grpSp>
          <p:nvGrpSpPr>
            <p:cNvPr id="236" name="Groep 235"/>
            <p:cNvGrpSpPr/>
            <p:nvPr userDrawn="1"/>
          </p:nvGrpSpPr>
          <p:grpSpPr>
            <a:xfrm>
              <a:off x="-2950232" y="816050"/>
              <a:ext cx="528695" cy="344202"/>
              <a:chOff x="-2880382" y="410556"/>
              <a:chExt cx="528695" cy="344202"/>
            </a:xfrm>
          </p:grpSpPr>
          <p:sp>
            <p:nvSpPr>
              <p:cNvPr id="246" name="Afgeronde rechthoek 245"/>
              <p:cNvSpPr/>
              <p:nvPr userDrawn="1"/>
            </p:nvSpPr>
            <p:spPr>
              <a:xfrm>
                <a:off x="-2874214" y="410556"/>
                <a:ext cx="522527" cy="339183"/>
              </a:xfrm>
              <a:prstGeom prst="roundRect">
                <a:avLst>
                  <a:gd name="adj" fmla="val 7565"/>
                </a:avLst>
              </a:prstGeom>
              <a:gradFill>
                <a:gsLst>
                  <a:gs pos="0">
                    <a:srgbClr val="FFEC8F"/>
                  </a:gs>
                  <a:gs pos="100000">
                    <a:srgbClr val="FFFFFF"/>
                  </a:gs>
                </a:gsLst>
                <a:lin ang="5400000" scaled="0"/>
              </a:gra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sp>
            <p:nvSpPr>
              <p:cNvPr id="247" name="Vrije vorm 246"/>
              <p:cNvSpPr/>
              <p:nvPr userDrawn="1"/>
            </p:nvSpPr>
            <p:spPr>
              <a:xfrm>
                <a:off x="-2880382" y="452699"/>
                <a:ext cx="528695" cy="302059"/>
              </a:xfrm>
              <a:custGeom>
                <a:avLst/>
                <a:gdLst>
                  <a:gd name="connsiteX0" fmla="*/ 55524 w 528695"/>
                  <a:gd name="connsiteY0" fmla="*/ 0 h 302059"/>
                  <a:gd name="connsiteX1" fmla="*/ 455496 w 528695"/>
                  <a:gd name="connsiteY1" fmla="*/ 0 h 302059"/>
                  <a:gd name="connsiteX2" fmla="*/ 475205 w 528695"/>
                  <a:gd name="connsiteY2" fmla="*/ 19709 h 302059"/>
                  <a:gd name="connsiteX3" fmla="*/ 475205 w 528695"/>
                  <a:gd name="connsiteY3" fmla="*/ 230056 h 302059"/>
                  <a:gd name="connsiteX4" fmla="*/ 516694 w 528695"/>
                  <a:gd name="connsiteY4" fmla="*/ 230056 h 302059"/>
                  <a:gd name="connsiteX5" fmla="*/ 528695 w 528695"/>
                  <a:gd name="connsiteY5" fmla="*/ 242057 h 302059"/>
                  <a:gd name="connsiteX6" fmla="*/ 528695 w 528695"/>
                  <a:gd name="connsiteY6" fmla="*/ 290058 h 302059"/>
                  <a:gd name="connsiteX7" fmla="*/ 516694 w 528695"/>
                  <a:gd name="connsiteY7" fmla="*/ 302059 h 302059"/>
                  <a:gd name="connsiteX8" fmla="*/ 12001 w 528695"/>
                  <a:gd name="connsiteY8" fmla="*/ 302059 h 302059"/>
                  <a:gd name="connsiteX9" fmla="*/ 0 w 528695"/>
                  <a:gd name="connsiteY9" fmla="*/ 290058 h 302059"/>
                  <a:gd name="connsiteX10" fmla="*/ 0 w 528695"/>
                  <a:gd name="connsiteY10" fmla="*/ 242057 h 302059"/>
                  <a:gd name="connsiteX11" fmla="*/ 12001 w 528695"/>
                  <a:gd name="connsiteY11" fmla="*/ 230056 h 302059"/>
                  <a:gd name="connsiteX12" fmla="*/ 35815 w 528695"/>
                  <a:gd name="connsiteY12" fmla="*/ 230056 h 302059"/>
                  <a:gd name="connsiteX13" fmla="*/ 35815 w 528695"/>
                  <a:gd name="connsiteY13" fmla="*/ 19709 h 302059"/>
                  <a:gd name="connsiteX14" fmla="*/ 55524 w 528695"/>
                  <a:gd name="connsiteY14" fmla="*/ 0 h 3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8695" h="302059">
                    <a:moveTo>
                      <a:pt x="55524" y="0"/>
                    </a:moveTo>
                    <a:lnTo>
                      <a:pt x="455496" y="0"/>
                    </a:lnTo>
                    <a:cubicBezTo>
                      <a:pt x="466381" y="0"/>
                      <a:pt x="475205" y="8824"/>
                      <a:pt x="475205" y="19709"/>
                    </a:cubicBezTo>
                    <a:lnTo>
                      <a:pt x="475205" y="230056"/>
                    </a:lnTo>
                    <a:lnTo>
                      <a:pt x="516694" y="230056"/>
                    </a:lnTo>
                    <a:cubicBezTo>
                      <a:pt x="523322" y="230056"/>
                      <a:pt x="528695" y="235429"/>
                      <a:pt x="528695" y="242057"/>
                    </a:cubicBezTo>
                    <a:lnTo>
                      <a:pt x="528695" y="290058"/>
                    </a:lnTo>
                    <a:cubicBezTo>
                      <a:pt x="528695" y="296686"/>
                      <a:pt x="523322" y="302059"/>
                      <a:pt x="516694" y="302059"/>
                    </a:cubicBezTo>
                    <a:lnTo>
                      <a:pt x="12001" y="302059"/>
                    </a:lnTo>
                    <a:cubicBezTo>
                      <a:pt x="5373" y="302059"/>
                      <a:pt x="0" y="296686"/>
                      <a:pt x="0" y="290058"/>
                    </a:cubicBezTo>
                    <a:lnTo>
                      <a:pt x="0" y="242057"/>
                    </a:lnTo>
                    <a:cubicBezTo>
                      <a:pt x="0" y="235429"/>
                      <a:pt x="5373" y="230056"/>
                      <a:pt x="12001" y="230056"/>
                    </a:cubicBezTo>
                    <a:lnTo>
                      <a:pt x="35815" y="230056"/>
                    </a:lnTo>
                    <a:lnTo>
                      <a:pt x="35815" y="19709"/>
                    </a:lnTo>
                    <a:cubicBezTo>
                      <a:pt x="35815" y="8824"/>
                      <a:pt x="44639" y="0"/>
                      <a:pt x="55524" y="0"/>
                    </a:cubicBezTo>
                    <a:close/>
                  </a:path>
                </a:pathLst>
              </a:custGeom>
              <a:solidFill>
                <a:sysClr val="window" lastClr="FFFFFF">
                  <a:lumMod val="95000"/>
                </a:sysClr>
              </a:solidFill>
              <a:ln w="9525" cap="flat" cmpd="sng" algn="ctr">
                <a:solidFill>
                  <a:srgbClr val="FFFFFF">
                    <a:lumMod val="90000"/>
                  </a:srgbClr>
                </a:solidFill>
                <a:prstDash val="solid"/>
                <a:miter lim="800000"/>
              </a:ln>
              <a:effectLst/>
            </p:spPr>
            <p:txBody>
              <a:bodyPr rot="0" spcFirstLastPara="0" vert="horz" wrap="square" lIns="108000" tIns="36000" rIns="108000" bIns="10800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900" dirty="0">
                    <a:solidFill>
                      <a:prstClr val="black"/>
                    </a:solidFill>
                    <a:latin typeface="Segoe UI Light"/>
                  </a:rPr>
                  <a:t>Start</a:t>
                </a:r>
              </a:p>
            </p:txBody>
          </p:sp>
        </p:grpSp>
        <p:sp>
          <p:nvSpPr>
            <p:cNvPr id="237" name="Tekstvak 65"/>
            <p:cNvSpPr txBox="1"/>
            <p:nvPr userDrawn="1"/>
          </p:nvSpPr>
          <p:spPr>
            <a:xfrm>
              <a:off x="-2959433" y="372104"/>
              <a:ext cx="2679887" cy="453396"/>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nl-NL" sz="1200" kern="0" dirty="0">
                  <a:solidFill>
                    <a:srgbClr val="000000"/>
                  </a:solidFill>
                  <a:latin typeface="Segoe UI Light" panose="020B0502040204020203" pitchFamily="34" charset="0"/>
                  <a:cs typeface="Segoe UI Light" panose="020B0502040204020203" pitchFamily="34" charset="0"/>
                </a:rPr>
                <a:t>Ga naar de tab </a:t>
              </a:r>
              <a:r>
                <a:rPr lang="nl-NL" sz="1200" b="1" kern="0" dirty="0">
                  <a:solidFill>
                    <a:srgbClr val="000000"/>
                  </a:solidFill>
                  <a:latin typeface="Segoe UI Light" panose="020B0502040204020203" pitchFamily="34" charset="0"/>
                  <a:cs typeface="Segoe UI Light" panose="020B0502040204020203" pitchFamily="34" charset="0"/>
                </a:rPr>
                <a:t>Start’ </a:t>
              </a:r>
              <a:r>
                <a:rPr lang="nl-NL" sz="1200" kern="0" dirty="0">
                  <a:solidFill>
                    <a:srgbClr val="000000"/>
                  </a:solidFill>
                  <a:latin typeface="Segoe UI Light" panose="020B0502040204020203" pitchFamily="34" charset="0"/>
                  <a:cs typeface="Segoe UI Light" panose="020B0502040204020203" pitchFamily="34" charset="0"/>
                </a:rPr>
                <a:t>en vind onderstaande knoppen onder </a:t>
              </a:r>
              <a:r>
                <a:rPr lang="nl-NL" sz="1200" b="1" kern="0" dirty="0">
                  <a:solidFill>
                    <a:srgbClr val="000000"/>
                  </a:solidFill>
                  <a:latin typeface="Segoe UI Light" panose="020B0502040204020203" pitchFamily="34" charset="0"/>
                  <a:cs typeface="Segoe UI Light" panose="020B0502040204020203" pitchFamily="34" charset="0"/>
                </a:rPr>
                <a:t>‘Alinea’</a:t>
              </a:r>
            </a:p>
          </p:txBody>
        </p:sp>
        <p:sp>
          <p:nvSpPr>
            <p:cNvPr id="238" name="Ovaal 237"/>
            <p:cNvSpPr/>
            <p:nvPr userDrawn="1"/>
          </p:nvSpPr>
          <p:spPr>
            <a:xfrm>
              <a:off x="-2959433" y="375153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6</a:t>
              </a:r>
            </a:p>
          </p:txBody>
        </p:sp>
        <p:sp>
          <p:nvSpPr>
            <p:cNvPr id="239" name="Textfield placeholder"/>
            <p:cNvSpPr txBox="1">
              <a:spLocks/>
            </p:cNvSpPr>
            <p:nvPr userDrawn="1"/>
          </p:nvSpPr>
          <p:spPr>
            <a:xfrm>
              <a:off x="-2571950" y="3751536"/>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0000" lvl="5" indent="-270000" defTabSz="179388">
                <a:lnSpc>
                  <a:spcPct val="120000"/>
                </a:lnSpc>
                <a:spcAft>
                  <a:spcPts val="900"/>
                </a:spcAft>
                <a:buClr>
                  <a:srgbClr val="ED1A3B"/>
                </a:buClr>
                <a:buSzPct val="80000"/>
                <a:buFont typeface="Wingdings 3" panose="05040102010807070707" pitchFamily="18" charset="2"/>
                <a:buChar char=""/>
                <a:defRPr/>
              </a:pPr>
              <a:r>
                <a:rPr lang="nl-NL" sz="1200" cap="none" dirty="0">
                  <a:solidFill>
                    <a:srgbClr val="535353"/>
                  </a:solidFill>
                </a:rPr>
                <a:t># Bullets (16 pt.)</a:t>
              </a:r>
            </a:p>
          </p:txBody>
        </p:sp>
        <p:sp>
          <p:nvSpPr>
            <p:cNvPr id="240" name="Ovaal 239"/>
            <p:cNvSpPr/>
            <p:nvPr userDrawn="1"/>
          </p:nvSpPr>
          <p:spPr>
            <a:xfrm>
              <a:off x="-2959433" y="414870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7</a:t>
              </a:r>
            </a:p>
          </p:txBody>
        </p:sp>
        <p:sp>
          <p:nvSpPr>
            <p:cNvPr id="241" name="Textfield placeholder"/>
            <p:cNvSpPr txBox="1">
              <a:spLocks/>
            </p:cNvSpPr>
            <p:nvPr userDrawn="1"/>
          </p:nvSpPr>
          <p:spPr>
            <a:xfrm>
              <a:off x="-2571950" y="414870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6" indent="0" defTabSz="179388">
                <a:lnSpc>
                  <a:spcPct val="120000"/>
                </a:lnSpc>
                <a:spcBef>
                  <a:spcPts val="0"/>
                </a:spcBef>
                <a:spcAft>
                  <a:spcPts val="900"/>
                </a:spcAft>
                <a:buClr>
                  <a:srgbClr val="ED1A3B"/>
                </a:buClr>
                <a:buSzPct val="90000"/>
                <a:buFont typeface="+mj-lt"/>
                <a:buNone/>
                <a:defRPr/>
              </a:pPr>
              <a:r>
                <a:rPr lang="nl-NL" sz="1200" i="1" dirty="0">
                  <a:solidFill>
                    <a:srgbClr val="404040"/>
                  </a:solidFill>
                </a:rPr>
                <a:t>Cursief donker (16 pt.)</a:t>
              </a:r>
            </a:p>
          </p:txBody>
        </p:sp>
        <p:sp>
          <p:nvSpPr>
            <p:cNvPr id="242" name="Ovaal 241"/>
            <p:cNvSpPr/>
            <p:nvPr userDrawn="1"/>
          </p:nvSpPr>
          <p:spPr>
            <a:xfrm>
              <a:off x="-2959433" y="454586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8</a:t>
              </a:r>
            </a:p>
          </p:txBody>
        </p:sp>
        <p:sp>
          <p:nvSpPr>
            <p:cNvPr id="243" name="Textfield placeholder"/>
            <p:cNvSpPr txBox="1">
              <a:spLocks/>
            </p:cNvSpPr>
            <p:nvPr userDrawn="1"/>
          </p:nvSpPr>
          <p:spPr>
            <a:xfrm>
              <a:off x="-2571950" y="4545864"/>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7" indent="0" defTabSz="179388">
                <a:lnSpc>
                  <a:spcPct val="80000"/>
                </a:lnSpc>
                <a:spcBef>
                  <a:spcPts val="0"/>
                </a:spcBef>
                <a:spcAft>
                  <a:spcPts val="900"/>
                </a:spcAft>
                <a:buClr>
                  <a:srgbClr val="ED1A3B"/>
                </a:buClr>
                <a:buFont typeface="Arial" pitchFamily="34" charset="0"/>
                <a:buNone/>
                <a:defRPr/>
              </a:pPr>
              <a:r>
                <a:rPr lang="nl-NL" sz="1200" i="1" dirty="0">
                  <a:solidFill>
                    <a:srgbClr val="A3B0C0"/>
                  </a:solidFill>
                </a:rPr>
                <a:t>Cursief Licht (16 pt.)</a:t>
              </a:r>
            </a:p>
          </p:txBody>
        </p:sp>
        <p:sp>
          <p:nvSpPr>
            <p:cNvPr id="244" name="Ovaal 243"/>
            <p:cNvSpPr/>
            <p:nvPr userDrawn="1"/>
          </p:nvSpPr>
          <p:spPr>
            <a:xfrm>
              <a:off x="-2959433" y="488761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9</a:t>
              </a:r>
            </a:p>
          </p:txBody>
        </p:sp>
        <p:sp>
          <p:nvSpPr>
            <p:cNvPr id="245" name="Textfield placeholder"/>
            <p:cNvSpPr txBox="1">
              <a:spLocks/>
            </p:cNvSpPr>
            <p:nvPr userDrawn="1"/>
          </p:nvSpPr>
          <p:spPr>
            <a:xfrm>
              <a:off x="-2571950" y="488761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8" indent="0" defTabSz="179388">
                <a:lnSpc>
                  <a:spcPct val="80000"/>
                </a:lnSpc>
                <a:spcBef>
                  <a:spcPts val="0"/>
                </a:spcBef>
                <a:spcAft>
                  <a:spcPts val="900"/>
                </a:spcAft>
                <a:buClr>
                  <a:srgbClr val="ED1A3B"/>
                </a:buClr>
                <a:buFont typeface="Arial" pitchFamily="34" charset="0"/>
                <a:buNone/>
                <a:defRPr/>
              </a:pPr>
              <a:r>
                <a:rPr lang="nl-NL" sz="1400" b="1" dirty="0">
                  <a:solidFill>
                    <a:srgbClr val="ED1A3B"/>
                  </a:solidFill>
                </a:rPr>
                <a:t>Subtitel (18 pt.)</a:t>
              </a:r>
            </a:p>
          </p:txBody>
        </p:sp>
      </p:grpSp>
      <p:sp>
        <p:nvSpPr>
          <p:cNvPr id="115" name="Hyperlink - Inhoudsopgave">
            <a:hlinkClick r:id="rId5" action="ppaction://hlinksldjump"/>
          </p:cNvPr>
          <p:cNvSpPr/>
          <p:nvPr userDrawn="1"/>
        </p:nvSpPr>
        <p:spPr>
          <a:xfrm>
            <a:off x="10197856" y="5889801"/>
            <a:ext cx="2000494" cy="968199"/>
          </a:xfrm>
          <a:prstGeom prst="rect">
            <a:avLst/>
          </a:prstGeom>
          <a:solidFill>
            <a:srgbClr val="ED1A3B">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cxnSp>
        <p:nvCxnSpPr>
          <p:cNvPr id="19" name="Grijze lijn - onder"/>
          <p:cNvCxnSpPr/>
          <p:nvPr/>
        </p:nvCxnSpPr>
        <p:spPr>
          <a:xfrm flipH="1">
            <a:off x="4287367" y="5776291"/>
            <a:ext cx="7248667"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 name="Grijze lijn - boven"/>
          <p:cNvCxnSpPr/>
          <p:nvPr/>
        </p:nvCxnSpPr>
        <p:spPr>
          <a:xfrm flipH="1">
            <a:off x="664804" y="1358670"/>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3" name="Tijdelijke aanduiding voor Dianummer"/>
          <p:cNvSpPr>
            <a:spLocks noGrp="1"/>
          </p:cNvSpPr>
          <p:nvPr>
            <p:ph type="sldNum" sz="quarter" idx="4"/>
          </p:nvPr>
        </p:nvSpPr>
        <p:spPr>
          <a:xfrm>
            <a:off x="5770549" y="6295992"/>
            <a:ext cx="657251" cy="365125"/>
          </a:xfrm>
          <a:prstGeom prst="rect">
            <a:avLst/>
          </a:prstGeom>
        </p:spPr>
        <p:txBody>
          <a:bodyPr vert="horz" lIns="91440" tIns="45720" rIns="91440" bIns="45720" rtlCol="0" anchor="ctr"/>
          <a:lstStyle>
            <a:lvl1pPr algn="ctr">
              <a:defRPr sz="800">
                <a:solidFill>
                  <a:schemeClr val="tx1">
                    <a:tint val="75000"/>
                  </a:schemeClr>
                </a:solidFill>
              </a:defRPr>
            </a:lvl1pPr>
          </a:lstStyle>
          <a:p>
            <a:fld id="{1B3FA67A-C720-417A-A072-0CD211FD8662}" type="slidenum">
              <a:rPr lang="nl-NL" smtClean="0">
                <a:solidFill>
                  <a:srgbClr val="000000">
                    <a:tint val="75000"/>
                  </a:srgbClr>
                </a:solidFill>
              </a:rPr>
              <a:pPr/>
              <a:t>‹nr.›</a:t>
            </a:fld>
            <a:endParaRPr lang="nl-NL" dirty="0">
              <a:solidFill>
                <a:srgbClr val="000000">
                  <a:tint val="75000"/>
                </a:srgbClr>
              </a:solidFill>
            </a:endParaRPr>
          </a:p>
        </p:txBody>
      </p:sp>
      <p:sp>
        <p:nvSpPr>
          <p:cNvPr id="7" name="Tijdelijke aanduiding voor Afbeelding"/>
          <p:cNvSpPr>
            <a:spLocks noGrp="1"/>
          </p:cNvSpPr>
          <p:nvPr>
            <p:ph type="pic" idx="13"/>
          </p:nvPr>
        </p:nvSpPr>
        <p:spPr>
          <a:xfrm>
            <a:off x="4287367" y="1377951"/>
            <a:ext cx="7248667" cy="4381200"/>
          </a:xfrm>
          <a:solidFill>
            <a:schemeClr val="accent5">
              <a:lumMod val="20000"/>
              <a:lumOff val="80000"/>
            </a:schemeClr>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p>
        </p:txBody>
      </p:sp>
      <p:sp>
        <p:nvSpPr>
          <p:cNvPr id="10" name="Tijdelijke aanduiding voor Tekst"/>
          <p:cNvSpPr>
            <a:spLocks noGrp="1"/>
          </p:cNvSpPr>
          <p:nvPr>
            <p:ph type="body" orient="vert" idx="1" hasCustomPrompt="1"/>
          </p:nvPr>
        </p:nvSpPr>
        <p:spPr>
          <a:xfrm>
            <a:off x="664111" y="1720867"/>
            <a:ext cx="3166184" cy="3693600"/>
          </a:xfrm>
        </p:spPr>
        <p:txBody>
          <a:bodyPr vert="horz"/>
          <a:lstStyle/>
          <a:p>
            <a:pPr lvl="0"/>
            <a:r>
              <a:rPr lang="nl-NL" dirty="0"/>
              <a:t>Leestekst</a:t>
            </a:r>
          </a:p>
          <a:p>
            <a:pPr lvl="1"/>
            <a:r>
              <a:rPr lang="nl-NL" dirty="0"/>
              <a:t>Bullets</a:t>
            </a:r>
          </a:p>
          <a:p>
            <a:pPr lvl="2"/>
            <a:r>
              <a:rPr lang="nl-NL" dirty="0"/>
              <a:t>Sub-bullets</a:t>
            </a:r>
          </a:p>
          <a:p>
            <a:pPr lvl="3"/>
            <a:r>
              <a:rPr lang="nl-NL" dirty="0"/>
              <a:t>Sub-sub-bullets</a:t>
            </a:r>
          </a:p>
          <a:p>
            <a:pPr lvl="4"/>
            <a:r>
              <a:rPr lang="nl-NL" dirty="0"/>
              <a:t>Numeriek</a:t>
            </a:r>
          </a:p>
          <a:p>
            <a:pPr lvl="5"/>
            <a:r>
              <a:rPr lang="nl-NL" dirty="0"/>
              <a:t># Bullets</a:t>
            </a:r>
          </a:p>
          <a:p>
            <a:pPr lvl="6"/>
            <a:r>
              <a:rPr lang="nl-NL" dirty="0"/>
              <a:t>Cursief donker</a:t>
            </a:r>
          </a:p>
          <a:p>
            <a:pPr lvl="7"/>
            <a:r>
              <a:rPr lang="nl-NL" dirty="0"/>
              <a:t>Cursief licht</a:t>
            </a:r>
          </a:p>
          <a:p>
            <a:pPr lvl="8"/>
            <a:r>
              <a:rPr lang="nl-NL" dirty="0"/>
              <a:t>Subtitel</a:t>
            </a:r>
          </a:p>
        </p:txBody>
      </p:sp>
      <p:sp>
        <p:nvSpPr>
          <p:cNvPr id="12" name="Tijdelijke aanduiding voor Subtitel"/>
          <p:cNvSpPr>
            <a:spLocks noGrp="1"/>
          </p:cNvSpPr>
          <p:nvPr>
            <p:ph type="body" idx="14"/>
          </p:nvPr>
        </p:nvSpPr>
        <p:spPr>
          <a:xfrm>
            <a:off x="664109" y="1001348"/>
            <a:ext cx="10870131" cy="317758"/>
          </a:xfrm>
        </p:spPr>
        <p:txBody>
          <a:bodyPr bIns="72000" anchor="t" anchorCtr="0"/>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16" name="Tijdelijke aanduiding voor Titel"/>
          <p:cNvSpPr>
            <a:spLocks noGrp="1"/>
          </p:cNvSpPr>
          <p:nvPr>
            <p:ph type="title"/>
          </p:nvPr>
        </p:nvSpPr>
        <p:spPr>
          <a:xfrm>
            <a:off x="664109" y="464521"/>
            <a:ext cx="10870131" cy="533219"/>
          </a:xfrm>
        </p:spPr>
        <p:txBody>
          <a:bodyPr/>
          <a:lstStyle/>
          <a:p>
            <a:r>
              <a:rPr lang="nl-NL"/>
              <a:t>Klik om stijl te bewerken</a:t>
            </a:r>
            <a:endParaRPr lang="nl-NL" dirty="0"/>
          </a:p>
        </p:txBody>
      </p:sp>
    </p:spTree>
    <p:extLst>
      <p:ext uri="{BB962C8B-B14F-4D97-AF65-F5344CB8AC3E}">
        <p14:creationId xmlns:p14="http://schemas.microsoft.com/office/powerpoint/2010/main" val="3400408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Afbeelding 100%">
    <p:spTree>
      <p:nvGrpSpPr>
        <p:cNvPr id="1" name=""/>
        <p:cNvGrpSpPr/>
        <p:nvPr/>
      </p:nvGrpSpPr>
      <p:grpSpPr>
        <a:xfrm>
          <a:off x="0" y="0"/>
          <a:ext cx="0" cy="0"/>
          <a:chOff x="0" y="0"/>
          <a:chExt cx="0" cy="0"/>
        </a:xfrm>
      </p:grpSpPr>
      <p:sp>
        <p:nvSpPr>
          <p:cNvPr id="11" name="Naam indeling - Afbeelding 100%"/>
          <p:cNvSpPr txBox="1"/>
          <p:nvPr/>
        </p:nvSpPr>
        <p:spPr>
          <a:xfrm>
            <a:off x="1" y="-453266"/>
            <a:ext cx="3582333" cy="276999"/>
          </a:xfrm>
          <a:prstGeom prst="rect">
            <a:avLst/>
          </a:prstGeom>
          <a:noFill/>
        </p:spPr>
        <p:txBody>
          <a:bodyPr wrap="square" lIns="0" tIns="0" rIns="0" bIns="0" rtlCol="0">
            <a:spAutoFit/>
          </a:bodyPr>
          <a:lstStyle/>
          <a:p>
            <a:pPr defTabSz="914112"/>
            <a:r>
              <a:rPr lang="nl-NL" dirty="0">
                <a:solidFill>
                  <a:srgbClr val="404040"/>
                </a:solidFill>
                <a:latin typeface="Calibri" panose="020F0502020204030204" pitchFamily="34" charset="0"/>
              </a:rPr>
              <a:t>Afbeelding 100%</a:t>
            </a:r>
            <a:endParaRPr lang="en-GB" dirty="0">
              <a:solidFill>
                <a:srgbClr val="404040"/>
              </a:solidFill>
              <a:latin typeface="Calibri" panose="020F0502020204030204" pitchFamily="34" charset="0"/>
            </a:endParaRPr>
          </a:p>
        </p:txBody>
      </p:sp>
      <p:grpSp>
        <p:nvGrpSpPr>
          <p:cNvPr id="98" name="Instructie - Afbeelding invoegen"/>
          <p:cNvGrpSpPr/>
          <p:nvPr/>
        </p:nvGrpSpPr>
        <p:grpSpPr>
          <a:xfrm>
            <a:off x="12437931" y="14898"/>
            <a:ext cx="2717569" cy="3676571"/>
            <a:chOff x="12434693" y="14897"/>
            <a:chExt cx="2716862" cy="3676571"/>
          </a:xfrm>
        </p:grpSpPr>
        <p:sp>
          <p:nvSpPr>
            <p:cNvPr id="99" name="Rechthoek 98"/>
            <p:cNvSpPr/>
            <p:nvPr/>
          </p:nvSpPr>
          <p:spPr>
            <a:xfrm>
              <a:off x="12441150" y="14897"/>
              <a:ext cx="2696270" cy="161771"/>
            </a:xfrm>
            <a:prstGeom prst="rect">
              <a:avLst/>
            </a:prstGeom>
            <a:noFill/>
            <a:ln w="25400" cap="flat" cmpd="sng" algn="ctr">
              <a:noFill/>
              <a:prstDash val="solid"/>
            </a:ln>
            <a:effectLst/>
          </p:spPr>
          <p:txBody>
            <a:bodyPr lIns="0" tIns="0" rIns="0" bIns="0" rtlCol="0" anchor="t"/>
            <a:lstStyle/>
            <a:p>
              <a:pPr defTabSz="914112">
                <a:lnSpc>
                  <a:spcPct val="80000"/>
                </a:lnSpc>
              </a:pPr>
              <a:r>
                <a:rPr lang="nl-NL" sz="1600" b="1" kern="0" cap="all" dirty="0">
                  <a:solidFill>
                    <a:srgbClr val="ED1A3B"/>
                  </a:solidFill>
                  <a:cs typeface="Segoe UI Light" panose="020B0502040204020203" pitchFamily="34" charset="0"/>
                </a:rPr>
                <a:t>AFBEELDING INVOEGEN</a:t>
              </a:r>
            </a:p>
          </p:txBody>
        </p:sp>
        <p:sp>
          <p:nvSpPr>
            <p:cNvPr id="100" name="Tekstvak 33"/>
            <p:cNvSpPr txBox="1"/>
            <p:nvPr/>
          </p:nvSpPr>
          <p:spPr>
            <a:xfrm>
              <a:off x="12441149" y="814239"/>
              <a:ext cx="2710405" cy="719877"/>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Indien nodig, verwijder de bestaande afbeelding. Klik op het pictogram </a:t>
              </a:r>
              <a:br>
                <a:rPr lang="nl-NL" sz="1200" kern="0" dirty="0">
                  <a:solidFill>
                    <a:srgbClr val="000000"/>
                  </a:solidFill>
                  <a:latin typeface="Trebuchet MS"/>
                  <a:cs typeface="Segoe UI Light" panose="020B0502040204020203" pitchFamily="34" charset="0"/>
                </a:rPr>
              </a:br>
              <a:r>
                <a:rPr lang="nl-NL" sz="1200" kern="0" dirty="0">
                  <a:solidFill>
                    <a:srgbClr val="000000"/>
                  </a:solidFill>
                  <a:latin typeface="Trebuchet MS"/>
                  <a:cs typeface="Segoe UI Light" panose="020B0502040204020203" pitchFamily="34" charset="0"/>
                </a:rPr>
                <a:t>om een afbeelding in te voegen</a:t>
              </a:r>
              <a:br>
                <a:rPr lang="nl-NL" sz="1200" kern="0" dirty="0">
                  <a:solidFill>
                    <a:srgbClr val="000000"/>
                  </a:solidFill>
                  <a:latin typeface="Trebuchet MS"/>
                  <a:cs typeface="Segoe UI Light" panose="020B0502040204020203" pitchFamily="34" charset="0"/>
                </a:rPr>
              </a:br>
              <a:r>
                <a:rPr lang="nl-NL" sz="1100" i="1" kern="0" dirty="0">
                  <a:solidFill>
                    <a:srgbClr val="000000"/>
                  </a:solidFill>
                  <a:latin typeface="Trebuchet MS"/>
                  <a:cs typeface="Segoe UI Light" panose="020B0502040204020203" pitchFamily="34" charset="0"/>
                </a:rPr>
                <a:t>(zie onderstaand voorbeeld).</a:t>
              </a:r>
            </a:p>
          </p:txBody>
        </p:sp>
        <p:sp>
          <p:nvSpPr>
            <p:cNvPr id="101" name="Tekstvak 33"/>
            <p:cNvSpPr txBox="1"/>
            <p:nvPr/>
          </p:nvSpPr>
          <p:spPr>
            <a:xfrm>
              <a:off x="12441149" y="2793904"/>
              <a:ext cx="2710405" cy="395943"/>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4112" fontAlgn="auto">
                <a:spcBef>
                  <a:spcPts val="0"/>
                </a:spcBef>
                <a:spcAft>
                  <a:spcPts val="0"/>
                </a:spcAft>
                <a:defRPr/>
              </a:pPr>
              <a:r>
                <a:rPr lang="nl-NL" sz="1200" kern="0" dirty="0">
                  <a:solidFill>
                    <a:srgbClr val="000000"/>
                  </a:solidFill>
                  <a:latin typeface="Trebuchet MS"/>
                  <a:cs typeface="Segoe UI Light" panose="020B0502040204020203" pitchFamily="34" charset="0"/>
                </a:rPr>
                <a:t>Selecteer de afbeelding die u wilt invoegen en klik op </a:t>
              </a:r>
              <a:r>
                <a:rPr lang="nl-NL" sz="1200" b="1" kern="0" dirty="0">
                  <a:solidFill>
                    <a:srgbClr val="000000"/>
                  </a:solidFill>
                  <a:latin typeface="Trebuchet MS"/>
                  <a:cs typeface="Segoe UI Light" panose="020B0502040204020203" pitchFamily="34" charset="0"/>
                </a:rPr>
                <a:t>‘Invoegen’</a:t>
              </a:r>
            </a:p>
          </p:txBody>
        </p:sp>
        <p:sp>
          <p:nvSpPr>
            <p:cNvPr id="102" name="Ovaal 101"/>
            <p:cNvSpPr/>
            <p:nvPr/>
          </p:nvSpPr>
          <p:spPr>
            <a:xfrm>
              <a:off x="12441150" y="379292"/>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1</a:t>
              </a:r>
            </a:p>
          </p:txBody>
        </p:sp>
        <p:sp>
          <p:nvSpPr>
            <p:cNvPr id="103" name="Ovaal 102"/>
            <p:cNvSpPr/>
            <p:nvPr/>
          </p:nvSpPr>
          <p:spPr>
            <a:xfrm>
              <a:off x="12441150" y="2337208"/>
              <a:ext cx="327206" cy="327206"/>
            </a:xfrm>
            <a:prstGeom prst="ellipse">
              <a:avLst/>
            </a:prstGeom>
            <a:solidFill>
              <a:schemeClr val="accent1"/>
            </a:solidFill>
            <a:ln w="25400" cap="flat" cmpd="sng" algn="ctr">
              <a:noFill/>
              <a:prstDash val="solid"/>
            </a:ln>
            <a:effectLst/>
          </p:spPr>
          <p:txBody>
            <a:bodyPr lIns="0" tIns="36000" rIns="0" bIns="43200"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fontAlgn="auto">
                <a:spcBef>
                  <a:spcPts val="0"/>
                </a:spcBef>
                <a:spcAft>
                  <a:spcPts val="0"/>
                </a:spcAft>
                <a:defRPr/>
              </a:pPr>
              <a:r>
                <a:rPr lang="nl-NL" sz="1400" kern="0" dirty="0">
                  <a:solidFill>
                    <a:srgbClr val="FFFFFF"/>
                  </a:solidFill>
                  <a:latin typeface="Trebuchet MS"/>
                  <a:cs typeface="Segoe UI Light" panose="020B0502040204020203" pitchFamily="34" charset="0"/>
                </a:rPr>
                <a:t>2</a:t>
              </a:r>
            </a:p>
          </p:txBody>
        </p:sp>
        <p:cxnSp>
          <p:nvCxnSpPr>
            <p:cNvPr id="104" name="Rechte verbindingslijn 103"/>
            <p:cNvCxnSpPr/>
            <p:nvPr/>
          </p:nvCxnSpPr>
          <p:spPr>
            <a:xfrm>
              <a:off x="12441150" y="248176"/>
              <a:ext cx="2710405" cy="0"/>
            </a:xfrm>
            <a:prstGeom prst="line">
              <a:avLst/>
            </a:prstGeom>
            <a:noFill/>
            <a:ln w="9525" cap="flat" cmpd="sng" algn="ctr">
              <a:solidFill>
                <a:schemeClr val="accent1"/>
              </a:solidFill>
              <a:prstDash val="solid"/>
            </a:ln>
            <a:effectLst/>
          </p:spPr>
        </p:cxnSp>
        <p:cxnSp>
          <p:nvCxnSpPr>
            <p:cNvPr id="105" name="Rechte verbindingslijn 104"/>
            <p:cNvCxnSpPr/>
            <p:nvPr/>
          </p:nvCxnSpPr>
          <p:spPr>
            <a:xfrm>
              <a:off x="12441149" y="2212830"/>
              <a:ext cx="2710405" cy="0"/>
            </a:xfrm>
            <a:prstGeom prst="line">
              <a:avLst/>
            </a:prstGeom>
            <a:noFill/>
            <a:ln w="9525" cap="flat" cmpd="sng" algn="ctr">
              <a:solidFill>
                <a:schemeClr val="accent1"/>
              </a:solidFill>
              <a:prstDash val="solid"/>
            </a:ln>
            <a:effectLst/>
          </p:spPr>
        </p:cxnSp>
        <p:cxnSp>
          <p:nvCxnSpPr>
            <p:cNvPr id="106" name="Rechte verbindingslijn 105"/>
            <p:cNvCxnSpPr/>
            <p:nvPr/>
          </p:nvCxnSpPr>
          <p:spPr>
            <a:xfrm>
              <a:off x="12444679" y="3691468"/>
              <a:ext cx="2706875" cy="0"/>
            </a:xfrm>
            <a:prstGeom prst="line">
              <a:avLst/>
            </a:prstGeom>
            <a:noFill/>
            <a:ln w="9525" cap="flat" cmpd="sng" algn="ctr">
              <a:solidFill>
                <a:schemeClr val="accent1"/>
              </a:solidFill>
              <a:prstDash val="solid"/>
            </a:ln>
            <a:effectLst/>
          </p:spPr>
        </p:cxnSp>
        <p:pic>
          <p:nvPicPr>
            <p:cNvPr id="107" name="Icoontje afbeeldi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434693" y="1677764"/>
              <a:ext cx="403210" cy="403210"/>
            </a:xfrm>
            <a:prstGeom prst="rect">
              <a:avLst/>
            </a:prstGeom>
          </p:spPr>
        </p:pic>
        <p:grpSp>
          <p:nvGrpSpPr>
            <p:cNvPr id="108" name="Groep 107"/>
            <p:cNvGrpSpPr/>
            <p:nvPr/>
          </p:nvGrpSpPr>
          <p:grpSpPr>
            <a:xfrm>
              <a:off x="12450571" y="3301369"/>
              <a:ext cx="1002992" cy="267962"/>
              <a:chOff x="13560784" y="3471416"/>
              <a:chExt cx="1114138" cy="297656"/>
            </a:xfrm>
          </p:grpSpPr>
          <p:sp>
            <p:nvSpPr>
              <p:cNvPr id="109" name="Afgeronde rechthoek 88"/>
              <p:cNvSpPr/>
              <p:nvPr/>
            </p:nvSpPr>
            <p:spPr>
              <a:xfrm>
                <a:off x="13560784" y="3471416"/>
                <a:ext cx="1114138" cy="297656"/>
              </a:xfrm>
              <a:prstGeom prst="roundRect">
                <a:avLst/>
              </a:prstGeom>
              <a:gradFill flip="none" rotWithShape="1">
                <a:gsLst>
                  <a:gs pos="4000">
                    <a:srgbClr val="00B0F0"/>
                  </a:gs>
                  <a:gs pos="0">
                    <a:srgbClr val="0070C0"/>
                  </a:gs>
                  <a:gs pos="100000">
                    <a:srgbClr val="0070C0"/>
                  </a:gs>
                  <a:gs pos="12000">
                    <a:srgbClr val="D1EAFF"/>
                  </a:gs>
                  <a:gs pos="96000">
                    <a:srgbClr val="00B0F0"/>
                  </a:gs>
                  <a:gs pos="89000">
                    <a:srgbClr val="DDF4FF"/>
                  </a:gs>
                  <a:gs pos="43000">
                    <a:srgbClr val="D1EAFF"/>
                  </a:gs>
                  <a:gs pos="51000">
                    <a:srgbClr val="DDF4FF"/>
                  </a:gs>
                </a:gsLst>
                <a:lin ang="16200000" scaled="1"/>
                <a:tileRect/>
              </a:gradFill>
              <a:ln w="63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dirty="0">
                  <a:solidFill>
                    <a:srgbClr val="FFFFFF"/>
                  </a:solidFill>
                </a:endParaRPr>
              </a:p>
            </p:txBody>
          </p:sp>
          <p:sp>
            <p:nvSpPr>
              <p:cNvPr id="110" name="Tekstvak 109"/>
              <p:cNvSpPr txBox="1"/>
              <p:nvPr/>
            </p:nvSpPr>
            <p:spPr>
              <a:xfrm>
                <a:off x="13573594" y="3488254"/>
                <a:ext cx="888311" cy="273506"/>
              </a:xfrm>
              <a:prstGeom prst="rect">
                <a:avLst/>
              </a:prstGeom>
              <a:noFill/>
            </p:spPr>
            <p:txBody>
              <a:bodyPr wrap="square" rtlCol="0" anchor="ctr">
                <a:spAutoFit/>
              </a:bodyPr>
              <a:lstStyle>
                <a:defPPr>
                  <a:defRPr lang="nl-NL"/>
                </a:defPPr>
                <a:lvl1pPr marR="0" lvl="0" indent="0" algn="ctr" fontAlgn="auto">
                  <a:lnSpc>
                    <a:spcPct val="100000"/>
                  </a:lnSpc>
                  <a:spcBef>
                    <a:spcPts val="0"/>
                  </a:spcBef>
                  <a:spcAft>
                    <a:spcPts val="0"/>
                  </a:spcAft>
                  <a:buClrTx/>
                  <a:buSzTx/>
                  <a:buFontTx/>
                  <a:buNone/>
                  <a:tabLst/>
                  <a:defRPr kumimoji="0" sz="900" i="0" u="none" strike="noStrike" kern="0" cap="none" spc="0" normalizeH="0" baseline="0">
                    <a:ln>
                      <a:noFill/>
                    </a:ln>
                    <a:effectLst>
                      <a:outerShdw blurRad="25400" algn="ctr" rotWithShape="0">
                        <a:prstClr val="white"/>
                      </a:outerShdw>
                    </a:effectLst>
                    <a:uLnTx/>
                    <a:uFillTx/>
                    <a:latin typeface="Segoe UI Light" panose="020B0502040204020203" pitchFamily="34" charset="0"/>
                    <a:cs typeface="Segoe UI Light" panose="020B0502040204020203" pitchFamily="34" charset="0"/>
                  </a:defRPr>
                </a:lvl1pPr>
                <a:lvl2pPr fontAlgn="base">
                  <a:spcBef>
                    <a:spcPct val="0"/>
                  </a:spcBef>
                  <a:spcAft>
                    <a:spcPct val="0"/>
                  </a:spcAft>
                  <a:defRPr>
                    <a:latin typeface="Arial" charset="0"/>
                    <a:cs typeface="Arial" charset="0"/>
                  </a:defRPr>
                </a:lvl2pPr>
                <a:lvl3pPr fontAlgn="base">
                  <a:spcBef>
                    <a:spcPct val="0"/>
                  </a:spcBef>
                  <a:spcAft>
                    <a:spcPct val="0"/>
                  </a:spcAft>
                  <a:defRPr>
                    <a:latin typeface="Arial" charset="0"/>
                    <a:cs typeface="Arial" charset="0"/>
                  </a:defRPr>
                </a:lvl3pPr>
                <a:lvl4pPr fontAlgn="base">
                  <a:spcBef>
                    <a:spcPct val="0"/>
                  </a:spcBef>
                  <a:spcAft>
                    <a:spcPct val="0"/>
                  </a:spcAft>
                  <a:defRPr>
                    <a:latin typeface="Arial" charset="0"/>
                    <a:cs typeface="Arial" charset="0"/>
                  </a:defRPr>
                </a:lvl4pPr>
                <a:lvl5pPr fontAlgn="base">
                  <a:spcBef>
                    <a:spcPct val="0"/>
                  </a:spcBef>
                  <a:spcAft>
                    <a:spcPct val="0"/>
                  </a:spcAft>
                  <a:defRPr>
                    <a:latin typeface="Arial" charset="0"/>
                    <a:cs typeface="Arial" charset="0"/>
                  </a:defRPr>
                </a:lvl5pPr>
                <a:lvl6pPr>
                  <a:defRPr>
                    <a:latin typeface="Arial" charset="0"/>
                    <a:cs typeface="Arial" charset="0"/>
                  </a:defRPr>
                </a:lvl6pPr>
                <a:lvl7pPr>
                  <a:defRPr>
                    <a:latin typeface="Arial" charset="0"/>
                    <a:cs typeface="Arial" charset="0"/>
                  </a:defRPr>
                </a:lvl7pPr>
                <a:lvl8pPr>
                  <a:defRPr>
                    <a:latin typeface="Arial" charset="0"/>
                    <a:cs typeface="Arial" charset="0"/>
                  </a:defRPr>
                </a:lvl8pPr>
                <a:lvl9pPr>
                  <a:defRPr>
                    <a:latin typeface="Arial" charset="0"/>
                    <a:cs typeface="Arial" charset="0"/>
                  </a:defRPr>
                </a:lvl9pPr>
              </a:lstStyle>
              <a:p>
                <a:pPr defTabSz="914112"/>
                <a:r>
                  <a:rPr lang="nl-NL" sz="1000" dirty="0">
                    <a:solidFill>
                      <a:srgbClr val="000000"/>
                    </a:solidFill>
                    <a:latin typeface="Trebuchet MS"/>
                  </a:rPr>
                  <a:t>Invoegen</a:t>
                </a:r>
              </a:p>
            </p:txBody>
          </p:sp>
          <p:cxnSp>
            <p:nvCxnSpPr>
              <p:cNvPr id="111" name="Rechte verbindingslijn 110"/>
              <p:cNvCxnSpPr/>
              <p:nvPr/>
            </p:nvCxnSpPr>
            <p:spPr>
              <a:xfrm>
                <a:off x="14461905" y="3507058"/>
                <a:ext cx="0" cy="224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2" name="Gelijkbenige driehoek 111"/>
              <p:cNvSpPr/>
              <p:nvPr/>
            </p:nvSpPr>
            <p:spPr>
              <a:xfrm rot="10800000">
                <a:off x="14518584" y="3600521"/>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112"/>
                <a:endParaRPr lang="nl-NL" dirty="0">
                  <a:solidFill>
                    <a:srgbClr val="FFFFFF"/>
                  </a:solidFill>
                </a:endParaRPr>
              </a:p>
            </p:txBody>
          </p:sp>
        </p:grpSp>
      </p:grpSp>
      <p:grpSp>
        <p:nvGrpSpPr>
          <p:cNvPr id="42" name="Instructie - Tekst niveaus"/>
          <p:cNvGrpSpPr/>
          <p:nvPr userDrawn="1"/>
        </p:nvGrpSpPr>
        <p:grpSpPr>
          <a:xfrm>
            <a:off x="-3117849" y="365"/>
            <a:ext cx="2823358" cy="5254722"/>
            <a:chOff x="-2959433" y="-5444"/>
            <a:chExt cx="2822623" cy="5254722"/>
          </a:xfrm>
        </p:grpSpPr>
        <p:sp>
          <p:nvSpPr>
            <p:cNvPr id="43" name="Rechthoek 42"/>
            <p:cNvSpPr/>
            <p:nvPr userDrawn="1"/>
          </p:nvSpPr>
          <p:spPr>
            <a:xfrm>
              <a:off x="-2959433" y="-5444"/>
              <a:ext cx="2572469" cy="280344"/>
            </a:xfrm>
            <a:prstGeom prst="rect">
              <a:avLst/>
            </a:prstGeom>
            <a:noFill/>
            <a:ln w="25400" cap="flat" cmpd="sng" algn="ctr">
              <a:noFill/>
              <a:prstDash val="solid"/>
            </a:ln>
            <a:effectLst/>
          </p:spPr>
          <p:txBody>
            <a:bodyPr lIns="0" tIns="0" rIns="0" bIns="0" rtlCol="0" anchor="t"/>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nl-NL" sz="1600" b="1" kern="0" dirty="0">
                  <a:solidFill>
                    <a:srgbClr val="ED1A3B"/>
                  </a:solidFill>
                  <a:cs typeface="Segoe UI Light" panose="020B0502040204020203" pitchFamily="34" charset="0"/>
                </a:rPr>
                <a:t>TEKST NIVEAUS</a:t>
              </a:r>
            </a:p>
          </p:txBody>
        </p:sp>
        <p:sp>
          <p:nvSpPr>
            <p:cNvPr id="44" name="Textfield placeholder"/>
            <p:cNvSpPr txBox="1">
              <a:spLocks/>
            </p:cNvSpPr>
            <p:nvPr userDrawn="1"/>
          </p:nvSpPr>
          <p:spPr>
            <a:xfrm>
              <a:off x="-2587337" y="2675411"/>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0000" lvl="2"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a:solidFill>
                    <a:srgbClr val="404040"/>
                  </a:solidFill>
                </a:rPr>
                <a:t>Sub-bullets (16 pt.)</a:t>
              </a:r>
            </a:p>
          </p:txBody>
        </p:sp>
        <p:sp>
          <p:nvSpPr>
            <p:cNvPr id="45" name="Ovaal 44"/>
            <p:cNvSpPr/>
            <p:nvPr userDrawn="1"/>
          </p:nvSpPr>
          <p:spPr>
            <a:xfrm>
              <a:off x="-2959433" y="196874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1</a:t>
              </a:r>
            </a:p>
          </p:txBody>
        </p:sp>
        <p:sp>
          <p:nvSpPr>
            <p:cNvPr id="46" name="Ovaal 45"/>
            <p:cNvSpPr/>
            <p:nvPr userDrawn="1"/>
          </p:nvSpPr>
          <p:spPr>
            <a:xfrm>
              <a:off x="-2959433" y="232207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2</a:t>
              </a:r>
            </a:p>
          </p:txBody>
        </p:sp>
        <p:sp>
          <p:nvSpPr>
            <p:cNvPr id="47" name="Ovaal 46"/>
            <p:cNvSpPr/>
            <p:nvPr userDrawn="1"/>
          </p:nvSpPr>
          <p:spPr>
            <a:xfrm>
              <a:off x="-2959433" y="267541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3</a:t>
              </a:r>
            </a:p>
          </p:txBody>
        </p:sp>
        <p:sp>
          <p:nvSpPr>
            <p:cNvPr id="48" name="Ovaal 47"/>
            <p:cNvSpPr/>
            <p:nvPr userDrawn="1"/>
          </p:nvSpPr>
          <p:spPr>
            <a:xfrm>
              <a:off x="-2959433" y="3028747"/>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4</a:t>
              </a:r>
            </a:p>
          </p:txBody>
        </p:sp>
        <p:sp>
          <p:nvSpPr>
            <p:cNvPr id="49" name="Textfield placeholder"/>
            <p:cNvSpPr txBox="1">
              <a:spLocks/>
            </p:cNvSpPr>
            <p:nvPr userDrawn="1"/>
          </p:nvSpPr>
          <p:spPr>
            <a:xfrm>
              <a:off x="-2571950" y="1966925"/>
              <a:ext cx="2163709" cy="261500"/>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79388">
                <a:lnSpc>
                  <a:spcPct val="120000"/>
                </a:lnSpc>
                <a:spcBef>
                  <a:spcPts val="0"/>
                </a:spcBef>
                <a:spcAft>
                  <a:spcPts val="900"/>
                </a:spcAft>
                <a:buClr>
                  <a:srgbClr val="000000"/>
                </a:buClr>
                <a:buSzPct val="100000"/>
                <a:buFont typeface="Arial" pitchFamily="34" charset="0"/>
                <a:buNone/>
                <a:defRPr/>
              </a:pPr>
              <a:r>
                <a:rPr lang="nl-NL" sz="1200" dirty="0">
                  <a:solidFill>
                    <a:srgbClr val="535353"/>
                  </a:solidFill>
                </a:rPr>
                <a:t>Leestekst (16 pt.)</a:t>
              </a:r>
            </a:p>
          </p:txBody>
        </p:sp>
        <p:sp>
          <p:nvSpPr>
            <p:cNvPr id="50" name="Textfield placeholder"/>
            <p:cNvSpPr txBox="1">
              <a:spLocks/>
            </p:cNvSpPr>
            <p:nvPr userDrawn="1"/>
          </p:nvSpPr>
          <p:spPr>
            <a:xfrm>
              <a:off x="-2571950" y="2322077"/>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70000" lvl="1" indent="-270000" defTabSz="179388">
                <a:lnSpc>
                  <a:spcPct val="120000"/>
                </a:lnSpc>
                <a:spcBef>
                  <a:spcPts val="0"/>
                </a:spcBef>
                <a:spcAft>
                  <a:spcPts val="900"/>
                </a:spcAft>
                <a:buClr>
                  <a:srgbClr val="ED1A3B"/>
                </a:buClr>
                <a:buSzPct val="80000"/>
                <a:buFont typeface="Wingdings 3" panose="05040102010807070707" pitchFamily="18" charset="2"/>
                <a:buChar char=""/>
                <a:defRPr/>
              </a:pPr>
              <a:r>
                <a:rPr lang="nl-NL" sz="1200" dirty="0" err="1">
                  <a:solidFill>
                    <a:srgbClr val="535353"/>
                  </a:solidFill>
                </a:rPr>
                <a:t>Bullets</a:t>
              </a:r>
              <a:r>
                <a:rPr lang="nl-NL" sz="1200" dirty="0">
                  <a:solidFill>
                    <a:srgbClr val="535353"/>
                  </a:solidFill>
                </a:rPr>
                <a:t> (16 </a:t>
              </a:r>
              <a:r>
                <a:rPr lang="nl-NL" sz="1200" dirty="0" err="1">
                  <a:solidFill>
                    <a:srgbClr val="535353"/>
                  </a:solidFill>
                </a:rPr>
                <a:t>pt</a:t>
              </a:r>
              <a:r>
                <a:rPr lang="nl-NL" sz="1200" dirty="0">
                  <a:solidFill>
                    <a:srgbClr val="535353"/>
                  </a:solidFill>
                </a:rPr>
                <a:t>.)</a:t>
              </a:r>
            </a:p>
          </p:txBody>
        </p:sp>
        <p:sp>
          <p:nvSpPr>
            <p:cNvPr id="51" name="Textfield placeholder"/>
            <p:cNvSpPr txBox="1">
              <a:spLocks/>
            </p:cNvSpPr>
            <p:nvPr userDrawn="1"/>
          </p:nvSpPr>
          <p:spPr>
            <a:xfrm>
              <a:off x="-2571951" y="3028747"/>
              <a:ext cx="2435141"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10000" lvl="3" indent="-270000" defTabSz="179388">
                <a:lnSpc>
                  <a:spcPct val="120000"/>
                </a:lnSpc>
                <a:spcBef>
                  <a:spcPts val="0"/>
                </a:spcBef>
                <a:spcAft>
                  <a:spcPts val="900"/>
                </a:spcAft>
                <a:buClr>
                  <a:schemeClr val="accent2"/>
                </a:buClr>
                <a:buSzPct val="80000"/>
                <a:buFont typeface="Wingdings 3" panose="05040102010807070707" pitchFamily="18" charset="2"/>
                <a:buChar char=""/>
                <a:defRPr/>
              </a:pPr>
              <a:r>
                <a:rPr lang="nl-NL" sz="1200" b="0" dirty="0">
                  <a:solidFill>
                    <a:srgbClr val="404040"/>
                  </a:solidFill>
                </a:rPr>
                <a:t>Sub-sub-bullets (16 pt.)</a:t>
              </a:r>
            </a:p>
          </p:txBody>
        </p:sp>
        <p:cxnSp>
          <p:nvCxnSpPr>
            <p:cNvPr id="52" name="Rechte verbindingslijn 51"/>
            <p:cNvCxnSpPr/>
            <p:nvPr userDrawn="1"/>
          </p:nvCxnSpPr>
          <p:spPr>
            <a:xfrm>
              <a:off x="-2959100" y="274900"/>
              <a:ext cx="2674470" cy="0"/>
            </a:xfrm>
            <a:prstGeom prst="line">
              <a:avLst/>
            </a:prstGeom>
            <a:noFill/>
            <a:ln w="9525" cap="flat" cmpd="sng" algn="ctr">
              <a:solidFill>
                <a:schemeClr val="accent1"/>
              </a:solidFill>
              <a:prstDash val="solid"/>
            </a:ln>
            <a:effectLst/>
          </p:spPr>
        </p:cxnSp>
        <p:cxnSp>
          <p:nvCxnSpPr>
            <p:cNvPr id="53" name="Rechte verbindingslijn 52"/>
            <p:cNvCxnSpPr/>
            <p:nvPr userDrawn="1"/>
          </p:nvCxnSpPr>
          <p:spPr>
            <a:xfrm>
              <a:off x="-2959100" y="1841989"/>
              <a:ext cx="2661379" cy="0"/>
            </a:xfrm>
            <a:prstGeom prst="line">
              <a:avLst/>
            </a:prstGeom>
            <a:noFill/>
            <a:ln w="9525" cap="flat" cmpd="sng" algn="ctr">
              <a:solidFill>
                <a:schemeClr val="accent1"/>
              </a:solidFill>
              <a:prstDash val="solid"/>
            </a:ln>
            <a:effectLst/>
          </p:spPr>
        </p:cxnSp>
        <p:cxnSp>
          <p:nvCxnSpPr>
            <p:cNvPr id="54" name="Rechte verbindingslijn 53"/>
            <p:cNvCxnSpPr/>
            <p:nvPr userDrawn="1"/>
          </p:nvCxnSpPr>
          <p:spPr>
            <a:xfrm>
              <a:off x="-2959100" y="5249278"/>
              <a:ext cx="2661379" cy="0"/>
            </a:xfrm>
            <a:prstGeom prst="line">
              <a:avLst/>
            </a:prstGeom>
            <a:noFill/>
            <a:ln w="9525" cap="flat" cmpd="sng" algn="ctr">
              <a:solidFill>
                <a:schemeClr val="accent1"/>
              </a:solidFill>
              <a:prstDash val="solid"/>
            </a:ln>
            <a:effectLst/>
          </p:spPr>
        </p:cxnSp>
        <p:grpSp>
          <p:nvGrpSpPr>
            <p:cNvPr id="55" name="Groep 54"/>
            <p:cNvGrpSpPr/>
            <p:nvPr userDrawn="1"/>
          </p:nvGrpSpPr>
          <p:grpSpPr>
            <a:xfrm>
              <a:off x="-1948476" y="816741"/>
              <a:ext cx="409108" cy="427699"/>
              <a:chOff x="-1085063" y="758027"/>
              <a:chExt cx="633799" cy="622540"/>
            </a:xfrm>
          </p:grpSpPr>
          <p:sp>
            <p:nvSpPr>
              <p:cNvPr id="126" name="Afgeronde rechthoek 125"/>
              <p:cNvSpPr/>
              <p:nvPr userDrawn="1"/>
            </p:nvSpPr>
            <p:spPr>
              <a:xfrm>
                <a:off x="-108506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127" name="Groep 126"/>
              <p:cNvGrpSpPr/>
              <p:nvPr userDrawn="1"/>
            </p:nvGrpSpPr>
            <p:grpSpPr>
              <a:xfrm>
                <a:off x="-977739" y="864082"/>
                <a:ext cx="419168" cy="410429"/>
                <a:chOff x="6366933" y="309013"/>
                <a:chExt cx="1901295" cy="1861668"/>
              </a:xfrm>
              <a:solidFill>
                <a:srgbClr val="000000"/>
              </a:solidFill>
            </p:grpSpPr>
            <p:sp>
              <p:nvSpPr>
                <p:cNvPr id="128" name="Rechthoek 127"/>
                <p:cNvSpPr/>
                <p:nvPr userDrawn="1"/>
              </p:nvSpPr>
              <p:spPr>
                <a:xfrm>
                  <a:off x="6608189"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29" name="Rechthoek 128"/>
                <p:cNvSpPr/>
                <p:nvPr userDrawn="1"/>
              </p:nvSpPr>
              <p:spPr>
                <a:xfrm>
                  <a:off x="6608189"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30" name="Rechthoek 129"/>
                <p:cNvSpPr/>
                <p:nvPr userDrawn="1"/>
              </p:nvSpPr>
              <p:spPr>
                <a:xfrm>
                  <a:off x="6608189"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31" name="Rechthoek 130"/>
                <p:cNvSpPr/>
                <p:nvPr userDrawn="1"/>
              </p:nvSpPr>
              <p:spPr>
                <a:xfrm>
                  <a:off x="7252238"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32" name="Rechthoek 131"/>
                <p:cNvSpPr/>
                <p:nvPr userDrawn="1"/>
              </p:nvSpPr>
              <p:spPr>
                <a:xfrm>
                  <a:off x="7252238"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33" name="Rechthoek 132"/>
                <p:cNvSpPr/>
                <p:nvPr userDrawn="1"/>
              </p:nvSpPr>
              <p:spPr>
                <a:xfrm>
                  <a:off x="7252238"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34" name="Rechthoek 133"/>
                <p:cNvSpPr/>
                <p:nvPr userDrawn="1"/>
              </p:nvSpPr>
              <p:spPr>
                <a:xfrm>
                  <a:off x="7252238"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35" name="Rechthoek 134"/>
                <p:cNvSpPr/>
                <p:nvPr userDrawn="1"/>
              </p:nvSpPr>
              <p:spPr>
                <a:xfrm>
                  <a:off x="7252238"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36" name="Rechthoek 135"/>
                <p:cNvSpPr/>
                <p:nvPr userDrawn="1"/>
              </p:nvSpPr>
              <p:spPr>
                <a:xfrm>
                  <a:off x="7252238"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37" name="Rechthoek 136"/>
                <p:cNvSpPr/>
                <p:nvPr userDrawn="1"/>
              </p:nvSpPr>
              <p:spPr>
                <a:xfrm>
                  <a:off x="7252238"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38" name="Vrije vorm 137"/>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nvGrpSpPr>
            <p:cNvPr id="56" name="Groep 55"/>
            <p:cNvGrpSpPr/>
            <p:nvPr userDrawn="1"/>
          </p:nvGrpSpPr>
          <p:grpSpPr>
            <a:xfrm>
              <a:off x="-2950232" y="1207835"/>
              <a:ext cx="532929" cy="509563"/>
              <a:chOff x="-2880382" y="802341"/>
              <a:chExt cx="532929" cy="509563"/>
            </a:xfrm>
          </p:grpSpPr>
          <p:sp>
            <p:nvSpPr>
              <p:cNvPr id="89" name="Rechthoek 88"/>
              <p:cNvSpPr/>
              <p:nvPr userDrawn="1"/>
            </p:nvSpPr>
            <p:spPr>
              <a:xfrm>
                <a:off x="-2880382" y="802341"/>
                <a:ext cx="532929" cy="509563"/>
              </a:xfrm>
              <a:prstGeom prst="rect">
                <a:avLst/>
              </a:prstGeom>
              <a:solidFill>
                <a:sysClr val="window" lastClr="FFFFFF"/>
              </a:soli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pic>
            <p:nvPicPr>
              <p:cNvPr id="90"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635852" y="822181"/>
                <a:ext cx="226442" cy="208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1"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848026" y="822181"/>
                <a:ext cx="207168" cy="213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92" name="Groep 91"/>
              <p:cNvGrpSpPr/>
              <p:nvPr userDrawn="1"/>
            </p:nvGrpSpPr>
            <p:grpSpPr>
              <a:xfrm>
                <a:off x="-2802433" y="1123442"/>
                <a:ext cx="132915" cy="104889"/>
                <a:chOff x="-2796392" y="1123442"/>
                <a:chExt cx="120832" cy="104889"/>
              </a:xfrm>
            </p:grpSpPr>
            <p:sp>
              <p:nvSpPr>
                <p:cNvPr id="121" name="Rechthoek 120"/>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22" name="Rechthoek 121"/>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23" name="Rechthoek 122"/>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24" name="Rechthoek 123"/>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25" name="Rechthoek 124"/>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93" name="Groep 92"/>
              <p:cNvGrpSpPr/>
              <p:nvPr userDrawn="1"/>
            </p:nvGrpSpPr>
            <p:grpSpPr>
              <a:xfrm>
                <a:off x="-2575417" y="1123442"/>
                <a:ext cx="133930" cy="104889"/>
                <a:chOff x="-2556734" y="1123442"/>
                <a:chExt cx="147324" cy="104889"/>
              </a:xfrm>
            </p:grpSpPr>
            <p:grpSp>
              <p:nvGrpSpPr>
                <p:cNvPr id="94" name="Groep 93"/>
                <p:cNvGrpSpPr/>
                <p:nvPr userDrawn="1"/>
              </p:nvGrpSpPr>
              <p:grpSpPr>
                <a:xfrm>
                  <a:off x="-2556734" y="1123442"/>
                  <a:ext cx="68206" cy="104889"/>
                  <a:chOff x="-2796392" y="1123442"/>
                  <a:chExt cx="120832" cy="104889"/>
                </a:xfrm>
              </p:grpSpPr>
              <p:sp>
                <p:nvSpPr>
                  <p:cNvPr id="116" name="Rechthoek 115"/>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17" name="Rechthoek 116"/>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18" name="Rechthoek 117"/>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19" name="Rechthoek 118"/>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20" name="Rechthoek 119"/>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nvGrpSpPr>
                <p:cNvPr id="95" name="Groep 94"/>
                <p:cNvGrpSpPr/>
                <p:nvPr userDrawn="1"/>
              </p:nvGrpSpPr>
              <p:grpSpPr>
                <a:xfrm>
                  <a:off x="-2477616" y="1123442"/>
                  <a:ext cx="68206" cy="104889"/>
                  <a:chOff x="-2796392" y="1123442"/>
                  <a:chExt cx="120832" cy="104889"/>
                </a:xfrm>
              </p:grpSpPr>
              <p:sp>
                <p:nvSpPr>
                  <p:cNvPr id="96" name="Rechthoek 95"/>
                  <p:cNvSpPr/>
                  <p:nvPr userDrawn="1"/>
                </p:nvSpPr>
                <p:spPr>
                  <a:xfrm>
                    <a:off x="-2796392" y="1123442"/>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97" name="Rechthoek 96"/>
                  <p:cNvSpPr/>
                  <p:nvPr userDrawn="1"/>
                </p:nvSpPr>
                <p:spPr>
                  <a:xfrm>
                    <a:off x="-2796392" y="1146758"/>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13" name="Rechthoek 112"/>
                  <p:cNvSpPr/>
                  <p:nvPr userDrawn="1"/>
                </p:nvSpPr>
                <p:spPr>
                  <a:xfrm>
                    <a:off x="-2796392" y="1193390"/>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14" name="Rechthoek 113"/>
                  <p:cNvSpPr/>
                  <p:nvPr userDrawn="1"/>
                </p:nvSpPr>
                <p:spPr>
                  <a:xfrm>
                    <a:off x="-2796392" y="1216707"/>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115" name="Rechthoek 114"/>
                  <p:cNvSpPr/>
                  <p:nvPr userDrawn="1"/>
                </p:nvSpPr>
                <p:spPr>
                  <a:xfrm>
                    <a:off x="-2796392" y="1170074"/>
                    <a:ext cx="120832" cy="11624"/>
                  </a:xfrm>
                  <a:prstGeom prst="rect">
                    <a:avLst/>
                  </a:pr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grpSp>
        <p:grpSp>
          <p:nvGrpSpPr>
            <p:cNvPr id="57" name="Groep 56"/>
            <p:cNvGrpSpPr/>
            <p:nvPr userDrawn="1"/>
          </p:nvGrpSpPr>
          <p:grpSpPr>
            <a:xfrm>
              <a:off x="-1948476" y="1281164"/>
              <a:ext cx="413704" cy="427699"/>
              <a:chOff x="-1845083" y="758027"/>
              <a:chExt cx="633799" cy="622540"/>
            </a:xfrm>
          </p:grpSpPr>
          <p:sp>
            <p:nvSpPr>
              <p:cNvPr id="76" name="Afgeronde rechthoek 75"/>
              <p:cNvSpPr/>
              <p:nvPr userDrawn="1"/>
            </p:nvSpPr>
            <p:spPr>
              <a:xfrm>
                <a:off x="-1845083" y="758027"/>
                <a:ext cx="633799" cy="622540"/>
              </a:xfrm>
              <a:prstGeom prst="roundRect">
                <a:avLst>
                  <a:gd name="adj" fmla="val 10944"/>
                </a:avLst>
              </a:prstGeom>
              <a:solidFill>
                <a:srgbClr val="FFFFFF"/>
              </a:solidFill>
              <a:ln w="12700" cap="flat" cmpd="sng" algn="ctr">
                <a:solidFill>
                  <a:schemeClr val="accent1"/>
                </a:solid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nvGrpSpPr>
              <p:cNvPr id="77" name="Groep 76"/>
              <p:cNvGrpSpPr/>
              <p:nvPr userDrawn="1"/>
            </p:nvGrpSpPr>
            <p:grpSpPr>
              <a:xfrm>
                <a:off x="-1737762" y="864082"/>
                <a:ext cx="419168" cy="410429"/>
                <a:chOff x="3708400" y="309013"/>
                <a:chExt cx="1901295" cy="1861668"/>
              </a:xfrm>
              <a:solidFill>
                <a:srgbClr val="000000"/>
              </a:solidFill>
            </p:grpSpPr>
            <p:sp>
              <p:nvSpPr>
                <p:cNvPr id="78" name="Rechthoek 77"/>
                <p:cNvSpPr/>
                <p:nvPr userDrawn="1"/>
              </p:nvSpPr>
              <p:spPr>
                <a:xfrm>
                  <a:off x="3949656" y="535149"/>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79" name="Rechthoek 78"/>
                <p:cNvSpPr/>
                <p:nvPr userDrawn="1"/>
              </p:nvSpPr>
              <p:spPr>
                <a:xfrm>
                  <a:off x="3949656" y="1512611"/>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80" name="Rechthoek 79"/>
                <p:cNvSpPr/>
                <p:nvPr userDrawn="1"/>
              </p:nvSpPr>
              <p:spPr>
                <a:xfrm>
                  <a:off x="3949656" y="1780625"/>
                  <a:ext cx="45757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81" name="Rechthoek 80"/>
                <p:cNvSpPr/>
                <p:nvPr userDrawn="1"/>
              </p:nvSpPr>
              <p:spPr>
                <a:xfrm>
                  <a:off x="4593705" y="535149"/>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82" name="Rechthoek 81"/>
                <p:cNvSpPr/>
                <p:nvPr userDrawn="1"/>
              </p:nvSpPr>
              <p:spPr>
                <a:xfrm>
                  <a:off x="4593705" y="1512611"/>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83" name="Rechthoek 82"/>
                <p:cNvSpPr/>
                <p:nvPr userDrawn="1"/>
              </p:nvSpPr>
              <p:spPr>
                <a:xfrm>
                  <a:off x="4593705" y="1780625"/>
                  <a:ext cx="1777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84" name="Rechthoek 83"/>
                <p:cNvSpPr/>
                <p:nvPr userDrawn="1"/>
              </p:nvSpPr>
              <p:spPr>
                <a:xfrm>
                  <a:off x="4593705" y="854236"/>
                  <a:ext cx="1015990"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85" name="Rechthoek 84"/>
                <p:cNvSpPr/>
                <p:nvPr userDrawn="1"/>
              </p:nvSpPr>
              <p:spPr>
                <a:xfrm>
                  <a:off x="4593705" y="1191263"/>
                  <a:ext cx="606415" cy="1990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86" name="Rechthoek 85"/>
                <p:cNvSpPr/>
                <p:nvPr userDrawn="1"/>
              </p:nvSpPr>
              <p:spPr>
                <a:xfrm>
                  <a:off x="4593705" y="309013"/>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87" name="Rechthoek 86"/>
                <p:cNvSpPr/>
                <p:nvPr userDrawn="1"/>
              </p:nvSpPr>
              <p:spPr>
                <a:xfrm>
                  <a:off x="4593705" y="2021132"/>
                  <a:ext cx="88895" cy="149549"/>
                </a:xfrm>
                <a:prstGeom prst="rect">
                  <a:avLst/>
                </a:prstGeom>
                <a:grp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sp>
              <p:nvSpPr>
                <p:cNvPr id="88" name="Vrije vorm 87"/>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rgbClr val="000000"/>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srgbClr val="EF291F"/>
                    </a:solidFill>
                    <a:cs typeface="Segoe UI Light" panose="020B0502040204020203" pitchFamily="34" charset="0"/>
                  </a:endParaRPr>
                </a:p>
              </p:txBody>
            </p:sp>
          </p:grpSp>
        </p:grpSp>
        <p:cxnSp>
          <p:nvCxnSpPr>
            <p:cNvPr id="58" name="Rechte verbindingslijn 57"/>
            <p:cNvCxnSpPr/>
            <p:nvPr userDrawn="1"/>
          </p:nvCxnSpPr>
          <p:spPr>
            <a:xfrm>
              <a:off x="-2814292" y="1441193"/>
              <a:ext cx="865816" cy="53821"/>
            </a:xfrm>
            <a:prstGeom prst="line">
              <a:avLst/>
            </a:prstGeom>
            <a:noFill/>
            <a:ln w="9525" cap="flat" cmpd="sng" algn="ctr">
              <a:solidFill>
                <a:schemeClr val="accent1"/>
              </a:solidFill>
              <a:prstDash val="solid"/>
              <a:headEnd type="oval"/>
            </a:ln>
            <a:effectLst/>
          </p:spPr>
        </p:cxnSp>
        <p:cxnSp>
          <p:nvCxnSpPr>
            <p:cNvPr id="59" name="Rechte verbindingslijn 58"/>
            <p:cNvCxnSpPr/>
            <p:nvPr userDrawn="1"/>
          </p:nvCxnSpPr>
          <p:spPr>
            <a:xfrm flipV="1">
              <a:off x="-2453902" y="1030591"/>
              <a:ext cx="505426" cy="283623"/>
            </a:xfrm>
            <a:prstGeom prst="line">
              <a:avLst/>
            </a:prstGeom>
            <a:noFill/>
            <a:ln w="9525" cap="flat" cmpd="sng" algn="ctr">
              <a:solidFill>
                <a:schemeClr val="accent1"/>
              </a:solidFill>
              <a:prstDash val="solid"/>
              <a:headEnd type="oval"/>
            </a:ln>
            <a:effectLst/>
          </p:spPr>
        </p:cxnSp>
        <p:sp>
          <p:nvSpPr>
            <p:cNvPr id="60" name="Textfield placeholder"/>
            <p:cNvSpPr txBox="1">
              <a:spLocks/>
            </p:cNvSpPr>
            <p:nvPr userDrawn="1"/>
          </p:nvSpPr>
          <p:spPr>
            <a:xfrm>
              <a:off x="-1341598" y="816743"/>
              <a:ext cx="1056968" cy="427698"/>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hoog</a:t>
              </a:r>
            </a:p>
          </p:txBody>
        </p:sp>
        <p:sp>
          <p:nvSpPr>
            <p:cNvPr id="61" name="Textfield placeholder"/>
            <p:cNvSpPr txBox="1">
              <a:spLocks/>
            </p:cNvSpPr>
            <p:nvPr userDrawn="1"/>
          </p:nvSpPr>
          <p:spPr>
            <a:xfrm>
              <a:off x="-1341599" y="1281164"/>
              <a:ext cx="1070223" cy="427699"/>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nl-NL" sz="1200" dirty="0">
                  <a:solidFill>
                    <a:srgbClr val="000000"/>
                  </a:solidFill>
                  <a:latin typeface="Segoe UI Light"/>
                  <a:cs typeface="Segoe UI Light" panose="020B0502040204020203" pitchFamily="34" charset="0"/>
                </a:rPr>
                <a:t>Niveau omlaag</a:t>
              </a:r>
            </a:p>
          </p:txBody>
        </p:sp>
        <p:sp>
          <p:nvSpPr>
            <p:cNvPr id="62" name="Ovaal 61"/>
            <p:cNvSpPr/>
            <p:nvPr userDrawn="1"/>
          </p:nvSpPr>
          <p:spPr>
            <a:xfrm>
              <a:off x="-2959433" y="338208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5</a:t>
              </a:r>
            </a:p>
          </p:txBody>
        </p:sp>
        <p:sp>
          <p:nvSpPr>
            <p:cNvPr id="63" name="Textfield placeholder"/>
            <p:cNvSpPr txBox="1">
              <a:spLocks/>
            </p:cNvSpPr>
            <p:nvPr userDrawn="1"/>
          </p:nvSpPr>
          <p:spPr>
            <a:xfrm>
              <a:off x="-2571950" y="3382082"/>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60000" lvl="4" indent="-360000" defTabSz="179388">
                <a:lnSpc>
                  <a:spcPct val="120000"/>
                </a:lnSpc>
                <a:spcBef>
                  <a:spcPts val="0"/>
                </a:spcBef>
                <a:spcAft>
                  <a:spcPts val="900"/>
                </a:spcAft>
                <a:buClr>
                  <a:srgbClr val="ED1A3B"/>
                </a:buClr>
                <a:buFont typeface="+mj-lt"/>
                <a:buAutoNum type="arabicPeriod"/>
                <a:defRPr/>
              </a:pPr>
              <a:r>
                <a:rPr lang="nl-NL" sz="1200" b="0" dirty="0">
                  <a:solidFill>
                    <a:srgbClr val="404040"/>
                  </a:solidFill>
                </a:rPr>
                <a:t>Numeriek (16 pt.)</a:t>
              </a:r>
            </a:p>
          </p:txBody>
        </p:sp>
        <p:grpSp>
          <p:nvGrpSpPr>
            <p:cNvPr id="64" name="Groep 63"/>
            <p:cNvGrpSpPr/>
            <p:nvPr userDrawn="1"/>
          </p:nvGrpSpPr>
          <p:grpSpPr>
            <a:xfrm>
              <a:off x="-2950232" y="816050"/>
              <a:ext cx="528695" cy="344202"/>
              <a:chOff x="-2880382" y="410556"/>
              <a:chExt cx="528695" cy="344202"/>
            </a:xfrm>
          </p:grpSpPr>
          <p:sp>
            <p:nvSpPr>
              <p:cNvPr id="74" name="Afgeronde rechthoek 73"/>
              <p:cNvSpPr/>
              <p:nvPr userDrawn="1"/>
            </p:nvSpPr>
            <p:spPr>
              <a:xfrm>
                <a:off x="-2874214" y="410556"/>
                <a:ext cx="522527" cy="339183"/>
              </a:xfrm>
              <a:prstGeom prst="roundRect">
                <a:avLst>
                  <a:gd name="adj" fmla="val 7565"/>
                </a:avLst>
              </a:prstGeom>
              <a:gradFill>
                <a:gsLst>
                  <a:gs pos="0">
                    <a:srgbClr val="FFEC8F"/>
                  </a:gs>
                  <a:gs pos="100000">
                    <a:srgbClr val="FFFFFF"/>
                  </a:gs>
                </a:gsLst>
                <a:lin ang="5400000" scaled="0"/>
              </a:gradFill>
              <a:ln w="12700" cap="flat" cmpd="sng" algn="ctr">
                <a:noFill/>
                <a:prstDash val="solid"/>
                <a:miter lim="800000"/>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nl-NL" kern="0" dirty="0">
                  <a:solidFill>
                    <a:prstClr val="white"/>
                  </a:solidFill>
                  <a:latin typeface="Segoe UI Light"/>
                </a:endParaRPr>
              </a:p>
            </p:txBody>
          </p:sp>
          <p:sp>
            <p:nvSpPr>
              <p:cNvPr id="75" name="Vrije vorm 74"/>
              <p:cNvSpPr/>
              <p:nvPr userDrawn="1"/>
            </p:nvSpPr>
            <p:spPr>
              <a:xfrm>
                <a:off x="-2880382" y="452699"/>
                <a:ext cx="528695" cy="302059"/>
              </a:xfrm>
              <a:custGeom>
                <a:avLst/>
                <a:gdLst>
                  <a:gd name="connsiteX0" fmla="*/ 55524 w 528695"/>
                  <a:gd name="connsiteY0" fmla="*/ 0 h 302059"/>
                  <a:gd name="connsiteX1" fmla="*/ 455496 w 528695"/>
                  <a:gd name="connsiteY1" fmla="*/ 0 h 302059"/>
                  <a:gd name="connsiteX2" fmla="*/ 475205 w 528695"/>
                  <a:gd name="connsiteY2" fmla="*/ 19709 h 302059"/>
                  <a:gd name="connsiteX3" fmla="*/ 475205 w 528695"/>
                  <a:gd name="connsiteY3" fmla="*/ 230056 h 302059"/>
                  <a:gd name="connsiteX4" fmla="*/ 516694 w 528695"/>
                  <a:gd name="connsiteY4" fmla="*/ 230056 h 302059"/>
                  <a:gd name="connsiteX5" fmla="*/ 528695 w 528695"/>
                  <a:gd name="connsiteY5" fmla="*/ 242057 h 302059"/>
                  <a:gd name="connsiteX6" fmla="*/ 528695 w 528695"/>
                  <a:gd name="connsiteY6" fmla="*/ 290058 h 302059"/>
                  <a:gd name="connsiteX7" fmla="*/ 516694 w 528695"/>
                  <a:gd name="connsiteY7" fmla="*/ 302059 h 302059"/>
                  <a:gd name="connsiteX8" fmla="*/ 12001 w 528695"/>
                  <a:gd name="connsiteY8" fmla="*/ 302059 h 302059"/>
                  <a:gd name="connsiteX9" fmla="*/ 0 w 528695"/>
                  <a:gd name="connsiteY9" fmla="*/ 290058 h 302059"/>
                  <a:gd name="connsiteX10" fmla="*/ 0 w 528695"/>
                  <a:gd name="connsiteY10" fmla="*/ 242057 h 302059"/>
                  <a:gd name="connsiteX11" fmla="*/ 12001 w 528695"/>
                  <a:gd name="connsiteY11" fmla="*/ 230056 h 302059"/>
                  <a:gd name="connsiteX12" fmla="*/ 35815 w 528695"/>
                  <a:gd name="connsiteY12" fmla="*/ 230056 h 302059"/>
                  <a:gd name="connsiteX13" fmla="*/ 35815 w 528695"/>
                  <a:gd name="connsiteY13" fmla="*/ 19709 h 302059"/>
                  <a:gd name="connsiteX14" fmla="*/ 55524 w 528695"/>
                  <a:gd name="connsiteY14" fmla="*/ 0 h 3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8695" h="302059">
                    <a:moveTo>
                      <a:pt x="55524" y="0"/>
                    </a:moveTo>
                    <a:lnTo>
                      <a:pt x="455496" y="0"/>
                    </a:lnTo>
                    <a:cubicBezTo>
                      <a:pt x="466381" y="0"/>
                      <a:pt x="475205" y="8824"/>
                      <a:pt x="475205" y="19709"/>
                    </a:cubicBezTo>
                    <a:lnTo>
                      <a:pt x="475205" y="230056"/>
                    </a:lnTo>
                    <a:lnTo>
                      <a:pt x="516694" y="230056"/>
                    </a:lnTo>
                    <a:cubicBezTo>
                      <a:pt x="523322" y="230056"/>
                      <a:pt x="528695" y="235429"/>
                      <a:pt x="528695" y="242057"/>
                    </a:cubicBezTo>
                    <a:lnTo>
                      <a:pt x="528695" y="290058"/>
                    </a:lnTo>
                    <a:cubicBezTo>
                      <a:pt x="528695" y="296686"/>
                      <a:pt x="523322" y="302059"/>
                      <a:pt x="516694" y="302059"/>
                    </a:cubicBezTo>
                    <a:lnTo>
                      <a:pt x="12001" y="302059"/>
                    </a:lnTo>
                    <a:cubicBezTo>
                      <a:pt x="5373" y="302059"/>
                      <a:pt x="0" y="296686"/>
                      <a:pt x="0" y="290058"/>
                    </a:cubicBezTo>
                    <a:lnTo>
                      <a:pt x="0" y="242057"/>
                    </a:lnTo>
                    <a:cubicBezTo>
                      <a:pt x="0" y="235429"/>
                      <a:pt x="5373" y="230056"/>
                      <a:pt x="12001" y="230056"/>
                    </a:cubicBezTo>
                    <a:lnTo>
                      <a:pt x="35815" y="230056"/>
                    </a:lnTo>
                    <a:lnTo>
                      <a:pt x="35815" y="19709"/>
                    </a:lnTo>
                    <a:cubicBezTo>
                      <a:pt x="35815" y="8824"/>
                      <a:pt x="44639" y="0"/>
                      <a:pt x="55524" y="0"/>
                    </a:cubicBezTo>
                    <a:close/>
                  </a:path>
                </a:pathLst>
              </a:custGeom>
              <a:solidFill>
                <a:sysClr val="window" lastClr="FFFFFF">
                  <a:lumMod val="95000"/>
                </a:sysClr>
              </a:solidFill>
              <a:ln w="9525" cap="flat" cmpd="sng" algn="ctr">
                <a:solidFill>
                  <a:srgbClr val="FFFFFF">
                    <a:lumMod val="90000"/>
                  </a:srgbClr>
                </a:solidFill>
                <a:prstDash val="solid"/>
                <a:miter lim="800000"/>
              </a:ln>
              <a:effectLst/>
            </p:spPr>
            <p:txBody>
              <a:bodyPr rot="0" spcFirstLastPara="0" vert="horz" wrap="square" lIns="108000" tIns="36000" rIns="108000" bIns="10800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900" dirty="0">
                    <a:solidFill>
                      <a:prstClr val="black"/>
                    </a:solidFill>
                    <a:latin typeface="Segoe UI Light"/>
                  </a:rPr>
                  <a:t>Start</a:t>
                </a:r>
              </a:p>
            </p:txBody>
          </p:sp>
        </p:grpSp>
        <p:sp>
          <p:nvSpPr>
            <p:cNvPr id="65" name="Tekstvak 65"/>
            <p:cNvSpPr txBox="1"/>
            <p:nvPr userDrawn="1"/>
          </p:nvSpPr>
          <p:spPr>
            <a:xfrm>
              <a:off x="-2959433" y="372104"/>
              <a:ext cx="2679887" cy="453396"/>
            </a:xfrm>
            <a:prstGeom prst="rect">
              <a:avLst/>
            </a:prstGeom>
            <a:noFill/>
          </p:spPr>
          <p:txBody>
            <a:bodyPr wrap="square" lIns="0" tIns="0" rIns="0" bIns="0" rtlCol="0" anchor="t">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nl-NL" sz="1200" kern="0" dirty="0">
                  <a:solidFill>
                    <a:srgbClr val="000000"/>
                  </a:solidFill>
                  <a:latin typeface="Segoe UI Light" panose="020B0502040204020203" pitchFamily="34" charset="0"/>
                  <a:cs typeface="Segoe UI Light" panose="020B0502040204020203" pitchFamily="34" charset="0"/>
                </a:rPr>
                <a:t>Ga naar de tab </a:t>
              </a:r>
              <a:r>
                <a:rPr lang="nl-NL" sz="1200" b="1" kern="0" dirty="0">
                  <a:solidFill>
                    <a:srgbClr val="000000"/>
                  </a:solidFill>
                  <a:latin typeface="Segoe UI Light" panose="020B0502040204020203" pitchFamily="34" charset="0"/>
                  <a:cs typeface="Segoe UI Light" panose="020B0502040204020203" pitchFamily="34" charset="0"/>
                </a:rPr>
                <a:t>Start’ </a:t>
              </a:r>
              <a:r>
                <a:rPr lang="nl-NL" sz="1200" kern="0" dirty="0">
                  <a:solidFill>
                    <a:srgbClr val="000000"/>
                  </a:solidFill>
                  <a:latin typeface="Segoe UI Light" panose="020B0502040204020203" pitchFamily="34" charset="0"/>
                  <a:cs typeface="Segoe UI Light" panose="020B0502040204020203" pitchFamily="34" charset="0"/>
                </a:rPr>
                <a:t>en vind onderstaande knoppen onder </a:t>
              </a:r>
              <a:r>
                <a:rPr lang="nl-NL" sz="1200" b="1" kern="0" dirty="0">
                  <a:solidFill>
                    <a:srgbClr val="000000"/>
                  </a:solidFill>
                  <a:latin typeface="Segoe UI Light" panose="020B0502040204020203" pitchFamily="34" charset="0"/>
                  <a:cs typeface="Segoe UI Light" panose="020B0502040204020203" pitchFamily="34" charset="0"/>
                </a:rPr>
                <a:t>‘Alinea’</a:t>
              </a:r>
            </a:p>
          </p:txBody>
        </p:sp>
        <p:sp>
          <p:nvSpPr>
            <p:cNvPr id="66" name="Ovaal 65"/>
            <p:cNvSpPr/>
            <p:nvPr userDrawn="1"/>
          </p:nvSpPr>
          <p:spPr>
            <a:xfrm>
              <a:off x="-2959433" y="375153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6</a:t>
              </a:r>
            </a:p>
          </p:txBody>
        </p:sp>
        <p:sp>
          <p:nvSpPr>
            <p:cNvPr id="67" name="Textfield placeholder"/>
            <p:cNvSpPr txBox="1">
              <a:spLocks/>
            </p:cNvSpPr>
            <p:nvPr userDrawn="1"/>
          </p:nvSpPr>
          <p:spPr>
            <a:xfrm>
              <a:off x="-2571950" y="3751536"/>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0000" lvl="5" indent="-270000" defTabSz="179388">
                <a:lnSpc>
                  <a:spcPct val="120000"/>
                </a:lnSpc>
                <a:spcAft>
                  <a:spcPts val="900"/>
                </a:spcAft>
                <a:buClr>
                  <a:srgbClr val="ED1A3B"/>
                </a:buClr>
                <a:buSzPct val="80000"/>
                <a:buFont typeface="Wingdings 3" panose="05040102010807070707" pitchFamily="18" charset="2"/>
                <a:buChar char=""/>
                <a:defRPr/>
              </a:pPr>
              <a:r>
                <a:rPr lang="nl-NL" sz="1200" cap="none" dirty="0">
                  <a:solidFill>
                    <a:srgbClr val="535353"/>
                  </a:solidFill>
                </a:rPr>
                <a:t># Bullets (16 pt.)</a:t>
              </a:r>
            </a:p>
          </p:txBody>
        </p:sp>
        <p:sp>
          <p:nvSpPr>
            <p:cNvPr id="68" name="Ovaal 67"/>
            <p:cNvSpPr/>
            <p:nvPr userDrawn="1"/>
          </p:nvSpPr>
          <p:spPr>
            <a:xfrm>
              <a:off x="-2959433" y="414870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7</a:t>
              </a:r>
            </a:p>
          </p:txBody>
        </p:sp>
        <p:sp>
          <p:nvSpPr>
            <p:cNvPr id="69" name="Textfield placeholder"/>
            <p:cNvSpPr txBox="1">
              <a:spLocks/>
            </p:cNvSpPr>
            <p:nvPr userDrawn="1"/>
          </p:nvSpPr>
          <p:spPr>
            <a:xfrm>
              <a:off x="-2571950" y="414870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6" indent="0" defTabSz="179388">
                <a:lnSpc>
                  <a:spcPct val="120000"/>
                </a:lnSpc>
                <a:spcBef>
                  <a:spcPts val="0"/>
                </a:spcBef>
                <a:spcAft>
                  <a:spcPts val="900"/>
                </a:spcAft>
                <a:buClr>
                  <a:srgbClr val="ED1A3B"/>
                </a:buClr>
                <a:buSzPct val="90000"/>
                <a:buFont typeface="+mj-lt"/>
                <a:buNone/>
                <a:defRPr/>
              </a:pPr>
              <a:r>
                <a:rPr lang="nl-NL" sz="1200" i="1" dirty="0">
                  <a:solidFill>
                    <a:srgbClr val="404040"/>
                  </a:solidFill>
                </a:rPr>
                <a:t>Cursief donker (16 pt.)</a:t>
              </a:r>
            </a:p>
          </p:txBody>
        </p:sp>
        <p:sp>
          <p:nvSpPr>
            <p:cNvPr id="70" name="Ovaal 69"/>
            <p:cNvSpPr/>
            <p:nvPr userDrawn="1"/>
          </p:nvSpPr>
          <p:spPr>
            <a:xfrm>
              <a:off x="-2959433" y="454586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8</a:t>
              </a:r>
            </a:p>
          </p:txBody>
        </p:sp>
        <p:sp>
          <p:nvSpPr>
            <p:cNvPr id="71" name="Textfield placeholder"/>
            <p:cNvSpPr txBox="1">
              <a:spLocks/>
            </p:cNvSpPr>
            <p:nvPr userDrawn="1"/>
          </p:nvSpPr>
          <p:spPr>
            <a:xfrm>
              <a:off x="-2571950" y="4545864"/>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7" indent="0" defTabSz="179388">
                <a:lnSpc>
                  <a:spcPct val="80000"/>
                </a:lnSpc>
                <a:spcBef>
                  <a:spcPts val="0"/>
                </a:spcBef>
                <a:spcAft>
                  <a:spcPts val="900"/>
                </a:spcAft>
                <a:buClr>
                  <a:srgbClr val="ED1A3B"/>
                </a:buClr>
                <a:buFont typeface="Arial" pitchFamily="34" charset="0"/>
                <a:buNone/>
                <a:defRPr/>
              </a:pPr>
              <a:r>
                <a:rPr lang="nl-NL" sz="1200" i="1" dirty="0">
                  <a:solidFill>
                    <a:srgbClr val="A3B0C0"/>
                  </a:solidFill>
                </a:rPr>
                <a:t>Cursief Licht (16 pt.)</a:t>
              </a:r>
            </a:p>
          </p:txBody>
        </p:sp>
        <p:sp>
          <p:nvSpPr>
            <p:cNvPr id="72" name="Ovaal 71"/>
            <p:cNvSpPr/>
            <p:nvPr userDrawn="1"/>
          </p:nvSpPr>
          <p:spPr>
            <a:xfrm>
              <a:off x="-2959433" y="488761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nl-NL" sz="1050" kern="0" dirty="0">
                  <a:solidFill>
                    <a:prstClr val="white"/>
                  </a:solidFill>
                  <a:cs typeface="Segoe UI Light" panose="020B0502040204020203" pitchFamily="34" charset="0"/>
                </a:rPr>
                <a:t>9</a:t>
              </a:r>
            </a:p>
          </p:txBody>
        </p:sp>
        <p:sp>
          <p:nvSpPr>
            <p:cNvPr id="73" name="Textfield placeholder"/>
            <p:cNvSpPr txBox="1">
              <a:spLocks/>
            </p:cNvSpPr>
            <p:nvPr userDrawn="1"/>
          </p:nvSpPr>
          <p:spPr>
            <a:xfrm>
              <a:off x="-2571950" y="4887610"/>
              <a:ext cx="2163709" cy="259683"/>
            </a:xfrm>
            <a:prstGeom prst="rect">
              <a:avLst/>
            </a:prstGeom>
          </p:spPr>
          <p:txBody>
            <a:bodyPr vert="horz" lIns="0" tIns="0" rIns="0" bIns="0" rtlCol="0" anchor="ctr">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8" indent="0" defTabSz="179388">
                <a:lnSpc>
                  <a:spcPct val="80000"/>
                </a:lnSpc>
                <a:spcBef>
                  <a:spcPts val="0"/>
                </a:spcBef>
                <a:spcAft>
                  <a:spcPts val="900"/>
                </a:spcAft>
                <a:buClr>
                  <a:srgbClr val="ED1A3B"/>
                </a:buClr>
                <a:buFont typeface="Arial" pitchFamily="34" charset="0"/>
                <a:buNone/>
                <a:defRPr/>
              </a:pPr>
              <a:r>
                <a:rPr lang="nl-NL" sz="1400" b="1" dirty="0">
                  <a:solidFill>
                    <a:srgbClr val="ED1A3B"/>
                  </a:solidFill>
                </a:rPr>
                <a:t>Subtitel (18 pt.)</a:t>
              </a:r>
            </a:p>
          </p:txBody>
        </p:sp>
      </p:grpSp>
      <p:sp>
        <p:nvSpPr>
          <p:cNvPr id="140" name="Hyperlink - Inhoudsopgave">
            <a:hlinkClick r:id="rId5" action="ppaction://hlinksldjump"/>
          </p:cNvPr>
          <p:cNvSpPr/>
          <p:nvPr userDrawn="1"/>
        </p:nvSpPr>
        <p:spPr>
          <a:xfrm>
            <a:off x="10197856" y="5889801"/>
            <a:ext cx="2000494" cy="968199"/>
          </a:xfrm>
          <a:prstGeom prst="rect">
            <a:avLst/>
          </a:prstGeom>
          <a:solidFill>
            <a:srgbClr val="ED1A3B">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cxnSp>
        <p:nvCxnSpPr>
          <p:cNvPr id="19" name="Grijze lijn - onder"/>
          <p:cNvCxnSpPr/>
          <p:nvPr/>
        </p:nvCxnSpPr>
        <p:spPr>
          <a:xfrm flipH="1">
            <a:off x="664804" y="5776291"/>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 name="Grijze lijn - boven"/>
          <p:cNvCxnSpPr/>
          <p:nvPr/>
        </p:nvCxnSpPr>
        <p:spPr>
          <a:xfrm flipH="1">
            <a:off x="664804" y="1358670"/>
            <a:ext cx="10871230"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3" name="Tijdelijke aanduiding voor Dianummer"/>
          <p:cNvSpPr>
            <a:spLocks noGrp="1"/>
          </p:cNvSpPr>
          <p:nvPr>
            <p:ph type="sldNum" sz="quarter" idx="4"/>
          </p:nvPr>
        </p:nvSpPr>
        <p:spPr>
          <a:xfrm>
            <a:off x="5770549" y="6295992"/>
            <a:ext cx="657251" cy="365125"/>
          </a:xfrm>
          <a:prstGeom prst="rect">
            <a:avLst/>
          </a:prstGeom>
        </p:spPr>
        <p:txBody>
          <a:bodyPr vert="horz" lIns="91440" tIns="45720" rIns="91440" bIns="45720" rtlCol="0" anchor="ctr"/>
          <a:lstStyle>
            <a:lvl1pPr algn="ctr">
              <a:defRPr sz="800">
                <a:solidFill>
                  <a:schemeClr val="tx1">
                    <a:tint val="75000"/>
                  </a:schemeClr>
                </a:solidFill>
              </a:defRPr>
            </a:lvl1pPr>
          </a:lstStyle>
          <a:p>
            <a:fld id="{1B3FA67A-C720-417A-A072-0CD211FD8662}" type="slidenum">
              <a:rPr lang="nl-NL" smtClean="0">
                <a:solidFill>
                  <a:srgbClr val="000000">
                    <a:tint val="75000"/>
                  </a:srgbClr>
                </a:solidFill>
              </a:rPr>
              <a:pPr/>
              <a:t>‹nr.›</a:t>
            </a:fld>
            <a:endParaRPr lang="nl-NL" dirty="0">
              <a:solidFill>
                <a:srgbClr val="000000">
                  <a:tint val="75000"/>
                </a:srgbClr>
              </a:solidFill>
            </a:endParaRPr>
          </a:p>
        </p:txBody>
      </p:sp>
      <p:sp>
        <p:nvSpPr>
          <p:cNvPr id="7" name="Tijdelijke aanduiding voor Afbeelding"/>
          <p:cNvSpPr>
            <a:spLocks noGrp="1"/>
          </p:cNvSpPr>
          <p:nvPr>
            <p:ph type="pic" idx="13"/>
          </p:nvPr>
        </p:nvSpPr>
        <p:spPr>
          <a:xfrm>
            <a:off x="664804" y="1377951"/>
            <a:ext cx="10871230" cy="4381200"/>
          </a:xfrm>
          <a:solidFill>
            <a:schemeClr val="accent5">
              <a:lumMod val="20000"/>
              <a:lumOff val="80000"/>
            </a:schemeClr>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p>
        </p:txBody>
      </p:sp>
      <p:sp>
        <p:nvSpPr>
          <p:cNvPr id="12" name="Tijdelijke aanduiding voor Subtitel"/>
          <p:cNvSpPr>
            <a:spLocks noGrp="1"/>
          </p:cNvSpPr>
          <p:nvPr>
            <p:ph type="body" idx="14"/>
          </p:nvPr>
        </p:nvSpPr>
        <p:spPr>
          <a:xfrm>
            <a:off x="664109" y="1001348"/>
            <a:ext cx="10870131" cy="317758"/>
          </a:xfrm>
        </p:spPr>
        <p:txBody>
          <a:bodyPr bIns="72000" anchor="t" anchorCtr="0"/>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16" name="Tijdelijke aanduiding voor Titel"/>
          <p:cNvSpPr>
            <a:spLocks noGrp="1"/>
          </p:cNvSpPr>
          <p:nvPr>
            <p:ph type="title"/>
          </p:nvPr>
        </p:nvSpPr>
        <p:spPr>
          <a:xfrm>
            <a:off x="664109" y="464521"/>
            <a:ext cx="10870131" cy="533219"/>
          </a:xfrm>
        </p:spPr>
        <p:txBody>
          <a:bodyPr/>
          <a:lstStyle/>
          <a:p>
            <a:r>
              <a:rPr lang="nl-NL"/>
              <a:t>Klik om stijl te bewerken</a:t>
            </a:r>
            <a:endParaRPr lang="nl-NL" dirty="0"/>
          </a:p>
        </p:txBody>
      </p:sp>
    </p:spTree>
    <p:extLst>
      <p:ext uri="{BB962C8B-B14F-4D97-AF65-F5344CB8AC3E}">
        <p14:creationId xmlns:p14="http://schemas.microsoft.com/office/powerpoint/2010/main" val="1519244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 Target="../slides/slid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2" name="Locator - onder"/>
          <p:cNvSpPr/>
          <p:nvPr userDrawn="1"/>
        </p:nvSpPr>
        <p:spPr>
          <a:xfrm rot="16200000" flipH="1">
            <a:off x="654860" y="6418842"/>
            <a:ext cx="670664" cy="207652"/>
          </a:xfrm>
          <a:custGeom>
            <a:avLst/>
            <a:gdLst>
              <a:gd name="connsiteX0" fmla="*/ 0 w 670664"/>
              <a:gd name="connsiteY0" fmla="*/ 207598 h 207598"/>
              <a:gd name="connsiteX1" fmla="*/ 670664 w 670664"/>
              <a:gd name="connsiteY1" fmla="*/ 207598 h 207598"/>
              <a:gd name="connsiteX2" fmla="*/ 670664 w 670664"/>
              <a:gd name="connsiteY2" fmla="*/ 0 h 207598"/>
              <a:gd name="connsiteX3" fmla="*/ 142329 w 670664"/>
              <a:gd name="connsiteY3" fmla="*/ 0 h 207598"/>
            </a:gdLst>
            <a:ahLst/>
            <a:cxnLst>
              <a:cxn ang="0">
                <a:pos x="connsiteX0" y="connsiteY0"/>
              </a:cxn>
              <a:cxn ang="0">
                <a:pos x="connsiteX1" y="connsiteY1"/>
              </a:cxn>
              <a:cxn ang="0">
                <a:pos x="connsiteX2" y="connsiteY2"/>
              </a:cxn>
              <a:cxn ang="0">
                <a:pos x="connsiteX3" y="connsiteY3"/>
              </a:cxn>
            </a:cxnLst>
            <a:rect l="l" t="t" r="r" b="b"/>
            <a:pathLst>
              <a:path w="670664" h="207598">
                <a:moveTo>
                  <a:pt x="0" y="207598"/>
                </a:moveTo>
                <a:lnTo>
                  <a:pt x="670664" y="207598"/>
                </a:lnTo>
                <a:lnTo>
                  <a:pt x="670664" y="0"/>
                </a:lnTo>
                <a:lnTo>
                  <a:pt x="142329" y="0"/>
                </a:lnTo>
                <a:close/>
              </a:path>
            </a:pathLst>
          </a:custGeom>
          <a:solidFill>
            <a:srgbClr val="EE1A3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112"/>
            <a:endParaRPr lang="nl-NL">
              <a:solidFill>
                <a:srgbClr val="FFFFFF"/>
              </a:solidFill>
            </a:endParaRPr>
          </a:p>
        </p:txBody>
      </p:sp>
      <p:sp>
        <p:nvSpPr>
          <p:cNvPr id="34" name="Locator - boven"/>
          <p:cNvSpPr/>
          <p:nvPr userDrawn="1"/>
        </p:nvSpPr>
        <p:spPr>
          <a:xfrm rot="16200000" flipH="1">
            <a:off x="781670" y="104709"/>
            <a:ext cx="417070" cy="207652"/>
          </a:xfrm>
          <a:custGeom>
            <a:avLst/>
            <a:gdLst>
              <a:gd name="connsiteX0" fmla="*/ 0 w 417070"/>
              <a:gd name="connsiteY0" fmla="*/ 0 h 207598"/>
              <a:gd name="connsiteX1" fmla="*/ 0 w 417070"/>
              <a:gd name="connsiteY1" fmla="*/ 207598 h 207598"/>
              <a:gd name="connsiteX2" fmla="*/ 274741 w 417070"/>
              <a:gd name="connsiteY2" fmla="*/ 207598 h 207598"/>
              <a:gd name="connsiteX3" fmla="*/ 417070 w 417070"/>
              <a:gd name="connsiteY3" fmla="*/ 0 h 207598"/>
            </a:gdLst>
            <a:ahLst/>
            <a:cxnLst>
              <a:cxn ang="0">
                <a:pos x="connsiteX0" y="connsiteY0"/>
              </a:cxn>
              <a:cxn ang="0">
                <a:pos x="connsiteX1" y="connsiteY1"/>
              </a:cxn>
              <a:cxn ang="0">
                <a:pos x="connsiteX2" y="connsiteY2"/>
              </a:cxn>
              <a:cxn ang="0">
                <a:pos x="connsiteX3" y="connsiteY3"/>
              </a:cxn>
            </a:cxnLst>
            <a:rect l="l" t="t" r="r" b="b"/>
            <a:pathLst>
              <a:path w="417070" h="207598">
                <a:moveTo>
                  <a:pt x="0" y="0"/>
                </a:moveTo>
                <a:lnTo>
                  <a:pt x="0" y="207598"/>
                </a:lnTo>
                <a:lnTo>
                  <a:pt x="274741" y="207598"/>
                </a:lnTo>
                <a:lnTo>
                  <a:pt x="417070" y="0"/>
                </a:lnTo>
                <a:close/>
              </a:path>
            </a:pathLst>
          </a:custGeom>
          <a:solidFill>
            <a:srgbClr val="EE1A3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112"/>
            <a:endParaRPr lang="nl-NL">
              <a:solidFill>
                <a:srgbClr val="FFFFFF"/>
              </a:solidFill>
            </a:endParaRPr>
          </a:p>
        </p:txBody>
      </p:sp>
      <p:grpSp>
        <p:nvGrpSpPr>
          <p:cNvPr id="35" name="BDO-logo"/>
          <p:cNvGrpSpPr/>
          <p:nvPr userDrawn="1"/>
        </p:nvGrpSpPr>
        <p:grpSpPr>
          <a:xfrm>
            <a:off x="10757351" y="6218412"/>
            <a:ext cx="784458" cy="300228"/>
            <a:chOff x="10754551" y="6218412"/>
            <a:chExt cx="784254" cy="300228"/>
          </a:xfrm>
        </p:grpSpPr>
        <p:sp>
          <p:nvSpPr>
            <p:cNvPr id="36" name="logo BDO - element_01"/>
            <p:cNvSpPr>
              <a:spLocks noEditPoints="1"/>
            </p:cNvSpPr>
            <p:nvPr userDrawn="1"/>
          </p:nvSpPr>
          <p:spPr bwMode="auto">
            <a:xfrm>
              <a:off x="10849214" y="6220830"/>
              <a:ext cx="195200" cy="225948"/>
            </a:xfrm>
            <a:custGeom>
              <a:avLst/>
              <a:gdLst>
                <a:gd name="T0" fmla="*/ 312 w 1130"/>
                <a:gd name="T1" fmla="*/ 531 h 1308"/>
                <a:gd name="T2" fmla="*/ 551 w 1130"/>
                <a:gd name="T3" fmla="*/ 530 h 1308"/>
                <a:gd name="T4" fmla="*/ 610 w 1130"/>
                <a:gd name="T5" fmla="*/ 519 h 1308"/>
                <a:gd name="T6" fmla="*/ 668 w 1130"/>
                <a:gd name="T7" fmla="*/ 497 h 1308"/>
                <a:gd name="T8" fmla="*/ 716 w 1130"/>
                <a:gd name="T9" fmla="*/ 461 h 1308"/>
                <a:gd name="T10" fmla="*/ 749 w 1130"/>
                <a:gd name="T11" fmla="*/ 413 h 1308"/>
                <a:gd name="T12" fmla="*/ 762 w 1130"/>
                <a:gd name="T13" fmla="*/ 350 h 1308"/>
                <a:gd name="T14" fmla="*/ 753 w 1130"/>
                <a:gd name="T15" fmla="*/ 289 h 1308"/>
                <a:gd name="T16" fmla="*/ 730 w 1130"/>
                <a:gd name="T17" fmla="*/ 248 h 1308"/>
                <a:gd name="T18" fmla="*/ 695 w 1130"/>
                <a:gd name="T19" fmla="*/ 222 h 1308"/>
                <a:gd name="T20" fmla="*/ 654 w 1130"/>
                <a:gd name="T21" fmla="*/ 208 h 1308"/>
                <a:gd name="T22" fmla="*/ 611 w 1130"/>
                <a:gd name="T23" fmla="*/ 203 h 1308"/>
                <a:gd name="T24" fmla="*/ 312 w 1130"/>
                <a:gd name="T25" fmla="*/ 203 h 1308"/>
                <a:gd name="T26" fmla="*/ 720 w 1130"/>
                <a:gd name="T27" fmla="*/ 3 h 1308"/>
                <a:gd name="T28" fmla="*/ 815 w 1130"/>
                <a:gd name="T29" fmla="*/ 28 h 1308"/>
                <a:gd name="T30" fmla="*/ 899 w 1130"/>
                <a:gd name="T31" fmla="*/ 73 h 1308"/>
                <a:gd name="T32" fmla="*/ 964 w 1130"/>
                <a:gd name="T33" fmla="*/ 138 h 1308"/>
                <a:gd name="T34" fmla="*/ 1008 w 1130"/>
                <a:gd name="T35" fmla="*/ 218 h 1308"/>
                <a:gd name="T36" fmla="*/ 1024 w 1130"/>
                <a:gd name="T37" fmla="*/ 310 h 1308"/>
                <a:gd name="T38" fmla="*/ 1011 w 1130"/>
                <a:gd name="T39" fmla="*/ 400 h 1308"/>
                <a:gd name="T40" fmla="*/ 975 w 1130"/>
                <a:gd name="T41" fmla="*/ 476 h 1308"/>
                <a:gd name="T42" fmla="*/ 924 w 1130"/>
                <a:gd name="T43" fmla="*/ 534 h 1308"/>
                <a:gd name="T44" fmla="*/ 864 w 1130"/>
                <a:gd name="T45" fmla="*/ 574 h 1308"/>
                <a:gd name="T46" fmla="*/ 797 w 1130"/>
                <a:gd name="T47" fmla="*/ 594 h 1308"/>
                <a:gd name="T48" fmla="*/ 802 w 1130"/>
                <a:gd name="T49" fmla="*/ 598 h 1308"/>
                <a:gd name="T50" fmla="*/ 876 w 1130"/>
                <a:gd name="T51" fmla="*/ 609 h 1308"/>
                <a:gd name="T52" fmla="*/ 946 w 1130"/>
                <a:gd name="T53" fmla="*/ 634 h 1308"/>
                <a:gd name="T54" fmla="*/ 1011 w 1130"/>
                <a:gd name="T55" fmla="*/ 671 h 1308"/>
                <a:gd name="T56" fmla="*/ 1065 w 1130"/>
                <a:gd name="T57" fmla="*/ 723 h 1308"/>
                <a:gd name="T58" fmla="*/ 1105 w 1130"/>
                <a:gd name="T59" fmla="*/ 791 h 1308"/>
                <a:gd name="T60" fmla="*/ 1125 w 1130"/>
                <a:gd name="T61" fmla="*/ 875 h 1308"/>
                <a:gd name="T62" fmla="*/ 1125 w 1130"/>
                <a:gd name="T63" fmla="*/ 975 h 1308"/>
                <a:gd name="T64" fmla="*/ 1103 w 1130"/>
                <a:gd name="T65" fmla="*/ 1066 h 1308"/>
                <a:gd name="T66" fmla="*/ 1061 w 1130"/>
                <a:gd name="T67" fmla="*/ 1143 h 1308"/>
                <a:gd name="T68" fmla="*/ 999 w 1130"/>
                <a:gd name="T69" fmla="*/ 1203 h 1308"/>
                <a:gd name="T70" fmla="*/ 917 w 1130"/>
                <a:gd name="T71" fmla="*/ 1250 h 1308"/>
                <a:gd name="T72" fmla="*/ 822 w 1130"/>
                <a:gd name="T73" fmla="*/ 1283 h 1308"/>
                <a:gd name="T74" fmla="*/ 711 w 1130"/>
                <a:gd name="T75" fmla="*/ 1302 h 1308"/>
                <a:gd name="T76" fmla="*/ 588 w 1130"/>
                <a:gd name="T77" fmla="*/ 1308 h 1308"/>
                <a:gd name="T78" fmla="*/ 48 w 1130"/>
                <a:gd name="T79" fmla="*/ 1308 h 1308"/>
                <a:gd name="T80" fmla="*/ 507 w 1130"/>
                <a:gd name="T81" fmla="*/ 1106 h 1308"/>
                <a:gd name="T82" fmla="*/ 569 w 1130"/>
                <a:gd name="T83" fmla="*/ 1106 h 1308"/>
                <a:gd name="T84" fmla="*/ 633 w 1130"/>
                <a:gd name="T85" fmla="*/ 1104 h 1308"/>
                <a:gd name="T86" fmla="*/ 712 w 1130"/>
                <a:gd name="T87" fmla="*/ 1093 h 1308"/>
                <a:gd name="T88" fmla="*/ 775 w 1130"/>
                <a:gd name="T89" fmla="*/ 1068 h 1308"/>
                <a:gd name="T90" fmla="*/ 822 w 1130"/>
                <a:gd name="T91" fmla="*/ 1031 h 1308"/>
                <a:gd name="T92" fmla="*/ 853 w 1130"/>
                <a:gd name="T93" fmla="*/ 980 h 1308"/>
                <a:gd name="T94" fmla="*/ 862 w 1130"/>
                <a:gd name="T95" fmla="*/ 914 h 1308"/>
                <a:gd name="T96" fmla="*/ 851 w 1130"/>
                <a:gd name="T97" fmla="*/ 847 h 1308"/>
                <a:gd name="T98" fmla="*/ 818 w 1130"/>
                <a:gd name="T99" fmla="*/ 794 h 1308"/>
                <a:gd name="T100" fmla="*/ 764 w 1130"/>
                <a:gd name="T101" fmla="*/ 754 h 1308"/>
                <a:gd name="T102" fmla="*/ 687 w 1130"/>
                <a:gd name="T103" fmla="*/ 726 h 1308"/>
                <a:gd name="T104" fmla="*/ 589 w 1130"/>
                <a:gd name="T105" fmla="*/ 711 h 1308"/>
                <a:gd name="T106" fmla="*/ 471 w 1130"/>
                <a:gd name="T107" fmla="*/ 707 h 1308"/>
                <a:gd name="T108" fmla="*/ 312 w 1130"/>
                <a:gd name="T109" fmla="*/ 1029 h 1308"/>
                <a:gd name="T110" fmla="*/ 48 w 1130"/>
                <a:gd name="T111" fmla="*/ 108 h 1308"/>
                <a:gd name="T112" fmla="*/ 118 w 1130"/>
                <a:gd name="T113" fmla="*/ 0 h 1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30" h="1308">
                  <a:moveTo>
                    <a:pt x="312" y="203"/>
                  </a:moveTo>
                  <a:lnTo>
                    <a:pt x="312" y="531"/>
                  </a:lnTo>
                  <a:lnTo>
                    <a:pt x="522" y="531"/>
                  </a:lnTo>
                  <a:lnTo>
                    <a:pt x="551" y="530"/>
                  </a:lnTo>
                  <a:lnTo>
                    <a:pt x="580" y="526"/>
                  </a:lnTo>
                  <a:lnTo>
                    <a:pt x="610" y="519"/>
                  </a:lnTo>
                  <a:lnTo>
                    <a:pt x="639" y="509"/>
                  </a:lnTo>
                  <a:lnTo>
                    <a:pt x="668" y="497"/>
                  </a:lnTo>
                  <a:lnTo>
                    <a:pt x="693" y="480"/>
                  </a:lnTo>
                  <a:lnTo>
                    <a:pt x="716" y="461"/>
                  </a:lnTo>
                  <a:lnTo>
                    <a:pt x="735" y="439"/>
                  </a:lnTo>
                  <a:lnTo>
                    <a:pt x="749" y="413"/>
                  </a:lnTo>
                  <a:lnTo>
                    <a:pt x="759" y="383"/>
                  </a:lnTo>
                  <a:lnTo>
                    <a:pt x="762" y="350"/>
                  </a:lnTo>
                  <a:lnTo>
                    <a:pt x="760" y="317"/>
                  </a:lnTo>
                  <a:lnTo>
                    <a:pt x="753" y="289"/>
                  </a:lnTo>
                  <a:lnTo>
                    <a:pt x="742" y="267"/>
                  </a:lnTo>
                  <a:lnTo>
                    <a:pt x="730" y="248"/>
                  </a:lnTo>
                  <a:lnTo>
                    <a:pt x="713" y="234"/>
                  </a:lnTo>
                  <a:lnTo>
                    <a:pt x="695" y="222"/>
                  </a:lnTo>
                  <a:lnTo>
                    <a:pt x="675" y="214"/>
                  </a:lnTo>
                  <a:lnTo>
                    <a:pt x="654" y="208"/>
                  </a:lnTo>
                  <a:lnTo>
                    <a:pt x="632" y="205"/>
                  </a:lnTo>
                  <a:lnTo>
                    <a:pt x="611" y="203"/>
                  </a:lnTo>
                  <a:lnTo>
                    <a:pt x="589" y="203"/>
                  </a:lnTo>
                  <a:lnTo>
                    <a:pt x="312" y="203"/>
                  </a:lnTo>
                  <a:close/>
                  <a:moveTo>
                    <a:pt x="669" y="0"/>
                  </a:moveTo>
                  <a:lnTo>
                    <a:pt x="720" y="3"/>
                  </a:lnTo>
                  <a:lnTo>
                    <a:pt x="770" y="13"/>
                  </a:lnTo>
                  <a:lnTo>
                    <a:pt x="815" y="28"/>
                  </a:lnTo>
                  <a:lnTo>
                    <a:pt x="860" y="47"/>
                  </a:lnTo>
                  <a:lnTo>
                    <a:pt x="899" y="73"/>
                  </a:lnTo>
                  <a:lnTo>
                    <a:pt x="934" y="104"/>
                  </a:lnTo>
                  <a:lnTo>
                    <a:pt x="964" y="138"/>
                  </a:lnTo>
                  <a:lnTo>
                    <a:pt x="989" y="175"/>
                  </a:lnTo>
                  <a:lnTo>
                    <a:pt x="1008" y="218"/>
                  </a:lnTo>
                  <a:lnTo>
                    <a:pt x="1019" y="262"/>
                  </a:lnTo>
                  <a:lnTo>
                    <a:pt x="1024" y="310"/>
                  </a:lnTo>
                  <a:lnTo>
                    <a:pt x="1021" y="356"/>
                  </a:lnTo>
                  <a:lnTo>
                    <a:pt x="1011" y="400"/>
                  </a:lnTo>
                  <a:lnTo>
                    <a:pt x="996" y="440"/>
                  </a:lnTo>
                  <a:lnTo>
                    <a:pt x="975" y="476"/>
                  </a:lnTo>
                  <a:lnTo>
                    <a:pt x="952" y="506"/>
                  </a:lnTo>
                  <a:lnTo>
                    <a:pt x="924" y="534"/>
                  </a:lnTo>
                  <a:lnTo>
                    <a:pt x="895" y="556"/>
                  </a:lnTo>
                  <a:lnTo>
                    <a:pt x="864" y="574"/>
                  </a:lnTo>
                  <a:lnTo>
                    <a:pt x="831" y="586"/>
                  </a:lnTo>
                  <a:lnTo>
                    <a:pt x="797" y="594"/>
                  </a:lnTo>
                  <a:lnTo>
                    <a:pt x="764" y="597"/>
                  </a:lnTo>
                  <a:lnTo>
                    <a:pt x="802" y="598"/>
                  </a:lnTo>
                  <a:lnTo>
                    <a:pt x="839" y="602"/>
                  </a:lnTo>
                  <a:lnTo>
                    <a:pt x="876" y="609"/>
                  </a:lnTo>
                  <a:lnTo>
                    <a:pt x="912" y="620"/>
                  </a:lnTo>
                  <a:lnTo>
                    <a:pt x="946" y="634"/>
                  </a:lnTo>
                  <a:lnTo>
                    <a:pt x="979" y="651"/>
                  </a:lnTo>
                  <a:lnTo>
                    <a:pt x="1011" y="671"/>
                  </a:lnTo>
                  <a:lnTo>
                    <a:pt x="1040" y="696"/>
                  </a:lnTo>
                  <a:lnTo>
                    <a:pt x="1065" y="723"/>
                  </a:lnTo>
                  <a:lnTo>
                    <a:pt x="1087" y="755"/>
                  </a:lnTo>
                  <a:lnTo>
                    <a:pt x="1105" y="791"/>
                  </a:lnTo>
                  <a:lnTo>
                    <a:pt x="1117" y="831"/>
                  </a:lnTo>
                  <a:lnTo>
                    <a:pt x="1125" y="875"/>
                  </a:lnTo>
                  <a:lnTo>
                    <a:pt x="1130" y="923"/>
                  </a:lnTo>
                  <a:lnTo>
                    <a:pt x="1125" y="975"/>
                  </a:lnTo>
                  <a:lnTo>
                    <a:pt x="1117" y="1022"/>
                  </a:lnTo>
                  <a:lnTo>
                    <a:pt x="1103" y="1066"/>
                  </a:lnTo>
                  <a:lnTo>
                    <a:pt x="1084" y="1106"/>
                  </a:lnTo>
                  <a:lnTo>
                    <a:pt x="1061" y="1143"/>
                  </a:lnTo>
                  <a:lnTo>
                    <a:pt x="1032" y="1174"/>
                  </a:lnTo>
                  <a:lnTo>
                    <a:pt x="999" y="1203"/>
                  </a:lnTo>
                  <a:lnTo>
                    <a:pt x="960" y="1228"/>
                  </a:lnTo>
                  <a:lnTo>
                    <a:pt x="917" y="1250"/>
                  </a:lnTo>
                  <a:lnTo>
                    <a:pt x="872" y="1268"/>
                  </a:lnTo>
                  <a:lnTo>
                    <a:pt x="822" y="1283"/>
                  </a:lnTo>
                  <a:lnTo>
                    <a:pt x="769" y="1294"/>
                  </a:lnTo>
                  <a:lnTo>
                    <a:pt x="711" y="1302"/>
                  </a:lnTo>
                  <a:lnTo>
                    <a:pt x="651" y="1306"/>
                  </a:lnTo>
                  <a:lnTo>
                    <a:pt x="588" y="1308"/>
                  </a:lnTo>
                  <a:lnTo>
                    <a:pt x="48" y="1308"/>
                  </a:lnTo>
                  <a:lnTo>
                    <a:pt x="48" y="1308"/>
                  </a:lnTo>
                  <a:lnTo>
                    <a:pt x="337" y="1106"/>
                  </a:lnTo>
                  <a:lnTo>
                    <a:pt x="507" y="1106"/>
                  </a:lnTo>
                  <a:lnTo>
                    <a:pt x="540" y="1106"/>
                  </a:lnTo>
                  <a:lnTo>
                    <a:pt x="569" y="1106"/>
                  </a:lnTo>
                  <a:lnTo>
                    <a:pt x="589" y="1106"/>
                  </a:lnTo>
                  <a:lnTo>
                    <a:pt x="633" y="1104"/>
                  </a:lnTo>
                  <a:lnTo>
                    <a:pt x="675" y="1100"/>
                  </a:lnTo>
                  <a:lnTo>
                    <a:pt x="712" y="1093"/>
                  </a:lnTo>
                  <a:lnTo>
                    <a:pt x="745" y="1082"/>
                  </a:lnTo>
                  <a:lnTo>
                    <a:pt x="775" y="1068"/>
                  </a:lnTo>
                  <a:lnTo>
                    <a:pt x="800" y="1052"/>
                  </a:lnTo>
                  <a:lnTo>
                    <a:pt x="822" y="1031"/>
                  </a:lnTo>
                  <a:lnTo>
                    <a:pt x="840" y="1008"/>
                  </a:lnTo>
                  <a:lnTo>
                    <a:pt x="853" y="980"/>
                  </a:lnTo>
                  <a:lnTo>
                    <a:pt x="860" y="949"/>
                  </a:lnTo>
                  <a:lnTo>
                    <a:pt x="862" y="914"/>
                  </a:lnTo>
                  <a:lnTo>
                    <a:pt x="860" y="879"/>
                  </a:lnTo>
                  <a:lnTo>
                    <a:pt x="851" y="847"/>
                  </a:lnTo>
                  <a:lnTo>
                    <a:pt x="837" y="818"/>
                  </a:lnTo>
                  <a:lnTo>
                    <a:pt x="818" y="794"/>
                  </a:lnTo>
                  <a:lnTo>
                    <a:pt x="793" y="772"/>
                  </a:lnTo>
                  <a:lnTo>
                    <a:pt x="764" y="754"/>
                  </a:lnTo>
                  <a:lnTo>
                    <a:pt x="729" y="739"/>
                  </a:lnTo>
                  <a:lnTo>
                    <a:pt x="687" y="726"/>
                  </a:lnTo>
                  <a:lnTo>
                    <a:pt x="642" y="718"/>
                  </a:lnTo>
                  <a:lnTo>
                    <a:pt x="589" y="711"/>
                  </a:lnTo>
                  <a:lnTo>
                    <a:pt x="533" y="708"/>
                  </a:lnTo>
                  <a:lnTo>
                    <a:pt x="471" y="707"/>
                  </a:lnTo>
                  <a:lnTo>
                    <a:pt x="312" y="707"/>
                  </a:lnTo>
                  <a:lnTo>
                    <a:pt x="312" y="1029"/>
                  </a:lnTo>
                  <a:lnTo>
                    <a:pt x="48" y="1214"/>
                  </a:lnTo>
                  <a:lnTo>
                    <a:pt x="48" y="108"/>
                  </a:lnTo>
                  <a:lnTo>
                    <a:pt x="0" y="0"/>
                  </a:lnTo>
                  <a:lnTo>
                    <a:pt x="118" y="0"/>
                  </a:lnTo>
                  <a:lnTo>
                    <a:pt x="669" y="0"/>
                  </a:lnTo>
                  <a:close/>
                </a:path>
              </a:pathLst>
            </a:custGeom>
            <a:solidFill>
              <a:srgbClr val="194A95"/>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112"/>
              <a:endParaRPr lang="en-GB">
                <a:solidFill>
                  <a:srgbClr val="000000"/>
                </a:solidFill>
              </a:endParaRPr>
            </a:p>
          </p:txBody>
        </p:sp>
        <p:sp>
          <p:nvSpPr>
            <p:cNvPr id="37" name="logo BDO - element_02"/>
            <p:cNvSpPr>
              <a:spLocks/>
            </p:cNvSpPr>
            <p:nvPr userDrawn="1"/>
          </p:nvSpPr>
          <p:spPr bwMode="auto">
            <a:xfrm>
              <a:off x="11065489" y="6220830"/>
              <a:ext cx="211438" cy="225948"/>
            </a:xfrm>
            <a:custGeom>
              <a:avLst/>
              <a:gdLst>
                <a:gd name="T0" fmla="*/ 569 w 1224"/>
                <a:gd name="T1" fmla="*/ 0 h 1308"/>
                <a:gd name="T2" fmla="*/ 701 w 1224"/>
                <a:gd name="T3" fmla="*/ 11 h 1308"/>
                <a:gd name="T4" fmla="*/ 825 w 1224"/>
                <a:gd name="T5" fmla="*/ 46 h 1308"/>
                <a:gd name="T6" fmla="*/ 937 w 1224"/>
                <a:gd name="T7" fmla="*/ 101 h 1308"/>
                <a:gd name="T8" fmla="*/ 1034 w 1224"/>
                <a:gd name="T9" fmla="*/ 176 h 1308"/>
                <a:gd name="T10" fmla="*/ 1113 w 1224"/>
                <a:gd name="T11" fmla="*/ 270 h 1308"/>
                <a:gd name="T12" fmla="*/ 1173 w 1224"/>
                <a:gd name="T13" fmla="*/ 381 h 1308"/>
                <a:gd name="T14" fmla="*/ 1210 w 1224"/>
                <a:gd name="T15" fmla="*/ 510 h 1308"/>
                <a:gd name="T16" fmla="*/ 1224 w 1224"/>
                <a:gd name="T17" fmla="*/ 655 h 1308"/>
                <a:gd name="T18" fmla="*/ 1211 w 1224"/>
                <a:gd name="T19" fmla="*/ 796 h 1308"/>
                <a:gd name="T20" fmla="*/ 1178 w 1224"/>
                <a:gd name="T21" fmla="*/ 920 h 1308"/>
                <a:gd name="T22" fmla="*/ 1126 w 1224"/>
                <a:gd name="T23" fmla="*/ 1026 h 1308"/>
                <a:gd name="T24" fmla="*/ 1057 w 1224"/>
                <a:gd name="T25" fmla="*/ 1114 h 1308"/>
                <a:gd name="T26" fmla="*/ 974 w 1224"/>
                <a:gd name="T27" fmla="*/ 1185 h 1308"/>
                <a:gd name="T28" fmla="*/ 882 w 1224"/>
                <a:gd name="T29" fmla="*/ 1240 h 1308"/>
                <a:gd name="T30" fmla="*/ 781 w 1224"/>
                <a:gd name="T31" fmla="*/ 1277 h 1308"/>
                <a:gd name="T32" fmla="*/ 677 w 1224"/>
                <a:gd name="T33" fmla="*/ 1301 h 1308"/>
                <a:gd name="T34" fmla="*/ 569 w 1224"/>
                <a:gd name="T35" fmla="*/ 1308 h 1308"/>
                <a:gd name="T36" fmla="*/ 50 w 1224"/>
                <a:gd name="T37" fmla="*/ 1308 h 1308"/>
                <a:gd name="T38" fmla="*/ 495 w 1224"/>
                <a:gd name="T39" fmla="*/ 1106 h 1308"/>
                <a:gd name="T40" fmla="*/ 503 w 1224"/>
                <a:gd name="T41" fmla="*/ 1107 h 1308"/>
                <a:gd name="T42" fmla="*/ 528 w 1224"/>
                <a:gd name="T43" fmla="*/ 1107 h 1308"/>
                <a:gd name="T44" fmla="*/ 565 w 1224"/>
                <a:gd name="T45" fmla="*/ 1104 h 1308"/>
                <a:gd name="T46" fmla="*/ 612 w 1224"/>
                <a:gd name="T47" fmla="*/ 1099 h 1308"/>
                <a:gd name="T48" fmla="*/ 664 w 1224"/>
                <a:gd name="T49" fmla="*/ 1086 h 1308"/>
                <a:gd name="T50" fmla="*/ 721 w 1224"/>
                <a:gd name="T51" fmla="*/ 1066 h 1308"/>
                <a:gd name="T52" fmla="*/ 777 w 1224"/>
                <a:gd name="T53" fmla="*/ 1034 h 1308"/>
                <a:gd name="T54" fmla="*/ 830 w 1224"/>
                <a:gd name="T55" fmla="*/ 991 h 1308"/>
                <a:gd name="T56" fmla="*/ 876 w 1224"/>
                <a:gd name="T57" fmla="*/ 934 h 1308"/>
                <a:gd name="T58" fmla="*/ 914 w 1224"/>
                <a:gd name="T59" fmla="*/ 859 h 1308"/>
                <a:gd name="T60" fmla="*/ 938 w 1224"/>
                <a:gd name="T61" fmla="*/ 767 h 1308"/>
                <a:gd name="T62" fmla="*/ 948 w 1224"/>
                <a:gd name="T63" fmla="*/ 655 h 1308"/>
                <a:gd name="T64" fmla="*/ 938 w 1224"/>
                <a:gd name="T65" fmla="*/ 542 h 1308"/>
                <a:gd name="T66" fmla="*/ 911 w 1224"/>
                <a:gd name="T67" fmla="*/ 449 h 1308"/>
                <a:gd name="T68" fmla="*/ 871 w 1224"/>
                <a:gd name="T69" fmla="*/ 376 h 1308"/>
                <a:gd name="T70" fmla="*/ 820 w 1224"/>
                <a:gd name="T71" fmla="*/ 318 h 1308"/>
                <a:gd name="T72" fmla="*/ 763 w 1224"/>
                <a:gd name="T73" fmla="*/ 275 h 1308"/>
                <a:gd name="T74" fmla="*/ 704 w 1224"/>
                <a:gd name="T75" fmla="*/ 244 h 1308"/>
                <a:gd name="T76" fmla="*/ 645 w 1224"/>
                <a:gd name="T77" fmla="*/ 223 h 1308"/>
                <a:gd name="T78" fmla="*/ 590 w 1224"/>
                <a:gd name="T79" fmla="*/ 211 h 1308"/>
                <a:gd name="T80" fmla="*/ 543 w 1224"/>
                <a:gd name="T81" fmla="*/ 205 h 1308"/>
                <a:gd name="T82" fmla="*/ 507 w 1224"/>
                <a:gd name="T83" fmla="*/ 203 h 1308"/>
                <a:gd name="T84" fmla="*/ 314 w 1224"/>
                <a:gd name="T85" fmla="*/ 203 h 1308"/>
                <a:gd name="T86" fmla="*/ 50 w 1224"/>
                <a:gd name="T87" fmla="*/ 1214 h 1308"/>
                <a:gd name="T88" fmla="*/ 0 w 1224"/>
                <a:gd name="T89" fmla="*/ 0 h 1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24" h="1308">
                  <a:moveTo>
                    <a:pt x="0" y="0"/>
                  </a:moveTo>
                  <a:lnTo>
                    <a:pt x="569" y="0"/>
                  </a:lnTo>
                  <a:lnTo>
                    <a:pt x="637" y="3"/>
                  </a:lnTo>
                  <a:lnTo>
                    <a:pt x="701" y="11"/>
                  </a:lnTo>
                  <a:lnTo>
                    <a:pt x="765" y="27"/>
                  </a:lnTo>
                  <a:lnTo>
                    <a:pt x="825" y="46"/>
                  </a:lnTo>
                  <a:lnTo>
                    <a:pt x="882" y="71"/>
                  </a:lnTo>
                  <a:lnTo>
                    <a:pt x="937" y="101"/>
                  </a:lnTo>
                  <a:lnTo>
                    <a:pt x="987" y="137"/>
                  </a:lnTo>
                  <a:lnTo>
                    <a:pt x="1034" y="176"/>
                  </a:lnTo>
                  <a:lnTo>
                    <a:pt x="1075" y="220"/>
                  </a:lnTo>
                  <a:lnTo>
                    <a:pt x="1113" y="270"/>
                  </a:lnTo>
                  <a:lnTo>
                    <a:pt x="1145" y="323"/>
                  </a:lnTo>
                  <a:lnTo>
                    <a:pt x="1173" y="381"/>
                  </a:lnTo>
                  <a:lnTo>
                    <a:pt x="1195" y="444"/>
                  </a:lnTo>
                  <a:lnTo>
                    <a:pt x="1210" y="510"/>
                  </a:lnTo>
                  <a:lnTo>
                    <a:pt x="1221" y="580"/>
                  </a:lnTo>
                  <a:lnTo>
                    <a:pt x="1224" y="655"/>
                  </a:lnTo>
                  <a:lnTo>
                    <a:pt x="1221" y="728"/>
                  </a:lnTo>
                  <a:lnTo>
                    <a:pt x="1211" y="796"/>
                  </a:lnTo>
                  <a:lnTo>
                    <a:pt x="1198" y="861"/>
                  </a:lnTo>
                  <a:lnTo>
                    <a:pt x="1178" y="920"/>
                  </a:lnTo>
                  <a:lnTo>
                    <a:pt x="1155" y="975"/>
                  </a:lnTo>
                  <a:lnTo>
                    <a:pt x="1126" y="1026"/>
                  </a:lnTo>
                  <a:lnTo>
                    <a:pt x="1093" y="1073"/>
                  </a:lnTo>
                  <a:lnTo>
                    <a:pt x="1057" y="1114"/>
                  </a:lnTo>
                  <a:lnTo>
                    <a:pt x="1017" y="1152"/>
                  </a:lnTo>
                  <a:lnTo>
                    <a:pt x="974" y="1185"/>
                  </a:lnTo>
                  <a:lnTo>
                    <a:pt x="930" y="1214"/>
                  </a:lnTo>
                  <a:lnTo>
                    <a:pt x="882" y="1240"/>
                  </a:lnTo>
                  <a:lnTo>
                    <a:pt x="832" y="1261"/>
                  </a:lnTo>
                  <a:lnTo>
                    <a:pt x="781" y="1277"/>
                  </a:lnTo>
                  <a:lnTo>
                    <a:pt x="729" y="1291"/>
                  </a:lnTo>
                  <a:lnTo>
                    <a:pt x="677" y="1301"/>
                  </a:lnTo>
                  <a:lnTo>
                    <a:pt x="623" y="1306"/>
                  </a:lnTo>
                  <a:lnTo>
                    <a:pt x="569" y="1308"/>
                  </a:lnTo>
                  <a:lnTo>
                    <a:pt x="50" y="1308"/>
                  </a:lnTo>
                  <a:lnTo>
                    <a:pt x="50" y="1308"/>
                  </a:lnTo>
                  <a:lnTo>
                    <a:pt x="339" y="1106"/>
                  </a:lnTo>
                  <a:lnTo>
                    <a:pt x="495" y="1106"/>
                  </a:lnTo>
                  <a:lnTo>
                    <a:pt x="496" y="1106"/>
                  </a:lnTo>
                  <a:lnTo>
                    <a:pt x="503" y="1107"/>
                  </a:lnTo>
                  <a:lnTo>
                    <a:pt x="514" y="1107"/>
                  </a:lnTo>
                  <a:lnTo>
                    <a:pt x="528" y="1107"/>
                  </a:lnTo>
                  <a:lnTo>
                    <a:pt x="544" y="1106"/>
                  </a:lnTo>
                  <a:lnTo>
                    <a:pt x="565" y="1104"/>
                  </a:lnTo>
                  <a:lnTo>
                    <a:pt x="587" y="1103"/>
                  </a:lnTo>
                  <a:lnTo>
                    <a:pt x="612" y="1099"/>
                  </a:lnTo>
                  <a:lnTo>
                    <a:pt x="638" y="1093"/>
                  </a:lnTo>
                  <a:lnTo>
                    <a:pt x="664" y="1086"/>
                  </a:lnTo>
                  <a:lnTo>
                    <a:pt x="693" y="1077"/>
                  </a:lnTo>
                  <a:lnTo>
                    <a:pt x="721" y="1066"/>
                  </a:lnTo>
                  <a:lnTo>
                    <a:pt x="750" y="1051"/>
                  </a:lnTo>
                  <a:lnTo>
                    <a:pt x="777" y="1034"/>
                  </a:lnTo>
                  <a:lnTo>
                    <a:pt x="805" y="1015"/>
                  </a:lnTo>
                  <a:lnTo>
                    <a:pt x="830" y="991"/>
                  </a:lnTo>
                  <a:lnTo>
                    <a:pt x="854" y="964"/>
                  </a:lnTo>
                  <a:lnTo>
                    <a:pt x="876" y="934"/>
                  </a:lnTo>
                  <a:lnTo>
                    <a:pt x="897" y="898"/>
                  </a:lnTo>
                  <a:lnTo>
                    <a:pt x="914" y="859"/>
                  </a:lnTo>
                  <a:lnTo>
                    <a:pt x="929" y="816"/>
                  </a:lnTo>
                  <a:lnTo>
                    <a:pt x="938" y="767"/>
                  </a:lnTo>
                  <a:lnTo>
                    <a:pt x="945" y="714"/>
                  </a:lnTo>
                  <a:lnTo>
                    <a:pt x="948" y="655"/>
                  </a:lnTo>
                  <a:lnTo>
                    <a:pt x="945" y="596"/>
                  </a:lnTo>
                  <a:lnTo>
                    <a:pt x="938" y="542"/>
                  </a:lnTo>
                  <a:lnTo>
                    <a:pt x="926" y="493"/>
                  </a:lnTo>
                  <a:lnTo>
                    <a:pt x="911" y="449"/>
                  </a:lnTo>
                  <a:lnTo>
                    <a:pt x="893" y="410"/>
                  </a:lnTo>
                  <a:lnTo>
                    <a:pt x="871" y="376"/>
                  </a:lnTo>
                  <a:lnTo>
                    <a:pt x="846" y="344"/>
                  </a:lnTo>
                  <a:lnTo>
                    <a:pt x="820" y="318"/>
                  </a:lnTo>
                  <a:lnTo>
                    <a:pt x="792" y="295"/>
                  </a:lnTo>
                  <a:lnTo>
                    <a:pt x="763" y="275"/>
                  </a:lnTo>
                  <a:lnTo>
                    <a:pt x="734" y="258"/>
                  </a:lnTo>
                  <a:lnTo>
                    <a:pt x="704" y="244"/>
                  </a:lnTo>
                  <a:lnTo>
                    <a:pt x="674" y="233"/>
                  </a:lnTo>
                  <a:lnTo>
                    <a:pt x="645" y="223"/>
                  </a:lnTo>
                  <a:lnTo>
                    <a:pt x="616" y="216"/>
                  </a:lnTo>
                  <a:lnTo>
                    <a:pt x="590" y="211"/>
                  </a:lnTo>
                  <a:lnTo>
                    <a:pt x="565" y="207"/>
                  </a:lnTo>
                  <a:lnTo>
                    <a:pt x="543" y="205"/>
                  </a:lnTo>
                  <a:lnTo>
                    <a:pt x="524" y="204"/>
                  </a:lnTo>
                  <a:lnTo>
                    <a:pt x="507" y="203"/>
                  </a:lnTo>
                  <a:lnTo>
                    <a:pt x="495" y="203"/>
                  </a:lnTo>
                  <a:lnTo>
                    <a:pt x="314" y="203"/>
                  </a:lnTo>
                  <a:lnTo>
                    <a:pt x="314" y="1029"/>
                  </a:lnTo>
                  <a:lnTo>
                    <a:pt x="50" y="1214"/>
                  </a:lnTo>
                  <a:lnTo>
                    <a:pt x="50" y="108"/>
                  </a:lnTo>
                  <a:lnTo>
                    <a:pt x="0" y="0"/>
                  </a:lnTo>
                  <a:close/>
                </a:path>
              </a:pathLst>
            </a:custGeom>
            <a:solidFill>
              <a:srgbClr val="194A95"/>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112"/>
              <a:endParaRPr lang="en-GB">
                <a:solidFill>
                  <a:srgbClr val="000000"/>
                </a:solidFill>
              </a:endParaRPr>
            </a:p>
          </p:txBody>
        </p:sp>
        <p:sp>
          <p:nvSpPr>
            <p:cNvPr id="38" name="logo BDO - element_03"/>
            <p:cNvSpPr>
              <a:spLocks noEditPoints="1"/>
            </p:cNvSpPr>
            <p:nvPr userDrawn="1"/>
          </p:nvSpPr>
          <p:spPr bwMode="auto">
            <a:xfrm>
              <a:off x="11298001" y="6218412"/>
              <a:ext cx="240804" cy="230785"/>
            </a:xfrm>
            <a:custGeom>
              <a:avLst/>
              <a:gdLst>
                <a:gd name="T0" fmla="*/ 636 w 1394"/>
                <a:gd name="T1" fmla="*/ 200 h 1338"/>
                <a:gd name="T2" fmla="*/ 537 w 1394"/>
                <a:gd name="T3" fmla="*/ 227 h 1338"/>
                <a:gd name="T4" fmla="*/ 440 w 1394"/>
                <a:gd name="T5" fmla="*/ 282 h 1338"/>
                <a:gd name="T6" fmla="*/ 356 w 1394"/>
                <a:gd name="T7" fmla="*/ 370 h 1338"/>
                <a:gd name="T8" fmla="*/ 298 w 1394"/>
                <a:gd name="T9" fmla="*/ 498 h 1338"/>
                <a:gd name="T10" fmla="*/ 276 w 1394"/>
                <a:gd name="T11" fmla="*/ 670 h 1338"/>
                <a:gd name="T12" fmla="*/ 298 w 1394"/>
                <a:gd name="T13" fmla="*/ 842 h 1338"/>
                <a:gd name="T14" fmla="*/ 356 w 1394"/>
                <a:gd name="T15" fmla="*/ 968 h 1338"/>
                <a:gd name="T16" fmla="*/ 440 w 1394"/>
                <a:gd name="T17" fmla="*/ 1057 h 1338"/>
                <a:gd name="T18" fmla="*/ 537 w 1394"/>
                <a:gd name="T19" fmla="*/ 1112 h 1338"/>
                <a:gd name="T20" fmla="*/ 636 w 1394"/>
                <a:gd name="T21" fmla="*/ 1138 h 1338"/>
                <a:gd name="T22" fmla="*/ 727 w 1394"/>
                <a:gd name="T23" fmla="*/ 1141 h 1338"/>
                <a:gd name="T24" fmla="*/ 825 w 1394"/>
                <a:gd name="T25" fmla="*/ 1123 h 1338"/>
                <a:gd name="T26" fmla="*/ 922 w 1394"/>
                <a:gd name="T27" fmla="*/ 1079 h 1338"/>
                <a:gd name="T28" fmla="*/ 1012 w 1394"/>
                <a:gd name="T29" fmla="*/ 1002 h 1338"/>
                <a:gd name="T30" fmla="*/ 1080 w 1394"/>
                <a:gd name="T31" fmla="*/ 888 h 1338"/>
                <a:gd name="T32" fmla="*/ 1115 w 1394"/>
                <a:gd name="T33" fmla="*/ 732 h 1338"/>
                <a:gd name="T34" fmla="*/ 1107 w 1394"/>
                <a:gd name="T35" fmla="*/ 550 h 1338"/>
                <a:gd name="T36" fmla="*/ 1060 w 1394"/>
                <a:gd name="T37" fmla="*/ 407 h 1338"/>
                <a:gd name="T38" fmla="*/ 984 w 1394"/>
                <a:gd name="T39" fmla="*/ 307 h 1338"/>
                <a:gd name="T40" fmla="*/ 891 w 1394"/>
                <a:gd name="T41" fmla="*/ 241 h 1338"/>
                <a:gd name="T42" fmla="*/ 791 w 1394"/>
                <a:gd name="T43" fmla="*/ 207 h 1338"/>
                <a:gd name="T44" fmla="*/ 696 w 1394"/>
                <a:gd name="T45" fmla="*/ 196 h 1338"/>
                <a:gd name="T46" fmla="*/ 779 w 1394"/>
                <a:gd name="T47" fmla="*/ 4 h 1338"/>
                <a:gd name="T48" fmla="*/ 910 w 1394"/>
                <a:gd name="T49" fmla="*/ 29 h 1338"/>
                <a:gd name="T50" fmla="*/ 1044 w 1394"/>
                <a:gd name="T51" fmla="*/ 77 h 1338"/>
                <a:gd name="T52" fmla="*/ 1168 w 1394"/>
                <a:gd name="T53" fmla="*/ 154 h 1338"/>
                <a:gd name="T54" fmla="*/ 1274 w 1394"/>
                <a:gd name="T55" fmla="*/ 264 h 1338"/>
                <a:gd name="T56" fmla="*/ 1351 w 1394"/>
                <a:gd name="T57" fmla="*/ 410 h 1338"/>
                <a:gd name="T58" fmla="*/ 1391 w 1394"/>
                <a:gd name="T59" fmla="*/ 597 h 1338"/>
                <a:gd name="T60" fmla="*/ 1383 w 1394"/>
                <a:gd name="T61" fmla="*/ 809 h 1338"/>
                <a:gd name="T62" fmla="*/ 1329 w 1394"/>
                <a:gd name="T63" fmla="*/ 982 h 1338"/>
                <a:gd name="T64" fmla="*/ 1241 w 1394"/>
                <a:gd name="T65" fmla="*/ 1115 h 1338"/>
                <a:gd name="T66" fmla="*/ 1128 w 1394"/>
                <a:gd name="T67" fmla="*/ 1213 h 1338"/>
                <a:gd name="T68" fmla="*/ 1000 w 1394"/>
                <a:gd name="T69" fmla="*/ 1280 h 1338"/>
                <a:gd name="T70" fmla="*/ 866 w 1394"/>
                <a:gd name="T71" fmla="*/ 1320 h 1338"/>
                <a:gd name="T72" fmla="*/ 736 w 1394"/>
                <a:gd name="T73" fmla="*/ 1336 h 1338"/>
                <a:gd name="T74" fmla="*/ 615 w 1394"/>
                <a:gd name="T75" fmla="*/ 1334 h 1338"/>
                <a:gd name="T76" fmla="*/ 484 w 1394"/>
                <a:gd name="T77" fmla="*/ 1309 h 1338"/>
                <a:gd name="T78" fmla="*/ 350 w 1394"/>
                <a:gd name="T79" fmla="*/ 1261 h 1338"/>
                <a:gd name="T80" fmla="*/ 226 w 1394"/>
                <a:gd name="T81" fmla="*/ 1184 h 1338"/>
                <a:gd name="T82" fmla="*/ 120 w 1394"/>
                <a:gd name="T83" fmla="*/ 1074 h 1338"/>
                <a:gd name="T84" fmla="*/ 42 w 1394"/>
                <a:gd name="T85" fmla="*/ 928 h 1338"/>
                <a:gd name="T86" fmla="*/ 3 w 1394"/>
                <a:gd name="T87" fmla="*/ 741 h 1338"/>
                <a:gd name="T88" fmla="*/ 11 w 1394"/>
                <a:gd name="T89" fmla="*/ 530 h 1338"/>
                <a:gd name="T90" fmla="*/ 64 w 1394"/>
                <a:gd name="T91" fmla="*/ 358 h 1338"/>
                <a:gd name="T92" fmla="*/ 152 w 1394"/>
                <a:gd name="T93" fmla="*/ 223 h 1338"/>
                <a:gd name="T94" fmla="*/ 266 w 1394"/>
                <a:gd name="T95" fmla="*/ 125 h 1338"/>
                <a:gd name="T96" fmla="*/ 395 w 1394"/>
                <a:gd name="T97" fmla="*/ 58 h 1338"/>
                <a:gd name="T98" fmla="*/ 528 w 1394"/>
                <a:gd name="T99" fmla="*/ 18 h 1338"/>
                <a:gd name="T100" fmla="*/ 656 w 1394"/>
                <a:gd name="T101" fmla="*/ 2 h 1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94" h="1338">
                  <a:moveTo>
                    <a:pt x="696" y="196"/>
                  </a:moveTo>
                  <a:lnTo>
                    <a:pt x="667" y="197"/>
                  </a:lnTo>
                  <a:lnTo>
                    <a:pt x="636" y="200"/>
                  </a:lnTo>
                  <a:lnTo>
                    <a:pt x="603" y="207"/>
                  </a:lnTo>
                  <a:lnTo>
                    <a:pt x="570" y="215"/>
                  </a:lnTo>
                  <a:lnTo>
                    <a:pt x="537" y="227"/>
                  </a:lnTo>
                  <a:lnTo>
                    <a:pt x="503" y="241"/>
                  </a:lnTo>
                  <a:lnTo>
                    <a:pt x="470" y="260"/>
                  </a:lnTo>
                  <a:lnTo>
                    <a:pt x="440" y="282"/>
                  </a:lnTo>
                  <a:lnTo>
                    <a:pt x="410" y="307"/>
                  </a:lnTo>
                  <a:lnTo>
                    <a:pt x="382" y="336"/>
                  </a:lnTo>
                  <a:lnTo>
                    <a:pt x="356" y="370"/>
                  </a:lnTo>
                  <a:lnTo>
                    <a:pt x="334" y="407"/>
                  </a:lnTo>
                  <a:lnTo>
                    <a:pt x="313" y="450"/>
                  </a:lnTo>
                  <a:lnTo>
                    <a:pt x="298" y="498"/>
                  </a:lnTo>
                  <a:lnTo>
                    <a:pt x="286" y="550"/>
                  </a:lnTo>
                  <a:lnTo>
                    <a:pt x="279" y="606"/>
                  </a:lnTo>
                  <a:lnTo>
                    <a:pt x="276" y="670"/>
                  </a:lnTo>
                  <a:lnTo>
                    <a:pt x="279" y="732"/>
                  </a:lnTo>
                  <a:lnTo>
                    <a:pt x="286" y="789"/>
                  </a:lnTo>
                  <a:lnTo>
                    <a:pt x="298" y="842"/>
                  </a:lnTo>
                  <a:lnTo>
                    <a:pt x="313" y="888"/>
                  </a:lnTo>
                  <a:lnTo>
                    <a:pt x="334" y="931"/>
                  </a:lnTo>
                  <a:lnTo>
                    <a:pt x="356" y="968"/>
                  </a:lnTo>
                  <a:lnTo>
                    <a:pt x="382" y="1002"/>
                  </a:lnTo>
                  <a:lnTo>
                    <a:pt x="410" y="1031"/>
                  </a:lnTo>
                  <a:lnTo>
                    <a:pt x="440" y="1057"/>
                  </a:lnTo>
                  <a:lnTo>
                    <a:pt x="470" y="1079"/>
                  </a:lnTo>
                  <a:lnTo>
                    <a:pt x="503" y="1097"/>
                  </a:lnTo>
                  <a:lnTo>
                    <a:pt x="537" y="1112"/>
                  </a:lnTo>
                  <a:lnTo>
                    <a:pt x="570" y="1123"/>
                  </a:lnTo>
                  <a:lnTo>
                    <a:pt x="603" y="1133"/>
                  </a:lnTo>
                  <a:lnTo>
                    <a:pt x="636" y="1138"/>
                  </a:lnTo>
                  <a:lnTo>
                    <a:pt x="667" y="1141"/>
                  </a:lnTo>
                  <a:lnTo>
                    <a:pt x="696" y="1143"/>
                  </a:lnTo>
                  <a:lnTo>
                    <a:pt x="727" y="1141"/>
                  </a:lnTo>
                  <a:lnTo>
                    <a:pt x="758" y="1138"/>
                  </a:lnTo>
                  <a:lnTo>
                    <a:pt x="791" y="1133"/>
                  </a:lnTo>
                  <a:lnTo>
                    <a:pt x="825" y="1123"/>
                  </a:lnTo>
                  <a:lnTo>
                    <a:pt x="858" y="1112"/>
                  </a:lnTo>
                  <a:lnTo>
                    <a:pt x="891" y="1097"/>
                  </a:lnTo>
                  <a:lnTo>
                    <a:pt x="922" y="1079"/>
                  </a:lnTo>
                  <a:lnTo>
                    <a:pt x="954" y="1057"/>
                  </a:lnTo>
                  <a:lnTo>
                    <a:pt x="984" y="1031"/>
                  </a:lnTo>
                  <a:lnTo>
                    <a:pt x="1012" y="1002"/>
                  </a:lnTo>
                  <a:lnTo>
                    <a:pt x="1037" y="968"/>
                  </a:lnTo>
                  <a:lnTo>
                    <a:pt x="1060" y="931"/>
                  </a:lnTo>
                  <a:lnTo>
                    <a:pt x="1080" y="888"/>
                  </a:lnTo>
                  <a:lnTo>
                    <a:pt x="1096" y="842"/>
                  </a:lnTo>
                  <a:lnTo>
                    <a:pt x="1107" y="789"/>
                  </a:lnTo>
                  <a:lnTo>
                    <a:pt x="1115" y="732"/>
                  </a:lnTo>
                  <a:lnTo>
                    <a:pt x="1118" y="670"/>
                  </a:lnTo>
                  <a:lnTo>
                    <a:pt x="1115" y="606"/>
                  </a:lnTo>
                  <a:lnTo>
                    <a:pt x="1107" y="550"/>
                  </a:lnTo>
                  <a:lnTo>
                    <a:pt x="1096" y="498"/>
                  </a:lnTo>
                  <a:lnTo>
                    <a:pt x="1080" y="450"/>
                  </a:lnTo>
                  <a:lnTo>
                    <a:pt x="1060" y="407"/>
                  </a:lnTo>
                  <a:lnTo>
                    <a:pt x="1037" y="370"/>
                  </a:lnTo>
                  <a:lnTo>
                    <a:pt x="1012" y="336"/>
                  </a:lnTo>
                  <a:lnTo>
                    <a:pt x="984" y="307"/>
                  </a:lnTo>
                  <a:lnTo>
                    <a:pt x="954" y="282"/>
                  </a:lnTo>
                  <a:lnTo>
                    <a:pt x="922" y="260"/>
                  </a:lnTo>
                  <a:lnTo>
                    <a:pt x="891" y="241"/>
                  </a:lnTo>
                  <a:lnTo>
                    <a:pt x="858" y="227"/>
                  </a:lnTo>
                  <a:lnTo>
                    <a:pt x="825" y="215"/>
                  </a:lnTo>
                  <a:lnTo>
                    <a:pt x="791" y="207"/>
                  </a:lnTo>
                  <a:lnTo>
                    <a:pt x="758" y="200"/>
                  </a:lnTo>
                  <a:lnTo>
                    <a:pt x="727" y="197"/>
                  </a:lnTo>
                  <a:lnTo>
                    <a:pt x="696" y="196"/>
                  </a:lnTo>
                  <a:close/>
                  <a:moveTo>
                    <a:pt x="696" y="0"/>
                  </a:moveTo>
                  <a:lnTo>
                    <a:pt x="736" y="2"/>
                  </a:lnTo>
                  <a:lnTo>
                    <a:pt x="779" y="4"/>
                  </a:lnTo>
                  <a:lnTo>
                    <a:pt x="822" y="10"/>
                  </a:lnTo>
                  <a:lnTo>
                    <a:pt x="866" y="18"/>
                  </a:lnTo>
                  <a:lnTo>
                    <a:pt x="910" y="29"/>
                  </a:lnTo>
                  <a:lnTo>
                    <a:pt x="954" y="42"/>
                  </a:lnTo>
                  <a:lnTo>
                    <a:pt x="1000" y="58"/>
                  </a:lnTo>
                  <a:lnTo>
                    <a:pt x="1044" y="77"/>
                  </a:lnTo>
                  <a:lnTo>
                    <a:pt x="1086" y="99"/>
                  </a:lnTo>
                  <a:lnTo>
                    <a:pt x="1128" y="125"/>
                  </a:lnTo>
                  <a:lnTo>
                    <a:pt x="1168" y="154"/>
                  </a:lnTo>
                  <a:lnTo>
                    <a:pt x="1205" y="187"/>
                  </a:lnTo>
                  <a:lnTo>
                    <a:pt x="1241" y="223"/>
                  </a:lnTo>
                  <a:lnTo>
                    <a:pt x="1274" y="264"/>
                  </a:lnTo>
                  <a:lnTo>
                    <a:pt x="1303" y="308"/>
                  </a:lnTo>
                  <a:lnTo>
                    <a:pt x="1329" y="358"/>
                  </a:lnTo>
                  <a:lnTo>
                    <a:pt x="1351" y="410"/>
                  </a:lnTo>
                  <a:lnTo>
                    <a:pt x="1369" y="468"/>
                  </a:lnTo>
                  <a:lnTo>
                    <a:pt x="1383" y="530"/>
                  </a:lnTo>
                  <a:lnTo>
                    <a:pt x="1391" y="597"/>
                  </a:lnTo>
                  <a:lnTo>
                    <a:pt x="1394" y="670"/>
                  </a:lnTo>
                  <a:lnTo>
                    <a:pt x="1391" y="741"/>
                  </a:lnTo>
                  <a:lnTo>
                    <a:pt x="1383" y="809"/>
                  </a:lnTo>
                  <a:lnTo>
                    <a:pt x="1369" y="870"/>
                  </a:lnTo>
                  <a:lnTo>
                    <a:pt x="1351" y="928"/>
                  </a:lnTo>
                  <a:lnTo>
                    <a:pt x="1329" y="982"/>
                  </a:lnTo>
                  <a:lnTo>
                    <a:pt x="1303" y="1030"/>
                  </a:lnTo>
                  <a:lnTo>
                    <a:pt x="1274" y="1074"/>
                  </a:lnTo>
                  <a:lnTo>
                    <a:pt x="1241" y="1115"/>
                  </a:lnTo>
                  <a:lnTo>
                    <a:pt x="1205" y="1151"/>
                  </a:lnTo>
                  <a:lnTo>
                    <a:pt x="1168" y="1184"/>
                  </a:lnTo>
                  <a:lnTo>
                    <a:pt x="1128" y="1213"/>
                  </a:lnTo>
                  <a:lnTo>
                    <a:pt x="1086" y="1239"/>
                  </a:lnTo>
                  <a:lnTo>
                    <a:pt x="1044" y="1261"/>
                  </a:lnTo>
                  <a:lnTo>
                    <a:pt x="1000" y="1280"/>
                  </a:lnTo>
                  <a:lnTo>
                    <a:pt x="954" y="1296"/>
                  </a:lnTo>
                  <a:lnTo>
                    <a:pt x="910" y="1309"/>
                  </a:lnTo>
                  <a:lnTo>
                    <a:pt x="866" y="1320"/>
                  </a:lnTo>
                  <a:lnTo>
                    <a:pt x="822" y="1328"/>
                  </a:lnTo>
                  <a:lnTo>
                    <a:pt x="779" y="1334"/>
                  </a:lnTo>
                  <a:lnTo>
                    <a:pt x="736" y="1336"/>
                  </a:lnTo>
                  <a:lnTo>
                    <a:pt x="696" y="1338"/>
                  </a:lnTo>
                  <a:lnTo>
                    <a:pt x="656" y="1336"/>
                  </a:lnTo>
                  <a:lnTo>
                    <a:pt x="615" y="1334"/>
                  </a:lnTo>
                  <a:lnTo>
                    <a:pt x="572" y="1328"/>
                  </a:lnTo>
                  <a:lnTo>
                    <a:pt x="528" y="1320"/>
                  </a:lnTo>
                  <a:lnTo>
                    <a:pt x="484" y="1309"/>
                  </a:lnTo>
                  <a:lnTo>
                    <a:pt x="439" y="1296"/>
                  </a:lnTo>
                  <a:lnTo>
                    <a:pt x="395" y="1280"/>
                  </a:lnTo>
                  <a:lnTo>
                    <a:pt x="350" y="1261"/>
                  </a:lnTo>
                  <a:lnTo>
                    <a:pt x="308" y="1239"/>
                  </a:lnTo>
                  <a:lnTo>
                    <a:pt x="266" y="1213"/>
                  </a:lnTo>
                  <a:lnTo>
                    <a:pt x="226" y="1184"/>
                  </a:lnTo>
                  <a:lnTo>
                    <a:pt x="188" y="1151"/>
                  </a:lnTo>
                  <a:lnTo>
                    <a:pt x="152" y="1115"/>
                  </a:lnTo>
                  <a:lnTo>
                    <a:pt x="120" y="1074"/>
                  </a:lnTo>
                  <a:lnTo>
                    <a:pt x="90" y="1030"/>
                  </a:lnTo>
                  <a:lnTo>
                    <a:pt x="64" y="982"/>
                  </a:lnTo>
                  <a:lnTo>
                    <a:pt x="42" y="928"/>
                  </a:lnTo>
                  <a:lnTo>
                    <a:pt x="24" y="870"/>
                  </a:lnTo>
                  <a:lnTo>
                    <a:pt x="11" y="809"/>
                  </a:lnTo>
                  <a:lnTo>
                    <a:pt x="3" y="741"/>
                  </a:lnTo>
                  <a:lnTo>
                    <a:pt x="0" y="670"/>
                  </a:lnTo>
                  <a:lnTo>
                    <a:pt x="3" y="597"/>
                  </a:lnTo>
                  <a:lnTo>
                    <a:pt x="11" y="530"/>
                  </a:lnTo>
                  <a:lnTo>
                    <a:pt x="24" y="468"/>
                  </a:lnTo>
                  <a:lnTo>
                    <a:pt x="42" y="410"/>
                  </a:lnTo>
                  <a:lnTo>
                    <a:pt x="64" y="358"/>
                  </a:lnTo>
                  <a:lnTo>
                    <a:pt x="90" y="308"/>
                  </a:lnTo>
                  <a:lnTo>
                    <a:pt x="120" y="264"/>
                  </a:lnTo>
                  <a:lnTo>
                    <a:pt x="152" y="223"/>
                  </a:lnTo>
                  <a:lnTo>
                    <a:pt x="188" y="187"/>
                  </a:lnTo>
                  <a:lnTo>
                    <a:pt x="226" y="154"/>
                  </a:lnTo>
                  <a:lnTo>
                    <a:pt x="266" y="125"/>
                  </a:lnTo>
                  <a:lnTo>
                    <a:pt x="308" y="99"/>
                  </a:lnTo>
                  <a:lnTo>
                    <a:pt x="350" y="77"/>
                  </a:lnTo>
                  <a:lnTo>
                    <a:pt x="395" y="58"/>
                  </a:lnTo>
                  <a:lnTo>
                    <a:pt x="439" y="42"/>
                  </a:lnTo>
                  <a:lnTo>
                    <a:pt x="484" y="29"/>
                  </a:lnTo>
                  <a:lnTo>
                    <a:pt x="528" y="18"/>
                  </a:lnTo>
                  <a:lnTo>
                    <a:pt x="572" y="10"/>
                  </a:lnTo>
                  <a:lnTo>
                    <a:pt x="615" y="4"/>
                  </a:lnTo>
                  <a:lnTo>
                    <a:pt x="656" y="2"/>
                  </a:lnTo>
                  <a:lnTo>
                    <a:pt x="696" y="0"/>
                  </a:lnTo>
                  <a:close/>
                </a:path>
              </a:pathLst>
            </a:custGeom>
            <a:solidFill>
              <a:srgbClr val="194A95"/>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112"/>
              <a:endParaRPr lang="en-GB">
                <a:solidFill>
                  <a:srgbClr val="000000"/>
                </a:solidFill>
              </a:endParaRPr>
            </a:p>
          </p:txBody>
        </p:sp>
        <p:sp>
          <p:nvSpPr>
            <p:cNvPr id="39" name="logo BDO - element_04"/>
            <p:cNvSpPr>
              <a:spLocks/>
            </p:cNvSpPr>
            <p:nvPr userDrawn="1"/>
          </p:nvSpPr>
          <p:spPr bwMode="auto">
            <a:xfrm>
              <a:off x="10754551" y="6220830"/>
              <a:ext cx="44913" cy="281572"/>
            </a:xfrm>
            <a:custGeom>
              <a:avLst/>
              <a:gdLst>
                <a:gd name="T0" fmla="*/ 0 w 259"/>
                <a:gd name="T1" fmla="*/ 0 h 1631"/>
                <a:gd name="T2" fmla="*/ 259 w 259"/>
                <a:gd name="T3" fmla="*/ 0 h 1631"/>
                <a:gd name="T4" fmla="*/ 259 w 259"/>
                <a:gd name="T5" fmla="*/ 1449 h 1631"/>
                <a:gd name="T6" fmla="*/ 0 w 259"/>
                <a:gd name="T7" fmla="*/ 1631 h 1631"/>
                <a:gd name="T8" fmla="*/ 0 w 259"/>
                <a:gd name="T9" fmla="*/ 0 h 1631"/>
              </a:gdLst>
              <a:ahLst/>
              <a:cxnLst>
                <a:cxn ang="0">
                  <a:pos x="T0" y="T1"/>
                </a:cxn>
                <a:cxn ang="0">
                  <a:pos x="T2" y="T3"/>
                </a:cxn>
                <a:cxn ang="0">
                  <a:pos x="T4" y="T5"/>
                </a:cxn>
                <a:cxn ang="0">
                  <a:pos x="T6" y="T7"/>
                </a:cxn>
                <a:cxn ang="0">
                  <a:pos x="T8" y="T9"/>
                </a:cxn>
              </a:cxnLst>
              <a:rect l="0" t="0" r="r" b="b"/>
              <a:pathLst>
                <a:path w="259" h="1631">
                  <a:moveTo>
                    <a:pt x="0" y="0"/>
                  </a:moveTo>
                  <a:lnTo>
                    <a:pt x="259" y="0"/>
                  </a:lnTo>
                  <a:lnTo>
                    <a:pt x="259" y="1449"/>
                  </a:lnTo>
                  <a:lnTo>
                    <a:pt x="0" y="1631"/>
                  </a:lnTo>
                  <a:lnTo>
                    <a:pt x="0" y="0"/>
                  </a:lnTo>
                  <a:close/>
                </a:path>
              </a:pathLst>
            </a:custGeom>
            <a:solidFill>
              <a:srgbClr val="EE1A3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112"/>
              <a:endParaRPr lang="en-GB">
                <a:solidFill>
                  <a:srgbClr val="FFFFFF"/>
                </a:solidFill>
              </a:endParaRPr>
            </a:p>
          </p:txBody>
        </p:sp>
        <p:sp>
          <p:nvSpPr>
            <p:cNvPr id="40" name="logo BDO - element_05"/>
            <p:cNvSpPr>
              <a:spLocks/>
            </p:cNvSpPr>
            <p:nvPr userDrawn="1"/>
          </p:nvSpPr>
          <p:spPr bwMode="auto">
            <a:xfrm>
              <a:off x="10754551" y="6481673"/>
              <a:ext cx="781490" cy="36967"/>
            </a:xfrm>
            <a:custGeom>
              <a:avLst/>
              <a:gdLst>
                <a:gd name="T0" fmla="*/ 307 w 4525"/>
                <a:gd name="T1" fmla="*/ 0 h 214"/>
                <a:gd name="T2" fmla="*/ 4525 w 4525"/>
                <a:gd name="T3" fmla="*/ 0 h 214"/>
                <a:gd name="T4" fmla="*/ 4525 w 4525"/>
                <a:gd name="T5" fmla="*/ 214 h 214"/>
                <a:gd name="T6" fmla="*/ 0 w 4525"/>
                <a:gd name="T7" fmla="*/ 214 h 214"/>
                <a:gd name="T8" fmla="*/ 307 w 4525"/>
                <a:gd name="T9" fmla="*/ 0 h 214"/>
              </a:gdLst>
              <a:ahLst/>
              <a:cxnLst>
                <a:cxn ang="0">
                  <a:pos x="T0" y="T1"/>
                </a:cxn>
                <a:cxn ang="0">
                  <a:pos x="T2" y="T3"/>
                </a:cxn>
                <a:cxn ang="0">
                  <a:pos x="T4" y="T5"/>
                </a:cxn>
                <a:cxn ang="0">
                  <a:pos x="T6" y="T7"/>
                </a:cxn>
                <a:cxn ang="0">
                  <a:pos x="T8" y="T9"/>
                </a:cxn>
              </a:cxnLst>
              <a:rect l="0" t="0" r="r" b="b"/>
              <a:pathLst>
                <a:path w="4525" h="214">
                  <a:moveTo>
                    <a:pt x="307" y="0"/>
                  </a:moveTo>
                  <a:lnTo>
                    <a:pt x="4525" y="0"/>
                  </a:lnTo>
                  <a:lnTo>
                    <a:pt x="4525" y="214"/>
                  </a:lnTo>
                  <a:lnTo>
                    <a:pt x="0" y="214"/>
                  </a:lnTo>
                  <a:lnTo>
                    <a:pt x="307" y="0"/>
                  </a:lnTo>
                  <a:close/>
                </a:path>
              </a:pathLst>
            </a:custGeom>
            <a:solidFill>
              <a:srgbClr val="EE1A3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112"/>
              <a:endParaRPr lang="en-GB">
                <a:solidFill>
                  <a:srgbClr val="FFFFFF"/>
                </a:solidFill>
              </a:endParaRPr>
            </a:p>
          </p:txBody>
        </p:sp>
      </p:grpSp>
      <p:sp>
        <p:nvSpPr>
          <p:cNvPr id="33" name="Hyperlink - Inhoudsopgave">
            <a:hlinkClick r:id="rId51" action="ppaction://hlinksldjump"/>
          </p:cNvPr>
          <p:cNvSpPr/>
          <p:nvPr userDrawn="1"/>
        </p:nvSpPr>
        <p:spPr>
          <a:xfrm>
            <a:off x="10197856" y="5889801"/>
            <a:ext cx="2000494" cy="968199"/>
          </a:xfrm>
          <a:prstGeom prst="rect">
            <a:avLst/>
          </a:prstGeom>
          <a:solidFill>
            <a:srgbClr val="ED1A3B">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12"/>
            <a:endParaRPr lang="nl-NL">
              <a:solidFill>
                <a:srgbClr val="FFFFFF"/>
              </a:solidFill>
            </a:endParaRPr>
          </a:p>
        </p:txBody>
      </p:sp>
      <p:sp>
        <p:nvSpPr>
          <p:cNvPr id="6" name="Tijdelijke aanduiding voor Dianummer"/>
          <p:cNvSpPr>
            <a:spLocks noGrp="1"/>
          </p:cNvSpPr>
          <p:nvPr>
            <p:ph type="sldNum" sz="quarter" idx="4"/>
          </p:nvPr>
        </p:nvSpPr>
        <p:spPr>
          <a:xfrm>
            <a:off x="5769775" y="6296400"/>
            <a:ext cx="658800" cy="365125"/>
          </a:xfrm>
          <a:prstGeom prst="rect">
            <a:avLst/>
          </a:prstGeom>
        </p:spPr>
        <p:txBody>
          <a:bodyPr vert="horz" lIns="0" tIns="0" rIns="0" bIns="0" rtlCol="0" anchor="ctr"/>
          <a:lstStyle>
            <a:lvl1pPr algn="ctr">
              <a:defRPr sz="800">
                <a:solidFill>
                  <a:schemeClr val="accent6">
                    <a:lumMod val="75000"/>
                  </a:schemeClr>
                </a:solidFill>
              </a:defRPr>
            </a:lvl1pPr>
          </a:lstStyle>
          <a:p>
            <a:fld id="{4694BEFD-964E-4197-A0C0-7534C13B6A9A}" type="slidenum">
              <a:rPr lang="nl-NL" smtClean="0"/>
              <a:pPr/>
              <a:t>‹nr.›</a:t>
            </a:fld>
            <a:endParaRPr lang="nl-NL" dirty="0"/>
          </a:p>
        </p:txBody>
      </p:sp>
      <p:sp>
        <p:nvSpPr>
          <p:cNvPr id="4" name="Tijdelijke aanduiding voor Datum"/>
          <p:cNvSpPr>
            <a:spLocks noGrp="1"/>
          </p:cNvSpPr>
          <p:nvPr>
            <p:ph type="dt" sz="half" idx="2"/>
          </p:nvPr>
        </p:nvSpPr>
        <p:spPr>
          <a:xfrm>
            <a:off x="1367913" y="6481525"/>
            <a:ext cx="4320000" cy="180000"/>
          </a:xfrm>
          <a:prstGeom prst="rect">
            <a:avLst/>
          </a:prstGeom>
        </p:spPr>
        <p:txBody>
          <a:bodyPr vert="horz" lIns="0" tIns="0" rIns="0" bIns="0" rtlCol="0" anchor="ctr"/>
          <a:lstStyle>
            <a:lvl1pPr algn="l">
              <a:defRPr sz="800">
                <a:solidFill>
                  <a:schemeClr val="accent6">
                    <a:lumMod val="75000"/>
                  </a:schemeClr>
                </a:solidFill>
              </a:defRPr>
            </a:lvl1pPr>
          </a:lstStyle>
          <a:p>
            <a:fld id="{BEFF7B40-040B-4AAF-A6A6-2C3A840D5219}" type="datetimeFigureOut">
              <a:rPr lang="nl-NL" smtClean="0"/>
              <a:pPr/>
              <a:t>6-1-2020</a:t>
            </a:fld>
            <a:endParaRPr lang="nl-NL" dirty="0"/>
          </a:p>
        </p:txBody>
      </p:sp>
      <p:sp>
        <p:nvSpPr>
          <p:cNvPr id="5" name="Tijdelijke aanduiding voor Voettekst"/>
          <p:cNvSpPr>
            <a:spLocks noGrp="1"/>
          </p:cNvSpPr>
          <p:nvPr>
            <p:ph type="ftr" sz="quarter" idx="3"/>
          </p:nvPr>
        </p:nvSpPr>
        <p:spPr>
          <a:xfrm>
            <a:off x="1367913" y="6296400"/>
            <a:ext cx="4320000" cy="180000"/>
          </a:xfrm>
          <a:prstGeom prst="rect">
            <a:avLst/>
          </a:prstGeom>
        </p:spPr>
        <p:txBody>
          <a:bodyPr vert="horz" lIns="0" tIns="0" rIns="0" bIns="0" rtlCol="0" anchor="ctr"/>
          <a:lstStyle>
            <a:lvl1pPr algn="l">
              <a:defRPr sz="800">
                <a:solidFill>
                  <a:schemeClr val="accent6">
                    <a:lumMod val="75000"/>
                  </a:schemeClr>
                </a:solidFill>
              </a:defRPr>
            </a:lvl1pPr>
          </a:lstStyle>
          <a:p>
            <a:endParaRPr lang="nl-NL" dirty="0"/>
          </a:p>
        </p:txBody>
      </p:sp>
      <p:sp>
        <p:nvSpPr>
          <p:cNvPr id="3" name="Tijdelijke aanduiding voor Tekst"/>
          <p:cNvSpPr>
            <a:spLocks noGrp="1"/>
          </p:cNvSpPr>
          <p:nvPr>
            <p:ph type="body" idx="1"/>
          </p:nvPr>
        </p:nvSpPr>
        <p:spPr>
          <a:xfrm>
            <a:off x="664975" y="1724400"/>
            <a:ext cx="10868400" cy="3693600"/>
          </a:xfrm>
          <a:prstGeom prst="rect">
            <a:avLst/>
          </a:prstGeom>
        </p:spPr>
        <p:txBody>
          <a:bodyPr vert="horz" lIns="0" tIns="0" rIns="0" bIns="0" rtlCol="0">
            <a:noAutofit/>
          </a:bodyPr>
          <a:lstStyle/>
          <a:p>
            <a:pPr lvl="0"/>
            <a:r>
              <a:rPr lang="nl-NL" dirty="0"/>
              <a:t>Leestekst</a:t>
            </a:r>
          </a:p>
          <a:p>
            <a:pPr lvl="1"/>
            <a:r>
              <a:rPr lang="nl-NL" dirty="0"/>
              <a:t>Bullets</a:t>
            </a:r>
          </a:p>
          <a:p>
            <a:pPr lvl="2"/>
            <a:r>
              <a:rPr lang="nl-NL" dirty="0"/>
              <a:t>Sub-bullets</a:t>
            </a:r>
          </a:p>
          <a:p>
            <a:pPr lvl="3"/>
            <a:r>
              <a:rPr lang="nl-NL" dirty="0"/>
              <a:t>Sub-sub-bullets</a:t>
            </a:r>
          </a:p>
          <a:p>
            <a:pPr lvl="4"/>
            <a:r>
              <a:rPr lang="nl-NL" dirty="0"/>
              <a:t>Numeriek</a:t>
            </a:r>
          </a:p>
          <a:p>
            <a:pPr lvl="5"/>
            <a:r>
              <a:rPr lang="nl-NL" dirty="0"/>
              <a:t># Bullets</a:t>
            </a:r>
          </a:p>
          <a:p>
            <a:pPr lvl="6"/>
            <a:r>
              <a:rPr lang="nl-NL" dirty="0"/>
              <a:t>Cursief donker</a:t>
            </a:r>
          </a:p>
          <a:p>
            <a:pPr lvl="7"/>
            <a:r>
              <a:rPr lang="nl-NL" dirty="0"/>
              <a:t>Cursief licht</a:t>
            </a:r>
          </a:p>
          <a:p>
            <a:pPr lvl="8"/>
            <a:r>
              <a:rPr lang="nl-NL" dirty="0"/>
              <a:t>Subtitel</a:t>
            </a:r>
          </a:p>
        </p:txBody>
      </p:sp>
      <p:sp>
        <p:nvSpPr>
          <p:cNvPr id="2" name="Tijdelijke aanduiding voor Titel"/>
          <p:cNvSpPr>
            <a:spLocks noGrp="1"/>
          </p:cNvSpPr>
          <p:nvPr>
            <p:ph type="title"/>
          </p:nvPr>
        </p:nvSpPr>
        <p:spPr>
          <a:xfrm>
            <a:off x="662400" y="471600"/>
            <a:ext cx="10868400" cy="532800"/>
          </a:xfrm>
          <a:prstGeom prst="rect">
            <a:avLst/>
          </a:prstGeom>
        </p:spPr>
        <p:txBody>
          <a:bodyPr vert="horz" lIns="0" tIns="0" rIns="0" bIns="0" rtlCol="0" anchor="t">
            <a:noAutofit/>
          </a:bodyPr>
          <a:lstStyle/>
          <a:p>
            <a:r>
              <a:rPr lang="nl-NL" dirty="0"/>
              <a:t>Klik om de stijl te bewerken</a:t>
            </a:r>
          </a:p>
        </p:txBody>
      </p:sp>
    </p:spTree>
    <p:extLst>
      <p:ext uri="{BB962C8B-B14F-4D97-AF65-F5344CB8AC3E}">
        <p14:creationId xmlns:p14="http://schemas.microsoft.com/office/powerpoint/2010/main" val="2202324767"/>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52" r:id="rId20"/>
    <p:sldLayoutId id="2147483753" r:id="rId21"/>
    <p:sldLayoutId id="2147483783" r:id="rId22"/>
    <p:sldLayoutId id="2147483755" r:id="rId23"/>
    <p:sldLayoutId id="2147483754" r:id="rId24"/>
    <p:sldLayoutId id="2147483781" r:id="rId25"/>
    <p:sldLayoutId id="2147483778" r:id="rId26"/>
    <p:sldLayoutId id="2147483774" r:id="rId27"/>
    <p:sldLayoutId id="2147483775" r:id="rId28"/>
    <p:sldLayoutId id="2147483779" r:id="rId29"/>
    <p:sldLayoutId id="2147483776" r:id="rId30"/>
    <p:sldLayoutId id="2147483777" r:id="rId31"/>
    <p:sldLayoutId id="2147483758" r:id="rId32"/>
    <p:sldLayoutId id="2147483759" r:id="rId33"/>
    <p:sldLayoutId id="2147483760" r:id="rId34"/>
    <p:sldLayoutId id="2147483784" r:id="rId35"/>
    <p:sldLayoutId id="2147483761" r:id="rId36"/>
    <p:sldLayoutId id="2147483762" r:id="rId37"/>
    <p:sldLayoutId id="2147483763" r:id="rId38"/>
    <p:sldLayoutId id="2147483764" r:id="rId39"/>
    <p:sldLayoutId id="2147483765" r:id="rId40"/>
    <p:sldLayoutId id="2147483766" r:id="rId41"/>
    <p:sldLayoutId id="2147483767" r:id="rId42"/>
    <p:sldLayoutId id="2147483768" r:id="rId43"/>
    <p:sldLayoutId id="2147483769" r:id="rId44"/>
    <p:sldLayoutId id="2147483785" r:id="rId45"/>
    <p:sldLayoutId id="2147483786" r:id="rId46"/>
    <p:sldLayoutId id="2147483787" r:id="rId47"/>
    <p:sldLayoutId id="2147483788" r:id="rId48"/>
    <p:sldLayoutId id="2147483789" r:id="rId49"/>
  </p:sldLayoutIdLst>
  <p:txStyles>
    <p:titleStyle>
      <a:lvl1pPr algn="l" defTabSz="914400" rtl="0" eaLnBrk="1" latinLnBrk="0" hangingPunct="1">
        <a:spcBef>
          <a:spcPct val="0"/>
        </a:spcBef>
        <a:buNone/>
        <a:defRPr sz="3000" b="1" kern="1200">
          <a:solidFill>
            <a:schemeClr val="accent1"/>
          </a:solidFill>
          <a:latin typeface="+mj-lt"/>
          <a:ea typeface="+mj-ea"/>
          <a:cs typeface="+mj-cs"/>
        </a:defRPr>
      </a:lvl1pPr>
    </p:titleStyle>
    <p:bodyStyle>
      <a:lvl1pPr marL="0" indent="0" algn="l" defTabSz="287338" rtl="0" eaLnBrk="1" latinLnBrk="0" hangingPunct="1">
        <a:spcBef>
          <a:spcPts val="0"/>
        </a:spcBef>
        <a:spcAft>
          <a:spcPts val="900"/>
        </a:spcAft>
        <a:buFont typeface="Arial" panose="020B0604020202020204" pitchFamily="34" charset="0"/>
        <a:buNone/>
        <a:defRPr sz="1600" kern="1200">
          <a:solidFill>
            <a:schemeClr val="tx2"/>
          </a:solidFill>
          <a:latin typeface="+mn-lt"/>
          <a:ea typeface="+mn-ea"/>
          <a:cs typeface="+mn-cs"/>
        </a:defRPr>
      </a:lvl1pPr>
      <a:lvl2pPr marL="270000" indent="-270000" algn="l" defTabSz="287338" rtl="0" eaLnBrk="1" latinLnBrk="0" hangingPunct="1">
        <a:spcBef>
          <a:spcPts val="0"/>
        </a:spcBef>
        <a:spcAft>
          <a:spcPts val="900"/>
        </a:spcAft>
        <a:buClr>
          <a:schemeClr val="accent1"/>
        </a:buClr>
        <a:buSzPct val="80000"/>
        <a:buFont typeface="Wingdings 3" panose="05040102010807070707" pitchFamily="18" charset="2"/>
        <a:buChar char="u"/>
        <a:defRPr sz="1600" kern="1200">
          <a:solidFill>
            <a:schemeClr val="tx2"/>
          </a:solidFill>
          <a:latin typeface="+mn-lt"/>
          <a:ea typeface="+mn-ea"/>
          <a:cs typeface="+mn-cs"/>
        </a:defRPr>
      </a:lvl2pPr>
      <a:lvl3pPr marL="540000" indent="-270000" algn="l" defTabSz="287338" rtl="0" eaLnBrk="1" latinLnBrk="0" hangingPunct="1">
        <a:spcBef>
          <a:spcPts val="0"/>
        </a:spcBef>
        <a:spcAft>
          <a:spcPts val="900"/>
        </a:spcAft>
        <a:buClr>
          <a:schemeClr val="accent1"/>
        </a:buClr>
        <a:buSzPct val="80000"/>
        <a:buFont typeface="Wingdings 3" panose="05040102010807070707" pitchFamily="18" charset="2"/>
        <a:buChar char="w"/>
        <a:defRPr sz="1600" kern="1200">
          <a:solidFill>
            <a:schemeClr val="tx2"/>
          </a:solidFill>
          <a:latin typeface="+mn-lt"/>
          <a:ea typeface="+mn-ea"/>
          <a:cs typeface="+mn-cs"/>
        </a:defRPr>
      </a:lvl3pPr>
      <a:lvl4pPr marL="808038" indent="-270000" algn="l" defTabSz="287338" rtl="0" eaLnBrk="1" latinLnBrk="0" hangingPunct="1">
        <a:spcBef>
          <a:spcPts val="0"/>
        </a:spcBef>
        <a:spcAft>
          <a:spcPts val="900"/>
        </a:spcAft>
        <a:buClr>
          <a:schemeClr val="accent2"/>
        </a:buClr>
        <a:buSzPct val="80000"/>
        <a:buFont typeface="Wingdings 3" panose="05040102010807070707" pitchFamily="18" charset="2"/>
        <a:buChar char="u"/>
        <a:defRPr sz="1600" kern="1200">
          <a:solidFill>
            <a:schemeClr val="tx2"/>
          </a:solidFill>
          <a:latin typeface="+mn-lt"/>
          <a:ea typeface="+mn-ea"/>
          <a:cs typeface="+mn-cs"/>
        </a:defRPr>
      </a:lvl4pPr>
      <a:lvl5pPr marL="360000" indent="-360000" algn="l" defTabSz="287338" rtl="0" eaLnBrk="1" latinLnBrk="0" hangingPunct="1">
        <a:spcBef>
          <a:spcPts val="0"/>
        </a:spcBef>
        <a:spcAft>
          <a:spcPts val="900"/>
        </a:spcAft>
        <a:buClr>
          <a:schemeClr val="accent1"/>
        </a:buClr>
        <a:buFont typeface="+mj-lt"/>
        <a:buAutoNum type="arabicPeriod"/>
        <a:defRPr sz="1600" kern="1200">
          <a:solidFill>
            <a:schemeClr val="tx2"/>
          </a:solidFill>
          <a:latin typeface="+mn-lt"/>
          <a:ea typeface="+mn-ea"/>
          <a:cs typeface="+mn-cs"/>
        </a:defRPr>
      </a:lvl5pPr>
      <a:lvl6pPr marL="630000" indent="-270000" algn="l" defTabSz="287338" rtl="0" eaLnBrk="1" latinLnBrk="0" hangingPunct="1">
        <a:spcBef>
          <a:spcPts val="0"/>
        </a:spcBef>
        <a:spcAft>
          <a:spcPts val="900"/>
        </a:spcAft>
        <a:buClr>
          <a:schemeClr val="accent1"/>
        </a:buClr>
        <a:buSzPct val="80000"/>
        <a:buFont typeface="Wingdings 3" panose="05040102010807070707" pitchFamily="18" charset="2"/>
        <a:buChar char="u"/>
        <a:defRPr sz="1600" kern="1200">
          <a:solidFill>
            <a:schemeClr val="tx2"/>
          </a:solidFill>
          <a:latin typeface="+mn-lt"/>
          <a:ea typeface="+mn-ea"/>
          <a:cs typeface="+mn-cs"/>
        </a:defRPr>
      </a:lvl6pPr>
      <a:lvl7pPr marL="0" indent="0" algn="l" defTabSz="287338" rtl="0" eaLnBrk="1" latinLnBrk="0" hangingPunct="1">
        <a:spcBef>
          <a:spcPts val="0"/>
        </a:spcBef>
        <a:spcAft>
          <a:spcPts val="900"/>
        </a:spcAft>
        <a:buFont typeface="Arial" panose="020B0604020202020204" pitchFamily="34" charset="0"/>
        <a:buNone/>
        <a:defRPr sz="1600" i="1" kern="1200" baseline="0">
          <a:solidFill>
            <a:schemeClr val="tx2"/>
          </a:solidFill>
          <a:latin typeface="+mn-lt"/>
          <a:ea typeface="+mn-ea"/>
          <a:cs typeface="+mn-cs"/>
        </a:defRPr>
      </a:lvl7pPr>
      <a:lvl8pPr marL="0" indent="0" algn="l" defTabSz="287338" rtl="0" eaLnBrk="1" latinLnBrk="0" hangingPunct="1">
        <a:spcBef>
          <a:spcPts val="0"/>
        </a:spcBef>
        <a:spcAft>
          <a:spcPts val="900"/>
        </a:spcAft>
        <a:buFont typeface="Arial" panose="020B0604020202020204" pitchFamily="34" charset="0"/>
        <a:buNone/>
        <a:defRPr sz="1600" i="1" kern="1200" baseline="0">
          <a:solidFill>
            <a:schemeClr val="accent6"/>
          </a:solidFill>
          <a:latin typeface="+mn-lt"/>
          <a:ea typeface="+mn-ea"/>
          <a:cs typeface="+mn-cs"/>
        </a:defRPr>
      </a:lvl8pPr>
      <a:lvl9pPr marL="0" indent="0" algn="l" defTabSz="287338" rtl="0" eaLnBrk="1" latinLnBrk="0" hangingPunct="1">
        <a:spcBef>
          <a:spcPts val="0"/>
        </a:spcBef>
        <a:spcAft>
          <a:spcPts val="900"/>
        </a:spcAft>
        <a:buFont typeface="Arial" panose="020B0604020202020204" pitchFamily="34" charset="0"/>
        <a:buNone/>
        <a:defRPr sz="1800" b="1" kern="1200">
          <a:solidFill>
            <a:schemeClr val="accent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www.google.nl/imgres?imgurl=https%3A%2F%2Fwww.bbkk.nl%2Fwp-content%2Fuploads%2F2016%2F01%2Flezing.jpg&amp;imgrefurl=https%3A%2F%2Fwww.bbkk.nl%2Farchief%2Flezingen-2012&amp;docid=-uHMXHJs6-SuNM&amp;tbnid=4t9wrpaqEU8UlM%3A&amp;vet=10ahUKEwi6xvXhlermAhVtwAIHHdrNCBgQMwhGKAwwDA..i&amp;w=202&amp;h=240&amp;bih=575&amp;biw=1182&amp;q=lezing&amp;ved=0ahUKEwi6xvXhlermAhVtwAIHHdrNCBgQMwhGKAwwDA&amp;iact=mrc&amp;uact=8"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7.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8.xml"/><Relationship Id="rId1" Type="http://schemas.openxmlformats.org/officeDocument/2006/relationships/slideLayout" Target="../slideLayouts/slideLayout3.xml"/><Relationship Id="rId5" Type="http://schemas.openxmlformats.org/officeDocument/2006/relationships/image" Target="../media/image19.png"/><Relationship Id="rId4" Type="http://schemas.openxmlformats.org/officeDocument/2006/relationships/image" Target="../media/image18.png"/></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9.xml"/><Relationship Id="rId1" Type="http://schemas.openxmlformats.org/officeDocument/2006/relationships/slideLayout" Target="../slideLayouts/slideLayout3.xml"/><Relationship Id="rId5" Type="http://schemas.openxmlformats.org/officeDocument/2006/relationships/image" Target="../media/image19.png"/><Relationship Id="rId4" Type="http://schemas.openxmlformats.org/officeDocument/2006/relationships/image" Target="../media/image18.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1.xml"/></Relationships>
</file>

<file path=ppt/slides/_rels/slide20.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tags" Target="../tags/tag27.xml"/><Relationship Id="rId3" Type="http://schemas.openxmlformats.org/officeDocument/2006/relationships/tags" Target="../tags/tag4.xml"/><Relationship Id="rId21" Type="http://schemas.openxmlformats.org/officeDocument/2006/relationships/tags" Target="../tags/tag22.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tags" Target="../tags/tag26.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29" Type="http://schemas.openxmlformats.org/officeDocument/2006/relationships/notesSlide" Target="../notesSlides/notesSlide20.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tags" Target="../tags/tag25.xml"/><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tags" Target="../tags/tag24.xml"/><Relationship Id="rId28" Type="http://schemas.openxmlformats.org/officeDocument/2006/relationships/slideLayout" Target="../slideLayouts/slideLayout3.xml"/><Relationship Id="rId10" Type="http://schemas.openxmlformats.org/officeDocument/2006/relationships/tags" Target="../tags/tag11.xml"/><Relationship Id="rId19" Type="http://schemas.openxmlformats.org/officeDocument/2006/relationships/tags" Target="../tags/tag20.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tags" Target="../tags/tag28.xml"/><Relationship Id="rId30" Type="http://schemas.openxmlformats.org/officeDocument/2006/relationships/image" Target="../media/image20.png"/></Relationships>
</file>

<file path=ppt/slides/_rels/slide21.xml.rels><?xml version="1.0" encoding="UTF-8" standalone="yes"?>
<Relationships xmlns="http://schemas.openxmlformats.org/package/2006/relationships"><Relationship Id="rId8" Type="http://schemas.openxmlformats.org/officeDocument/2006/relationships/image" Target="../media/image23.jpeg"/><Relationship Id="rId13" Type="http://schemas.openxmlformats.org/officeDocument/2006/relationships/image" Target="../media/image26.jpg"/><Relationship Id="rId3" Type="http://schemas.openxmlformats.org/officeDocument/2006/relationships/hyperlink" Target="https://www.google.nl/imgres?imgurl=https%3A%2F%2Fmedia-01.imu.nl%2Fstorage%2Fzelfboekhouden.org%2F543%2Ffactuuradres-voorbeeld-971x351.jpg&amp;imgrefurl=https%3A%2F%2Fzelfboekhouden.org%2Fkennisbank-boekhouden%2Fbegrippenlijst%2Ffactuuradres-facturatie%2F&amp;docid=30ERYUqQoL0lDM&amp;tbnid=_ublOKWv_a1C3M%3A&amp;vet=10ahUKEwifk-COi-rmAhVtwAIHHX3sCLsQMwhEKAMwAw..i&amp;w=971&amp;h=351&amp;bih=575&amp;biw=1182&amp;q=factuuradres&amp;ved=0ahUKEwifk-COi-rmAhVtwAIHHX3sCLsQMwhEKAMwAw&amp;iact=mrc&amp;uact=8" TargetMode="External"/><Relationship Id="rId7" Type="http://schemas.openxmlformats.org/officeDocument/2006/relationships/hyperlink" Target="https://www.google.nl/imgres?imgurl=https%3A%2F%2Fwww.betaalvereniging.nl%2Fwp-content%2Fuploads%2FIBAN-uitleg.jpg&amp;imgrefurl=https%3A%2F%2Fwww.betaalvereniging.nl%2Fbetaalproducten-en-diensten%2Fiban%2F&amp;docid=I1RzO6fQC439MM&amp;tbnid=JApIzj58UEED-M%3A&amp;vet=10ahUKEwj20bC2i-rmAhWIKewKHQL3DXoQMwhOKAAwAA..i&amp;w=534&amp;h=201&amp;bih=575&amp;biw=1182&amp;q=bankrekeningnummer&amp;ved=0ahUKEwj20bC2i-rmAhWIKewKHQL3DXoQMwhOKAAwAA&amp;iact=mrc&amp;uact=8" TargetMode="External"/><Relationship Id="rId12" Type="http://schemas.openxmlformats.org/officeDocument/2006/relationships/image" Target="../media/image25.jpeg"/><Relationship Id="rId2" Type="http://schemas.openxmlformats.org/officeDocument/2006/relationships/notesSlide" Target="../notesSlides/notesSlide21.xml"/><Relationship Id="rId1" Type="http://schemas.openxmlformats.org/officeDocument/2006/relationships/slideLayout" Target="../slideLayouts/slideLayout46.xml"/><Relationship Id="rId6" Type="http://schemas.openxmlformats.org/officeDocument/2006/relationships/image" Target="../media/image22.jpeg"/><Relationship Id="rId11" Type="http://schemas.openxmlformats.org/officeDocument/2006/relationships/hyperlink" Target="https://www.google.nl/imgres?imgurl=https%3A%2F%2Fcdn.pricewise.nl%2Fblog%2Fwp-content%2Fuploads%2F2016%2F07%2Fvaste-lijn-e1469007045287.jpg&amp;imgrefurl=https%3A%2F%2Fwww.pricewise.nl%2Fblog%2Fbellen-vaste-lijn%2F&amp;docid=MPmxduPx5WuGFM&amp;tbnid=Befbhv1fEhYwKM%3A&amp;vet=10ahUKEwi13Kbni-rmAhWC6aQKHQPPCIoQMwhBKAAwAA..i&amp;w=624&amp;h=290&amp;bih=575&amp;biw=1182&amp;q=plaats%20vaste%20lijn%20telefoon&amp;ved=0ahUKEwi13Kbni-rmAhWC6aQKHQPPCIoQMwhBKAAwAA&amp;iact=mrc&amp;uact=8" TargetMode="External"/><Relationship Id="rId5" Type="http://schemas.openxmlformats.org/officeDocument/2006/relationships/hyperlink" Target="https://www.google.nl/imgres?imgurl=https%3A%2F%2Fyoors-media-uploads-adsfairbv.netdna-ssl.com%2F89613%2Fblog%2Fwaar-vind-ik-mijn-ip-adres-en-hoe-kan-ik-het-veranderen-1516531507.jpg&amp;imgrefurl=https%3A%2F%2Fyoo.rs%2Fdomeinnaam%2Fblog%2Fwaar-vind-ik-mijn-ip-adres-en-hoe-kan-ik-het-veranderen-1516529735.html&amp;docid=p11kkjjGeACCCM&amp;tbnid=Z6Fpy5WSOiqg0M%3A&amp;vet=10ahUKEwiKuqGhi-rmAhXD-aQKHW_wD0UQMwhNKAIwAg..i&amp;w=1140&amp;h=380&amp;bih=575&amp;biw=1182&amp;q=IP%20adres&amp;ved=0ahUKEwiKuqGhi-rmAhXD-aQKHW_wD0UQMwhNKAIwAg&amp;iact=mrc&amp;uact=8" TargetMode="External"/><Relationship Id="rId10" Type="http://schemas.openxmlformats.org/officeDocument/2006/relationships/image" Target="../media/image24.jpeg"/><Relationship Id="rId4" Type="http://schemas.openxmlformats.org/officeDocument/2006/relationships/image" Target="../media/image21.jpeg"/><Relationship Id="rId9" Type="http://schemas.openxmlformats.org/officeDocument/2006/relationships/hyperlink" Target="https://www.google.nl/imgres?imgurl=https%3A%2F%2Fstatic.computerworld.nl%2Fthumbnails%2F400%2F9%2F6%2F96890f77fe3a2079d805c827b5549647.jpg&amp;imgrefurl=http%3A%2F%2Fcomputerworld.nl%2Ftelecom%2F81751-nederland-eerste-land-met-providerloze-simkaart&amp;docid=onvGmjfq1QaHDM&amp;tbnid=P-mVOwl3BbanEM%3A&amp;vet=10ahUKEwiUsO_Ii-rmAhWH66QKHTxKBDYQMwhHKAAwAA..i&amp;w=400&amp;h=333&amp;bih=575&amp;biw=1182&amp;q=mobiele%20landencode%20simkaart&amp;ved=0ahUKEwiUsO_Ii-rmAhWH66QKHTxKBDYQMwhHKAAwAA&amp;iact=mrc&amp;uact=8" TargetMode="External"/></Relationships>
</file>

<file path=ppt/slides/_rels/slide22.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12" Type="http://schemas.openxmlformats.org/officeDocument/2006/relationships/image" Target="../media/image36.png"/><Relationship Id="rId2" Type="http://schemas.openxmlformats.org/officeDocument/2006/relationships/notesSlide" Target="../notesSlides/notesSlide22.xml"/><Relationship Id="rId1" Type="http://schemas.openxmlformats.org/officeDocument/2006/relationships/slideLayout" Target="../slideLayouts/slideLayout3.xml"/><Relationship Id="rId6" Type="http://schemas.openxmlformats.org/officeDocument/2006/relationships/image" Target="../media/image30.png"/><Relationship Id="rId11" Type="http://schemas.openxmlformats.org/officeDocument/2006/relationships/image" Target="../media/image35.svg"/><Relationship Id="rId5" Type="http://schemas.openxmlformats.org/officeDocument/2006/relationships/image" Target="../media/image29.png"/><Relationship Id="rId10" Type="http://schemas.openxmlformats.org/officeDocument/2006/relationships/image" Target="../media/image34.png"/><Relationship Id="rId4" Type="http://schemas.openxmlformats.org/officeDocument/2006/relationships/image" Target="../media/image28.svg"/><Relationship Id="rId9" Type="http://schemas.openxmlformats.org/officeDocument/2006/relationships/image" Target="../media/image33.svg"/></Relationships>
</file>

<file path=ppt/slides/_rels/slide23.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12" Type="http://schemas.openxmlformats.org/officeDocument/2006/relationships/image" Target="../media/image36.png"/><Relationship Id="rId2" Type="http://schemas.openxmlformats.org/officeDocument/2006/relationships/notesSlide" Target="../notesSlides/notesSlide23.xml"/><Relationship Id="rId1" Type="http://schemas.openxmlformats.org/officeDocument/2006/relationships/slideLayout" Target="../slideLayouts/slideLayout3.xml"/><Relationship Id="rId6" Type="http://schemas.openxmlformats.org/officeDocument/2006/relationships/image" Target="../media/image30.png"/><Relationship Id="rId11" Type="http://schemas.openxmlformats.org/officeDocument/2006/relationships/image" Target="../media/image35.svg"/><Relationship Id="rId5" Type="http://schemas.openxmlformats.org/officeDocument/2006/relationships/image" Target="../media/image29.png"/><Relationship Id="rId10" Type="http://schemas.openxmlformats.org/officeDocument/2006/relationships/image" Target="../media/image34.png"/><Relationship Id="rId4" Type="http://schemas.openxmlformats.org/officeDocument/2006/relationships/image" Target="../media/image28.svg"/><Relationship Id="rId9" Type="http://schemas.openxmlformats.org/officeDocument/2006/relationships/image" Target="../media/image33.sv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6.xml"/></Relationships>
</file>

<file path=ppt/slides/_rels/slide25.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image" Target="../media/image44.jpeg"/></Relationships>
</file>

<file path=ppt/slides/_rels/slide32.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46.jpg"/><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notesSlide" Target="../notesSlides/notesSlide35.xml"/><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5.xml"/></Relationships>
</file>

<file path=ppt/slides/_rels/slide38.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notesSlide" Target="../notesSlides/notesSlide38.xml"/><Relationship Id="rId1" Type="http://schemas.openxmlformats.org/officeDocument/2006/relationships/slideLayout" Target="../slideLayouts/slideLayout45.xml"/></Relationships>
</file>

<file path=ppt/slides/_rels/slide39.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hyperlink" Target="http://www.google.nl/url?sa=i&amp;rct=j&amp;q=&amp;esrc=s&amp;source=images&amp;cd=&amp;cad=rja&amp;uact=8&amp;ved=0ahUKEwiK1tKPuubZAhVC46QKHQQVBj8QjRwIBg&amp;url=http://milkshakesandmargaritas.typepad.com/milkshakes_and_margaritas/2009/07/it-is-hard-to-find-a-book-that-will-hold-the-attention-of-both-my-8-month-old-baby-and-my-six-year-old-first-grader-but-duck.html&amp;psig=AOvVaw01ztEoItJ2o7eBzypWFw35&amp;ust=1520932723915464"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9.jpeg"/></Relationships>
</file>

<file path=ppt/slides/_rels/slide4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notesSlide" Target="../notesSlides/notesSlide42.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47.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48.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48.xml"/></Relationships>
</file>

<file path=ppt/slides/_rels/slide49.xml.rels><?xml version="1.0" encoding="UTF-8" standalone="yes"?>
<Relationships xmlns="http://schemas.openxmlformats.org/package/2006/relationships"><Relationship Id="rId3" Type="http://schemas.openxmlformats.org/officeDocument/2006/relationships/hyperlink" Target="https://www.google.nl/imgres?imgurl=https%3A%2F%2Fi1.wp.com%2Fbtwjurisprudentie.nl%2Fwp-content%2Fuploads%2F2019%2F11%2FBouwval-Afbraak-Steengruis-Bouwterrein.jpg%3Ffit%3D1280%252C1920%26ssl%3D1&amp;imgrefurl=https%3A%2F%2Fbtwjurisprudentie.nl%2Fgeen-vrijstelling-op-grond-van-rechtszekerheidsbeginsel-door-aftrek-voorbelasting%2F&amp;docid=vHUyezCHzUNyyM&amp;tbnid=DeIZWCCU3YLorM%3A&amp;vet=10ahUKEwjcr-Hmk-rmAhWPDuwKHShxBK0QMwhLKAowCg..i&amp;w=1280&amp;h=1920&amp;bih=575&amp;biw=1182&amp;q=bouwterrein&amp;ved=0ahUKEwjcr-Hmk-rmAhWPDuwKHShxBK0QMwhLKAowCg&amp;iact=mrc&amp;uact=8" TargetMode="External"/><Relationship Id="rId2" Type="http://schemas.openxmlformats.org/officeDocument/2006/relationships/notesSlide" Target="../notesSlides/notesSlide49.xml"/><Relationship Id="rId1" Type="http://schemas.openxmlformats.org/officeDocument/2006/relationships/slideLayout" Target="../slideLayouts/slideLayout48.xml"/><Relationship Id="rId5" Type="http://schemas.openxmlformats.org/officeDocument/2006/relationships/image" Target="../media/image55.jpg"/><Relationship Id="rId4" Type="http://schemas.openxmlformats.org/officeDocument/2006/relationships/image" Target="../media/image54.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49.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48.xml"/></Relationships>
</file>

<file path=ppt/slides/_rels/slide5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52.xml"/><Relationship Id="rId1" Type="http://schemas.openxmlformats.org/officeDocument/2006/relationships/slideLayout" Target="../slideLayouts/slideLayout48.xml"/></Relationships>
</file>

<file path=ppt/slides/_rels/slide5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53.xml"/><Relationship Id="rId1" Type="http://schemas.openxmlformats.org/officeDocument/2006/relationships/slideLayout" Target="../slideLayouts/slideLayout49.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48.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49.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49.xml"/></Relationships>
</file>

<file path=ppt/slides/_rels/slide57.xml.rels><?xml version="1.0" encoding="UTF-8" standalone="yes"?>
<Relationships xmlns="http://schemas.openxmlformats.org/package/2006/relationships"><Relationship Id="rId3" Type="http://schemas.openxmlformats.org/officeDocument/2006/relationships/hyperlink" Target="https://www.google.nl/imgres?imgurl=http%3A%2F%2Fwww.zonnepanelentips.nl%2Fwp-content%2Fuploads%2F2014%2F09%2Fzonnepanelen.jpg&amp;imgrefurl=http%3A%2F%2Fwww.zonnepanelentips.nl%2Falgemeen%2F&amp;docid=oWZFYzJel-JAuM&amp;tbnid=dGoA7wDOIVNUGM%3A&amp;vet=10ahUKEwix45Dss-rmAhWS5KQKHelzC50QMwhXKAwwDA..i&amp;w=300&amp;h=200&amp;bih=575&amp;biw=1182&amp;q=woning%20met%20zonnepanelen&amp;ved=0ahUKEwix45Dss-rmAhWS5KQKHelzC50QMwhXKAwwDA&amp;iact=mrc&amp;uact=8" TargetMode="External"/><Relationship Id="rId2" Type="http://schemas.openxmlformats.org/officeDocument/2006/relationships/notesSlide" Target="../notesSlides/notesSlide57.xml"/><Relationship Id="rId1" Type="http://schemas.openxmlformats.org/officeDocument/2006/relationships/slideLayout" Target="../slideLayouts/slideLayout15.xml"/><Relationship Id="rId4" Type="http://schemas.openxmlformats.org/officeDocument/2006/relationships/image" Target="../media/image58.jpeg"/></Relationships>
</file>

<file path=ppt/slides/_rels/slide58.xml.rels><?xml version="1.0" encoding="UTF-8" standalone="yes"?>
<Relationships xmlns="http://schemas.openxmlformats.org/package/2006/relationships"><Relationship Id="rId3" Type="http://schemas.openxmlformats.org/officeDocument/2006/relationships/hyperlink" Target="https://www.google.nl/imgres?imgurl=https%3A%2F%2Fcms-assets.bookingexperts.nl%2Fmedia%2F536%2F17%2Foptimized.jpg&amp;imgrefurl=https%3A%2F%2Fwww.topparken.nl%2Fvakantiewoning-kopen&amp;docid=X-kfMzjdtKPNpM&amp;tbnid=Bg0Lf5derhY1OM%3A&amp;vet=10ahUKEwjRls2GuOrmAhUEyaQKHSEiASEQMwhLKAMwAw..i&amp;w=1600&amp;h=1067&amp;bih=575&amp;biw=1182&amp;q=vakantiewoning&amp;ved=0ahUKEwjRls2GuOrmAhUEyaQKHSEiASEQMwhLKAMwAw&amp;iact=mrc&amp;uact=8" TargetMode="External"/><Relationship Id="rId2" Type="http://schemas.openxmlformats.org/officeDocument/2006/relationships/notesSlide" Target="../notesSlides/notesSlide58.xml"/><Relationship Id="rId1" Type="http://schemas.openxmlformats.org/officeDocument/2006/relationships/slideLayout" Target="../slideLayouts/slideLayout15.xml"/><Relationship Id="rId4" Type="http://schemas.openxmlformats.org/officeDocument/2006/relationships/image" Target="../media/image59.jpe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hyperlink" Target="https://www.google.nl/imgres?imgurl=https%3A%2F%2Fwww.outwise.nl%2Fusr-uploads%2Fimages%2Fblog%2Foutwsie-nlp-training.png&amp;imgrefurl=https%3A%2F%2Fwww.outwise.nl%2Fblog%2Fhet-is-goed-om-vragen-te-stellen-mits-je-ook-bereid-bent-te-luisteren&amp;docid=_LKoruzSBUK8jM&amp;tbnid=9hMDjnZzoX4jkM%3A&amp;vet=10ahUKEwjCnovK2ermAhWEGuwKHb-HCbgQMwhbKAwwDA..i&amp;w=530&amp;h=398&amp;bih=575&amp;biw=1182&amp;q=vragen%20stellen&amp;ved=0ahUKEwjCnovK2ermAhWEGuwKHb-HCbgQMwhbKAwwDA&amp;iact=mrc&amp;uact=8" TargetMode="External"/><Relationship Id="rId2" Type="http://schemas.openxmlformats.org/officeDocument/2006/relationships/notesSlide" Target="../notesSlides/notesSlide60.xml"/><Relationship Id="rId1" Type="http://schemas.openxmlformats.org/officeDocument/2006/relationships/slideLayout" Target="../slideLayouts/slideLayout3.xml"/><Relationship Id="rId4" Type="http://schemas.openxmlformats.org/officeDocument/2006/relationships/image" Target="../media/image60.jpe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7" name="Tijdelijke aanduiding voor Subtitel"/>
          <p:cNvSpPr>
            <a:spLocks noGrp="1"/>
          </p:cNvSpPr>
          <p:nvPr>
            <p:ph type="body" idx="14"/>
          </p:nvPr>
        </p:nvSpPr>
        <p:spPr/>
        <p:txBody>
          <a:bodyPr/>
          <a:lstStyle/>
          <a:p>
            <a:endParaRPr lang="nl-NL"/>
          </a:p>
        </p:txBody>
      </p:sp>
      <p:sp>
        <p:nvSpPr>
          <p:cNvPr id="5" name="Tijdelijke aanduiding voor Titel"/>
          <p:cNvSpPr>
            <a:spLocks noGrp="1"/>
          </p:cNvSpPr>
          <p:nvPr>
            <p:ph type="title"/>
          </p:nvPr>
        </p:nvSpPr>
        <p:spPr/>
        <p:txBody>
          <a:bodyPr/>
          <a:lstStyle/>
          <a:p>
            <a:r>
              <a:rPr lang="nl-NL" dirty="0"/>
              <a:t>Studiekring januari 2020 – Ad Fruijtier </a:t>
            </a:r>
          </a:p>
        </p:txBody>
      </p:sp>
      <p:pic>
        <p:nvPicPr>
          <p:cNvPr id="3075" name="Picture 3" descr="Afbeeldingsresultaat voor lezing">
            <a:hlinkClick r:id="rId3"/>
            <a:extLst>
              <a:ext uri="{FF2B5EF4-FFF2-40B4-BE49-F238E27FC236}">
                <a16:creationId xmlns:a16="http://schemas.microsoft.com/office/drawing/2014/main" id="{3825A1F2-2FBA-4761-AE12-395FC002B769}"/>
              </a:ext>
            </a:extLst>
          </p:cNvPr>
          <p:cNvPicPr>
            <a:picLocks noGrp="1" noChangeAspect="1" noChangeArrowheads="1"/>
          </p:cNvPicPr>
          <p:nvPr>
            <p:ph type="pic" idx="13"/>
          </p:nvPr>
        </p:nvPicPr>
        <p:blipFill>
          <a:blip r:embed="rId4">
            <a:extLst>
              <a:ext uri="{28A0092B-C50C-407E-A947-70E740481C1C}">
                <a14:useLocalDpi xmlns:a14="http://schemas.microsoft.com/office/drawing/2010/main" val="0"/>
              </a:ext>
            </a:extLst>
          </a:blip>
          <a:srcRect t="34884" b="34884"/>
          <a:stretch>
            <a:fillRect/>
          </a:stretch>
        </p:blipFill>
        <p:spPr bwMode="auto">
          <a:xfrm>
            <a:off x="11419" y="1412776"/>
            <a:ext cx="12198349" cy="43067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7179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tekst 2"/>
          <p:cNvSpPr>
            <a:spLocks noGrp="1"/>
          </p:cNvSpPr>
          <p:nvPr>
            <p:ph type="body" idx="14"/>
          </p:nvPr>
        </p:nvSpPr>
        <p:spPr/>
        <p:txBody>
          <a:bodyPr/>
          <a:lstStyle/>
          <a:p>
            <a:r>
              <a:rPr lang="nl-NL" dirty="0"/>
              <a:t>Interval steeds gelijk, willekeurige trekking van een € binnen het interval</a:t>
            </a:r>
          </a:p>
        </p:txBody>
      </p:sp>
      <p:sp>
        <p:nvSpPr>
          <p:cNvPr id="4" name="Titel 3"/>
          <p:cNvSpPr>
            <a:spLocks noGrp="1"/>
          </p:cNvSpPr>
          <p:nvPr>
            <p:ph type="title"/>
          </p:nvPr>
        </p:nvSpPr>
        <p:spPr/>
        <p:txBody>
          <a:bodyPr/>
          <a:lstStyle/>
          <a:p>
            <a:r>
              <a:rPr lang="nl-NL" dirty="0"/>
              <a:t>Geldeenheidsteekproef</a:t>
            </a:r>
          </a:p>
        </p:txBody>
      </p:sp>
      <p:sp>
        <p:nvSpPr>
          <p:cNvPr id="5" name="Rechthoek 4"/>
          <p:cNvSpPr/>
          <p:nvPr/>
        </p:nvSpPr>
        <p:spPr>
          <a:xfrm>
            <a:off x="1421093" y="2781265"/>
            <a:ext cx="1007587" cy="503794"/>
          </a:xfrm>
          <a:prstGeom prst="rect">
            <a:avLst/>
          </a:prstGeom>
          <a:solidFill>
            <a:schemeClr val="tx1">
              <a:lumMod val="50000"/>
              <a:lumOff val="5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ln>
                <a:solidFill>
                  <a:schemeClr val="bg1"/>
                </a:solidFill>
              </a:ln>
            </a:endParaRPr>
          </a:p>
        </p:txBody>
      </p:sp>
      <p:sp>
        <p:nvSpPr>
          <p:cNvPr id="6" name="Rechthoek 5"/>
          <p:cNvSpPr/>
          <p:nvPr/>
        </p:nvSpPr>
        <p:spPr>
          <a:xfrm>
            <a:off x="2500649" y="2781265"/>
            <a:ext cx="503794" cy="503794"/>
          </a:xfrm>
          <a:prstGeom prst="rect">
            <a:avLst/>
          </a:prstGeom>
          <a:solidFill>
            <a:schemeClr val="tx1">
              <a:lumMod val="50000"/>
              <a:lumOff val="5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ln>
                <a:solidFill>
                  <a:schemeClr val="bg1"/>
                </a:solidFill>
              </a:ln>
            </a:endParaRPr>
          </a:p>
        </p:txBody>
      </p:sp>
      <p:sp>
        <p:nvSpPr>
          <p:cNvPr id="8" name="Rechthoek 7"/>
          <p:cNvSpPr/>
          <p:nvPr/>
        </p:nvSpPr>
        <p:spPr>
          <a:xfrm>
            <a:off x="3076414" y="2781265"/>
            <a:ext cx="647735" cy="503794"/>
          </a:xfrm>
          <a:prstGeom prst="rect">
            <a:avLst/>
          </a:prstGeom>
          <a:solidFill>
            <a:schemeClr val="tx1">
              <a:lumMod val="50000"/>
              <a:lumOff val="5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ln>
                <a:solidFill>
                  <a:schemeClr val="bg1"/>
                </a:solidFill>
              </a:ln>
            </a:endParaRPr>
          </a:p>
        </p:txBody>
      </p:sp>
      <p:sp>
        <p:nvSpPr>
          <p:cNvPr id="9" name="Rechthoek 8"/>
          <p:cNvSpPr/>
          <p:nvPr/>
        </p:nvSpPr>
        <p:spPr>
          <a:xfrm>
            <a:off x="3796120" y="2781265"/>
            <a:ext cx="2159115" cy="503794"/>
          </a:xfrm>
          <a:prstGeom prst="rect">
            <a:avLst/>
          </a:prstGeom>
          <a:solidFill>
            <a:schemeClr val="tx1">
              <a:lumMod val="50000"/>
              <a:lumOff val="5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ln>
                <a:solidFill>
                  <a:schemeClr val="bg1"/>
                </a:solidFill>
              </a:ln>
            </a:endParaRPr>
          </a:p>
        </p:txBody>
      </p:sp>
      <p:sp>
        <p:nvSpPr>
          <p:cNvPr id="10" name="Rechthoek 9"/>
          <p:cNvSpPr/>
          <p:nvPr/>
        </p:nvSpPr>
        <p:spPr>
          <a:xfrm>
            <a:off x="6027206" y="2781265"/>
            <a:ext cx="143941" cy="503794"/>
          </a:xfrm>
          <a:prstGeom prst="rect">
            <a:avLst/>
          </a:prstGeom>
          <a:solidFill>
            <a:schemeClr val="tx1">
              <a:lumMod val="50000"/>
              <a:lumOff val="5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ln>
                <a:solidFill>
                  <a:schemeClr val="bg1"/>
                </a:solidFill>
              </a:ln>
            </a:endParaRPr>
          </a:p>
        </p:txBody>
      </p:sp>
      <p:sp>
        <p:nvSpPr>
          <p:cNvPr id="11" name="Rechthoek 10"/>
          <p:cNvSpPr/>
          <p:nvPr/>
        </p:nvSpPr>
        <p:spPr>
          <a:xfrm>
            <a:off x="6243117" y="2781265"/>
            <a:ext cx="143941" cy="503794"/>
          </a:xfrm>
          <a:prstGeom prst="rect">
            <a:avLst/>
          </a:prstGeom>
          <a:solidFill>
            <a:schemeClr val="tx1">
              <a:lumMod val="50000"/>
              <a:lumOff val="5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ln>
                <a:solidFill>
                  <a:schemeClr val="bg1"/>
                </a:solidFill>
              </a:ln>
            </a:endParaRPr>
          </a:p>
        </p:txBody>
      </p:sp>
      <p:sp>
        <p:nvSpPr>
          <p:cNvPr id="12" name="Rechthoek 11"/>
          <p:cNvSpPr/>
          <p:nvPr/>
        </p:nvSpPr>
        <p:spPr>
          <a:xfrm>
            <a:off x="6459029" y="2781265"/>
            <a:ext cx="143941" cy="503794"/>
          </a:xfrm>
          <a:prstGeom prst="rect">
            <a:avLst/>
          </a:prstGeom>
          <a:solidFill>
            <a:schemeClr val="tx1">
              <a:lumMod val="50000"/>
              <a:lumOff val="5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ln>
                <a:solidFill>
                  <a:schemeClr val="bg1"/>
                </a:solidFill>
              </a:ln>
            </a:endParaRPr>
          </a:p>
        </p:txBody>
      </p:sp>
      <p:sp>
        <p:nvSpPr>
          <p:cNvPr id="13" name="Rechthoek 12"/>
          <p:cNvSpPr/>
          <p:nvPr/>
        </p:nvSpPr>
        <p:spPr>
          <a:xfrm>
            <a:off x="6674939" y="2781265"/>
            <a:ext cx="575764" cy="503794"/>
          </a:xfrm>
          <a:prstGeom prst="rect">
            <a:avLst/>
          </a:prstGeom>
          <a:solidFill>
            <a:schemeClr val="tx1">
              <a:lumMod val="50000"/>
              <a:lumOff val="5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ln>
                <a:solidFill>
                  <a:schemeClr val="bg1"/>
                </a:solidFill>
              </a:ln>
            </a:endParaRPr>
          </a:p>
        </p:txBody>
      </p:sp>
      <p:sp>
        <p:nvSpPr>
          <p:cNvPr id="14" name="Rechthoek 13"/>
          <p:cNvSpPr/>
          <p:nvPr/>
        </p:nvSpPr>
        <p:spPr>
          <a:xfrm>
            <a:off x="7322674" y="2781265"/>
            <a:ext cx="1079558" cy="503794"/>
          </a:xfrm>
          <a:prstGeom prst="rect">
            <a:avLst/>
          </a:prstGeom>
          <a:solidFill>
            <a:schemeClr val="tx1">
              <a:lumMod val="50000"/>
              <a:lumOff val="5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ln>
                <a:solidFill>
                  <a:schemeClr val="bg1"/>
                </a:solidFill>
              </a:ln>
            </a:endParaRPr>
          </a:p>
        </p:txBody>
      </p:sp>
      <p:sp>
        <p:nvSpPr>
          <p:cNvPr id="15" name="Rechthoek 14"/>
          <p:cNvSpPr/>
          <p:nvPr/>
        </p:nvSpPr>
        <p:spPr>
          <a:xfrm>
            <a:off x="8474202" y="2781265"/>
            <a:ext cx="287882" cy="503794"/>
          </a:xfrm>
          <a:prstGeom prst="rect">
            <a:avLst/>
          </a:prstGeom>
          <a:solidFill>
            <a:schemeClr val="tx1">
              <a:lumMod val="50000"/>
              <a:lumOff val="5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ln>
                <a:solidFill>
                  <a:schemeClr val="bg1"/>
                </a:solidFill>
              </a:ln>
            </a:endParaRPr>
          </a:p>
        </p:txBody>
      </p:sp>
      <p:sp>
        <p:nvSpPr>
          <p:cNvPr id="16" name="Rechthoek 15"/>
          <p:cNvSpPr/>
          <p:nvPr/>
        </p:nvSpPr>
        <p:spPr>
          <a:xfrm>
            <a:off x="8834054" y="2781265"/>
            <a:ext cx="1079558" cy="503794"/>
          </a:xfrm>
          <a:prstGeom prst="rect">
            <a:avLst/>
          </a:prstGeom>
          <a:solidFill>
            <a:schemeClr val="tx1">
              <a:lumMod val="50000"/>
              <a:lumOff val="5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ln>
                <a:solidFill>
                  <a:schemeClr val="bg1"/>
                </a:solidFill>
              </a:ln>
            </a:endParaRPr>
          </a:p>
        </p:txBody>
      </p:sp>
      <p:cxnSp>
        <p:nvCxnSpPr>
          <p:cNvPr id="18" name="Rechte verbindingslijn 17"/>
          <p:cNvCxnSpPr/>
          <p:nvPr/>
        </p:nvCxnSpPr>
        <p:spPr>
          <a:xfrm>
            <a:off x="1421092" y="3429000"/>
            <a:ext cx="115140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Rechte verbindingslijn 19"/>
          <p:cNvCxnSpPr/>
          <p:nvPr/>
        </p:nvCxnSpPr>
        <p:spPr>
          <a:xfrm>
            <a:off x="2644590" y="3429000"/>
            <a:ext cx="115140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Rechte verbindingslijn 20"/>
          <p:cNvCxnSpPr/>
          <p:nvPr/>
        </p:nvCxnSpPr>
        <p:spPr>
          <a:xfrm>
            <a:off x="3868089" y="3429000"/>
            <a:ext cx="115140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Rechte verbindingslijn 21"/>
          <p:cNvCxnSpPr/>
          <p:nvPr/>
        </p:nvCxnSpPr>
        <p:spPr>
          <a:xfrm>
            <a:off x="5091588" y="3429000"/>
            <a:ext cx="115140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3" name="Rechte verbindingslijn 22"/>
          <p:cNvCxnSpPr/>
          <p:nvPr/>
        </p:nvCxnSpPr>
        <p:spPr>
          <a:xfrm>
            <a:off x="6315087" y="3429000"/>
            <a:ext cx="115140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4" name="Rechte verbindingslijn 23"/>
          <p:cNvCxnSpPr/>
          <p:nvPr/>
        </p:nvCxnSpPr>
        <p:spPr>
          <a:xfrm>
            <a:off x="7538585" y="3429000"/>
            <a:ext cx="115140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5" name="Rechte verbindingslijn 24"/>
          <p:cNvCxnSpPr/>
          <p:nvPr/>
        </p:nvCxnSpPr>
        <p:spPr>
          <a:xfrm>
            <a:off x="8762084" y="3429000"/>
            <a:ext cx="115140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7" name="Rechte verbindingslijn met pijl 26"/>
          <p:cNvCxnSpPr/>
          <p:nvPr/>
        </p:nvCxnSpPr>
        <p:spPr>
          <a:xfrm flipV="1">
            <a:off x="1852915" y="3644912"/>
            <a:ext cx="0" cy="647735"/>
          </a:xfrm>
          <a:prstGeom prst="straightConnector1">
            <a:avLst/>
          </a:prstGeom>
          <a:ln w="38100">
            <a:solidFill>
              <a:srgbClr val="02A5E2"/>
            </a:solidFill>
            <a:tailEnd type="triangle"/>
          </a:ln>
        </p:spPr>
        <p:style>
          <a:lnRef idx="1">
            <a:schemeClr val="accent1"/>
          </a:lnRef>
          <a:fillRef idx="0">
            <a:schemeClr val="accent1"/>
          </a:fillRef>
          <a:effectRef idx="0">
            <a:schemeClr val="accent1"/>
          </a:effectRef>
          <a:fontRef idx="minor">
            <a:schemeClr val="tx1"/>
          </a:fontRef>
        </p:style>
      </p:cxnSp>
      <p:cxnSp>
        <p:nvCxnSpPr>
          <p:cNvPr id="28" name="Rechte verbindingslijn met pijl 27"/>
          <p:cNvCxnSpPr/>
          <p:nvPr/>
        </p:nvCxnSpPr>
        <p:spPr>
          <a:xfrm flipV="1">
            <a:off x="2932472" y="3644912"/>
            <a:ext cx="0" cy="647735"/>
          </a:xfrm>
          <a:prstGeom prst="straightConnector1">
            <a:avLst/>
          </a:prstGeom>
          <a:ln w="38100">
            <a:solidFill>
              <a:srgbClr val="02A5E2"/>
            </a:solidFill>
            <a:tailEnd type="triangle"/>
          </a:ln>
        </p:spPr>
        <p:style>
          <a:lnRef idx="1">
            <a:schemeClr val="accent1"/>
          </a:lnRef>
          <a:fillRef idx="0">
            <a:schemeClr val="accent1"/>
          </a:fillRef>
          <a:effectRef idx="0">
            <a:schemeClr val="accent1"/>
          </a:effectRef>
          <a:fontRef idx="minor">
            <a:schemeClr val="tx1"/>
          </a:fontRef>
        </p:style>
      </p:cxnSp>
      <p:cxnSp>
        <p:nvCxnSpPr>
          <p:cNvPr id="29" name="Rechte verbindingslijn met pijl 28"/>
          <p:cNvCxnSpPr/>
          <p:nvPr/>
        </p:nvCxnSpPr>
        <p:spPr>
          <a:xfrm flipV="1">
            <a:off x="4155971" y="3644912"/>
            <a:ext cx="0" cy="647735"/>
          </a:xfrm>
          <a:prstGeom prst="straightConnector1">
            <a:avLst/>
          </a:prstGeom>
          <a:ln w="38100">
            <a:solidFill>
              <a:srgbClr val="02A5E2"/>
            </a:solidFill>
            <a:tailEnd type="triangle"/>
          </a:ln>
        </p:spPr>
        <p:style>
          <a:lnRef idx="1">
            <a:schemeClr val="accent1"/>
          </a:lnRef>
          <a:fillRef idx="0">
            <a:schemeClr val="accent1"/>
          </a:fillRef>
          <a:effectRef idx="0">
            <a:schemeClr val="accent1"/>
          </a:effectRef>
          <a:fontRef idx="minor">
            <a:schemeClr val="tx1"/>
          </a:fontRef>
        </p:style>
      </p:cxnSp>
      <p:cxnSp>
        <p:nvCxnSpPr>
          <p:cNvPr id="30" name="Rechte verbindingslijn met pijl 29"/>
          <p:cNvCxnSpPr/>
          <p:nvPr/>
        </p:nvCxnSpPr>
        <p:spPr>
          <a:xfrm flipV="1">
            <a:off x="6027204" y="3644912"/>
            <a:ext cx="0" cy="647735"/>
          </a:xfrm>
          <a:prstGeom prst="straightConnector1">
            <a:avLst/>
          </a:prstGeom>
          <a:ln w="38100">
            <a:solidFill>
              <a:srgbClr val="02A5E2"/>
            </a:solidFill>
            <a:tailEnd type="triangle"/>
          </a:ln>
        </p:spPr>
        <p:style>
          <a:lnRef idx="1">
            <a:schemeClr val="accent1"/>
          </a:lnRef>
          <a:fillRef idx="0">
            <a:schemeClr val="accent1"/>
          </a:fillRef>
          <a:effectRef idx="0">
            <a:schemeClr val="accent1"/>
          </a:effectRef>
          <a:fontRef idx="minor">
            <a:schemeClr val="tx1"/>
          </a:fontRef>
        </p:style>
      </p:cxnSp>
      <p:cxnSp>
        <p:nvCxnSpPr>
          <p:cNvPr id="31" name="Rechte verbindingslijn met pijl 30"/>
          <p:cNvCxnSpPr/>
          <p:nvPr/>
        </p:nvCxnSpPr>
        <p:spPr>
          <a:xfrm flipV="1">
            <a:off x="6459028" y="3644912"/>
            <a:ext cx="0" cy="647735"/>
          </a:xfrm>
          <a:prstGeom prst="straightConnector1">
            <a:avLst/>
          </a:prstGeom>
          <a:ln w="38100">
            <a:solidFill>
              <a:srgbClr val="02A5E2"/>
            </a:solidFill>
            <a:tailEnd type="triangle"/>
          </a:ln>
        </p:spPr>
        <p:style>
          <a:lnRef idx="1">
            <a:schemeClr val="accent1"/>
          </a:lnRef>
          <a:fillRef idx="0">
            <a:schemeClr val="accent1"/>
          </a:fillRef>
          <a:effectRef idx="0">
            <a:schemeClr val="accent1"/>
          </a:effectRef>
          <a:fontRef idx="minor">
            <a:schemeClr val="tx1"/>
          </a:fontRef>
        </p:style>
      </p:cxnSp>
      <p:cxnSp>
        <p:nvCxnSpPr>
          <p:cNvPr id="32" name="Rechte verbindingslijn met pijl 31"/>
          <p:cNvCxnSpPr/>
          <p:nvPr/>
        </p:nvCxnSpPr>
        <p:spPr>
          <a:xfrm flipV="1">
            <a:off x="8330261" y="3644912"/>
            <a:ext cx="0" cy="647735"/>
          </a:xfrm>
          <a:prstGeom prst="straightConnector1">
            <a:avLst/>
          </a:prstGeom>
          <a:ln w="38100">
            <a:solidFill>
              <a:srgbClr val="02A5E2"/>
            </a:solidFill>
            <a:tailEnd type="triangle"/>
          </a:ln>
        </p:spPr>
        <p:style>
          <a:lnRef idx="1">
            <a:schemeClr val="accent1"/>
          </a:lnRef>
          <a:fillRef idx="0">
            <a:schemeClr val="accent1"/>
          </a:fillRef>
          <a:effectRef idx="0">
            <a:schemeClr val="accent1"/>
          </a:effectRef>
          <a:fontRef idx="minor">
            <a:schemeClr val="tx1"/>
          </a:fontRef>
        </p:style>
      </p:cxnSp>
      <p:cxnSp>
        <p:nvCxnSpPr>
          <p:cNvPr id="33" name="Rechte verbindingslijn met pijl 32"/>
          <p:cNvCxnSpPr/>
          <p:nvPr/>
        </p:nvCxnSpPr>
        <p:spPr>
          <a:xfrm flipV="1">
            <a:off x="9913612" y="3644912"/>
            <a:ext cx="0" cy="647735"/>
          </a:xfrm>
          <a:prstGeom prst="straightConnector1">
            <a:avLst/>
          </a:prstGeom>
          <a:ln w="38100">
            <a:solidFill>
              <a:srgbClr val="02A5E2"/>
            </a:solidFill>
            <a:tailEnd type="triangle"/>
          </a:ln>
        </p:spPr>
        <p:style>
          <a:lnRef idx="1">
            <a:schemeClr val="accent1"/>
          </a:lnRef>
          <a:fillRef idx="0">
            <a:schemeClr val="accent1"/>
          </a:fillRef>
          <a:effectRef idx="0">
            <a:schemeClr val="accent1"/>
          </a:effectRef>
          <a:fontRef idx="minor">
            <a:schemeClr val="tx1"/>
          </a:fontRef>
        </p:style>
      </p:cxnSp>
      <p:sp>
        <p:nvSpPr>
          <p:cNvPr id="34" name="Tekstvak 33"/>
          <p:cNvSpPr txBox="1"/>
          <p:nvPr/>
        </p:nvSpPr>
        <p:spPr>
          <a:xfrm>
            <a:off x="1924886" y="4148705"/>
            <a:ext cx="359853" cy="369140"/>
          </a:xfrm>
          <a:prstGeom prst="rect">
            <a:avLst/>
          </a:prstGeom>
          <a:noFill/>
        </p:spPr>
        <p:txBody>
          <a:bodyPr wrap="square" rtlCol="0">
            <a:spAutoFit/>
          </a:bodyPr>
          <a:lstStyle/>
          <a:p>
            <a:r>
              <a:rPr lang="nl-NL" sz="1799" dirty="0">
                <a:solidFill>
                  <a:srgbClr val="02A5E2"/>
                </a:solidFill>
              </a:rPr>
              <a:t>1</a:t>
            </a:r>
          </a:p>
        </p:txBody>
      </p:sp>
      <p:sp>
        <p:nvSpPr>
          <p:cNvPr id="35" name="Tekstvak 34"/>
          <p:cNvSpPr txBox="1"/>
          <p:nvPr/>
        </p:nvSpPr>
        <p:spPr>
          <a:xfrm>
            <a:off x="3004444" y="4148705"/>
            <a:ext cx="359853" cy="369140"/>
          </a:xfrm>
          <a:prstGeom prst="rect">
            <a:avLst/>
          </a:prstGeom>
          <a:noFill/>
        </p:spPr>
        <p:txBody>
          <a:bodyPr wrap="square" rtlCol="0">
            <a:spAutoFit/>
          </a:bodyPr>
          <a:lstStyle/>
          <a:p>
            <a:r>
              <a:rPr lang="nl-NL" sz="1799" dirty="0">
                <a:solidFill>
                  <a:srgbClr val="02A5E2"/>
                </a:solidFill>
              </a:rPr>
              <a:t>2</a:t>
            </a:r>
          </a:p>
        </p:txBody>
      </p:sp>
      <p:sp>
        <p:nvSpPr>
          <p:cNvPr id="36" name="Tekstvak 35"/>
          <p:cNvSpPr txBox="1"/>
          <p:nvPr/>
        </p:nvSpPr>
        <p:spPr>
          <a:xfrm>
            <a:off x="4227942" y="4148705"/>
            <a:ext cx="359853" cy="369140"/>
          </a:xfrm>
          <a:prstGeom prst="rect">
            <a:avLst/>
          </a:prstGeom>
          <a:noFill/>
        </p:spPr>
        <p:txBody>
          <a:bodyPr wrap="square" rtlCol="0">
            <a:spAutoFit/>
          </a:bodyPr>
          <a:lstStyle/>
          <a:p>
            <a:r>
              <a:rPr lang="nl-NL" sz="1799" dirty="0">
                <a:solidFill>
                  <a:srgbClr val="02A5E2"/>
                </a:solidFill>
              </a:rPr>
              <a:t>3</a:t>
            </a:r>
          </a:p>
        </p:txBody>
      </p:sp>
      <p:sp>
        <p:nvSpPr>
          <p:cNvPr id="37" name="Tekstvak 36"/>
          <p:cNvSpPr txBox="1"/>
          <p:nvPr/>
        </p:nvSpPr>
        <p:spPr>
          <a:xfrm>
            <a:off x="6099176" y="4148705"/>
            <a:ext cx="359853" cy="369140"/>
          </a:xfrm>
          <a:prstGeom prst="rect">
            <a:avLst/>
          </a:prstGeom>
          <a:noFill/>
        </p:spPr>
        <p:txBody>
          <a:bodyPr wrap="square" rtlCol="0">
            <a:spAutoFit/>
          </a:bodyPr>
          <a:lstStyle/>
          <a:p>
            <a:r>
              <a:rPr lang="nl-NL" sz="1799" dirty="0">
                <a:solidFill>
                  <a:srgbClr val="02A5E2"/>
                </a:solidFill>
              </a:rPr>
              <a:t>4</a:t>
            </a:r>
          </a:p>
        </p:txBody>
      </p:sp>
      <p:sp>
        <p:nvSpPr>
          <p:cNvPr id="38" name="Tekstvak 37"/>
          <p:cNvSpPr txBox="1"/>
          <p:nvPr/>
        </p:nvSpPr>
        <p:spPr>
          <a:xfrm>
            <a:off x="6530999" y="4148705"/>
            <a:ext cx="359853" cy="369140"/>
          </a:xfrm>
          <a:prstGeom prst="rect">
            <a:avLst/>
          </a:prstGeom>
          <a:noFill/>
        </p:spPr>
        <p:txBody>
          <a:bodyPr wrap="square" rtlCol="0">
            <a:spAutoFit/>
          </a:bodyPr>
          <a:lstStyle/>
          <a:p>
            <a:r>
              <a:rPr lang="nl-NL" sz="1799" dirty="0">
                <a:solidFill>
                  <a:srgbClr val="02A5E2"/>
                </a:solidFill>
              </a:rPr>
              <a:t>5</a:t>
            </a:r>
          </a:p>
        </p:txBody>
      </p:sp>
      <p:sp>
        <p:nvSpPr>
          <p:cNvPr id="39" name="Tekstvak 38"/>
          <p:cNvSpPr txBox="1"/>
          <p:nvPr/>
        </p:nvSpPr>
        <p:spPr>
          <a:xfrm>
            <a:off x="8330262" y="4148705"/>
            <a:ext cx="359853" cy="369140"/>
          </a:xfrm>
          <a:prstGeom prst="rect">
            <a:avLst/>
          </a:prstGeom>
          <a:noFill/>
        </p:spPr>
        <p:txBody>
          <a:bodyPr wrap="square" rtlCol="0">
            <a:spAutoFit/>
          </a:bodyPr>
          <a:lstStyle/>
          <a:p>
            <a:r>
              <a:rPr lang="nl-NL" sz="1799" dirty="0">
                <a:solidFill>
                  <a:srgbClr val="02A5E2"/>
                </a:solidFill>
              </a:rPr>
              <a:t>6</a:t>
            </a:r>
          </a:p>
        </p:txBody>
      </p:sp>
      <p:sp>
        <p:nvSpPr>
          <p:cNvPr id="40" name="Tekstvak 39"/>
          <p:cNvSpPr txBox="1"/>
          <p:nvPr/>
        </p:nvSpPr>
        <p:spPr>
          <a:xfrm>
            <a:off x="9985584" y="4148705"/>
            <a:ext cx="359853" cy="369140"/>
          </a:xfrm>
          <a:prstGeom prst="rect">
            <a:avLst/>
          </a:prstGeom>
          <a:noFill/>
        </p:spPr>
        <p:txBody>
          <a:bodyPr wrap="square" rtlCol="0">
            <a:spAutoFit/>
          </a:bodyPr>
          <a:lstStyle/>
          <a:p>
            <a:r>
              <a:rPr lang="nl-NL" sz="1799" dirty="0">
                <a:solidFill>
                  <a:srgbClr val="02A5E2"/>
                </a:solidFill>
              </a:rPr>
              <a:t>7</a:t>
            </a:r>
          </a:p>
        </p:txBody>
      </p:sp>
      <p:sp>
        <p:nvSpPr>
          <p:cNvPr id="2" name="Tekstvak 1">
            <a:extLst>
              <a:ext uri="{FF2B5EF4-FFF2-40B4-BE49-F238E27FC236}">
                <a16:creationId xmlns:a16="http://schemas.microsoft.com/office/drawing/2014/main" id="{9E382C9C-A8FE-499F-B11C-3BA9419A794B}"/>
              </a:ext>
            </a:extLst>
          </p:cNvPr>
          <p:cNvSpPr txBox="1"/>
          <p:nvPr/>
        </p:nvSpPr>
        <p:spPr>
          <a:xfrm>
            <a:off x="10327319" y="2697424"/>
            <a:ext cx="2119785" cy="1815882"/>
          </a:xfrm>
          <a:prstGeom prst="rect">
            <a:avLst/>
          </a:prstGeom>
          <a:noFill/>
        </p:spPr>
        <p:txBody>
          <a:bodyPr wrap="square" rtlCol="0">
            <a:spAutoFit/>
          </a:bodyPr>
          <a:lstStyle/>
          <a:p>
            <a:r>
              <a:rPr lang="nl-NL" sz="1400" b="1" dirty="0">
                <a:solidFill>
                  <a:srgbClr val="404040"/>
                </a:solidFill>
              </a:rPr>
              <a:t>Facturen: in totaal </a:t>
            </a:r>
          </a:p>
          <a:p>
            <a:r>
              <a:rPr lang="nl-NL" sz="1400" b="1" dirty="0">
                <a:solidFill>
                  <a:srgbClr val="404040"/>
                </a:solidFill>
              </a:rPr>
              <a:t>18 mio </a:t>
            </a:r>
          </a:p>
          <a:p>
            <a:endParaRPr lang="nl-NL" sz="1400" b="1" dirty="0">
              <a:solidFill>
                <a:srgbClr val="ED1A3B"/>
              </a:solidFill>
            </a:endParaRPr>
          </a:p>
          <a:p>
            <a:r>
              <a:rPr lang="nl-NL" sz="1400" b="1" dirty="0">
                <a:solidFill>
                  <a:srgbClr val="ED1A3B"/>
                </a:solidFill>
              </a:rPr>
              <a:t>Intervallen van 100.000</a:t>
            </a:r>
          </a:p>
          <a:p>
            <a:endParaRPr lang="nl-NL" sz="1400" b="1" dirty="0"/>
          </a:p>
          <a:p>
            <a:r>
              <a:rPr lang="nl-NL" sz="1400" b="1" dirty="0">
                <a:solidFill>
                  <a:srgbClr val="00B0F0"/>
                </a:solidFill>
              </a:rPr>
              <a:t>Steekproef (180 euro’s)</a:t>
            </a:r>
          </a:p>
        </p:txBody>
      </p:sp>
    </p:spTree>
    <p:extLst>
      <p:ext uri="{BB962C8B-B14F-4D97-AF65-F5344CB8AC3E}">
        <p14:creationId xmlns:p14="http://schemas.microsoft.com/office/powerpoint/2010/main" val="4188686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C8D3B459-B350-4054-B91F-D8574DC64006}"/>
              </a:ext>
            </a:extLst>
          </p:cNvPr>
          <p:cNvSpPr>
            <a:spLocks noGrp="1"/>
          </p:cNvSpPr>
          <p:nvPr>
            <p:ph type="body" orient="vert" idx="1"/>
          </p:nvPr>
        </p:nvSpPr>
        <p:spPr/>
        <p:txBody>
          <a:bodyPr/>
          <a:lstStyle/>
          <a:p>
            <a:r>
              <a:rPr lang="nl-NL" dirty="0"/>
              <a:t>Boekenonderzoek jaar X op populatie Y.</a:t>
            </a:r>
          </a:p>
          <a:p>
            <a:r>
              <a:rPr lang="nl-NL" dirty="0"/>
              <a:t>Gevonden fout extrapoleren naar jaar X-1 t/m X-5.</a:t>
            </a:r>
          </a:p>
          <a:p>
            <a:endParaRPr lang="nl-NL" dirty="0"/>
          </a:p>
        </p:txBody>
      </p:sp>
      <p:sp>
        <p:nvSpPr>
          <p:cNvPr id="3" name="Tijdelijke aanduiding voor tekst 2">
            <a:extLst>
              <a:ext uri="{FF2B5EF4-FFF2-40B4-BE49-F238E27FC236}">
                <a16:creationId xmlns:a16="http://schemas.microsoft.com/office/drawing/2014/main" id="{943AF5B2-09A0-4101-A3DC-38BCD419A991}"/>
              </a:ext>
            </a:extLst>
          </p:cNvPr>
          <p:cNvSpPr>
            <a:spLocks noGrp="1"/>
          </p:cNvSpPr>
          <p:nvPr>
            <p:ph type="body" idx="14"/>
          </p:nvPr>
        </p:nvSpPr>
        <p:spPr/>
        <p:txBody>
          <a:bodyPr/>
          <a:lstStyle/>
          <a:p>
            <a:r>
              <a:rPr lang="nl-NL" dirty="0"/>
              <a:t>‘Projectie’ binnen de </a:t>
            </a:r>
            <a:r>
              <a:rPr lang="nl-NL" dirty="0" err="1"/>
              <a:t>naheffings</a:t>
            </a:r>
            <a:r>
              <a:rPr lang="nl-NL" dirty="0"/>
              <a:t>/navorderingstermijn</a:t>
            </a:r>
          </a:p>
        </p:txBody>
      </p:sp>
      <p:sp>
        <p:nvSpPr>
          <p:cNvPr id="4" name="Titel 3">
            <a:extLst>
              <a:ext uri="{FF2B5EF4-FFF2-40B4-BE49-F238E27FC236}">
                <a16:creationId xmlns:a16="http://schemas.microsoft.com/office/drawing/2014/main" id="{F722995E-3C0B-408A-9387-BD4C0A4FB426}"/>
              </a:ext>
            </a:extLst>
          </p:cNvPr>
          <p:cNvSpPr>
            <a:spLocks noGrp="1"/>
          </p:cNvSpPr>
          <p:nvPr>
            <p:ph type="title"/>
          </p:nvPr>
        </p:nvSpPr>
        <p:spPr/>
        <p:txBody>
          <a:bodyPr/>
          <a:lstStyle/>
          <a:p>
            <a:r>
              <a:rPr lang="nl-NL" dirty="0"/>
              <a:t>Extrapolatie</a:t>
            </a:r>
          </a:p>
        </p:txBody>
      </p:sp>
    </p:spTree>
    <p:extLst>
      <p:ext uri="{BB962C8B-B14F-4D97-AF65-F5344CB8AC3E}">
        <p14:creationId xmlns:p14="http://schemas.microsoft.com/office/powerpoint/2010/main" val="774164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C8D3B459-B350-4054-B91F-D8574DC64006}"/>
              </a:ext>
            </a:extLst>
          </p:cNvPr>
          <p:cNvSpPr>
            <a:spLocks noGrp="1"/>
          </p:cNvSpPr>
          <p:nvPr>
            <p:ph type="body" orient="vert" idx="1"/>
          </p:nvPr>
        </p:nvSpPr>
        <p:spPr/>
        <p:txBody>
          <a:bodyPr/>
          <a:lstStyle/>
          <a:p>
            <a:pPr marL="285750" indent="-285750">
              <a:buFont typeface="Arial" panose="020B0604020202020204" pitchFamily="34" charset="0"/>
              <a:buChar char="•"/>
            </a:pPr>
            <a:r>
              <a:rPr lang="nl-NL" dirty="0"/>
              <a:t>Begeleiding opzet </a:t>
            </a:r>
          </a:p>
          <a:p>
            <a:pPr marL="555615" lvl="1" indent="-285750">
              <a:buFont typeface="Arial" panose="020B0604020202020204" pitchFamily="34" charset="0"/>
              <a:buChar char="•"/>
            </a:pPr>
            <a:r>
              <a:rPr lang="nl-NL" dirty="0"/>
              <a:t>Correctievoorstel voorkomt steekproef?</a:t>
            </a:r>
          </a:p>
          <a:p>
            <a:pPr marL="555615" lvl="1" indent="-285750">
              <a:buFont typeface="Arial" panose="020B0604020202020204" pitchFamily="34" charset="0"/>
              <a:buChar char="•"/>
            </a:pPr>
            <a:r>
              <a:rPr lang="nl-NL" dirty="0"/>
              <a:t>Begeleiding interviews</a:t>
            </a:r>
          </a:p>
          <a:p>
            <a:pPr marL="555615" lvl="1" indent="-285750">
              <a:buFont typeface="Arial" panose="020B0604020202020204" pitchFamily="34" charset="0"/>
              <a:buChar char="•"/>
            </a:pPr>
            <a:r>
              <a:rPr lang="nl-NL" dirty="0"/>
              <a:t>Bepalen populatie (schakel steekproefspecialist in)</a:t>
            </a:r>
          </a:p>
          <a:p>
            <a:pPr marL="555615" lvl="1" indent="-285750">
              <a:buFont typeface="Arial" panose="020B0604020202020204" pitchFamily="34" charset="0"/>
              <a:buChar char="•"/>
            </a:pPr>
            <a:r>
              <a:rPr lang="nl-NL" dirty="0"/>
              <a:t>Bepalen belastingmiddel</a:t>
            </a:r>
          </a:p>
          <a:p>
            <a:pPr lvl="1" indent="0">
              <a:buNone/>
            </a:pPr>
            <a:endParaRPr lang="nl-NL" dirty="0"/>
          </a:p>
          <a:p>
            <a:pPr marL="285750" indent="-285750">
              <a:buFont typeface="Arial" panose="020B0604020202020204" pitchFamily="34" charset="0"/>
              <a:buChar char="•"/>
            </a:pPr>
            <a:r>
              <a:rPr lang="nl-NL" dirty="0"/>
              <a:t>Begeleiding in controle van de gestoken euro’s </a:t>
            </a:r>
          </a:p>
          <a:p>
            <a:endParaRPr lang="nl-NL" dirty="0"/>
          </a:p>
          <a:p>
            <a:pPr marL="285750" indent="-285750">
              <a:buFont typeface="Arial" panose="020B0604020202020204" pitchFamily="34" charset="0"/>
              <a:buChar char="•"/>
            </a:pPr>
            <a:r>
              <a:rPr lang="nl-NL" dirty="0"/>
              <a:t>Begeleiding in evaluatie uitkomst</a:t>
            </a:r>
          </a:p>
          <a:p>
            <a:pPr lvl="1" indent="0">
              <a:buNone/>
            </a:pPr>
            <a:endParaRPr lang="nl-NL" dirty="0"/>
          </a:p>
        </p:txBody>
      </p:sp>
      <p:sp>
        <p:nvSpPr>
          <p:cNvPr id="3" name="Tijdelijke aanduiding voor tekst 2">
            <a:extLst>
              <a:ext uri="{FF2B5EF4-FFF2-40B4-BE49-F238E27FC236}">
                <a16:creationId xmlns:a16="http://schemas.microsoft.com/office/drawing/2014/main" id="{943AF5B2-09A0-4101-A3DC-38BCD419A991}"/>
              </a:ext>
            </a:extLst>
          </p:cNvPr>
          <p:cNvSpPr>
            <a:spLocks noGrp="1"/>
          </p:cNvSpPr>
          <p:nvPr>
            <p:ph type="body" idx="14"/>
          </p:nvPr>
        </p:nvSpPr>
        <p:spPr/>
        <p:txBody>
          <a:bodyPr/>
          <a:lstStyle/>
          <a:p>
            <a:endParaRPr lang="nl-NL"/>
          </a:p>
        </p:txBody>
      </p:sp>
      <p:sp>
        <p:nvSpPr>
          <p:cNvPr id="4" name="Titel 3">
            <a:extLst>
              <a:ext uri="{FF2B5EF4-FFF2-40B4-BE49-F238E27FC236}">
                <a16:creationId xmlns:a16="http://schemas.microsoft.com/office/drawing/2014/main" id="{F722995E-3C0B-408A-9387-BD4C0A4FB426}"/>
              </a:ext>
            </a:extLst>
          </p:cNvPr>
          <p:cNvSpPr>
            <a:spLocks noGrp="1"/>
          </p:cNvSpPr>
          <p:nvPr>
            <p:ph type="title"/>
          </p:nvPr>
        </p:nvSpPr>
        <p:spPr/>
        <p:txBody>
          <a:bodyPr/>
          <a:lstStyle/>
          <a:p>
            <a:r>
              <a:rPr lang="nl-NL" dirty="0"/>
              <a:t>Invloed fiscalist</a:t>
            </a:r>
          </a:p>
        </p:txBody>
      </p:sp>
    </p:spTree>
    <p:extLst>
      <p:ext uri="{BB962C8B-B14F-4D97-AF65-F5344CB8AC3E}">
        <p14:creationId xmlns:p14="http://schemas.microsoft.com/office/powerpoint/2010/main" val="2249808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2EAEC10F-B2FF-4C73-9D23-BA6494609AD9}"/>
              </a:ext>
            </a:extLst>
          </p:cNvPr>
          <p:cNvSpPr>
            <a:spLocks noGrp="1"/>
          </p:cNvSpPr>
          <p:nvPr>
            <p:ph type="body" orient="vert" idx="1"/>
          </p:nvPr>
        </p:nvSpPr>
        <p:spPr/>
        <p:txBody>
          <a:bodyPr/>
          <a:lstStyle/>
          <a:p>
            <a:r>
              <a:rPr lang="nl-NL" sz="1800" dirty="0"/>
              <a:t>Geldt voor:</a:t>
            </a:r>
          </a:p>
          <a:p>
            <a:pPr marL="285750" indent="-285750">
              <a:buClr>
                <a:srgbClr val="ED1A3B"/>
              </a:buClr>
              <a:buFont typeface="Wingdings 3" panose="05040102010807070707" pitchFamily="18" charset="2"/>
              <a:buChar char="u"/>
            </a:pPr>
            <a:r>
              <a:rPr lang="nl-NL" sz="1800" dirty="0"/>
              <a:t>Btw ondernemer </a:t>
            </a:r>
          </a:p>
          <a:p>
            <a:pPr marL="285750" indent="-285750">
              <a:buClr>
                <a:srgbClr val="ED1A3B"/>
              </a:buClr>
              <a:buFont typeface="Wingdings 3" panose="05040102010807070707" pitchFamily="18" charset="2"/>
              <a:buChar char="u"/>
            </a:pPr>
            <a:r>
              <a:rPr lang="nl-NL" sz="1800" dirty="0"/>
              <a:t>In NL gevestigd of vaste inrichting btw in NL</a:t>
            </a:r>
          </a:p>
          <a:p>
            <a:pPr marL="285750" indent="-285750">
              <a:buClr>
                <a:srgbClr val="ED1A3B"/>
              </a:buClr>
              <a:buFont typeface="Wingdings 3" panose="05040102010807070707" pitchFamily="18" charset="2"/>
              <a:buChar char="u"/>
            </a:pPr>
            <a:r>
              <a:rPr lang="nl-NL" sz="1800" dirty="0"/>
              <a:t>Omzet per kalenderjaar niet hoger dan EUR 20.000</a:t>
            </a:r>
          </a:p>
          <a:p>
            <a:pPr marL="285750" indent="-285750">
              <a:buFont typeface="Arial" panose="020B0604020202020204" pitchFamily="34" charset="0"/>
              <a:buChar char="•"/>
            </a:pPr>
            <a:endParaRPr lang="nl-NL" sz="1800" dirty="0"/>
          </a:p>
          <a:p>
            <a:r>
              <a:rPr lang="nl-NL" sz="1800" dirty="0"/>
              <a:t>Gevolgen:</a:t>
            </a:r>
          </a:p>
          <a:p>
            <a:pPr marL="285750" indent="-285750">
              <a:buClr>
                <a:srgbClr val="ED1A3B"/>
              </a:buClr>
              <a:buFont typeface="Wingdings 3" panose="05040102010807070707" pitchFamily="18" charset="2"/>
              <a:buChar char="u"/>
            </a:pPr>
            <a:r>
              <a:rPr lang="nl-NL" sz="1800" dirty="0"/>
              <a:t>Vermindering administratieve verplichtingen </a:t>
            </a:r>
          </a:p>
          <a:p>
            <a:pPr marL="285750" indent="-285750">
              <a:buClr>
                <a:srgbClr val="ED1A3B"/>
              </a:buClr>
              <a:buFont typeface="Wingdings 3" panose="05040102010807070707" pitchFamily="18" charset="2"/>
              <a:buChar char="u"/>
            </a:pPr>
            <a:r>
              <a:rPr lang="nl-NL" sz="1800" dirty="0"/>
              <a:t>Geen btw betalen maar ook geen aftrek voorbelasting</a:t>
            </a:r>
          </a:p>
          <a:p>
            <a:pPr marL="285750" indent="-285750">
              <a:buClr>
                <a:srgbClr val="ED1A3B"/>
              </a:buClr>
              <a:buFont typeface="Wingdings 3" panose="05040102010807070707" pitchFamily="18" charset="2"/>
              <a:buChar char="u"/>
            </a:pPr>
            <a:r>
              <a:rPr lang="nl-NL" sz="1800" dirty="0"/>
              <a:t>Rekening houden met herziening </a:t>
            </a:r>
          </a:p>
          <a:p>
            <a:pPr marL="285750" indent="-285750">
              <a:buClr>
                <a:srgbClr val="ED1A3B"/>
              </a:buClr>
              <a:buFont typeface="Wingdings 3" panose="05040102010807070707" pitchFamily="18" charset="2"/>
              <a:buChar char="u"/>
            </a:pPr>
            <a:r>
              <a:rPr lang="nl-NL" sz="1800" dirty="0"/>
              <a:t>Keuze geldt voor 3 jaar </a:t>
            </a:r>
          </a:p>
        </p:txBody>
      </p:sp>
      <p:sp>
        <p:nvSpPr>
          <p:cNvPr id="3" name="Tijdelijke aanduiding voor tekst 2">
            <a:extLst>
              <a:ext uri="{FF2B5EF4-FFF2-40B4-BE49-F238E27FC236}">
                <a16:creationId xmlns:a16="http://schemas.microsoft.com/office/drawing/2014/main" id="{AC3A7806-EC0E-4A9E-B319-4DBE349F394F}"/>
              </a:ext>
            </a:extLst>
          </p:cNvPr>
          <p:cNvSpPr>
            <a:spLocks noGrp="1"/>
          </p:cNvSpPr>
          <p:nvPr>
            <p:ph type="body" idx="14"/>
          </p:nvPr>
        </p:nvSpPr>
        <p:spPr/>
        <p:txBody>
          <a:bodyPr/>
          <a:lstStyle/>
          <a:p>
            <a:endParaRPr lang="nl-NL"/>
          </a:p>
        </p:txBody>
      </p:sp>
      <p:sp>
        <p:nvSpPr>
          <p:cNvPr id="4" name="Titel 3">
            <a:extLst>
              <a:ext uri="{FF2B5EF4-FFF2-40B4-BE49-F238E27FC236}">
                <a16:creationId xmlns:a16="http://schemas.microsoft.com/office/drawing/2014/main" id="{8AE339D2-64FB-42D3-A3FD-D6040B3D92E4}"/>
              </a:ext>
            </a:extLst>
          </p:cNvPr>
          <p:cNvSpPr>
            <a:spLocks noGrp="1"/>
          </p:cNvSpPr>
          <p:nvPr>
            <p:ph type="title"/>
          </p:nvPr>
        </p:nvSpPr>
        <p:spPr/>
        <p:txBody>
          <a:bodyPr/>
          <a:lstStyle/>
          <a:p>
            <a:r>
              <a:rPr lang="nl-NL" dirty="0">
                <a:sym typeface="Wingdings" panose="05000000000000000000" pitchFamily="2" charset="2"/>
              </a:rPr>
              <a:t>Nieuwe kleine ondernemersregeling vanaf 1 januari 2020 </a:t>
            </a:r>
            <a:br>
              <a:rPr lang="nl-NL" dirty="0">
                <a:sym typeface="Wingdings" panose="05000000000000000000" pitchFamily="2" charset="2"/>
              </a:rPr>
            </a:br>
            <a:endParaRPr lang="nl-NL" dirty="0"/>
          </a:p>
        </p:txBody>
      </p:sp>
      <p:pic>
        <p:nvPicPr>
          <p:cNvPr id="6" name="Afbeelding 5">
            <a:extLst>
              <a:ext uri="{FF2B5EF4-FFF2-40B4-BE49-F238E27FC236}">
                <a16:creationId xmlns:a16="http://schemas.microsoft.com/office/drawing/2014/main" id="{3273C3BD-54CA-44DB-893B-4F29CAA8CE8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71468" y="3429000"/>
            <a:ext cx="5371627" cy="2148651"/>
          </a:xfrm>
          <a:prstGeom prst="rect">
            <a:avLst/>
          </a:prstGeom>
        </p:spPr>
      </p:pic>
    </p:spTree>
    <p:extLst>
      <p:ext uri="{BB962C8B-B14F-4D97-AF65-F5344CB8AC3E}">
        <p14:creationId xmlns:p14="http://schemas.microsoft.com/office/powerpoint/2010/main" val="2286005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el 15"/>
          <p:cNvSpPr>
            <a:spLocks noGrp="1"/>
          </p:cNvSpPr>
          <p:nvPr>
            <p:ph type="title"/>
          </p:nvPr>
        </p:nvSpPr>
        <p:spPr/>
        <p:txBody>
          <a:bodyPr/>
          <a:lstStyle/>
          <a:p>
            <a:r>
              <a:rPr lang="nl-NL" dirty="0"/>
              <a:t>Verlaging btw-tarief voor e-publicaties</a:t>
            </a:r>
          </a:p>
        </p:txBody>
      </p:sp>
      <p:sp>
        <p:nvSpPr>
          <p:cNvPr id="18" name="Tijdelijke aanduiding voor tekst 17"/>
          <p:cNvSpPr>
            <a:spLocks noGrp="1"/>
          </p:cNvSpPr>
          <p:nvPr>
            <p:ph type="body" idx="14"/>
          </p:nvPr>
        </p:nvSpPr>
        <p:spPr/>
        <p:txBody>
          <a:bodyPr/>
          <a:lstStyle/>
          <a:p>
            <a:r>
              <a:rPr lang="nl-NL" dirty="0"/>
              <a:t>Per 1 januari 2020</a:t>
            </a:r>
          </a:p>
        </p:txBody>
      </p:sp>
      <p:sp>
        <p:nvSpPr>
          <p:cNvPr id="17" name="Tijdelijke aanduiding voor verticale tekst 16"/>
          <p:cNvSpPr>
            <a:spLocks noGrp="1"/>
          </p:cNvSpPr>
          <p:nvPr>
            <p:ph type="body" orient="vert" idx="1"/>
          </p:nvPr>
        </p:nvSpPr>
        <p:spPr/>
        <p:txBody>
          <a:bodyPr/>
          <a:lstStyle/>
          <a:p>
            <a:pPr lvl="1"/>
            <a:r>
              <a:rPr lang="nl-NL" sz="1800" dirty="0"/>
              <a:t>Langs elektronische weg leveren of uitlenen van een boek, dagblad, weekblad, tijdschrift of een ander tenminste driemaal per jaar periodiek verschijnende uitgaven</a:t>
            </a:r>
          </a:p>
          <a:p>
            <a:pPr lvl="2"/>
            <a:r>
              <a:rPr lang="nl-NL" sz="1800" dirty="0"/>
              <a:t>Qua inhoud en gebruik gelijk aan boek, dagblad, weekblad of tijdschrift in fysieke vorm</a:t>
            </a:r>
          </a:p>
          <a:p>
            <a:pPr lvl="1"/>
            <a:r>
              <a:rPr lang="nl-NL" sz="1800" dirty="0"/>
              <a:t>Verlenen van toegang tot nieuwswebsites</a:t>
            </a:r>
          </a:p>
          <a:p>
            <a:pPr lvl="2"/>
            <a:r>
              <a:rPr lang="nl-NL" sz="1800" dirty="0"/>
              <a:t>Niet fora waar discussie centraal staat</a:t>
            </a:r>
          </a:p>
          <a:p>
            <a:pPr lvl="2"/>
            <a:r>
              <a:rPr lang="nl-NL" sz="1800" dirty="0"/>
              <a:t>Aanwezigheid van eventuele podcasts, puzzels, voorgelezen tekst, een mogelijkheid tot het geven van commentaar en dergelijke mag, mits bijkomstig </a:t>
            </a:r>
          </a:p>
          <a:p>
            <a:pPr lvl="1"/>
            <a:r>
              <a:rPr lang="nl-NL" sz="1800" dirty="0"/>
              <a:t>Niet voor publicaties of nieuwswebsites die geheel of hoofdzakelijk een muziek- of video-inhoud hebben of die geheel of hoofdzakelijk gericht zijn op het maken van reclame.</a:t>
            </a:r>
          </a:p>
        </p:txBody>
      </p:sp>
    </p:spTree>
    <p:extLst>
      <p:ext uri="{BB962C8B-B14F-4D97-AF65-F5344CB8AC3E}">
        <p14:creationId xmlns:p14="http://schemas.microsoft.com/office/powerpoint/2010/main" val="1257014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17698B4E-9070-4ED5-B25C-8A2D996394B8}"/>
              </a:ext>
            </a:extLst>
          </p:cNvPr>
          <p:cNvSpPr>
            <a:spLocks noGrp="1"/>
          </p:cNvSpPr>
          <p:nvPr>
            <p:ph type="body" orient="vert" idx="1"/>
          </p:nvPr>
        </p:nvSpPr>
        <p:spPr>
          <a:xfrm>
            <a:off x="664110" y="1720867"/>
            <a:ext cx="5651090" cy="3694492"/>
          </a:xfrm>
        </p:spPr>
        <p:txBody>
          <a:bodyPr/>
          <a:lstStyle/>
          <a:p>
            <a:pPr marL="285750" indent="-285750">
              <a:buClr>
                <a:srgbClr val="ED1A3B"/>
              </a:buClr>
              <a:buFont typeface="Wingdings" panose="05000000000000000000" pitchFamily="2" charset="2"/>
              <a:buChar char="Ø"/>
            </a:pPr>
            <a:endParaRPr lang="nl-NL" sz="1800" dirty="0"/>
          </a:p>
          <a:p>
            <a:pPr marL="285750" indent="-285750">
              <a:buClr>
                <a:srgbClr val="ED1A3B"/>
              </a:buClr>
              <a:buFont typeface="Wingdings 3" panose="05040102010807070707" pitchFamily="18" charset="2"/>
              <a:buChar char="u"/>
            </a:pPr>
            <a:r>
              <a:rPr lang="nl-NL" sz="1800" dirty="0"/>
              <a:t>Weigering 0%-tarief indien het btw-nummer van de afnemer niet is vermeld</a:t>
            </a:r>
          </a:p>
          <a:p>
            <a:pPr marL="285750" indent="-285750">
              <a:buClr>
                <a:srgbClr val="ED1A3B"/>
              </a:buClr>
              <a:buFont typeface="Wingdings 3" panose="05040102010807070707" pitchFamily="18" charset="2"/>
              <a:buChar char="u"/>
            </a:pPr>
            <a:endParaRPr lang="nl-NL" sz="1800" dirty="0"/>
          </a:p>
          <a:p>
            <a:pPr marL="285750" indent="-285750">
              <a:buClr>
                <a:srgbClr val="ED1A3B"/>
              </a:buClr>
              <a:buFont typeface="Wingdings 3" panose="05040102010807070707" pitchFamily="18" charset="2"/>
              <a:buChar char="u"/>
            </a:pPr>
            <a:r>
              <a:rPr lang="nl-NL" sz="1800" dirty="0"/>
              <a:t>Twee niet-tegenstrijdige bewijsstukken ten aanzien van goederenbeweging </a:t>
            </a:r>
          </a:p>
          <a:p>
            <a:pPr marL="285750" indent="-285750">
              <a:buClr>
                <a:srgbClr val="ED1A3B"/>
              </a:buClr>
              <a:buFont typeface="Wingdings 3" panose="05040102010807070707" pitchFamily="18" charset="2"/>
              <a:buChar char="u"/>
            </a:pPr>
            <a:endParaRPr lang="nl-NL" sz="1800" dirty="0"/>
          </a:p>
          <a:p>
            <a:pPr marL="285750" indent="-285750">
              <a:buClr>
                <a:srgbClr val="ED1A3B"/>
              </a:buClr>
              <a:buFont typeface="Wingdings 3" panose="05040102010807070707" pitchFamily="18" charset="2"/>
              <a:buChar char="u"/>
            </a:pPr>
            <a:r>
              <a:rPr lang="nl-NL" sz="1800" dirty="0"/>
              <a:t>Opgaaf Intracommunautaire Prestaties (ICP)</a:t>
            </a:r>
          </a:p>
          <a:p>
            <a:pPr marL="285750" indent="-285750">
              <a:buClr>
                <a:srgbClr val="ED1A3B"/>
              </a:buClr>
              <a:buFont typeface="Wingdings" panose="05000000000000000000" pitchFamily="2" charset="2"/>
              <a:buChar char="Ø"/>
            </a:pPr>
            <a:endParaRPr lang="nl-NL" sz="1800" dirty="0"/>
          </a:p>
          <a:p>
            <a:pPr marL="285750" indent="-285750">
              <a:buClr>
                <a:srgbClr val="ED1A3B"/>
              </a:buClr>
              <a:buFont typeface="Wingdings" panose="05000000000000000000" pitchFamily="2" charset="2"/>
              <a:buChar char="Ø"/>
            </a:pPr>
            <a:endParaRPr lang="nl-NL" sz="1800" dirty="0"/>
          </a:p>
        </p:txBody>
      </p:sp>
      <p:sp>
        <p:nvSpPr>
          <p:cNvPr id="3" name="Tijdelijke aanduiding voor tekst 2">
            <a:extLst>
              <a:ext uri="{FF2B5EF4-FFF2-40B4-BE49-F238E27FC236}">
                <a16:creationId xmlns:a16="http://schemas.microsoft.com/office/drawing/2014/main" id="{E591E5CE-22C7-49B3-B179-7A2F9F08E010}"/>
              </a:ext>
            </a:extLst>
          </p:cNvPr>
          <p:cNvSpPr>
            <a:spLocks noGrp="1"/>
          </p:cNvSpPr>
          <p:nvPr>
            <p:ph type="body" idx="14"/>
          </p:nvPr>
        </p:nvSpPr>
        <p:spPr/>
        <p:txBody>
          <a:bodyPr/>
          <a:lstStyle/>
          <a:p>
            <a:endParaRPr lang="nl-NL" dirty="0"/>
          </a:p>
        </p:txBody>
      </p:sp>
      <p:sp>
        <p:nvSpPr>
          <p:cNvPr id="4" name="Titel 3">
            <a:extLst>
              <a:ext uri="{FF2B5EF4-FFF2-40B4-BE49-F238E27FC236}">
                <a16:creationId xmlns:a16="http://schemas.microsoft.com/office/drawing/2014/main" id="{EBD4E8BF-0646-495C-95C9-94FE49BFB4C8}"/>
              </a:ext>
            </a:extLst>
          </p:cNvPr>
          <p:cNvSpPr>
            <a:spLocks noGrp="1"/>
          </p:cNvSpPr>
          <p:nvPr>
            <p:ph type="title"/>
          </p:nvPr>
        </p:nvSpPr>
        <p:spPr/>
        <p:txBody>
          <a:bodyPr/>
          <a:lstStyle/>
          <a:p>
            <a:r>
              <a:rPr lang="nl-NL" sz="2400" dirty="0"/>
              <a:t>Verplicht stellen btw-identificatienummer voor toepassing btw-nultarief</a:t>
            </a:r>
          </a:p>
        </p:txBody>
      </p:sp>
      <p:pic>
        <p:nvPicPr>
          <p:cNvPr id="5124" name="Picture 4" descr="Afbeeldingsresultaat voor quick fixes">
            <a:extLst>
              <a:ext uri="{FF2B5EF4-FFF2-40B4-BE49-F238E27FC236}">
                <a16:creationId xmlns:a16="http://schemas.microsoft.com/office/drawing/2014/main" id="{1E91036B-FC02-4514-9DBC-437BADA7D74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04637" y="2924944"/>
            <a:ext cx="3392484" cy="24232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5481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0DBBF02D-56EB-4113-865D-92569088A90B}"/>
              </a:ext>
            </a:extLst>
          </p:cNvPr>
          <p:cNvSpPr>
            <a:spLocks noGrp="1"/>
          </p:cNvSpPr>
          <p:nvPr>
            <p:ph type="body" orient="vert" idx="1"/>
          </p:nvPr>
        </p:nvSpPr>
        <p:spPr>
          <a:xfrm>
            <a:off x="664110" y="1720867"/>
            <a:ext cx="6443178" cy="3694492"/>
          </a:xfrm>
        </p:spPr>
        <p:txBody>
          <a:bodyPr/>
          <a:lstStyle/>
          <a:p>
            <a:pPr marL="285750" indent="-285750">
              <a:buClr>
                <a:srgbClr val="ED1A3B"/>
              </a:buClr>
              <a:buFont typeface="Wingdings 3" panose="05040102010807070707" pitchFamily="18" charset="2"/>
              <a:buChar char="u"/>
            </a:pPr>
            <a:r>
              <a:rPr lang="nl-NL" sz="1800" dirty="0"/>
              <a:t>Geen intracommunautaire levering (ICL) door de leverancier in land van vertrek goederen</a:t>
            </a:r>
          </a:p>
          <a:p>
            <a:pPr marL="285750" indent="-285750">
              <a:buClr>
                <a:srgbClr val="ED1A3B"/>
              </a:buClr>
              <a:buFont typeface="Wingdings 3" panose="05040102010807070707" pitchFamily="18" charset="2"/>
              <a:buChar char="u"/>
            </a:pPr>
            <a:endParaRPr lang="nl-NL" sz="1800" dirty="0"/>
          </a:p>
          <a:p>
            <a:pPr marL="285750" indent="-285750">
              <a:buClr>
                <a:srgbClr val="ED1A3B"/>
              </a:buClr>
              <a:buFont typeface="Wingdings 3" panose="05040102010807070707" pitchFamily="18" charset="2"/>
              <a:buChar char="u"/>
            </a:pPr>
            <a:r>
              <a:rPr lang="nl-NL" sz="1800" dirty="0"/>
              <a:t>ICL aangeven vanaf het moment dat de goederen aan de voorraad worden onttrokken</a:t>
            </a:r>
          </a:p>
          <a:p>
            <a:pPr marL="285750" indent="-285750">
              <a:buClr>
                <a:srgbClr val="ED1A3B"/>
              </a:buClr>
              <a:buFont typeface="Wingdings 3" panose="05040102010807070707" pitchFamily="18" charset="2"/>
              <a:buChar char="u"/>
            </a:pPr>
            <a:endParaRPr lang="nl-NL" sz="1800" dirty="0"/>
          </a:p>
          <a:p>
            <a:pPr marL="285750" indent="-285750">
              <a:buClr>
                <a:srgbClr val="ED1A3B"/>
              </a:buClr>
              <a:buFont typeface="Wingdings 3" panose="05040102010807070707" pitchFamily="18" charset="2"/>
              <a:buChar char="u"/>
            </a:pPr>
            <a:r>
              <a:rPr lang="nl-NL" sz="1800" dirty="0"/>
              <a:t>Geen registratie nodig in land afnemer</a:t>
            </a:r>
          </a:p>
          <a:p>
            <a:pPr marL="285750" indent="-285750">
              <a:buClr>
                <a:srgbClr val="ED1A3B"/>
              </a:buClr>
              <a:buFont typeface="Wingdings 3" panose="05040102010807070707" pitchFamily="18" charset="2"/>
              <a:buChar char="u"/>
            </a:pPr>
            <a:endParaRPr lang="nl-NL" sz="1800" dirty="0"/>
          </a:p>
          <a:p>
            <a:pPr marL="285750" indent="-285750">
              <a:buClr>
                <a:srgbClr val="ED1A3B"/>
              </a:buClr>
              <a:buFont typeface="Wingdings 3" panose="05040102010807070707" pitchFamily="18" charset="2"/>
              <a:buChar char="u"/>
            </a:pPr>
            <a:r>
              <a:rPr lang="nl-NL" sz="1800" dirty="0"/>
              <a:t>Afnemer geeft een intracommunautaire verwerving (ICV) aan in het land waar de opslag is gelegen</a:t>
            </a:r>
          </a:p>
          <a:p>
            <a:pPr marL="285750" indent="-285750">
              <a:buFont typeface="Arial" panose="020B0604020202020204" pitchFamily="34" charset="0"/>
              <a:buChar char="•"/>
            </a:pPr>
            <a:endParaRPr lang="nl-NL" dirty="0"/>
          </a:p>
          <a:p>
            <a:pPr marL="285750" indent="-285750">
              <a:buFont typeface="Arial" panose="020B0604020202020204" pitchFamily="34" charset="0"/>
              <a:buChar char="•"/>
            </a:pPr>
            <a:endParaRPr lang="nl-NL" dirty="0"/>
          </a:p>
        </p:txBody>
      </p:sp>
      <p:sp>
        <p:nvSpPr>
          <p:cNvPr id="4" name="Titel 3">
            <a:extLst>
              <a:ext uri="{FF2B5EF4-FFF2-40B4-BE49-F238E27FC236}">
                <a16:creationId xmlns:a16="http://schemas.microsoft.com/office/drawing/2014/main" id="{6CCA1901-B3A3-4366-AE6E-01E77B7E55B7}"/>
              </a:ext>
            </a:extLst>
          </p:cNvPr>
          <p:cNvSpPr>
            <a:spLocks noGrp="1"/>
          </p:cNvSpPr>
          <p:nvPr>
            <p:ph type="title"/>
          </p:nvPr>
        </p:nvSpPr>
        <p:spPr/>
        <p:txBody>
          <a:bodyPr/>
          <a:lstStyle/>
          <a:p>
            <a:r>
              <a:rPr lang="nl-NL" dirty="0"/>
              <a:t>Vereenvoudiging voor ‘call off-voorraden’</a:t>
            </a:r>
          </a:p>
        </p:txBody>
      </p:sp>
      <p:sp>
        <p:nvSpPr>
          <p:cNvPr id="7" name="Tijdelijke aanduiding voor tekst 6">
            <a:extLst>
              <a:ext uri="{FF2B5EF4-FFF2-40B4-BE49-F238E27FC236}">
                <a16:creationId xmlns:a16="http://schemas.microsoft.com/office/drawing/2014/main" id="{3E8B0D81-75E7-40BD-86D8-CD4949B897F2}"/>
              </a:ext>
            </a:extLst>
          </p:cNvPr>
          <p:cNvSpPr>
            <a:spLocks noGrp="1"/>
          </p:cNvSpPr>
          <p:nvPr>
            <p:ph type="body" idx="14"/>
          </p:nvPr>
        </p:nvSpPr>
        <p:spPr/>
        <p:txBody>
          <a:bodyPr/>
          <a:lstStyle/>
          <a:p>
            <a:endParaRPr lang="nl-NL"/>
          </a:p>
        </p:txBody>
      </p:sp>
      <p:pic>
        <p:nvPicPr>
          <p:cNvPr id="5" name="Afbeelding 4" descr="Afbeelding met gebouw, oranje, grond, binnen&#10;&#10;Automatisch gegenereerde beschrijving">
            <a:extLst>
              <a:ext uri="{FF2B5EF4-FFF2-40B4-BE49-F238E27FC236}">
                <a16:creationId xmlns:a16="http://schemas.microsoft.com/office/drawing/2014/main" id="{7D475FF5-F8C7-4478-8001-13AD4C37126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07288" y="1925340"/>
            <a:ext cx="4996779" cy="3694492"/>
          </a:xfrm>
          <a:prstGeom prst="rect">
            <a:avLst/>
          </a:prstGeom>
        </p:spPr>
      </p:pic>
    </p:spTree>
    <p:extLst>
      <p:ext uri="{BB962C8B-B14F-4D97-AF65-F5344CB8AC3E}">
        <p14:creationId xmlns:p14="http://schemas.microsoft.com/office/powerpoint/2010/main" val="1225285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1F676733-17B7-49F6-8F47-35EB64FE5B57}"/>
              </a:ext>
            </a:extLst>
          </p:cNvPr>
          <p:cNvSpPr>
            <a:spLocks noGrp="1"/>
          </p:cNvSpPr>
          <p:nvPr>
            <p:ph type="body" orient="vert" idx="1"/>
          </p:nvPr>
        </p:nvSpPr>
        <p:spPr/>
        <p:txBody>
          <a:bodyPr/>
          <a:lstStyle/>
          <a:p>
            <a:endParaRPr lang="nl-NL" dirty="0"/>
          </a:p>
        </p:txBody>
      </p:sp>
      <p:sp>
        <p:nvSpPr>
          <p:cNvPr id="3" name="Tijdelijke aanduiding voor tekst 2">
            <a:extLst>
              <a:ext uri="{FF2B5EF4-FFF2-40B4-BE49-F238E27FC236}">
                <a16:creationId xmlns:a16="http://schemas.microsoft.com/office/drawing/2014/main" id="{45AC5AA2-A88B-480E-BB4A-0F21E21844CB}"/>
              </a:ext>
            </a:extLst>
          </p:cNvPr>
          <p:cNvSpPr>
            <a:spLocks noGrp="1"/>
          </p:cNvSpPr>
          <p:nvPr>
            <p:ph type="body" idx="14"/>
          </p:nvPr>
        </p:nvSpPr>
        <p:spPr/>
        <p:txBody>
          <a:bodyPr/>
          <a:lstStyle/>
          <a:p>
            <a:r>
              <a:rPr lang="nl-NL" dirty="0"/>
              <a:t>Quick Fix</a:t>
            </a:r>
          </a:p>
        </p:txBody>
      </p:sp>
      <p:sp>
        <p:nvSpPr>
          <p:cNvPr id="4" name="Titel 3">
            <a:extLst>
              <a:ext uri="{FF2B5EF4-FFF2-40B4-BE49-F238E27FC236}">
                <a16:creationId xmlns:a16="http://schemas.microsoft.com/office/drawing/2014/main" id="{D7754EB8-118C-4247-93CA-08A3224D8A36}"/>
              </a:ext>
            </a:extLst>
          </p:cNvPr>
          <p:cNvSpPr>
            <a:spLocks noGrp="1"/>
          </p:cNvSpPr>
          <p:nvPr>
            <p:ph type="title"/>
          </p:nvPr>
        </p:nvSpPr>
        <p:spPr/>
        <p:txBody>
          <a:bodyPr/>
          <a:lstStyle/>
          <a:p>
            <a:r>
              <a:rPr lang="nl-NL" dirty="0"/>
              <a:t>Call-off stock</a:t>
            </a:r>
          </a:p>
        </p:txBody>
      </p:sp>
      <p:pic>
        <p:nvPicPr>
          <p:cNvPr id="8" name="Afbeelding 7">
            <a:extLst>
              <a:ext uri="{FF2B5EF4-FFF2-40B4-BE49-F238E27FC236}">
                <a16:creationId xmlns:a16="http://schemas.microsoft.com/office/drawing/2014/main" id="{152F1015-9C32-43FC-8C85-3FA7B4B9ABDC}"/>
              </a:ext>
            </a:extLst>
          </p:cNvPr>
          <p:cNvPicPr>
            <a:picLocks noChangeAspect="1"/>
          </p:cNvPicPr>
          <p:nvPr/>
        </p:nvPicPr>
        <p:blipFill rotWithShape="1">
          <a:blip r:embed="rId3"/>
          <a:srcRect l="8087" t="36777" r="57084" b="15998"/>
          <a:stretch/>
        </p:blipFill>
        <p:spPr>
          <a:xfrm>
            <a:off x="642808" y="1369449"/>
            <a:ext cx="10208895" cy="4325803"/>
          </a:xfrm>
          <a:prstGeom prst="rect">
            <a:avLst/>
          </a:prstGeom>
        </p:spPr>
      </p:pic>
    </p:spTree>
    <p:extLst>
      <p:ext uri="{BB962C8B-B14F-4D97-AF65-F5344CB8AC3E}">
        <p14:creationId xmlns:p14="http://schemas.microsoft.com/office/powerpoint/2010/main" val="3270146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73589151-107C-4DCF-8C41-6B7F387DED16}"/>
              </a:ext>
            </a:extLst>
          </p:cNvPr>
          <p:cNvSpPr>
            <a:spLocks noGrp="1"/>
          </p:cNvSpPr>
          <p:nvPr>
            <p:ph type="body" orient="vert" idx="1"/>
          </p:nvPr>
        </p:nvSpPr>
        <p:spPr/>
        <p:txBody>
          <a:bodyPr/>
          <a:lstStyle/>
          <a:p>
            <a:endParaRPr lang="nl-NL" dirty="0"/>
          </a:p>
          <a:p>
            <a:endParaRPr lang="nl-NL" dirty="0"/>
          </a:p>
          <a:p>
            <a:pPr marL="285750" indent="-285750">
              <a:buClr>
                <a:srgbClr val="ED1A3B"/>
              </a:buClr>
              <a:buFont typeface="Wingdings 3" panose="05040102010807070707" pitchFamily="18" charset="2"/>
              <a:buChar char="u"/>
            </a:pPr>
            <a:r>
              <a:rPr lang="nl-NL" sz="1800" dirty="0"/>
              <a:t>Goederenstroom van land A naar Land C</a:t>
            </a:r>
          </a:p>
          <a:p>
            <a:pPr marL="285750" indent="-285750">
              <a:buClr>
                <a:srgbClr val="ED1A3B"/>
              </a:buClr>
              <a:buFont typeface="Wingdings 3" panose="05040102010807070707" pitchFamily="18" charset="2"/>
              <a:buChar char="u"/>
            </a:pPr>
            <a:endParaRPr lang="nl-NL" sz="1800" dirty="0"/>
          </a:p>
          <a:p>
            <a:pPr marL="285750" indent="-285750">
              <a:buClr>
                <a:srgbClr val="ED1A3B"/>
              </a:buClr>
              <a:buFont typeface="Wingdings 3" panose="05040102010807070707" pitchFamily="18" charset="2"/>
              <a:buChar char="u"/>
            </a:pPr>
            <a:r>
              <a:rPr lang="nl-NL" sz="1800" dirty="0"/>
              <a:t>Twee verkoopovereenkomsten</a:t>
            </a:r>
          </a:p>
          <a:p>
            <a:pPr marL="555750" lvl="1" indent="-285750">
              <a:buClr>
                <a:srgbClr val="ED1A3B"/>
              </a:buClr>
              <a:buFont typeface="Wingdings 3" panose="05040102010807070707" pitchFamily="18" charset="2"/>
              <a:buChar char="w"/>
            </a:pPr>
            <a:r>
              <a:rPr lang="nl-NL" sz="1800" dirty="0"/>
              <a:t>Eén ICL</a:t>
            </a:r>
          </a:p>
          <a:p>
            <a:pPr marL="555750" lvl="1" indent="-285750">
              <a:buClr>
                <a:srgbClr val="ED1A3B"/>
              </a:buClr>
              <a:buFont typeface="Wingdings 3" panose="05040102010807070707" pitchFamily="18" charset="2"/>
              <a:buChar char="w"/>
            </a:pPr>
            <a:r>
              <a:rPr lang="nl-NL" sz="1800" dirty="0"/>
              <a:t>Eén binnenlandse levering</a:t>
            </a:r>
          </a:p>
        </p:txBody>
      </p:sp>
      <p:sp>
        <p:nvSpPr>
          <p:cNvPr id="3" name="Tijdelijke aanduiding voor tekst 2">
            <a:extLst>
              <a:ext uri="{FF2B5EF4-FFF2-40B4-BE49-F238E27FC236}">
                <a16:creationId xmlns:a16="http://schemas.microsoft.com/office/drawing/2014/main" id="{AF315502-586C-4836-BE8A-2092CD7BEF15}"/>
              </a:ext>
            </a:extLst>
          </p:cNvPr>
          <p:cNvSpPr>
            <a:spLocks noGrp="1"/>
          </p:cNvSpPr>
          <p:nvPr>
            <p:ph type="body" idx="14"/>
          </p:nvPr>
        </p:nvSpPr>
        <p:spPr/>
        <p:txBody>
          <a:bodyPr/>
          <a:lstStyle/>
          <a:p>
            <a:endParaRPr lang="nl-NL" dirty="0"/>
          </a:p>
        </p:txBody>
      </p:sp>
      <p:sp>
        <p:nvSpPr>
          <p:cNvPr id="4" name="Titel 3">
            <a:extLst>
              <a:ext uri="{FF2B5EF4-FFF2-40B4-BE49-F238E27FC236}">
                <a16:creationId xmlns:a16="http://schemas.microsoft.com/office/drawing/2014/main" id="{97F39102-4476-4A3B-A726-FE6B434B0B1E}"/>
              </a:ext>
            </a:extLst>
          </p:cNvPr>
          <p:cNvSpPr>
            <a:spLocks noGrp="1"/>
          </p:cNvSpPr>
          <p:nvPr>
            <p:ph type="title"/>
          </p:nvPr>
        </p:nvSpPr>
        <p:spPr/>
        <p:txBody>
          <a:bodyPr/>
          <a:lstStyle/>
          <a:p>
            <a:r>
              <a:rPr lang="nl-NL" dirty="0"/>
              <a:t>ABC Levering</a:t>
            </a:r>
          </a:p>
        </p:txBody>
      </p:sp>
      <p:pic>
        <p:nvPicPr>
          <p:cNvPr id="6" name="Afbeelding 5">
            <a:extLst>
              <a:ext uri="{FF2B5EF4-FFF2-40B4-BE49-F238E27FC236}">
                <a16:creationId xmlns:a16="http://schemas.microsoft.com/office/drawing/2014/main" id="{F78BECB0-E0BE-43EA-9EA9-F67A8EED6F3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87266" y="2630173"/>
            <a:ext cx="1620578" cy="971749"/>
          </a:xfrm>
          <a:prstGeom prst="rect">
            <a:avLst/>
          </a:prstGeom>
        </p:spPr>
      </p:pic>
      <p:pic>
        <p:nvPicPr>
          <p:cNvPr id="7" name="Afbeelding 6">
            <a:extLst>
              <a:ext uri="{FF2B5EF4-FFF2-40B4-BE49-F238E27FC236}">
                <a16:creationId xmlns:a16="http://schemas.microsoft.com/office/drawing/2014/main" id="{BB4A86B6-826C-4409-A78A-EEFE0E435A3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99375" y="2612103"/>
            <a:ext cx="1474623" cy="1007891"/>
          </a:xfrm>
          <a:prstGeom prst="rect">
            <a:avLst/>
          </a:prstGeom>
        </p:spPr>
      </p:pic>
      <p:pic>
        <p:nvPicPr>
          <p:cNvPr id="8" name="Afbeelding 7">
            <a:extLst>
              <a:ext uri="{FF2B5EF4-FFF2-40B4-BE49-F238E27FC236}">
                <a16:creationId xmlns:a16="http://schemas.microsoft.com/office/drawing/2014/main" id="{E801EC58-1872-4FB8-A003-16823DE50AB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059618" y="2612103"/>
            <a:ext cx="1474622" cy="1007891"/>
          </a:xfrm>
          <a:prstGeom prst="rect">
            <a:avLst/>
          </a:prstGeom>
        </p:spPr>
      </p:pic>
      <p:sp>
        <p:nvSpPr>
          <p:cNvPr id="9" name="Tekstvak 8">
            <a:extLst>
              <a:ext uri="{FF2B5EF4-FFF2-40B4-BE49-F238E27FC236}">
                <a16:creationId xmlns:a16="http://schemas.microsoft.com/office/drawing/2014/main" id="{14B0AE31-ADBA-40B0-BEDB-DCC4A9C1E38A}"/>
              </a:ext>
            </a:extLst>
          </p:cNvPr>
          <p:cNvSpPr txBox="1"/>
          <p:nvPr/>
        </p:nvSpPr>
        <p:spPr>
          <a:xfrm>
            <a:off x="6243191" y="2246388"/>
            <a:ext cx="432048" cy="369332"/>
          </a:xfrm>
          <a:prstGeom prst="rect">
            <a:avLst/>
          </a:prstGeom>
          <a:noFill/>
        </p:spPr>
        <p:txBody>
          <a:bodyPr wrap="square" rtlCol="0">
            <a:spAutoFit/>
          </a:bodyPr>
          <a:lstStyle/>
          <a:p>
            <a:r>
              <a:rPr lang="nl-NL" dirty="0"/>
              <a:t>A</a:t>
            </a:r>
          </a:p>
        </p:txBody>
      </p:sp>
      <p:sp>
        <p:nvSpPr>
          <p:cNvPr id="10" name="Tekstvak 9">
            <a:extLst>
              <a:ext uri="{FF2B5EF4-FFF2-40B4-BE49-F238E27FC236}">
                <a16:creationId xmlns:a16="http://schemas.microsoft.com/office/drawing/2014/main" id="{FE42A067-4F28-4492-BB29-C228813CD650}"/>
              </a:ext>
            </a:extLst>
          </p:cNvPr>
          <p:cNvSpPr txBox="1"/>
          <p:nvPr/>
        </p:nvSpPr>
        <p:spPr>
          <a:xfrm>
            <a:off x="8475439" y="2242771"/>
            <a:ext cx="432048" cy="369332"/>
          </a:xfrm>
          <a:prstGeom prst="rect">
            <a:avLst/>
          </a:prstGeom>
          <a:noFill/>
        </p:spPr>
        <p:txBody>
          <a:bodyPr wrap="square" rtlCol="0">
            <a:spAutoFit/>
          </a:bodyPr>
          <a:lstStyle/>
          <a:p>
            <a:r>
              <a:rPr lang="nl-NL" dirty="0"/>
              <a:t>B</a:t>
            </a:r>
          </a:p>
        </p:txBody>
      </p:sp>
      <p:sp>
        <p:nvSpPr>
          <p:cNvPr id="11" name="Tekstvak 10">
            <a:extLst>
              <a:ext uri="{FF2B5EF4-FFF2-40B4-BE49-F238E27FC236}">
                <a16:creationId xmlns:a16="http://schemas.microsoft.com/office/drawing/2014/main" id="{5A10D3DD-4A55-4F95-BFE2-7872ACCD9AA0}"/>
              </a:ext>
            </a:extLst>
          </p:cNvPr>
          <p:cNvSpPr txBox="1"/>
          <p:nvPr/>
        </p:nvSpPr>
        <p:spPr>
          <a:xfrm>
            <a:off x="10657170" y="2242771"/>
            <a:ext cx="432048" cy="369332"/>
          </a:xfrm>
          <a:prstGeom prst="rect">
            <a:avLst/>
          </a:prstGeom>
          <a:noFill/>
        </p:spPr>
        <p:txBody>
          <a:bodyPr wrap="square" rtlCol="0">
            <a:spAutoFit/>
          </a:bodyPr>
          <a:lstStyle/>
          <a:p>
            <a:r>
              <a:rPr lang="nl-NL" dirty="0"/>
              <a:t>C</a:t>
            </a:r>
          </a:p>
        </p:txBody>
      </p:sp>
      <p:cxnSp>
        <p:nvCxnSpPr>
          <p:cNvPr id="12" name="Rechte verbindingslijn 11">
            <a:extLst>
              <a:ext uri="{FF2B5EF4-FFF2-40B4-BE49-F238E27FC236}">
                <a16:creationId xmlns:a16="http://schemas.microsoft.com/office/drawing/2014/main" id="{708430CD-2E37-4F06-958C-120C24B3E8F1}"/>
              </a:ext>
            </a:extLst>
          </p:cNvPr>
          <p:cNvCxnSpPr/>
          <p:nvPr/>
        </p:nvCxnSpPr>
        <p:spPr>
          <a:xfrm>
            <a:off x="7539335" y="1916832"/>
            <a:ext cx="0" cy="2304256"/>
          </a:xfrm>
          <a:prstGeom prst="line">
            <a:avLst/>
          </a:prstGeom>
          <a:ln w="25400"/>
        </p:spPr>
        <p:style>
          <a:lnRef idx="1">
            <a:schemeClr val="accent5"/>
          </a:lnRef>
          <a:fillRef idx="0">
            <a:schemeClr val="accent5"/>
          </a:fillRef>
          <a:effectRef idx="0">
            <a:schemeClr val="accent5"/>
          </a:effectRef>
          <a:fontRef idx="minor">
            <a:schemeClr val="tx1"/>
          </a:fontRef>
        </p:style>
      </p:cxnSp>
      <p:cxnSp>
        <p:nvCxnSpPr>
          <p:cNvPr id="13" name="Rechte verbindingslijn 12">
            <a:extLst>
              <a:ext uri="{FF2B5EF4-FFF2-40B4-BE49-F238E27FC236}">
                <a16:creationId xmlns:a16="http://schemas.microsoft.com/office/drawing/2014/main" id="{27B31A81-7EA1-4BBD-BD14-E16A38E654C0}"/>
              </a:ext>
            </a:extLst>
          </p:cNvPr>
          <p:cNvCxnSpPr/>
          <p:nvPr/>
        </p:nvCxnSpPr>
        <p:spPr>
          <a:xfrm>
            <a:off x="9699575" y="1909112"/>
            <a:ext cx="0" cy="2304256"/>
          </a:xfrm>
          <a:prstGeom prst="line">
            <a:avLst/>
          </a:prstGeom>
          <a:ln w="25400"/>
        </p:spPr>
        <p:style>
          <a:lnRef idx="1">
            <a:schemeClr val="accent5"/>
          </a:lnRef>
          <a:fillRef idx="0">
            <a:schemeClr val="accent5"/>
          </a:fillRef>
          <a:effectRef idx="0">
            <a:schemeClr val="accent5"/>
          </a:effectRef>
          <a:fontRef idx="minor">
            <a:schemeClr val="tx1"/>
          </a:fontRef>
        </p:style>
      </p:cxnSp>
      <p:cxnSp>
        <p:nvCxnSpPr>
          <p:cNvPr id="14" name="Rechte verbindingslijn met pijl 13">
            <a:extLst>
              <a:ext uri="{FF2B5EF4-FFF2-40B4-BE49-F238E27FC236}">
                <a16:creationId xmlns:a16="http://schemas.microsoft.com/office/drawing/2014/main" id="{33C1ADDE-809C-46D0-8DF1-0FA422182B15}"/>
              </a:ext>
            </a:extLst>
          </p:cNvPr>
          <p:cNvCxnSpPr>
            <a:cxnSpLocks/>
            <a:stCxn id="6" idx="3"/>
            <a:endCxn id="7" idx="1"/>
          </p:cNvCxnSpPr>
          <p:nvPr/>
        </p:nvCxnSpPr>
        <p:spPr>
          <a:xfrm>
            <a:off x="7207844" y="3116048"/>
            <a:ext cx="691531"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5" name="Rechte verbindingslijn met pijl 14">
            <a:extLst>
              <a:ext uri="{FF2B5EF4-FFF2-40B4-BE49-F238E27FC236}">
                <a16:creationId xmlns:a16="http://schemas.microsoft.com/office/drawing/2014/main" id="{067EDC94-2E06-4357-9F6C-D90F327AF9E4}"/>
              </a:ext>
            </a:extLst>
          </p:cNvPr>
          <p:cNvCxnSpPr>
            <a:cxnSpLocks/>
            <a:stCxn id="7" idx="3"/>
            <a:endCxn id="8" idx="1"/>
          </p:cNvCxnSpPr>
          <p:nvPr/>
        </p:nvCxnSpPr>
        <p:spPr>
          <a:xfrm>
            <a:off x="9373998" y="3116049"/>
            <a:ext cx="68562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6" name="Verbindingslijn: gebogen 15">
            <a:extLst>
              <a:ext uri="{FF2B5EF4-FFF2-40B4-BE49-F238E27FC236}">
                <a16:creationId xmlns:a16="http://schemas.microsoft.com/office/drawing/2014/main" id="{BB75B7F8-54DD-44C3-85A6-3D8AE8B473E8}"/>
              </a:ext>
            </a:extLst>
          </p:cNvPr>
          <p:cNvCxnSpPr>
            <a:stCxn id="6" idx="2"/>
            <a:endCxn id="8" idx="2"/>
          </p:cNvCxnSpPr>
          <p:nvPr/>
        </p:nvCxnSpPr>
        <p:spPr>
          <a:xfrm rot="16200000" flipH="1">
            <a:off x="8588206" y="1411271"/>
            <a:ext cx="18072" cy="4399374"/>
          </a:xfrm>
          <a:prstGeom prst="bentConnector3">
            <a:avLst>
              <a:gd name="adj1" fmla="val 5984722"/>
            </a:avLst>
          </a:prstGeom>
          <a:ln>
            <a:prstDash val="dash"/>
            <a:tailEnd type="triangle"/>
          </a:ln>
        </p:spPr>
        <p:style>
          <a:lnRef idx="1">
            <a:schemeClr val="dk1"/>
          </a:lnRef>
          <a:fillRef idx="0">
            <a:schemeClr val="dk1"/>
          </a:fillRef>
          <a:effectRef idx="0">
            <a:schemeClr val="dk1"/>
          </a:effectRef>
          <a:fontRef idx="minor">
            <a:schemeClr val="tx1"/>
          </a:fontRef>
        </p:style>
      </p:cxnSp>
      <p:cxnSp>
        <p:nvCxnSpPr>
          <p:cNvPr id="17" name="Rechte verbindingslijn met pijl 16">
            <a:extLst>
              <a:ext uri="{FF2B5EF4-FFF2-40B4-BE49-F238E27FC236}">
                <a16:creationId xmlns:a16="http://schemas.microsoft.com/office/drawing/2014/main" id="{3E21DA45-8736-452F-8CF5-C9DBBE320169}"/>
              </a:ext>
            </a:extLst>
          </p:cNvPr>
          <p:cNvCxnSpPr/>
          <p:nvPr/>
        </p:nvCxnSpPr>
        <p:spPr>
          <a:xfrm>
            <a:off x="6459215" y="5144753"/>
            <a:ext cx="748629"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8" name="Tekstvak 17">
            <a:extLst>
              <a:ext uri="{FF2B5EF4-FFF2-40B4-BE49-F238E27FC236}">
                <a16:creationId xmlns:a16="http://schemas.microsoft.com/office/drawing/2014/main" id="{95822B2B-8DC0-43DE-80A1-A64B5E7833BF}"/>
              </a:ext>
            </a:extLst>
          </p:cNvPr>
          <p:cNvSpPr txBox="1"/>
          <p:nvPr/>
        </p:nvSpPr>
        <p:spPr>
          <a:xfrm>
            <a:off x="7323311" y="4990864"/>
            <a:ext cx="979755" cy="307777"/>
          </a:xfrm>
          <a:prstGeom prst="rect">
            <a:avLst/>
          </a:prstGeom>
          <a:noFill/>
        </p:spPr>
        <p:txBody>
          <a:bodyPr wrap="none" rtlCol="0">
            <a:spAutoFit/>
          </a:bodyPr>
          <a:lstStyle/>
          <a:p>
            <a:r>
              <a:rPr lang="nl-NL" sz="1400" dirty="0"/>
              <a:t>= levering</a:t>
            </a:r>
          </a:p>
        </p:txBody>
      </p:sp>
      <p:cxnSp>
        <p:nvCxnSpPr>
          <p:cNvPr id="19" name="Rechte verbindingslijn met pijl 18">
            <a:extLst>
              <a:ext uri="{FF2B5EF4-FFF2-40B4-BE49-F238E27FC236}">
                <a16:creationId xmlns:a16="http://schemas.microsoft.com/office/drawing/2014/main" id="{FC909FD8-5A5D-4692-B792-8D30795FA056}"/>
              </a:ext>
            </a:extLst>
          </p:cNvPr>
          <p:cNvCxnSpPr/>
          <p:nvPr/>
        </p:nvCxnSpPr>
        <p:spPr>
          <a:xfrm>
            <a:off x="8862644" y="5144753"/>
            <a:ext cx="748629" cy="0"/>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sp>
        <p:nvSpPr>
          <p:cNvPr id="20" name="Tekstvak 19">
            <a:extLst>
              <a:ext uri="{FF2B5EF4-FFF2-40B4-BE49-F238E27FC236}">
                <a16:creationId xmlns:a16="http://schemas.microsoft.com/office/drawing/2014/main" id="{F4A9F533-30E7-4863-8C99-3D8AD2C21EDA}"/>
              </a:ext>
            </a:extLst>
          </p:cNvPr>
          <p:cNvSpPr txBox="1"/>
          <p:nvPr/>
        </p:nvSpPr>
        <p:spPr>
          <a:xfrm>
            <a:off x="9700818" y="4990864"/>
            <a:ext cx="1912703" cy="307777"/>
          </a:xfrm>
          <a:prstGeom prst="rect">
            <a:avLst/>
          </a:prstGeom>
          <a:noFill/>
        </p:spPr>
        <p:txBody>
          <a:bodyPr wrap="none" rtlCol="0">
            <a:spAutoFit/>
          </a:bodyPr>
          <a:lstStyle/>
          <a:p>
            <a:r>
              <a:rPr lang="nl-NL" sz="1400" dirty="0"/>
              <a:t>= vervoer/verzending</a:t>
            </a:r>
          </a:p>
        </p:txBody>
      </p:sp>
    </p:spTree>
    <p:extLst>
      <p:ext uri="{BB962C8B-B14F-4D97-AF65-F5344CB8AC3E}">
        <p14:creationId xmlns:p14="http://schemas.microsoft.com/office/powerpoint/2010/main" val="3635825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73589151-107C-4DCF-8C41-6B7F387DED16}"/>
              </a:ext>
            </a:extLst>
          </p:cNvPr>
          <p:cNvSpPr>
            <a:spLocks noGrp="1"/>
          </p:cNvSpPr>
          <p:nvPr>
            <p:ph type="body" orient="vert" idx="1"/>
          </p:nvPr>
        </p:nvSpPr>
        <p:spPr>
          <a:xfrm>
            <a:off x="626567" y="1720867"/>
            <a:ext cx="4066913" cy="3868372"/>
          </a:xfrm>
        </p:spPr>
        <p:txBody>
          <a:bodyPr/>
          <a:lstStyle/>
          <a:p>
            <a:pPr marL="285750" indent="-285750">
              <a:buClr>
                <a:srgbClr val="ED1A3B"/>
              </a:buClr>
              <a:buFont typeface="Wingdings 3" panose="05040102010807070707" pitchFamily="18" charset="2"/>
              <a:buChar char=""/>
            </a:pPr>
            <a:r>
              <a:rPr lang="nl-NL" dirty="0"/>
              <a:t>Indien B vervoert twee opties:</a:t>
            </a:r>
          </a:p>
          <a:p>
            <a:pPr marL="555750" lvl="1" indent="-285750">
              <a:buClr>
                <a:srgbClr val="ED1A3B"/>
              </a:buClr>
              <a:buFont typeface="Wingdings 3" panose="05040102010807070707" pitchFamily="18" charset="2"/>
              <a:buChar char=""/>
            </a:pPr>
            <a:r>
              <a:rPr lang="nl-NL" dirty="0"/>
              <a:t>B geeft btw-nummer van ander land dan Duitsland</a:t>
            </a:r>
          </a:p>
          <a:p>
            <a:pPr marL="555750" lvl="1" indent="-285750">
              <a:buClr>
                <a:srgbClr val="ED1A3B"/>
              </a:buClr>
              <a:buFont typeface="Wingdings 3" panose="05040102010807070707" pitchFamily="18" charset="2"/>
              <a:buChar char=""/>
            </a:pPr>
            <a:r>
              <a:rPr lang="nl-NL" dirty="0">
                <a:sym typeface="Wingdings" panose="05000000000000000000" pitchFamily="2" charset="2"/>
              </a:rPr>
              <a:t> A-B levering is ICL, B-C is de lokale levering</a:t>
            </a:r>
          </a:p>
          <a:p>
            <a:pPr marL="285750" indent="-285750">
              <a:buClr>
                <a:srgbClr val="ED1A3B"/>
              </a:buClr>
              <a:buFont typeface="Wingdings" panose="05000000000000000000" pitchFamily="2" charset="2"/>
              <a:buChar char="Ø"/>
            </a:pPr>
            <a:endParaRPr lang="nl-NL" dirty="0">
              <a:sym typeface="Wingdings" panose="05000000000000000000" pitchFamily="2" charset="2"/>
            </a:endParaRPr>
          </a:p>
          <a:p>
            <a:pPr marL="285750" indent="-285750">
              <a:buClr>
                <a:srgbClr val="ED1A3B"/>
              </a:buClr>
              <a:buFont typeface="Wingdings 3" panose="05040102010807070707" pitchFamily="18" charset="2"/>
              <a:buChar char=""/>
            </a:pPr>
            <a:r>
              <a:rPr lang="nl-NL" dirty="0">
                <a:sym typeface="Wingdings" panose="05000000000000000000" pitchFamily="2" charset="2"/>
              </a:rPr>
              <a:t>B geeft Duits btw-nummer:</a:t>
            </a:r>
          </a:p>
          <a:p>
            <a:pPr marL="555750" lvl="1" indent="-285750">
              <a:buClr>
                <a:srgbClr val="ED1A3B"/>
              </a:buClr>
              <a:buFont typeface="Wingdings 3" panose="05040102010807070707" pitchFamily="18" charset="2"/>
              <a:buChar char="w"/>
            </a:pPr>
            <a:r>
              <a:rPr lang="nl-NL" dirty="0">
                <a:sym typeface="Wingdings" panose="05000000000000000000" pitchFamily="2" charset="2"/>
              </a:rPr>
              <a:t>B-C levering is ICL, A-B levering is de lokale levering</a:t>
            </a:r>
          </a:p>
          <a:p>
            <a:pPr marL="285750" indent="-285750">
              <a:buClr>
                <a:srgbClr val="ED1A3B"/>
              </a:buClr>
              <a:buFont typeface="Wingdings" panose="05000000000000000000" pitchFamily="2" charset="2"/>
              <a:buChar char="Ø"/>
            </a:pPr>
            <a:endParaRPr lang="nl-NL" dirty="0">
              <a:sym typeface="Wingdings" panose="05000000000000000000" pitchFamily="2" charset="2"/>
            </a:endParaRPr>
          </a:p>
          <a:p>
            <a:pPr marL="285750" indent="-285750">
              <a:buClr>
                <a:srgbClr val="ED1A3B"/>
              </a:buClr>
              <a:buFont typeface="Wingdings 3" panose="05040102010807070707" pitchFamily="18" charset="2"/>
              <a:buChar char="u"/>
            </a:pPr>
            <a:r>
              <a:rPr lang="nl-NL" dirty="0">
                <a:sym typeface="Wingdings" panose="05000000000000000000" pitchFamily="2" charset="2"/>
              </a:rPr>
              <a:t>Vereenvoudigde abc-transactie blijft bestaan</a:t>
            </a:r>
          </a:p>
          <a:p>
            <a:endParaRPr lang="en-US" dirty="0">
              <a:sym typeface="Wingdings" panose="05000000000000000000" pitchFamily="2" charset="2"/>
            </a:endParaRPr>
          </a:p>
          <a:p>
            <a:pPr marL="555750" lvl="1" indent="-285750">
              <a:buFont typeface="Arial" panose="020B0604020202020204" pitchFamily="34" charset="0"/>
              <a:buChar char="•"/>
            </a:pPr>
            <a:endParaRPr lang="nl-NL" dirty="0"/>
          </a:p>
          <a:p>
            <a:pPr marL="285750" indent="-285750">
              <a:buFont typeface="Arial" panose="020B0604020202020204" pitchFamily="34" charset="0"/>
              <a:buChar char="•"/>
            </a:pPr>
            <a:endParaRPr lang="nl-NL" dirty="0"/>
          </a:p>
          <a:p>
            <a:endParaRPr lang="nl-NL" dirty="0"/>
          </a:p>
        </p:txBody>
      </p:sp>
      <p:sp>
        <p:nvSpPr>
          <p:cNvPr id="3" name="Tijdelijke aanduiding voor tekst 2">
            <a:extLst>
              <a:ext uri="{FF2B5EF4-FFF2-40B4-BE49-F238E27FC236}">
                <a16:creationId xmlns:a16="http://schemas.microsoft.com/office/drawing/2014/main" id="{AF315502-586C-4836-BE8A-2092CD7BEF15}"/>
              </a:ext>
            </a:extLst>
          </p:cNvPr>
          <p:cNvSpPr>
            <a:spLocks noGrp="1"/>
          </p:cNvSpPr>
          <p:nvPr>
            <p:ph type="body" idx="14"/>
          </p:nvPr>
        </p:nvSpPr>
        <p:spPr/>
        <p:txBody>
          <a:bodyPr/>
          <a:lstStyle/>
          <a:p>
            <a:r>
              <a:rPr lang="nl-NL" dirty="0"/>
              <a:t>Vanaf 2020</a:t>
            </a:r>
          </a:p>
        </p:txBody>
      </p:sp>
      <p:sp>
        <p:nvSpPr>
          <p:cNvPr id="4" name="Titel 3">
            <a:extLst>
              <a:ext uri="{FF2B5EF4-FFF2-40B4-BE49-F238E27FC236}">
                <a16:creationId xmlns:a16="http://schemas.microsoft.com/office/drawing/2014/main" id="{97F39102-4476-4A3B-A726-FE6B434B0B1E}"/>
              </a:ext>
            </a:extLst>
          </p:cNvPr>
          <p:cNvSpPr>
            <a:spLocks noGrp="1"/>
          </p:cNvSpPr>
          <p:nvPr>
            <p:ph type="title"/>
          </p:nvPr>
        </p:nvSpPr>
        <p:spPr/>
        <p:txBody>
          <a:bodyPr/>
          <a:lstStyle/>
          <a:p>
            <a:r>
              <a:rPr lang="nl-NL" dirty="0" err="1"/>
              <a:t>Quickfix</a:t>
            </a:r>
            <a:r>
              <a:rPr lang="nl-NL" dirty="0"/>
              <a:t> ABC-levering </a:t>
            </a:r>
          </a:p>
        </p:txBody>
      </p:sp>
      <p:pic>
        <p:nvPicPr>
          <p:cNvPr id="7" name="Afbeelding 6">
            <a:extLst>
              <a:ext uri="{FF2B5EF4-FFF2-40B4-BE49-F238E27FC236}">
                <a16:creationId xmlns:a16="http://schemas.microsoft.com/office/drawing/2014/main" id="{424A540C-C30E-4109-B546-51613CB4E31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87266" y="2630173"/>
            <a:ext cx="1620578" cy="971749"/>
          </a:xfrm>
          <a:prstGeom prst="rect">
            <a:avLst/>
          </a:prstGeom>
        </p:spPr>
      </p:pic>
      <p:pic>
        <p:nvPicPr>
          <p:cNvPr id="9" name="Afbeelding 8">
            <a:extLst>
              <a:ext uri="{FF2B5EF4-FFF2-40B4-BE49-F238E27FC236}">
                <a16:creationId xmlns:a16="http://schemas.microsoft.com/office/drawing/2014/main" id="{28D7E6FE-9946-4EAD-9BA9-8E6D3CF74FE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99375" y="2612103"/>
            <a:ext cx="1474623" cy="1007891"/>
          </a:xfrm>
          <a:prstGeom prst="rect">
            <a:avLst/>
          </a:prstGeom>
        </p:spPr>
      </p:pic>
      <p:pic>
        <p:nvPicPr>
          <p:cNvPr id="11" name="Afbeelding 10">
            <a:extLst>
              <a:ext uri="{FF2B5EF4-FFF2-40B4-BE49-F238E27FC236}">
                <a16:creationId xmlns:a16="http://schemas.microsoft.com/office/drawing/2014/main" id="{DC06AB61-A18B-4F94-BEB6-E45A8910CEF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059618" y="2612103"/>
            <a:ext cx="1474622" cy="1007891"/>
          </a:xfrm>
          <a:prstGeom prst="rect">
            <a:avLst/>
          </a:prstGeom>
        </p:spPr>
      </p:pic>
      <p:sp>
        <p:nvSpPr>
          <p:cNvPr id="12" name="Tekstvak 11">
            <a:extLst>
              <a:ext uri="{FF2B5EF4-FFF2-40B4-BE49-F238E27FC236}">
                <a16:creationId xmlns:a16="http://schemas.microsoft.com/office/drawing/2014/main" id="{0EC801A9-E99E-4E27-A7A1-F271AA2C714C}"/>
              </a:ext>
            </a:extLst>
          </p:cNvPr>
          <p:cNvSpPr txBox="1"/>
          <p:nvPr/>
        </p:nvSpPr>
        <p:spPr>
          <a:xfrm>
            <a:off x="6243191" y="2246388"/>
            <a:ext cx="432048" cy="369332"/>
          </a:xfrm>
          <a:prstGeom prst="rect">
            <a:avLst/>
          </a:prstGeom>
          <a:noFill/>
        </p:spPr>
        <p:txBody>
          <a:bodyPr wrap="square" rtlCol="0">
            <a:spAutoFit/>
          </a:bodyPr>
          <a:lstStyle/>
          <a:p>
            <a:r>
              <a:rPr lang="nl-NL" dirty="0"/>
              <a:t>A</a:t>
            </a:r>
          </a:p>
        </p:txBody>
      </p:sp>
      <p:sp>
        <p:nvSpPr>
          <p:cNvPr id="13" name="Tekstvak 12">
            <a:extLst>
              <a:ext uri="{FF2B5EF4-FFF2-40B4-BE49-F238E27FC236}">
                <a16:creationId xmlns:a16="http://schemas.microsoft.com/office/drawing/2014/main" id="{524988A7-9EC8-4A86-AF36-6CEC590CE0CD}"/>
              </a:ext>
            </a:extLst>
          </p:cNvPr>
          <p:cNvSpPr txBox="1"/>
          <p:nvPr/>
        </p:nvSpPr>
        <p:spPr>
          <a:xfrm>
            <a:off x="8475439" y="2242771"/>
            <a:ext cx="432048" cy="369332"/>
          </a:xfrm>
          <a:prstGeom prst="rect">
            <a:avLst/>
          </a:prstGeom>
          <a:noFill/>
        </p:spPr>
        <p:txBody>
          <a:bodyPr wrap="square" rtlCol="0">
            <a:spAutoFit/>
          </a:bodyPr>
          <a:lstStyle/>
          <a:p>
            <a:r>
              <a:rPr lang="nl-NL" dirty="0"/>
              <a:t>B</a:t>
            </a:r>
          </a:p>
        </p:txBody>
      </p:sp>
      <p:sp>
        <p:nvSpPr>
          <p:cNvPr id="14" name="Tekstvak 13">
            <a:extLst>
              <a:ext uri="{FF2B5EF4-FFF2-40B4-BE49-F238E27FC236}">
                <a16:creationId xmlns:a16="http://schemas.microsoft.com/office/drawing/2014/main" id="{D809891D-2BBB-4873-8469-A7B688F98BC1}"/>
              </a:ext>
            </a:extLst>
          </p:cNvPr>
          <p:cNvSpPr txBox="1"/>
          <p:nvPr/>
        </p:nvSpPr>
        <p:spPr>
          <a:xfrm>
            <a:off x="10657170" y="2242771"/>
            <a:ext cx="432048" cy="369332"/>
          </a:xfrm>
          <a:prstGeom prst="rect">
            <a:avLst/>
          </a:prstGeom>
          <a:noFill/>
        </p:spPr>
        <p:txBody>
          <a:bodyPr wrap="square" rtlCol="0">
            <a:spAutoFit/>
          </a:bodyPr>
          <a:lstStyle/>
          <a:p>
            <a:r>
              <a:rPr lang="nl-NL" dirty="0"/>
              <a:t>C</a:t>
            </a:r>
          </a:p>
        </p:txBody>
      </p:sp>
      <p:cxnSp>
        <p:nvCxnSpPr>
          <p:cNvPr id="16" name="Rechte verbindingslijn 15">
            <a:extLst>
              <a:ext uri="{FF2B5EF4-FFF2-40B4-BE49-F238E27FC236}">
                <a16:creationId xmlns:a16="http://schemas.microsoft.com/office/drawing/2014/main" id="{0D949EB6-692E-4510-BBD1-3D9F61BA05B4}"/>
              </a:ext>
            </a:extLst>
          </p:cNvPr>
          <p:cNvCxnSpPr/>
          <p:nvPr/>
        </p:nvCxnSpPr>
        <p:spPr>
          <a:xfrm>
            <a:off x="7539335" y="1916832"/>
            <a:ext cx="0" cy="2304256"/>
          </a:xfrm>
          <a:prstGeom prst="line">
            <a:avLst/>
          </a:prstGeom>
          <a:ln w="25400"/>
        </p:spPr>
        <p:style>
          <a:lnRef idx="1">
            <a:schemeClr val="accent5"/>
          </a:lnRef>
          <a:fillRef idx="0">
            <a:schemeClr val="accent5"/>
          </a:fillRef>
          <a:effectRef idx="0">
            <a:schemeClr val="accent5"/>
          </a:effectRef>
          <a:fontRef idx="minor">
            <a:schemeClr val="tx1"/>
          </a:fontRef>
        </p:style>
      </p:cxnSp>
      <p:cxnSp>
        <p:nvCxnSpPr>
          <p:cNvPr id="17" name="Rechte verbindingslijn 16">
            <a:extLst>
              <a:ext uri="{FF2B5EF4-FFF2-40B4-BE49-F238E27FC236}">
                <a16:creationId xmlns:a16="http://schemas.microsoft.com/office/drawing/2014/main" id="{49C7A1EE-DFD1-404E-BC50-1917AAF3FD13}"/>
              </a:ext>
            </a:extLst>
          </p:cNvPr>
          <p:cNvCxnSpPr/>
          <p:nvPr/>
        </p:nvCxnSpPr>
        <p:spPr>
          <a:xfrm>
            <a:off x="9699575" y="1909112"/>
            <a:ext cx="0" cy="2304256"/>
          </a:xfrm>
          <a:prstGeom prst="line">
            <a:avLst/>
          </a:prstGeom>
          <a:ln w="25400"/>
        </p:spPr>
        <p:style>
          <a:lnRef idx="1">
            <a:schemeClr val="accent5"/>
          </a:lnRef>
          <a:fillRef idx="0">
            <a:schemeClr val="accent5"/>
          </a:fillRef>
          <a:effectRef idx="0">
            <a:schemeClr val="accent5"/>
          </a:effectRef>
          <a:fontRef idx="minor">
            <a:schemeClr val="tx1"/>
          </a:fontRef>
        </p:style>
      </p:cxnSp>
      <p:cxnSp>
        <p:nvCxnSpPr>
          <p:cNvPr id="19" name="Rechte verbindingslijn met pijl 18">
            <a:extLst>
              <a:ext uri="{FF2B5EF4-FFF2-40B4-BE49-F238E27FC236}">
                <a16:creationId xmlns:a16="http://schemas.microsoft.com/office/drawing/2014/main" id="{4839B4DD-18BD-424C-B227-5B6B172CC03E}"/>
              </a:ext>
            </a:extLst>
          </p:cNvPr>
          <p:cNvCxnSpPr>
            <a:cxnSpLocks/>
            <a:stCxn id="7" idx="3"/>
            <a:endCxn id="9" idx="1"/>
          </p:cNvCxnSpPr>
          <p:nvPr/>
        </p:nvCxnSpPr>
        <p:spPr>
          <a:xfrm>
            <a:off x="7207844" y="3116048"/>
            <a:ext cx="691531"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2" name="Rechte verbindingslijn met pijl 21">
            <a:extLst>
              <a:ext uri="{FF2B5EF4-FFF2-40B4-BE49-F238E27FC236}">
                <a16:creationId xmlns:a16="http://schemas.microsoft.com/office/drawing/2014/main" id="{ABC8363B-D713-4DD8-B83F-B044E6EE2806}"/>
              </a:ext>
            </a:extLst>
          </p:cNvPr>
          <p:cNvCxnSpPr>
            <a:cxnSpLocks/>
            <a:stCxn id="9" idx="3"/>
            <a:endCxn id="11" idx="1"/>
          </p:cNvCxnSpPr>
          <p:nvPr/>
        </p:nvCxnSpPr>
        <p:spPr>
          <a:xfrm>
            <a:off x="9373998" y="3116049"/>
            <a:ext cx="68562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8" name="Verbindingslijn: gebogen 27">
            <a:extLst>
              <a:ext uri="{FF2B5EF4-FFF2-40B4-BE49-F238E27FC236}">
                <a16:creationId xmlns:a16="http://schemas.microsoft.com/office/drawing/2014/main" id="{B12BF297-EF44-484A-8773-3AC80ECF6F5D}"/>
              </a:ext>
            </a:extLst>
          </p:cNvPr>
          <p:cNvCxnSpPr>
            <a:stCxn id="7" idx="2"/>
            <a:endCxn id="11" idx="2"/>
          </p:cNvCxnSpPr>
          <p:nvPr/>
        </p:nvCxnSpPr>
        <p:spPr>
          <a:xfrm rot="16200000" flipH="1">
            <a:off x="8588206" y="1411271"/>
            <a:ext cx="18072" cy="4399374"/>
          </a:xfrm>
          <a:prstGeom prst="bentConnector3">
            <a:avLst>
              <a:gd name="adj1" fmla="val 5984722"/>
            </a:avLst>
          </a:prstGeom>
          <a:ln>
            <a:prstDash val="dash"/>
            <a:tailEnd type="triangle"/>
          </a:ln>
        </p:spPr>
        <p:style>
          <a:lnRef idx="1">
            <a:schemeClr val="dk1"/>
          </a:lnRef>
          <a:fillRef idx="0">
            <a:schemeClr val="dk1"/>
          </a:fillRef>
          <a:effectRef idx="0">
            <a:schemeClr val="dk1"/>
          </a:effectRef>
          <a:fontRef idx="minor">
            <a:schemeClr val="tx1"/>
          </a:fontRef>
        </p:style>
      </p:cxnSp>
      <p:cxnSp>
        <p:nvCxnSpPr>
          <p:cNvPr id="31" name="Rechte verbindingslijn met pijl 30">
            <a:extLst>
              <a:ext uri="{FF2B5EF4-FFF2-40B4-BE49-F238E27FC236}">
                <a16:creationId xmlns:a16="http://schemas.microsoft.com/office/drawing/2014/main" id="{6C5A8650-551B-4CB9-A522-21A4305BBBD2}"/>
              </a:ext>
            </a:extLst>
          </p:cNvPr>
          <p:cNvCxnSpPr/>
          <p:nvPr/>
        </p:nvCxnSpPr>
        <p:spPr>
          <a:xfrm>
            <a:off x="6459215" y="5144753"/>
            <a:ext cx="748629"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2" name="Tekstvak 31">
            <a:extLst>
              <a:ext uri="{FF2B5EF4-FFF2-40B4-BE49-F238E27FC236}">
                <a16:creationId xmlns:a16="http://schemas.microsoft.com/office/drawing/2014/main" id="{DD1E4550-3568-4DA9-BD2B-61A3BC696257}"/>
              </a:ext>
            </a:extLst>
          </p:cNvPr>
          <p:cNvSpPr txBox="1"/>
          <p:nvPr/>
        </p:nvSpPr>
        <p:spPr>
          <a:xfrm>
            <a:off x="7323311" y="4990864"/>
            <a:ext cx="979755" cy="307777"/>
          </a:xfrm>
          <a:prstGeom prst="rect">
            <a:avLst/>
          </a:prstGeom>
          <a:noFill/>
        </p:spPr>
        <p:txBody>
          <a:bodyPr wrap="none" rtlCol="0">
            <a:spAutoFit/>
          </a:bodyPr>
          <a:lstStyle/>
          <a:p>
            <a:r>
              <a:rPr lang="nl-NL" sz="1400" dirty="0"/>
              <a:t>= levering</a:t>
            </a:r>
          </a:p>
        </p:txBody>
      </p:sp>
      <p:cxnSp>
        <p:nvCxnSpPr>
          <p:cNvPr id="33" name="Rechte verbindingslijn met pijl 32">
            <a:extLst>
              <a:ext uri="{FF2B5EF4-FFF2-40B4-BE49-F238E27FC236}">
                <a16:creationId xmlns:a16="http://schemas.microsoft.com/office/drawing/2014/main" id="{C81CB960-CF0D-4EE1-9F7E-E445A8D10D05}"/>
              </a:ext>
            </a:extLst>
          </p:cNvPr>
          <p:cNvCxnSpPr/>
          <p:nvPr/>
        </p:nvCxnSpPr>
        <p:spPr>
          <a:xfrm>
            <a:off x="8862644" y="5144753"/>
            <a:ext cx="748629" cy="0"/>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sp>
        <p:nvSpPr>
          <p:cNvPr id="34" name="Tekstvak 33">
            <a:extLst>
              <a:ext uri="{FF2B5EF4-FFF2-40B4-BE49-F238E27FC236}">
                <a16:creationId xmlns:a16="http://schemas.microsoft.com/office/drawing/2014/main" id="{1C64C960-003B-4E95-9B8F-8F66E7946935}"/>
              </a:ext>
            </a:extLst>
          </p:cNvPr>
          <p:cNvSpPr txBox="1"/>
          <p:nvPr/>
        </p:nvSpPr>
        <p:spPr>
          <a:xfrm>
            <a:off x="9700818" y="4990864"/>
            <a:ext cx="1912703" cy="307777"/>
          </a:xfrm>
          <a:prstGeom prst="rect">
            <a:avLst/>
          </a:prstGeom>
          <a:noFill/>
        </p:spPr>
        <p:txBody>
          <a:bodyPr wrap="none" rtlCol="0">
            <a:spAutoFit/>
          </a:bodyPr>
          <a:lstStyle/>
          <a:p>
            <a:r>
              <a:rPr lang="nl-NL" sz="1400" dirty="0"/>
              <a:t>= vervoer/verzending</a:t>
            </a:r>
          </a:p>
        </p:txBody>
      </p:sp>
    </p:spTree>
    <p:extLst>
      <p:ext uri="{BB962C8B-B14F-4D97-AF65-F5344CB8AC3E}">
        <p14:creationId xmlns:p14="http://schemas.microsoft.com/office/powerpoint/2010/main" val="2657345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jdelijke aanduiding voor afbeelding 27">
            <a:extLst>
              <a:ext uri="{FF2B5EF4-FFF2-40B4-BE49-F238E27FC236}">
                <a16:creationId xmlns:a16="http://schemas.microsoft.com/office/drawing/2014/main" id="{AB355806-4190-4BA7-B22F-24AE1F80FE9A}"/>
              </a:ext>
            </a:extLst>
          </p:cNvPr>
          <p:cNvSpPr>
            <a:spLocks noGrp="1"/>
          </p:cNvSpPr>
          <p:nvPr>
            <p:ph type="pic" idx="52"/>
          </p:nvPr>
        </p:nvSpPr>
        <p:spPr/>
      </p:sp>
      <p:sp>
        <p:nvSpPr>
          <p:cNvPr id="12" name="Tijdelijke aanduiding voor verticale tekst 11">
            <a:extLst>
              <a:ext uri="{FF2B5EF4-FFF2-40B4-BE49-F238E27FC236}">
                <a16:creationId xmlns:a16="http://schemas.microsoft.com/office/drawing/2014/main" id="{822956EB-3E17-4DEE-BD43-022BFD391A5E}"/>
              </a:ext>
            </a:extLst>
          </p:cNvPr>
          <p:cNvSpPr>
            <a:spLocks noGrp="1"/>
          </p:cNvSpPr>
          <p:nvPr>
            <p:ph type="body" orient="vert" idx="39"/>
          </p:nvPr>
        </p:nvSpPr>
        <p:spPr/>
        <p:txBody>
          <a:bodyPr/>
          <a:lstStyle/>
          <a:p>
            <a:r>
              <a:rPr lang="nl-NL" dirty="0"/>
              <a:t>Ad Fruijtier</a:t>
            </a:r>
          </a:p>
          <a:p>
            <a:r>
              <a:rPr lang="nl-NL" dirty="0"/>
              <a:t>BDO Rijswijk  06-22961581</a:t>
            </a:r>
          </a:p>
          <a:p>
            <a:endParaRPr lang="nl-NL" dirty="0"/>
          </a:p>
          <a:p>
            <a:endParaRPr lang="nl-NL" dirty="0"/>
          </a:p>
          <a:p>
            <a:endParaRPr lang="nl-NL" dirty="0"/>
          </a:p>
        </p:txBody>
      </p:sp>
      <p:sp>
        <p:nvSpPr>
          <p:cNvPr id="27" name="Tijdelijke aanduiding voor afbeelding 26">
            <a:extLst>
              <a:ext uri="{FF2B5EF4-FFF2-40B4-BE49-F238E27FC236}">
                <a16:creationId xmlns:a16="http://schemas.microsoft.com/office/drawing/2014/main" id="{01DA41AF-2792-42A8-9194-3EDED2ABE9E3}"/>
              </a:ext>
            </a:extLst>
          </p:cNvPr>
          <p:cNvSpPr>
            <a:spLocks noGrp="1"/>
          </p:cNvSpPr>
          <p:nvPr>
            <p:ph type="pic" idx="51"/>
          </p:nvPr>
        </p:nvSpPr>
        <p:spPr/>
      </p:sp>
      <p:sp>
        <p:nvSpPr>
          <p:cNvPr id="9" name="Tijdelijke aanduiding voor verticale tekst 8">
            <a:extLst>
              <a:ext uri="{FF2B5EF4-FFF2-40B4-BE49-F238E27FC236}">
                <a16:creationId xmlns:a16="http://schemas.microsoft.com/office/drawing/2014/main" id="{830372F2-D398-49B8-90ED-59F580269DF7}"/>
              </a:ext>
            </a:extLst>
          </p:cNvPr>
          <p:cNvSpPr>
            <a:spLocks noGrp="1"/>
          </p:cNvSpPr>
          <p:nvPr>
            <p:ph type="body" orient="vert" idx="36"/>
          </p:nvPr>
        </p:nvSpPr>
        <p:spPr/>
        <p:txBody>
          <a:bodyPr/>
          <a:lstStyle/>
          <a:p>
            <a:r>
              <a:rPr lang="nl-NL" sz="3200" dirty="0"/>
              <a:t>Vragen </a:t>
            </a:r>
          </a:p>
        </p:txBody>
      </p:sp>
      <p:sp>
        <p:nvSpPr>
          <p:cNvPr id="26" name="Tijdelijke aanduiding voor afbeelding 25">
            <a:extLst>
              <a:ext uri="{FF2B5EF4-FFF2-40B4-BE49-F238E27FC236}">
                <a16:creationId xmlns:a16="http://schemas.microsoft.com/office/drawing/2014/main" id="{1F692AD7-8B1E-4AD8-B127-847C12B8FB15}"/>
              </a:ext>
            </a:extLst>
          </p:cNvPr>
          <p:cNvSpPr>
            <a:spLocks noGrp="1"/>
          </p:cNvSpPr>
          <p:nvPr>
            <p:ph type="pic" idx="50"/>
          </p:nvPr>
        </p:nvSpPr>
        <p:spPr/>
      </p:sp>
      <p:sp>
        <p:nvSpPr>
          <p:cNvPr id="10" name="Tijdelijke aanduiding voor verticale tekst 9">
            <a:extLst>
              <a:ext uri="{FF2B5EF4-FFF2-40B4-BE49-F238E27FC236}">
                <a16:creationId xmlns:a16="http://schemas.microsoft.com/office/drawing/2014/main" id="{C9498AAC-F22F-42B5-B6D7-6AD41A36FACF}"/>
              </a:ext>
            </a:extLst>
          </p:cNvPr>
          <p:cNvSpPr>
            <a:spLocks noGrp="1"/>
          </p:cNvSpPr>
          <p:nvPr>
            <p:ph type="body" orient="vert" idx="37"/>
          </p:nvPr>
        </p:nvSpPr>
        <p:spPr/>
        <p:txBody>
          <a:bodyPr/>
          <a:lstStyle/>
          <a:p>
            <a:r>
              <a:rPr lang="nl-NL" sz="3200" dirty="0"/>
              <a:t>Onroerend goed </a:t>
            </a:r>
          </a:p>
        </p:txBody>
      </p:sp>
      <p:sp>
        <p:nvSpPr>
          <p:cNvPr id="25" name="Tijdelijke aanduiding voor afbeelding 24">
            <a:extLst>
              <a:ext uri="{FF2B5EF4-FFF2-40B4-BE49-F238E27FC236}">
                <a16:creationId xmlns:a16="http://schemas.microsoft.com/office/drawing/2014/main" id="{B93140DB-825F-42C3-9D02-C86F94BAA24A}"/>
              </a:ext>
            </a:extLst>
          </p:cNvPr>
          <p:cNvSpPr>
            <a:spLocks noGrp="1"/>
          </p:cNvSpPr>
          <p:nvPr>
            <p:ph type="pic" idx="49"/>
          </p:nvPr>
        </p:nvSpPr>
        <p:spPr/>
      </p:sp>
      <p:sp>
        <p:nvSpPr>
          <p:cNvPr id="11" name="Tijdelijke aanduiding voor verticale tekst 10">
            <a:extLst>
              <a:ext uri="{FF2B5EF4-FFF2-40B4-BE49-F238E27FC236}">
                <a16:creationId xmlns:a16="http://schemas.microsoft.com/office/drawing/2014/main" id="{9EBE4127-827F-4735-BFC1-22EC23D0E65D}"/>
              </a:ext>
            </a:extLst>
          </p:cNvPr>
          <p:cNvSpPr>
            <a:spLocks noGrp="1"/>
          </p:cNvSpPr>
          <p:nvPr>
            <p:ph type="body" orient="vert" idx="38"/>
          </p:nvPr>
        </p:nvSpPr>
        <p:spPr/>
        <p:txBody>
          <a:bodyPr/>
          <a:lstStyle/>
          <a:p>
            <a:r>
              <a:rPr lang="nl-NL" sz="3200" dirty="0"/>
              <a:t>Verkoopkosten deelnemingen </a:t>
            </a:r>
          </a:p>
        </p:txBody>
      </p:sp>
      <p:sp>
        <p:nvSpPr>
          <p:cNvPr id="24" name="Tijdelijke aanduiding voor afbeelding 23">
            <a:extLst>
              <a:ext uri="{FF2B5EF4-FFF2-40B4-BE49-F238E27FC236}">
                <a16:creationId xmlns:a16="http://schemas.microsoft.com/office/drawing/2014/main" id="{A0C7120C-69C4-4640-A2F7-2ED3288D14DC}"/>
              </a:ext>
            </a:extLst>
          </p:cNvPr>
          <p:cNvSpPr>
            <a:spLocks noGrp="1"/>
          </p:cNvSpPr>
          <p:nvPr>
            <p:ph type="pic" idx="48"/>
          </p:nvPr>
        </p:nvSpPr>
        <p:spPr/>
      </p:sp>
      <p:sp>
        <p:nvSpPr>
          <p:cNvPr id="13" name="Tijdelijke aanduiding voor verticale tekst 12">
            <a:extLst>
              <a:ext uri="{FF2B5EF4-FFF2-40B4-BE49-F238E27FC236}">
                <a16:creationId xmlns:a16="http://schemas.microsoft.com/office/drawing/2014/main" id="{8E965D14-D7FC-44C4-88FA-5DC7337E80D4}"/>
              </a:ext>
            </a:extLst>
          </p:cNvPr>
          <p:cNvSpPr>
            <a:spLocks noGrp="1"/>
          </p:cNvSpPr>
          <p:nvPr>
            <p:ph type="body" orient="vert" idx="40"/>
          </p:nvPr>
        </p:nvSpPr>
        <p:spPr/>
        <p:txBody>
          <a:bodyPr/>
          <a:lstStyle/>
          <a:p>
            <a:r>
              <a:rPr lang="nl-NL" sz="3200" dirty="0"/>
              <a:t>Fiets</a:t>
            </a:r>
          </a:p>
        </p:txBody>
      </p:sp>
      <p:sp>
        <p:nvSpPr>
          <p:cNvPr id="23" name="Tijdelijke aanduiding voor afbeelding 22">
            <a:extLst>
              <a:ext uri="{FF2B5EF4-FFF2-40B4-BE49-F238E27FC236}">
                <a16:creationId xmlns:a16="http://schemas.microsoft.com/office/drawing/2014/main" id="{7A5C03F0-6010-4D26-A5B3-E208E8AD229A}"/>
              </a:ext>
            </a:extLst>
          </p:cNvPr>
          <p:cNvSpPr>
            <a:spLocks noGrp="1"/>
          </p:cNvSpPr>
          <p:nvPr>
            <p:ph type="pic" idx="47"/>
          </p:nvPr>
        </p:nvSpPr>
        <p:spPr/>
      </p:sp>
      <p:sp>
        <p:nvSpPr>
          <p:cNvPr id="8" name="Tijdelijke aanduiding voor verticale tekst 7">
            <a:extLst>
              <a:ext uri="{FF2B5EF4-FFF2-40B4-BE49-F238E27FC236}">
                <a16:creationId xmlns:a16="http://schemas.microsoft.com/office/drawing/2014/main" id="{D4ED49E6-7038-4767-9661-D1A29BA853AB}"/>
              </a:ext>
            </a:extLst>
          </p:cNvPr>
          <p:cNvSpPr>
            <a:spLocks noGrp="1"/>
          </p:cNvSpPr>
          <p:nvPr>
            <p:ph type="body" orient="vert" idx="35"/>
          </p:nvPr>
        </p:nvSpPr>
        <p:spPr/>
        <p:txBody>
          <a:bodyPr/>
          <a:lstStyle/>
          <a:p>
            <a:r>
              <a:rPr lang="nl-NL" sz="3200" dirty="0"/>
              <a:t>Brexit</a:t>
            </a:r>
          </a:p>
        </p:txBody>
      </p:sp>
      <p:sp>
        <p:nvSpPr>
          <p:cNvPr id="22" name="Tijdelijke aanduiding voor afbeelding 21">
            <a:extLst>
              <a:ext uri="{FF2B5EF4-FFF2-40B4-BE49-F238E27FC236}">
                <a16:creationId xmlns:a16="http://schemas.microsoft.com/office/drawing/2014/main" id="{EAF8C5B4-394C-4D01-A414-C8C1A1145FEE}"/>
              </a:ext>
            </a:extLst>
          </p:cNvPr>
          <p:cNvSpPr>
            <a:spLocks noGrp="1"/>
          </p:cNvSpPr>
          <p:nvPr>
            <p:ph type="pic" idx="46"/>
          </p:nvPr>
        </p:nvSpPr>
        <p:spPr/>
      </p:sp>
      <p:sp>
        <p:nvSpPr>
          <p:cNvPr id="7" name="Tijdelijke aanduiding voor verticale tekst 6">
            <a:extLst>
              <a:ext uri="{FF2B5EF4-FFF2-40B4-BE49-F238E27FC236}">
                <a16:creationId xmlns:a16="http://schemas.microsoft.com/office/drawing/2014/main" id="{37AE52D2-4826-4EFA-8B63-49134D342C93}"/>
              </a:ext>
            </a:extLst>
          </p:cNvPr>
          <p:cNvSpPr>
            <a:spLocks noGrp="1"/>
          </p:cNvSpPr>
          <p:nvPr>
            <p:ph type="body" orient="vert" idx="34"/>
          </p:nvPr>
        </p:nvSpPr>
        <p:spPr/>
        <p:txBody>
          <a:bodyPr/>
          <a:lstStyle/>
          <a:p>
            <a:r>
              <a:rPr lang="nl-NL" sz="3200" dirty="0" err="1"/>
              <a:t>Afstands</a:t>
            </a:r>
            <a:endParaRPr lang="nl-NL" sz="3200" dirty="0"/>
          </a:p>
          <a:p>
            <a:r>
              <a:rPr lang="nl-NL" sz="3200" dirty="0"/>
              <a:t>verkopen</a:t>
            </a:r>
          </a:p>
        </p:txBody>
      </p:sp>
      <p:sp>
        <p:nvSpPr>
          <p:cNvPr id="21" name="Tijdelijke aanduiding voor afbeelding 20">
            <a:extLst>
              <a:ext uri="{FF2B5EF4-FFF2-40B4-BE49-F238E27FC236}">
                <a16:creationId xmlns:a16="http://schemas.microsoft.com/office/drawing/2014/main" id="{E76997C7-247F-48ED-9E88-EF26DF63AFA5}"/>
              </a:ext>
            </a:extLst>
          </p:cNvPr>
          <p:cNvSpPr>
            <a:spLocks noGrp="1"/>
          </p:cNvSpPr>
          <p:nvPr>
            <p:ph type="pic" idx="45"/>
          </p:nvPr>
        </p:nvSpPr>
        <p:spPr/>
      </p:sp>
      <p:sp>
        <p:nvSpPr>
          <p:cNvPr id="6" name="Tijdelijke aanduiding voor verticale tekst 5">
            <a:extLst>
              <a:ext uri="{FF2B5EF4-FFF2-40B4-BE49-F238E27FC236}">
                <a16:creationId xmlns:a16="http://schemas.microsoft.com/office/drawing/2014/main" id="{F31CF90B-B27F-4401-978C-F22F58774B7B}"/>
              </a:ext>
            </a:extLst>
          </p:cNvPr>
          <p:cNvSpPr>
            <a:spLocks noGrp="1"/>
          </p:cNvSpPr>
          <p:nvPr>
            <p:ph type="body" orient="vert" idx="33"/>
          </p:nvPr>
        </p:nvSpPr>
        <p:spPr/>
        <p:txBody>
          <a:bodyPr/>
          <a:lstStyle/>
          <a:p>
            <a:r>
              <a:rPr lang="nl-NL" sz="3200" dirty="0"/>
              <a:t>Plaats van dienst</a:t>
            </a:r>
          </a:p>
        </p:txBody>
      </p:sp>
      <p:sp>
        <p:nvSpPr>
          <p:cNvPr id="20" name="Tijdelijke aanduiding voor afbeelding 19">
            <a:extLst>
              <a:ext uri="{FF2B5EF4-FFF2-40B4-BE49-F238E27FC236}">
                <a16:creationId xmlns:a16="http://schemas.microsoft.com/office/drawing/2014/main" id="{EB14B2DD-D163-40BD-AAA4-75C81C63334F}"/>
              </a:ext>
            </a:extLst>
          </p:cNvPr>
          <p:cNvSpPr>
            <a:spLocks noGrp="1"/>
          </p:cNvSpPr>
          <p:nvPr>
            <p:ph type="pic" idx="44"/>
          </p:nvPr>
        </p:nvSpPr>
        <p:spPr/>
      </p:sp>
      <p:sp>
        <p:nvSpPr>
          <p:cNvPr id="14" name="Tijdelijke aanduiding voor verticale tekst 13">
            <a:extLst>
              <a:ext uri="{FF2B5EF4-FFF2-40B4-BE49-F238E27FC236}">
                <a16:creationId xmlns:a16="http://schemas.microsoft.com/office/drawing/2014/main" id="{74506980-6CEF-4DCD-BD25-12F2C51E7D40}"/>
              </a:ext>
            </a:extLst>
          </p:cNvPr>
          <p:cNvSpPr>
            <a:spLocks noGrp="1"/>
          </p:cNvSpPr>
          <p:nvPr>
            <p:ph type="body" orient="vert" idx="41"/>
          </p:nvPr>
        </p:nvSpPr>
        <p:spPr/>
        <p:txBody>
          <a:bodyPr/>
          <a:lstStyle/>
          <a:p>
            <a:r>
              <a:rPr lang="nl-NL" sz="3200" dirty="0"/>
              <a:t>Quick </a:t>
            </a:r>
            <a:r>
              <a:rPr lang="nl-NL" sz="3200" dirty="0" err="1"/>
              <a:t>fixes</a:t>
            </a:r>
            <a:endParaRPr lang="nl-NL" sz="3200" dirty="0"/>
          </a:p>
        </p:txBody>
      </p:sp>
      <p:sp>
        <p:nvSpPr>
          <p:cNvPr id="19" name="Tijdelijke aanduiding voor afbeelding 18">
            <a:extLst>
              <a:ext uri="{FF2B5EF4-FFF2-40B4-BE49-F238E27FC236}">
                <a16:creationId xmlns:a16="http://schemas.microsoft.com/office/drawing/2014/main" id="{1F024D5A-5A54-4A04-8875-460B6E2D6F34}"/>
              </a:ext>
            </a:extLst>
          </p:cNvPr>
          <p:cNvSpPr>
            <a:spLocks noGrp="1"/>
          </p:cNvSpPr>
          <p:nvPr>
            <p:ph type="pic" idx="43"/>
          </p:nvPr>
        </p:nvSpPr>
        <p:spPr/>
      </p:sp>
      <p:sp>
        <p:nvSpPr>
          <p:cNvPr id="5" name="Tijdelijke aanduiding voor verticale tekst 4">
            <a:extLst>
              <a:ext uri="{FF2B5EF4-FFF2-40B4-BE49-F238E27FC236}">
                <a16:creationId xmlns:a16="http://schemas.microsoft.com/office/drawing/2014/main" id="{E9AF3698-C14E-41B6-B156-F2F3664447B0}"/>
              </a:ext>
            </a:extLst>
          </p:cNvPr>
          <p:cNvSpPr>
            <a:spLocks noGrp="1"/>
          </p:cNvSpPr>
          <p:nvPr>
            <p:ph type="body" orient="vert" idx="20"/>
          </p:nvPr>
        </p:nvSpPr>
        <p:spPr/>
        <p:txBody>
          <a:bodyPr/>
          <a:lstStyle/>
          <a:p>
            <a:r>
              <a:rPr lang="nl-NL" sz="3200" dirty="0"/>
              <a:t>E-publicaties</a:t>
            </a:r>
          </a:p>
        </p:txBody>
      </p:sp>
      <p:sp>
        <p:nvSpPr>
          <p:cNvPr id="15" name="Tijdelijke aanduiding voor afbeelding 14">
            <a:extLst>
              <a:ext uri="{FF2B5EF4-FFF2-40B4-BE49-F238E27FC236}">
                <a16:creationId xmlns:a16="http://schemas.microsoft.com/office/drawing/2014/main" id="{1766E015-A429-4141-A6BE-D1341DBDA8C7}"/>
              </a:ext>
            </a:extLst>
          </p:cNvPr>
          <p:cNvSpPr>
            <a:spLocks noGrp="1"/>
          </p:cNvSpPr>
          <p:nvPr>
            <p:ph type="pic" idx="42"/>
          </p:nvPr>
        </p:nvSpPr>
        <p:spPr/>
      </p:sp>
      <p:sp>
        <p:nvSpPr>
          <p:cNvPr id="4" name="Tijdelijke aanduiding voor verticale tekst 3">
            <a:extLst>
              <a:ext uri="{FF2B5EF4-FFF2-40B4-BE49-F238E27FC236}">
                <a16:creationId xmlns:a16="http://schemas.microsoft.com/office/drawing/2014/main" id="{56D02225-D180-4C9F-B95B-2A32E61711BE}"/>
              </a:ext>
            </a:extLst>
          </p:cNvPr>
          <p:cNvSpPr>
            <a:spLocks noGrp="1"/>
          </p:cNvSpPr>
          <p:nvPr>
            <p:ph type="body" orient="vert" idx="19"/>
          </p:nvPr>
        </p:nvSpPr>
        <p:spPr/>
        <p:txBody>
          <a:bodyPr/>
          <a:lstStyle/>
          <a:p>
            <a:r>
              <a:rPr lang="nl-NL" sz="3200" dirty="0"/>
              <a:t>OVOB</a:t>
            </a:r>
          </a:p>
        </p:txBody>
      </p:sp>
      <p:sp>
        <p:nvSpPr>
          <p:cNvPr id="3" name="Tijdelijke aanduiding voor afbeelding 2">
            <a:extLst>
              <a:ext uri="{FF2B5EF4-FFF2-40B4-BE49-F238E27FC236}">
                <a16:creationId xmlns:a16="http://schemas.microsoft.com/office/drawing/2014/main" id="{CF729997-B619-4FDC-9CA2-C3138149C6CE}"/>
              </a:ext>
            </a:extLst>
          </p:cNvPr>
          <p:cNvSpPr>
            <a:spLocks noGrp="1"/>
          </p:cNvSpPr>
          <p:nvPr>
            <p:ph type="pic" idx="13"/>
          </p:nvPr>
        </p:nvSpPr>
        <p:spPr/>
      </p:sp>
      <p:sp>
        <p:nvSpPr>
          <p:cNvPr id="2" name="Tijdelijke aanduiding voor verticale tekst 1">
            <a:extLst>
              <a:ext uri="{FF2B5EF4-FFF2-40B4-BE49-F238E27FC236}">
                <a16:creationId xmlns:a16="http://schemas.microsoft.com/office/drawing/2014/main" id="{B0E38AB1-3F87-44A5-AFA7-2139FD646BA5}"/>
              </a:ext>
            </a:extLst>
          </p:cNvPr>
          <p:cNvSpPr>
            <a:spLocks noGrp="1"/>
          </p:cNvSpPr>
          <p:nvPr>
            <p:ph type="body" orient="vert" idx="1"/>
          </p:nvPr>
        </p:nvSpPr>
        <p:spPr/>
        <p:txBody>
          <a:bodyPr/>
          <a:lstStyle/>
          <a:p>
            <a:r>
              <a:rPr lang="nl-NL" sz="3200" dirty="0"/>
              <a:t>Steekproef</a:t>
            </a:r>
          </a:p>
        </p:txBody>
      </p:sp>
      <p:sp>
        <p:nvSpPr>
          <p:cNvPr id="16" name="Titel 15">
            <a:extLst>
              <a:ext uri="{FF2B5EF4-FFF2-40B4-BE49-F238E27FC236}">
                <a16:creationId xmlns:a16="http://schemas.microsoft.com/office/drawing/2014/main" id="{C619C9C7-3F5E-4EF0-A6BD-8D786C675E62}"/>
              </a:ext>
            </a:extLst>
          </p:cNvPr>
          <p:cNvSpPr>
            <a:spLocks noGrp="1"/>
          </p:cNvSpPr>
          <p:nvPr>
            <p:ph type="title" idx="4294967295"/>
          </p:nvPr>
        </p:nvSpPr>
        <p:spPr>
          <a:xfrm>
            <a:off x="0" y="465138"/>
            <a:ext cx="10871200" cy="531812"/>
          </a:xfrm>
        </p:spPr>
        <p:txBody>
          <a:bodyPr/>
          <a:lstStyle/>
          <a:p>
            <a:r>
              <a:rPr lang="nl-NL" dirty="0"/>
              <a:t>Spoorboekje </a:t>
            </a:r>
          </a:p>
        </p:txBody>
      </p:sp>
    </p:spTree>
    <p:extLst>
      <p:ext uri="{BB962C8B-B14F-4D97-AF65-F5344CB8AC3E}">
        <p14:creationId xmlns:p14="http://schemas.microsoft.com/office/powerpoint/2010/main" val="1898458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EF0A96FB-A01D-420B-A24A-65CDDD5E77DA}"/>
              </a:ext>
            </a:extLst>
          </p:cNvPr>
          <p:cNvSpPr>
            <a:spLocks noGrp="1"/>
          </p:cNvSpPr>
          <p:nvPr>
            <p:ph type="body" orient="vert" idx="1"/>
          </p:nvPr>
        </p:nvSpPr>
        <p:spPr>
          <a:xfrm>
            <a:off x="664109" y="1720867"/>
            <a:ext cx="10870131" cy="3694492"/>
          </a:xfrm>
        </p:spPr>
        <p:txBody>
          <a:bodyPr/>
          <a:lstStyle/>
          <a:p>
            <a:endParaRPr lang="nl-NL" dirty="0"/>
          </a:p>
        </p:txBody>
      </p:sp>
      <p:sp>
        <p:nvSpPr>
          <p:cNvPr id="3" name="Tijdelijke aanduiding voor tekst 2">
            <a:extLst>
              <a:ext uri="{FF2B5EF4-FFF2-40B4-BE49-F238E27FC236}">
                <a16:creationId xmlns:a16="http://schemas.microsoft.com/office/drawing/2014/main" id="{366DB4C4-4BDD-49C4-B1E0-5C95D2BACF93}"/>
              </a:ext>
            </a:extLst>
          </p:cNvPr>
          <p:cNvSpPr>
            <a:spLocks noGrp="1"/>
          </p:cNvSpPr>
          <p:nvPr>
            <p:ph type="body" idx="14"/>
          </p:nvPr>
        </p:nvSpPr>
        <p:spPr/>
        <p:txBody>
          <a:bodyPr/>
          <a:lstStyle/>
          <a:p>
            <a:endParaRPr lang="nl-NL" dirty="0"/>
          </a:p>
        </p:txBody>
      </p:sp>
      <p:sp>
        <p:nvSpPr>
          <p:cNvPr id="4" name="Titel 3">
            <a:extLst>
              <a:ext uri="{FF2B5EF4-FFF2-40B4-BE49-F238E27FC236}">
                <a16:creationId xmlns:a16="http://schemas.microsoft.com/office/drawing/2014/main" id="{7D4E7427-08F1-4A55-B3C7-D0122F8AD0E6}"/>
              </a:ext>
            </a:extLst>
          </p:cNvPr>
          <p:cNvSpPr>
            <a:spLocks noGrp="1"/>
          </p:cNvSpPr>
          <p:nvPr>
            <p:ph type="title"/>
          </p:nvPr>
        </p:nvSpPr>
        <p:spPr/>
        <p:txBody>
          <a:bodyPr/>
          <a:lstStyle/>
          <a:p>
            <a:r>
              <a:rPr lang="nl-NL" dirty="0"/>
              <a:t>Plaats van dienst</a:t>
            </a:r>
          </a:p>
        </p:txBody>
      </p:sp>
      <p:grpSp>
        <p:nvGrpSpPr>
          <p:cNvPr id="5" name="Group 5">
            <a:extLst>
              <a:ext uri="{FF2B5EF4-FFF2-40B4-BE49-F238E27FC236}">
                <a16:creationId xmlns:a16="http://schemas.microsoft.com/office/drawing/2014/main" id="{A964566E-E454-4A33-B2FD-734C735C33A9}"/>
              </a:ext>
            </a:extLst>
          </p:cNvPr>
          <p:cNvGrpSpPr/>
          <p:nvPr/>
        </p:nvGrpSpPr>
        <p:grpSpPr bwMode="gray">
          <a:xfrm>
            <a:off x="1348702" y="1802600"/>
            <a:ext cx="2421541" cy="3673057"/>
            <a:chOff x="6334125" y="2281238"/>
            <a:chExt cx="2406651" cy="3354387"/>
          </a:xfrm>
          <a:solidFill>
            <a:schemeClr val="accent1"/>
          </a:solidFill>
        </p:grpSpPr>
        <p:sp>
          <p:nvSpPr>
            <p:cNvPr id="6" name="Freeform 30">
              <a:extLst>
                <a:ext uri="{FF2B5EF4-FFF2-40B4-BE49-F238E27FC236}">
                  <a16:creationId xmlns:a16="http://schemas.microsoft.com/office/drawing/2014/main" id="{1DECEA13-E6E6-45BE-9D4B-2902EEAAAD18}"/>
                </a:ext>
              </a:extLst>
            </p:cNvPr>
            <p:cNvSpPr>
              <a:spLocks/>
            </p:cNvSpPr>
            <p:nvPr/>
          </p:nvSpPr>
          <p:spPr bwMode="gray">
            <a:xfrm>
              <a:off x="7173913" y="3959225"/>
              <a:ext cx="571500" cy="415925"/>
            </a:xfrm>
            <a:custGeom>
              <a:avLst/>
              <a:gdLst>
                <a:gd name="T0" fmla="*/ 245 w 720"/>
                <a:gd name="T1" fmla="*/ 13 h 525"/>
                <a:gd name="T2" fmla="*/ 133 w 720"/>
                <a:gd name="T3" fmla="*/ 70 h 525"/>
                <a:gd name="T4" fmla="*/ 171 w 720"/>
                <a:gd name="T5" fmla="*/ 152 h 525"/>
                <a:gd name="T6" fmla="*/ 49 w 720"/>
                <a:gd name="T7" fmla="*/ 131 h 525"/>
                <a:gd name="T8" fmla="*/ 133 w 720"/>
                <a:gd name="T9" fmla="*/ 304 h 525"/>
                <a:gd name="T10" fmla="*/ 106 w 720"/>
                <a:gd name="T11" fmla="*/ 384 h 525"/>
                <a:gd name="T12" fmla="*/ 68 w 720"/>
                <a:gd name="T13" fmla="*/ 382 h 525"/>
                <a:gd name="T14" fmla="*/ 0 w 720"/>
                <a:gd name="T15" fmla="*/ 403 h 525"/>
                <a:gd name="T16" fmla="*/ 17 w 720"/>
                <a:gd name="T17" fmla="*/ 479 h 525"/>
                <a:gd name="T18" fmla="*/ 119 w 720"/>
                <a:gd name="T19" fmla="*/ 490 h 525"/>
                <a:gd name="T20" fmla="*/ 150 w 720"/>
                <a:gd name="T21" fmla="*/ 525 h 525"/>
                <a:gd name="T22" fmla="*/ 192 w 720"/>
                <a:gd name="T23" fmla="*/ 525 h 525"/>
                <a:gd name="T24" fmla="*/ 203 w 720"/>
                <a:gd name="T25" fmla="*/ 504 h 525"/>
                <a:gd name="T26" fmla="*/ 264 w 720"/>
                <a:gd name="T27" fmla="*/ 517 h 525"/>
                <a:gd name="T28" fmla="*/ 372 w 720"/>
                <a:gd name="T29" fmla="*/ 517 h 525"/>
                <a:gd name="T30" fmla="*/ 391 w 720"/>
                <a:gd name="T31" fmla="*/ 502 h 525"/>
                <a:gd name="T32" fmla="*/ 444 w 720"/>
                <a:gd name="T33" fmla="*/ 513 h 525"/>
                <a:gd name="T34" fmla="*/ 553 w 720"/>
                <a:gd name="T35" fmla="*/ 485 h 525"/>
                <a:gd name="T36" fmla="*/ 545 w 720"/>
                <a:gd name="T37" fmla="*/ 477 h 525"/>
                <a:gd name="T38" fmla="*/ 638 w 720"/>
                <a:gd name="T39" fmla="*/ 401 h 525"/>
                <a:gd name="T40" fmla="*/ 720 w 720"/>
                <a:gd name="T41" fmla="*/ 382 h 525"/>
                <a:gd name="T42" fmla="*/ 705 w 720"/>
                <a:gd name="T43" fmla="*/ 308 h 525"/>
                <a:gd name="T44" fmla="*/ 720 w 720"/>
                <a:gd name="T45" fmla="*/ 171 h 525"/>
                <a:gd name="T46" fmla="*/ 638 w 720"/>
                <a:gd name="T47" fmla="*/ 194 h 525"/>
                <a:gd name="T48" fmla="*/ 593 w 720"/>
                <a:gd name="T49" fmla="*/ 13 h 525"/>
                <a:gd name="T50" fmla="*/ 492 w 720"/>
                <a:gd name="T51" fmla="*/ 108 h 525"/>
                <a:gd name="T52" fmla="*/ 414 w 720"/>
                <a:gd name="T53" fmla="*/ 105 h 525"/>
                <a:gd name="T54" fmla="*/ 437 w 720"/>
                <a:gd name="T55" fmla="*/ 36 h 525"/>
                <a:gd name="T56" fmla="*/ 382 w 720"/>
                <a:gd name="T57" fmla="*/ 0 h 525"/>
                <a:gd name="T58" fmla="*/ 330 w 720"/>
                <a:gd name="T59" fmla="*/ 78 h 525"/>
                <a:gd name="T60" fmla="*/ 232 w 720"/>
                <a:gd name="T61" fmla="*/ 108 h 525"/>
                <a:gd name="T62" fmla="*/ 245 w 720"/>
                <a:gd name="T63" fmla="*/ 13 h 525"/>
                <a:gd name="T64" fmla="*/ 133 w 720"/>
                <a:gd name="T65" fmla="*/ 70 h 525"/>
                <a:gd name="T66" fmla="*/ 245 w 720"/>
                <a:gd name="T67" fmla="*/ 13 h 525"/>
                <a:gd name="T68" fmla="*/ 245 w 720"/>
                <a:gd name="T69" fmla="*/ 13 h 525"/>
                <a:gd name="T70" fmla="*/ 245 w 720"/>
                <a:gd name="T71" fmla="*/ 13 h 52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20"/>
                <a:gd name="T109" fmla="*/ 0 h 525"/>
                <a:gd name="T110" fmla="*/ 720 w 720"/>
                <a:gd name="T111" fmla="*/ 525 h 52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20" h="525">
                  <a:moveTo>
                    <a:pt x="245" y="13"/>
                  </a:moveTo>
                  <a:lnTo>
                    <a:pt x="133" y="70"/>
                  </a:lnTo>
                  <a:lnTo>
                    <a:pt x="171" y="152"/>
                  </a:lnTo>
                  <a:lnTo>
                    <a:pt x="49" y="131"/>
                  </a:lnTo>
                  <a:lnTo>
                    <a:pt x="133" y="304"/>
                  </a:lnTo>
                  <a:lnTo>
                    <a:pt x="106" y="384"/>
                  </a:lnTo>
                  <a:lnTo>
                    <a:pt x="68" y="382"/>
                  </a:lnTo>
                  <a:lnTo>
                    <a:pt x="0" y="403"/>
                  </a:lnTo>
                  <a:lnTo>
                    <a:pt x="17" y="479"/>
                  </a:lnTo>
                  <a:lnTo>
                    <a:pt x="119" y="490"/>
                  </a:lnTo>
                  <a:lnTo>
                    <a:pt x="150" y="525"/>
                  </a:lnTo>
                  <a:lnTo>
                    <a:pt x="192" y="525"/>
                  </a:lnTo>
                  <a:lnTo>
                    <a:pt x="203" y="504"/>
                  </a:lnTo>
                  <a:lnTo>
                    <a:pt x="264" y="517"/>
                  </a:lnTo>
                  <a:lnTo>
                    <a:pt x="372" y="517"/>
                  </a:lnTo>
                  <a:lnTo>
                    <a:pt x="391" y="502"/>
                  </a:lnTo>
                  <a:lnTo>
                    <a:pt x="444" y="513"/>
                  </a:lnTo>
                  <a:lnTo>
                    <a:pt x="553" y="485"/>
                  </a:lnTo>
                  <a:lnTo>
                    <a:pt x="545" y="477"/>
                  </a:lnTo>
                  <a:lnTo>
                    <a:pt x="638" y="401"/>
                  </a:lnTo>
                  <a:lnTo>
                    <a:pt x="720" y="382"/>
                  </a:lnTo>
                  <a:lnTo>
                    <a:pt x="705" y="308"/>
                  </a:lnTo>
                  <a:lnTo>
                    <a:pt x="720" y="171"/>
                  </a:lnTo>
                  <a:lnTo>
                    <a:pt x="638" y="194"/>
                  </a:lnTo>
                  <a:lnTo>
                    <a:pt x="593" y="13"/>
                  </a:lnTo>
                  <a:lnTo>
                    <a:pt x="492" y="108"/>
                  </a:lnTo>
                  <a:lnTo>
                    <a:pt x="414" y="105"/>
                  </a:lnTo>
                  <a:lnTo>
                    <a:pt x="437" y="36"/>
                  </a:lnTo>
                  <a:lnTo>
                    <a:pt x="382" y="0"/>
                  </a:lnTo>
                  <a:lnTo>
                    <a:pt x="330" y="78"/>
                  </a:lnTo>
                  <a:lnTo>
                    <a:pt x="232" y="108"/>
                  </a:lnTo>
                  <a:lnTo>
                    <a:pt x="245" y="13"/>
                  </a:lnTo>
                  <a:lnTo>
                    <a:pt x="133" y="70"/>
                  </a:lnTo>
                  <a:lnTo>
                    <a:pt x="245" y="13"/>
                  </a:lnTo>
                  <a:close/>
                </a:path>
              </a:pathLst>
            </a:custGeom>
            <a:grpFill/>
            <a:ln w="12700">
              <a:solidFill>
                <a:schemeClr val="bg1"/>
              </a:solidFill>
              <a:round/>
              <a:headEnd/>
              <a:tailEnd/>
            </a:ln>
          </p:spPr>
          <p:txBody>
            <a:bodyPr/>
            <a:lstStyle/>
            <a:p>
              <a:pPr>
                <a:defRPr/>
              </a:pPr>
              <a:endParaRPr lang="en-US" sz="1350"/>
            </a:p>
          </p:txBody>
        </p:sp>
        <p:sp>
          <p:nvSpPr>
            <p:cNvPr id="7" name="Freeform 32">
              <a:extLst>
                <a:ext uri="{FF2B5EF4-FFF2-40B4-BE49-F238E27FC236}">
                  <a16:creationId xmlns:a16="http://schemas.microsoft.com/office/drawing/2014/main" id="{16AFBABB-ED16-405D-934C-DBA2E5BE1539}"/>
                </a:ext>
              </a:extLst>
            </p:cNvPr>
            <p:cNvSpPr>
              <a:spLocks/>
            </p:cNvSpPr>
            <p:nvPr/>
          </p:nvSpPr>
          <p:spPr bwMode="gray">
            <a:xfrm>
              <a:off x="7023100" y="3282950"/>
              <a:ext cx="688975" cy="547687"/>
            </a:xfrm>
            <a:custGeom>
              <a:avLst/>
              <a:gdLst>
                <a:gd name="T0" fmla="*/ 444 w 866"/>
                <a:gd name="T1" fmla="*/ 0 h 690"/>
                <a:gd name="T2" fmla="*/ 195 w 866"/>
                <a:gd name="T3" fmla="*/ 318 h 690"/>
                <a:gd name="T4" fmla="*/ 108 w 866"/>
                <a:gd name="T5" fmla="*/ 348 h 690"/>
                <a:gd name="T6" fmla="*/ 117 w 866"/>
                <a:gd name="T7" fmla="*/ 384 h 690"/>
                <a:gd name="T8" fmla="*/ 256 w 866"/>
                <a:gd name="T9" fmla="*/ 411 h 690"/>
                <a:gd name="T10" fmla="*/ 195 w 866"/>
                <a:gd name="T11" fmla="*/ 479 h 690"/>
                <a:gd name="T12" fmla="*/ 0 w 866"/>
                <a:gd name="T13" fmla="*/ 497 h 690"/>
                <a:gd name="T14" fmla="*/ 9 w 866"/>
                <a:gd name="T15" fmla="*/ 554 h 690"/>
                <a:gd name="T16" fmla="*/ 117 w 866"/>
                <a:gd name="T17" fmla="*/ 567 h 690"/>
                <a:gd name="T18" fmla="*/ 112 w 866"/>
                <a:gd name="T19" fmla="*/ 618 h 690"/>
                <a:gd name="T20" fmla="*/ 237 w 866"/>
                <a:gd name="T21" fmla="*/ 690 h 690"/>
                <a:gd name="T22" fmla="*/ 319 w 866"/>
                <a:gd name="T23" fmla="*/ 690 h 690"/>
                <a:gd name="T24" fmla="*/ 355 w 866"/>
                <a:gd name="T25" fmla="*/ 637 h 690"/>
                <a:gd name="T26" fmla="*/ 429 w 866"/>
                <a:gd name="T27" fmla="*/ 649 h 690"/>
                <a:gd name="T28" fmla="*/ 496 w 866"/>
                <a:gd name="T29" fmla="*/ 620 h 690"/>
                <a:gd name="T30" fmla="*/ 560 w 866"/>
                <a:gd name="T31" fmla="*/ 622 h 690"/>
                <a:gd name="T32" fmla="*/ 693 w 866"/>
                <a:gd name="T33" fmla="*/ 536 h 690"/>
                <a:gd name="T34" fmla="*/ 741 w 866"/>
                <a:gd name="T35" fmla="*/ 536 h 690"/>
                <a:gd name="T36" fmla="*/ 745 w 866"/>
                <a:gd name="T37" fmla="*/ 500 h 690"/>
                <a:gd name="T38" fmla="*/ 815 w 866"/>
                <a:gd name="T39" fmla="*/ 491 h 690"/>
                <a:gd name="T40" fmla="*/ 866 w 866"/>
                <a:gd name="T41" fmla="*/ 417 h 690"/>
                <a:gd name="T42" fmla="*/ 866 w 866"/>
                <a:gd name="T43" fmla="*/ 369 h 690"/>
                <a:gd name="T44" fmla="*/ 823 w 866"/>
                <a:gd name="T45" fmla="*/ 333 h 690"/>
                <a:gd name="T46" fmla="*/ 804 w 866"/>
                <a:gd name="T47" fmla="*/ 358 h 690"/>
                <a:gd name="T48" fmla="*/ 750 w 866"/>
                <a:gd name="T49" fmla="*/ 346 h 690"/>
                <a:gd name="T50" fmla="*/ 682 w 866"/>
                <a:gd name="T51" fmla="*/ 403 h 690"/>
                <a:gd name="T52" fmla="*/ 634 w 866"/>
                <a:gd name="T53" fmla="*/ 358 h 690"/>
                <a:gd name="T54" fmla="*/ 693 w 866"/>
                <a:gd name="T55" fmla="*/ 320 h 690"/>
                <a:gd name="T56" fmla="*/ 678 w 866"/>
                <a:gd name="T57" fmla="*/ 299 h 690"/>
                <a:gd name="T58" fmla="*/ 712 w 866"/>
                <a:gd name="T59" fmla="*/ 267 h 690"/>
                <a:gd name="T60" fmla="*/ 701 w 866"/>
                <a:gd name="T61" fmla="*/ 234 h 690"/>
                <a:gd name="T62" fmla="*/ 667 w 866"/>
                <a:gd name="T63" fmla="*/ 240 h 690"/>
                <a:gd name="T64" fmla="*/ 627 w 866"/>
                <a:gd name="T65" fmla="*/ 211 h 690"/>
                <a:gd name="T66" fmla="*/ 678 w 866"/>
                <a:gd name="T67" fmla="*/ 198 h 690"/>
                <a:gd name="T68" fmla="*/ 672 w 866"/>
                <a:gd name="T69" fmla="*/ 158 h 690"/>
                <a:gd name="T70" fmla="*/ 602 w 866"/>
                <a:gd name="T71" fmla="*/ 116 h 690"/>
                <a:gd name="T72" fmla="*/ 594 w 866"/>
                <a:gd name="T73" fmla="*/ 109 h 690"/>
                <a:gd name="T74" fmla="*/ 490 w 866"/>
                <a:gd name="T75" fmla="*/ 128 h 690"/>
                <a:gd name="T76" fmla="*/ 469 w 866"/>
                <a:gd name="T77" fmla="*/ 107 h 690"/>
                <a:gd name="T78" fmla="*/ 486 w 866"/>
                <a:gd name="T79" fmla="*/ 27 h 690"/>
                <a:gd name="T80" fmla="*/ 444 w 866"/>
                <a:gd name="T81" fmla="*/ 0 h 690"/>
                <a:gd name="T82" fmla="*/ 444 w 866"/>
                <a:gd name="T83" fmla="*/ 0 h 690"/>
                <a:gd name="T84" fmla="*/ 444 w 866"/>
                <a:gd name="T85" fmla="*/ 0 h 69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66"/>
                <a:gd name="T130" fmla="*/ 0 h 690"/>
                <a:gd name="T131" fmla="*/ 866 w 866"/>
                <a:gd name="T132" fmla="*/ 690 h 69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66" h="690">
                  <a:moveTo>
                    <a:pt x="444" y="0"/>
                  </a:moveTo>
                  <a:lnTo>
                    <a:pt x="195" y="318"/>
                  </a:lnTo>
                  <a:lnTo>
                    <a:pt x="108" y="348"/>
                  </a:lnTo>
                  <a:lnTo>
                    <a:pt x="117" y="384"/>
                  </a:lnTo>
                  <a:lnTo>
                    <a:pt x="256" y="411"/>
                  </a:lnTo>
                  <a:lnTo>
                    <a:pt x="195" y="479"/>
                  </a:lnTo>
                  <a:lnTo>
                    <a:pt x="0" y="497"/>
                  </a:lnTo>
                  <a:lnTo>
                    <a:pt x="9" y="554"/>
                  </a:lnTo>
                  <a:lnTo>
                    <a:pt x="117" y="567"/>
                  </a:lnTo>
                  <a:lnTo>
                    <a:pt x="112" y="618"/>
                  </a:lnTo>
                  <a:lnTo>
                    <a:pt x="237" y="690"/>
                  </a:lnTo>
                  <a:lnTo>
                    <a:pt x="319" y="690"/>
                  </a:lnTo>
                  <a:lnTo>
                    <a:pt x="355" y="637"/>
                  </a:lnTo>
                  <a:lnTo>
                    <a:pt x="429" y="649"/>
                  </a:lnTo>
                  <a:lnTo>
                    <a:pt x="496" y="620"/>
                  </a:lnTo>
                  <a:lnTo>
                    <a:pt x="560" y="622"/>
                  </a:lnTo>
                  <a:lnTo>
                    <a:pt x="693" y="536"/>
                  </a:lnTo>
                  <a:lnTo>
                    <a:pt x="741" y="536"/>
                  </a:lnTo>
                  <a:lnTo>
                    <a:pt x="745" y="500"/>
                  </a:lnTo>
                  <a:lnTo>
                    <a:pt x="815" y="491"/>
                  </a:lnTo>
                  <a:lnTo>
                    <a:pt x="866" y="417"/>
                  </a:lnTo>
                  <a:lnTo>
                    <a:pt x="866" y="369"/>
                  </a:lnTo>
                  <a:lnTo>
                    <a:pt x="823" y="333"/>
                  </a:lnTo>
                  <a:lnTo>
                    <a:pt x="804" y="358"/>
                  </a:lnTo>
                  <a:lnTo>
                    <a:pt x="750" y="346"/>
                  </a:lnTo>
                  <a:lnTo>
                    <a:pt x="682" y="403"/>
                  </a:lnTo>
                  <a:lnTo>
                    <a:pt x="634" y="358"/>
                  </a:lnTo>
                  <a:lnTo>
                    <a:pt x="693" y="320"/>
                  </a:lnTo>
                  <a:lnTo>
                    <a:pt x="678" y="299"/>
                  </a:lnTo>
                  <a:lnTo>
                    <a:pt x="712" y="267"/>
                  </a:lnTo>
                  <a:lnTo>
                    <a:pt x="701" y="234"/>
                  </a:lnTo>
                  <a:lnTo>
                    <a:pt x="667" y="240"/>
                  </a:lnTo>
                  <a:lnTo>
                    <a:pt x="627" y="211"/>
                  </a:lnTo>
                  <a:lnTo>
                    <a:pt x="678" y="198"/>
                  </a:lnTo>
                  <a:lnTo>
                    <a:pt x="672" y="158"/>
                  </a:lnTo>
                  <a:lnTo>
                    <a:pt x="602" y="116"/>
                  </a:lnTo>
                  <a:lnTo>
                    <a:pt x="594" y="109"/>
                  </a:lnTo>
                  <a:lnTo>
                    <a:pt x="490" y="128"/>
                  </a:lnTo>
                  <a:lnTo>
                    <a:pt x="469" y="107"/>
                  </a:lnTo>
                  <a:lnTo>
                    <a:pt x="486" y="27"/>
                  </a:lnTo>
                  <a:lnTo>
                    <a:pt x="444" y="0"/>
                  </a:lnTo>
                  <a:close/>
                </a:path>
              </a:pathLst>
            </a:custGeom>
            <a:grpFill/>
            <a:ln w="12700">
              <a:solidFill>
                <a:schemeClr val="bg1"/>
              </a:solidFill>
              <a:round/>
              <a:headEnd/>
              <a:tailEnd/>
            </a:ln>
          </p:spPr>
          <p:txBody>
            <a:bodyPr/>
            <a:lstStyle/>
            <a:p>
              <a:pPr>
                <a:defRPr/>
              </a:pPr>
              <a:endParaRPr lang="en-US" sz="1350"/>
            </a:p>
          </p:txBody>
        </p:sp>
        <p:sp>
          <p:nvSpPr>
            <p:cNvPr id="8" name="Freeform 33">
              <a:extLst>
                <a:ext uri="{FF2B5EF4-FFF2-40B4-BE49-F238E27FC236}">
                  <a16:creationId xmlns:a16="http://schemas.microsoft.com/office/drawing/2014/main" id="{B05D1220-F85D-452E-9C52-9BE04FADF800}"/>
                </a:ext>
              </a:extLst>
            </p:cNvPr>
            <p:cNvSpPr>
              <a:spLocks/>
            </p:cNvSpPr>
            <p:nvPr/>
          </p:nvSpPr>
          <p:spPr bwMode="gray">
            <a:xfrm>
              <a:off x="6948488" y="3913188"/>
              <a:ext cx="127000" cy="55562"/>
            </a:xfrm>
            <a:custGeom>
              <a:avLst/>
              <a:gdLst>
                <a:gd name="T0" fmla="*/ 0 w 159"/>
                <a:gd name="T1" fmla="*/ 0 h 70"/>
                <a:gd name="T2" fmla="*/ 36 w 159"/>
                <a:gd name="T3" fmla="*/ 21 h 70"/>
                <a:gd name="T4" fmla="*/ 125 w 159"/>
                <a:gd name="T5" fmla="*/ 15 h 70"/>
                <a:gd name="T6" fmla="*/ 159 w 159"/>
                <a:gd name="T7" fmla="*/ 46 h 70"/>
                <a:gd name="T8" fmla="*/ 123 w 159"/>
                <a:gd name="T9" fmla="*/ 61 h 70"/>
                <a:gd name="T10" fmla="*/ 60 w 159"/>
                <a:gd name="T11" fmla="*/ 51 h 70"/>
                <a:gd name="T12" fmla="*/ 22 w 159"/>
                <a:gd name="T13" fmla="*/ 70 h 70"/>
                <a:gd name="T14" fmla="*/ 0 w 159"/>
                <a:gd name="T15" fmla="*/ 0 h 70"/>
                <a:gd name="T16" fmla="*/ 0 w 159"/>
                <a:gd name="T17" fmla="*/ 0 h 70"/>
                <a:gd name="T18" fmla="*/ 0 w 159"/>
                <a:gd name="T19" fmla="*/ 0 h 7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9"/>
                <a:gd name="T31" fmla="*/ 0 h 70"/>
                <a:gd name="T32" fmla="*/ 159 w 159"/>
                <a:gd name="T33" fmla="*/ 70 h 7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9" h="70">
                  <a:moveTo>
                    <a:pt x="0" y="0"/>
                  </a:moveTo>
                  <a:lnTo>
                    <a:pt x="36" y="21"/>
                  </a:lnTo>
                  <a:lnTo>
                    <a:pt x="125" y="15"/>
                  </a:lnTo>
                  <a:lnTo>
                    <a:pt x="159" y="46"/>
                  </a:lnTo>
                  <a:lnTo>
                    <a:pt x="123" y="61"/>
                  </a:lnTo>
                  <a:lnTo>
                    <a:pt x="60" y="51"/>
                  </a:lnTo>
                  <a:lnTo>
                    <a:pt x="22" y="70"/>
                  </a:lnTo>
                  <a:lnTo>
                    <a:pt x="0" y="0"/>
                  </a:lnTo>
                  <a:close/>
                </a:path>
              </a:pathLst>
            </a:custGeom>
            <a:grpFill/>
            <a:ln w="12700">
              <a:solidFill>
                <a:schemeClr val="bg1"/>
              </a:solidFill>
              <a:round/>
              <a:headEnd/>
              <a:tailEnd/>
            </a:ln>
          </p:spPr>
          <p:txBody>
            <a:bodyPr/>
            <a:lstStyle/>
            <a:p>
              <a:pPr>
                <a:defRPr/>
              </a:pPr>
              <a:endParaRPr lang="en-US" sz="1350"/>
            </a:p>
          </p:txBody>
        </p:sp>
        <p:sp>
          <p:nvSpPr>
            <p:cNvPr id="9" name="Freeform 34">
              <a:extLst>
                <a:ext uri="{FF2B5EF4-FFF2-40B4-BE49-F238E27FC236}">
                  <a16:creationId xmlns:a16="http://schemas.microsoft.com/office/drawing/2014/main" id="{2268CAC4-C193-482A-A6C1-F808A394FF96}"/>
                </a:ext>
              </a:extLst>
            </p:cNvPr>
            <p:cNvSpPr>
              <a:spLocks/>
            </p:cNvSpPr>
            <p:nvPr/>
          </p:nvSpPr>
          <p:spPr bwMode="gray">
            <a:xfrm>
              <a:off x="6773863" y="4079875"/>
              <a:ext cx="458788" cy="168275"/>
            </a:xfrm>
            <a:custGeom>
              <a:avLst/>
              <a:gdLst>
                <a:gd name="T0" fmla="*/ 578 w 578"/>
                <a:gd name="T1" fmla="*/ 57 h 213"/>
                <a:gd name="T2" fmla="*/ 511 w 578"/>
                <a:gd name="T3" fmla="*/ 152 h 213"/>
                <a:gd name="T4" fmla="*/ 428 w 578"/>
                <a:gd name="T5" fmla="*/ 179 h 213"/>
                <a:gd name="T6" fmla="*/ 399 w 578"/>
                <a:gd name="T7" fmla="*/ 213 h 213"/>
                <a:gd name="T8" fmla="*/ 262 w 578"/>
                <a:gd name="T9" fmla="*/ 184 h 213"/>
                <a:gd name="T10" fmla="*/ 279 w 578"/>
                <a:gd name="T11" fmla="*/ 158 h 213"/>
                <a:gd name="T12" fmla="*/ 181 w 578"/>
                <a:gd name="T13" fmla="*/ 114 h 213"/>
                <a:gd name="T14" fmla="*/ 110 w 578"/>
                <a:gd name="T15" fmla="*/ 114 h 213"/>
                <a:gd name="T16" fmla="*/ 91 w 578"/>
                <a:gd name="T17" fmla="*/ 158 h 213"/>
                <a:gd name="T18" fmla="*/ 4 w 578"/>
                <a:gd name="T19" fmla="*/ 152 h 213"/>
                <a:gd name="T20" fmla="*/ 23 w 578"/>
                <a:gd name="T21" fmla="*/ 82 h 213"/>
                <a:gd name="T22" fmla="*/ 0 w 578"/>
                <a:gd name="T23" fmla="*/ 38 h 213"/>
                <a:gd name="T24" fmla="*/ 99 w 578"/>
                <a:gd name="T25" fmla="*/ 0 h 213"/>
                <a:gd name="T26" fmla="*/ 181 w 578"/>
                <a:gd name="T27" fmla="*/ 15 h 213"/>
                <a:gd name="T28" fmla="*/ 298 w 578"/>
                <a:gd name="T29" fmla="*/ 72 h 213"/>
                <a:gd name="T30" fmla="*/ 416 w 578"/>
                <a:gd name="T31" fmla="*/ 48 h 213"/>
                <a:gd name="T32" fmla="*/ 424 w 578"/>
                <a:gd name="T33" fmla="*/ 29 h 213"/>
                <a:gd name="T34" fmla="*/ 540 w 578"/>
                <a:gd name="T35" fmla="*/ 67 h 213"/>
                <a:gd name="T36" fmla="*/ 578 w 578"/>
                <a:gd name="T37" fmla="*/ 57 h 213"/>
                <a:gd name="T38" fmla="*/ 578 w 578"/>
                <a:gd name="T39" fmla="*/ 57 h 213"/>
                <a:gd name="T40" fmla="*/ 578 w 578"/>
                <a:gd name="T41" fmla="*/ 57 h 2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78"/>
                <a:gd name="T64" fmla="*/ 0 h 213"/>
                <a:gd name="T65" fmla="*/ 578 w 578"/>
                <a:gd name="T66" fmla="*/ 213 h 21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78" h="213">
                  <a:moveTo>
                    <a:pt x="578" y="57"/>
                  </a:moveTo>
                  <a:lnTo>
                    <a:pt x="511" y="152"/>
                  </a:lnTo>
                  <a:lnTo>
                    <a:pt x="428" y="179"/>
                  </a:lnTo>
                  <a:lnTo>
                    <a:pt x="399" y="213"/>
                  </a:lnTo>
                  <a:lnTo>
                    <a:pt x="262" y="184"/>
                  </a:lnTo>
                  <a:lnTo>
                    <a:pt x="279" y="158"/>
                  </a:lnTo>
                  <a:lnTo>
                    <a:pt x="181" y="114"/>
                  </a:lnTo>
                  <a:lnTo>
                    <a:pt x="110" y="114"/>
                  </a:lnTo>
                  <a:lnTo>
                    <a:pt x="91" y="158"/>
                  </a:lnTo>
                  <a:lnTo>
                    <a:pt x="4" y="152"/>
                  </a:lnTo>
                  <a:lnTo>
                    <a:pt x="23" y="82"/>
                  </a:lnTo>
                  <a:lnTo>
                    <a:pt x="0" y="38"/>
                  </a:lnTo>
                  <a:lnTo>
                    <a:pt x="99" y="0"/>
                  </a:lnTo>
                  <a:lnTo>
                    <a:pt x="181" y="15"/>
                  </a:lnTo>
                  <a:lnTo>
                    <a:pt x="298" y="72"/>
                  </a:lnTo>
                  <a:lnTo>
                    <a:pt x="416" y="48"/>
                  </a:lnTo>
                  <a:lnTo>
                    <a:pt x="424" y="29"/>
                  </a:lnTo>
                  <a:lnTo>
                    <a:pt x="540" y="67"/>
                  </a:lnTo>
                  <a:lnTo>
                    <a:pt x="578" y="57"/>
                  </a:lnTo>
                  <a:close/>
                </a:path>
              </a:pathLst>
            </a:custGeom>
            <a:grpFill/>
            <a:ln w="12700">
              <a:solidFill>
                <a:schemeClr val="bg1"/>
              </a:solidFill>
              <a:round/>
              <a:headEnd/>
              <a:tailEnd/>
            </a:ln>
          </p:spPr>
          <p:txBody>
            <a:bodyPr/>
            <a:lstStyle/>
            <a:p>
              <a:pPr>
                <a:defRPr/>
              </a:pPr>
              <a:endParaRPr lang="en-US" sz="1350"/>
            </a:p>
          </p:txBody>
        </p:sp>
        <p:sp>
          <p:nvSpPr>
            <p:cNvPr id="10" name="Freeform 35">
              <a:extLst>
                <a:ext uri="{FF2B5EF4-FFF2-40B4-BE49-F238E27FC236}">
                  <a16:creationId xmlns:a16="http://schemas.microsoft.com/office/drawing/2014/main" id="{53CC581A-EDDF-4853-81EE-6C809868B9D4}"/>
                </a:ext>
              </a:extLst>
            </p:cNvPr>
            <p:cNvSpPr>
              <a:spLocks/>
            </p:cNvSpPr>
            <p:nvPr/>
          </p:nvSpPr>
          <p:spPr bwMode="gray">
            <a:xfrm>
              <a:off x="7678738" y="2930525"/>
              <a:ext cx="490538" cy="469900"/>
            </a:xfrm>
            <a:custGeom>
              <a:avLst/>
              <a:gdLst>
                <a:gd name="T0" fmla="*/ 405 w 618"/>
                <a:gd name="T1" fmla="*/ 0 h 593"/>
                <a:gd name="T2" fmla="*/ 320 w 618"/>
                <a:gd name="T3" fmla="*/ 66 h 593"/>
                <a:gd name="T4" fmla="*/ 329 w 618"/>
                <a:gd name="T5" fmla="*/ 176 h 593"/>
                <a:gd name="T6" fmla="*/ 365 w 618"/>
                <a:gd name="T7" fmla="*/ 220 h 593"/>
                <a:gd name="T8" fmla="*/ 291 w 618"/>
                <a:gd name="T9" fmla="*/ 224 h 593"/>
                <a:gd name="T10" fmla="*/ 229 w 618"/>
                <a:gd name="T11" fmla="*/ 283 h 593"/>
                <a:gd name="T12" fmla="*/ 164 w 618"/>
                <a:gd name="T13" fmla="*/ 169 h 593"/>
                <a:gd name="T14" fmla="*/ 67 w 618"/>
                <a:gd name="T15" fmla="*/ 232 h 593"/>
                <a:gd name="T16" fmla="*/ 0 w 618"/>
                <a:gd name="T17" fmla="*/ 228 h 593"/>
                <a:gd name="T18" fmla="*/ 0 w 618"/>
                <a:gd name="T19" fmla="*/ 296 h 593"/>
                <a:gd name="T20" fmla="*/ 40 w 618"/>
                <a:gd name="T21" fmla="*/ 336 h 593"/>
                <a:gd name="T22" fmla="*/ 0 w 618"/>
                <a:gd name="T23" fmla="*/ 380 h 593"/>
                <a:gd name="T24" fmla="*/ 0 w 618"/>
                <a:gd name="T25" fmla="*/ 460 h 593"/>
                <a:gd name="T26" fmla="*/ 65 w 618"/>
                <a:gd name="T27" fmla="*/ 551 h 593"/>
                <a:gd name="T28" fmla="*/ 143 w 618"/>
                <a:gd name="T29" fmla="*/ 545 h 593"/>
                <a:gd name="T30" fmla="*/ 170 w 618"/>
                <a:gd name="T31" fmla="*/ 583 h 593"/>
                <a:gd name="T32" fmla="*/ 232 w 618"/>
                <a:gd name="T33" fmla="*/ 593 h 593"/>
                <a:gd name="T34" fmla="*/ 312 w 618"/>
                <a:gd name="T35" fmla="*/ 570 h 593"/>
                <a:gd name="T36" fmla="*/ 312 w 618"/>
                <a:gd name="T37" fmla="*/ 513 h 593"/>
                <a:gd name="T38" fmla="*/ 457 w 618"/>
                <a:gd name="T39" fmla="*/ 416 h 593"/>
                <a:gd name="T40" fmla="*/ 498 w 618"/>
                <a:gd name="T41" fmla="*/ 344 h 593"/>
                <a:gd name="T42" fmla="*/ 495 w 618"/>
                <a:gd name="T43" fmla="*/ 294 h 593"/>
                <a:gd name="T44" fmla="*/ 432 w 618"/>
                <a:gd name="T45" fmla="*/ 237 h 593"/>
                <a:gd name="T46" fmla="*/ 567 w 618"/>
                <a:gd name="T47" fmla="*/ 239 h 593"/>
                <a:gd name="T48" fmla="*/ 618 w 618"/>
                <a:gd name="T49" fmla="*/ 226 h 593"/>
                <a:gd name="T50" fmla="*/ 569 w 618"/>
                <a:gd name="T51" fmla="*/ 176 h 593"/>
                <a:gd name="T52" fmla="*/ 567 w 618"/>
                <a:gd name="T53" fmla="*/ 140 h 593"/>
                <a:gd name="T54" fmla="*/ 607 w 618"/>
                <a:gd name="T55" fmla="*/ 135 h 593"/>
                <a:gd name="T56" fmla="*/ 607 w 618"/>
                <a:gd name="T57" fmla="*/ 93 h 593"/>
                <a:gd name="T58" fmla="*/ 460 w 618"/>
                <a:gd name="T59" fmla="*/ 34 h 593"/>
                <a:gd name="T60" fmla="*/ 405 w 618"/>
                <a:gd name="T61" fmla="*/ 0 h 593"/>
                <a:gd name="T62" fmla="*/ 405 w 618"/>
                <a:gd name="T63" fmla="*/ 0 h 593"/>
                <a:gd name="T64" fmla="*/ 405 w 618"/>
                <a:gd name="T65" fmla="*/ 0 h 5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18"/>
                <a:gd name="T100" fmla="*/ 0 h 593"/>
                <a:gd name="T101" fmla="*/ 618 w 618"/>
                <a:gd name="T102" fmla="*/ 593 h 59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18" h="593">
                  <a:moveTo>
                    <a:pt x="405" y="0"/>
                  </a:moveTo>
                  <a:lnTo>
                    <a:pt x="320" y="66"/>
                  </a:lnTo>
                  <a:lnTo>
                    <a:pt x="329" y="176"/>
                  </a:lnTo>
                  <a:lnTo>
                    <a:pt x="365" y="220"/>
                  </a:lnTo>
                  <a:lnTo>
                    <a:pt x="291" y="224"/>
                  </a:lnTo>
                  <a:lnTo>
                    <a:pt x="229" y="283"/>
                  </a:lnTo>
                  <a:lnTo>
                    <a:pt x="164" y="169"/>
                  </a:lnTo>
                  <a:lnTo>
                    <a:pt x="67" y="232"/>
                  </a:lnTo>
                  <a:lnTo>
                    <a:pt x="0" y="228"/>
                  </a:lnTo>
                  <a:lnTo>
                    <a:pt x="0" y="296"/>
                  </a:lnTo>
                  <a:lnTo>
                    <a:pt x="40" y="336"/>
                  </a:lnTo>
                  <a:lnTo>
                    <a:pt x="0" y="380"/>
                  </a:lnTo>
                  <a:lnTo>
                    <a:pt x="0" y="460"/>
                  </a:lnTo>
                  <a:lnTo>
                    <a:pt x="65" y="551"/>
                  </a:lnTo>
                  <a:lnTo>
                    <a:pt x="143" y="545"/>
                  </a:lnTo>
                  <a:lnTo>
                    <a:pt x="170" y="583"/>
                  </a:lnTo>
                  <a:lnTo>
                    <a:pt x="232" y="593"/>
                  </a:lnTo>
                  <a:lnTo>
                    <a:pt x="312" y="570"/>
                  </a:lnTo>
                  <a:lnTo>
                    <a:pt x="312" y="513"/>
                  </a:lnTo>
                  <a:lnTo>
                    <a:pt x="457" y="416"/>
                  </a:lnTo>
                  <a:lnTo>
                    <a:pt x="498" y="344"/>
                  </a:lnTo>
                  <a:lnTo>
                    <a:pt x="495" y="294"/>
                  </a:lnTo>
                  <a:lnTo>
                    <a:pt x="432" y="237"/>
                  </a:lnTo>
                  <a:lnTo>
                    <a:pt x="567" y="239"/>
                  </a:lnTo>
                  <a:lnTo>
                    <a:pt x="618" y="226"/>
                  </a:lnTo>
                  <a:lnTo>
                    <a:pt x="569" y="176"/>
                  </a:lnTo>
                  <a:lnTo>
                    <a:pt x="567" y="140"/>
                  </a:lnTo>
                  <a:lnTo>
                    <a:pt x="607" y="135"/>
                  </a:lnTo>
                  <a:lnTo>
                    <a:pt x="607" y="93"/>
                  </a:lnTo>
                  <a:lnTo>
                    <a:pt x="460" y="34"/>
                  </a:lnTo>
                  <a:lnTo>
                    <a:pt x="405" y="0"/>
                  </a:lnTo>
                  <a:close/>
                </a:path>
              </a:pathLst>
            </a:custGeom>
            <a:grpFill/>
            <a:ln w="12700">
              <a:solidFill>
                <a:schemeClr val="bg1"/>
              </a:solidFill>
              <a:round/>
              <a:headEnd/>
              <a:tailEnd/>
            </a:ln>
          </p:spPr>
          <p:txBody>
            <a:bodyPr/>
            <a:lstStyle/>
            <a:p>
              <a:pPr>
                <a:defRPr/>
              </a:pPr>
              <a:endParaRPr lang="en-US" sz="1350"/>
            </a:p>
          </p:txBody>
        </p:sp>
        <p:sp>
          <p:nvSpPr>
            <p:cNvPr id="11" name="Freeform 36">
              <a:extLst>
                <a:ext uri="{FF2B5EF4-FFF2-40B4-BE49-F238E27FC236}">
                  <a16:creationId xmlns:a16="http://schemas.microsoft.com/office/drawing/2014/main" id="{D867DC12-22BE-4C80-9CBC-33CE7C13D9CB}"/>
                </a:ext>
              </a:extLst>
            </p:cNvPr>
            <p:cNvSpPr>
              <a:spLocks/>
            </p:cNvSpPr>
            <p:nvPr/>
          </p:nvSpPr>
          <p:spPr bwMode="gray">
            <a:xfrm>
              <a:off x="7180263" y="3884613"/>
              <a:ext cx="76200" cy="88900"/>
            </a:xfrm>
            <a:custGeom>
              <a:avLst/>
              <a:gdLst>
                <a:gd name="T0" fmla="*/ 65 w 95"/>
                <a:gd name="T1" fmla="*/ 6 h 110"/>
                <a:gd name="T2" fmla="*/ 48 w 95"/>
                <a:gd name="T3" fmla="*/ 13 h 110"/>
                <a:gd name="T4" fmla="*/ 0 w 95"/>
                <a:gd name="T5" fmla="*/ 0 h 110"/>
                <a:gd name="T6" fmla="*/ 8 w 95"/>
                <a:gd name="T7" fmla="*/ 40 h 110"/>
                <a:gd name="T8" fmla="*/ 95 w 95"/>
                <a:gd name="T9" fmla="*/ 110 h 110"/>
                <a:gd name="T10" fmla="*/ 65 w 95"/>
                <a:gd name="T11" fmla="*/ 6 h 110"/>
                <a:gd name="T12" fmla="*/ 65 w 95"/>
                <a:gd name="T13" fmla="*/ 6 h 110"/>
                <a:gd name="T14" fmla="*/ 65 w 95"/>
                <a:gd name="T15" fmla="*/ 6 h 110"/>
                <a:gd name="T16" fmla="*/ 0 60000 65536"/>
                <a:gd name="T17" fmla="*/ 0 60000 65536"/>
                <a:gd name="T18" fmla="*/ 0 60000 65536"/>
                <a:gd name="T19" fmla="*/ 0 60000 65536"/>
                <a:gd name="T20" fmla="*/ 0 60000 65536"/>
                <a:gd name="T21" fmla="*/ 0 60000 65536"/>
                <a:gd name="T22" fmla="*/ 0 60000 65536"/>
                <a:gd name="T23" fmla="*/ 0 60000 65536"/>
                <a:gd name="T24" fmla="*/ 0 w 95"/>
                <a:gd name="T25" fmla="*/ 0 h 110"/>
                <a:gd name="T26" fmla="*/ 95 w 95"/>
                <a:gd name="T27" fmla="*/ 110 h 1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5" h="110">
                  <a:moveTo>
                    <a:pt x="65" y="6"/>
                  </a:moveTo>
                  <a:lnTo>
                    <a:pt x="48" y="13"/>
                  </a:lnTo>
                  <a:lnTo>
                    <a:pt x="0" y="0"/>
                  </a:lnTo>
                  <a:lnTo>
                    <a:pt x="8" y="40"/>
                  </a:lnTo>
                  <a:lnTo>
                    <a:pt x="95" y="110"/>
                  </a:lnTo>
                  <a:lnTo>
                    <a:pt x="65" y="6"/>
                  </a:lnTo>
                  <a:close/>
                </a:path>
              </a:pathLst>
            </a:custGeom>
            <a:grpFill/>
            <a:ln w="12700">
              <a:solidFill>
                <a:schemeClr val="bg1"/>
              </a:solidFill>
              <a:round/>
              <a:headEnd/>
              <a:tailEnd/>
            </a:ln>
          </p:spPr>
          <p:txBody>
            <a:bodyPr/>
            <a:lstStyle/>
            <a:p>
              <a:pPr>
                <a:defRPr/>
              </a:pPr>
              <a:endParaRPr lang="en-US" sz="1350"/>
            </a:p>
          </p:txBody>
        </p:sp>
        <p:sp>
          <p:nvSpPr>
            <p:cNvPr id="12" name="Freeform 37">
              <a:extLst>
                <a:ext uri="{FF2B5EF4-FFF2-40B4-BE49-F238E27FC236}">
                  <a16:creationId xmlns:a16="http://schemas.microsoft.com/office/drawing/2014/main" id="{B84A3F9B-1384-4CC5-A4BC-BC0359DD33D8}"/>
                </a:ext>
              </a:extLst>
            </p:cNvPr>
            <p:cNvSpPr>
              <a:spLocks/>
            </p:cNvSpPr>
            <p:nvPr/>
          </p:nvSpPr>
          <p:spPr bwMode="gray">
            <a:xfrm>
              <a:off x="7067550" y="4400550"/>
              <a:ext cx="671513" cy="427037"/>
            </a:xfrm>
            <a:custGeom>
              <a:avLst/>
              <a:gdLst>
                <a:gd name="T0" fmla="*/ 608 w 845"/>
                <a:gd name="T1" fmla="*/ 30 h 538"/>
                <a:gd name="T2" fmla="*/ 555 w 845"/>
                <a:gd name="T3" fmla="*/ 15 h 538"/>
                <a:gd name="T4" fmla="*/ 538 w 845"/>
                <a:gd name="T5" fmla="*/ 32 h 538"/>
                <a:gd name="T6" fmla="*/ 429 w 845"/>
                <a:gd name="T7" fmla="*/ 32 h 538"/>
                <a:gd name="T8" fmla="*/ 367 w 845"/>
                <a:gd name="T9" fmla="*/ 21 h 538"/>
                <a:gd name="T10" fmla="*/ 355 w 845"/>
                <a:gd name="T11" fmla="*/ 40 h 538"/>
                <a:gd name="T12" fmla="*/ 315 w 845"/>
                <a:gd name="T13" fmla="*/ 40 h 538"/>
                <a:gd name="T14" fmla="*/ 281 w 845"/>
                <a:gd name="T15" fmla="*/ 4 h 538"/>
                <a:gd name="T16" fmla="*/ 222 w 845"/>
                <a:gd name="T17" fmla="*/ 0 h 538"/>
                <a:gd name="T18" fmla="*/ 142 w 845"/>
                <a:gd name="T19" fmla="*/ 55 h 538"/>
                <a:gd name="T20" fmla="*/ 159 w 845"/>
                <a:gd name="T21" fmla="*/ 114 h 538"/>
                <a:gd name="T22" fmla="*/ 127 w 845"/>
                <a:gd name="T23" fmla="*/ 114 h 538"/>
                <a:gd name="T24" fmla="*/ 72 w 845"/>
                <a:gd name="T25" fmla="*/ 165 h 538"/>
                <a:gd name="T26" fmla="*/ 83 w 845"/>
                <a:gd name="T27" fmla="*/ 247 h 538"/>
                <a:gd name="T28" fmla="*/ 0 w 845"/>
                <a:gd name="T29" fmla="*/ 285 h 538"/>
                <a:gd name="T30" fmla="*/ 36 w 845"/>
                <a:gd name="T31" fmla="*/ 325 h 538"/>
                <a:gd name="T32" fmla="*/ 36 w 845"/>
                <a:gd name="T33" fmla="*/ 352 h 538"/>
                <a:gd name="T34" fmla="*/ 76 w 845"/>
                <a:gd name="T35" fmla="*/ 336 h 538"/>
                <a:gd name="T36" fmla="*/ 110 w 845"/>
                <a:gd name="T37" fmla="*/ 352 h 538"/>
                <a:gd name="T38" fmla="*/ 110 w 845"/>
                <a:gd name="T39" fmla="*/ 399 h 538"/>
                <a:gd name="T40" fmla="*/ 142 w 845"/>
                <a:gd name="T41" fmla="*/ 420 h 538"/>
                <a:gd name="T42" fmla="*/ 178 w 845"/>
                <a:gd name="T43" fmla="*/ 409 h 538"/>
                <a:gd name="T44" fmla="*/ 214 w 845"/>
                <a:gd name="T45" fmla="*/ 426 h 538"/>
                <a:gd name="T46" fmla="*/ 201 w 845"/>
                <a:gd name="T47" fmla="*/ 449 h 538"/>
                <a:gd name="T48" fmla="*/ 287 w 845"/>
                <a:gd name="T49" fmla="*/ 479 h 538"/>
                <a:gd name="T50" fmla="*/ 365 w 845"/>
                <a:gd name="T51" fmla="*/ 498 h 538"/>
                <a:gd name="T52" fmla="*/ 382 w 845"/>
                <a:gd name="T53" fmla="*/ 538 h 538"/>
                <a:gd name="T54" fmla="*/ 425 w 845"/>
                <a:gd name="T55" fmla="*/ 525 h 538"/>
                <a:gd name="T56" fmla="*/ 429 w 845"/>
                <a:gd name="T57" fmla="*/ 487 h 538"/>
                <a:gd name="T58" fmla="*/ 492 w 845"/>
                <a:gd name="T59" fmla="*/ 496 h 538"/>
                <a:gd name="T60" fmla="*/ 507 w 845"/>
                <a:gd name="T61" fmla="*/ 464 h 538"/>
                <a:gd name="T62" fmla="*/ 551 w 845"/>
                <a:gd name="T63" fmla="*/ 449 h 538"/>
                <a:gd name="T64" fmla="*/ 581 w 845"/>
                <a:gd name="T65" fmla="*/ 469 h 538"/>
                <a:gd name="T66" fmla="*/ 688 w 845"/>
                <a:gd name="T67" fmla="*/ 426 h 538"/>
                <a:gd name="T68" fmla="*/ 699 w 845"/>
                <a:gd name="T69" fmla="*/ 449 h 538"/>
                <a:gd name="T70" fmla="*/ 728 w 845"/>
                <a:gd name="T71" fmla="*/ 416 h 538"/>
                <a:gd name="T72" fmla="*/ 705 w 845"/>
                <a:gd name="T73" fmla="*/ 378 h 538"/>
                <a:gd name="T74" fmla="*/ 720 w 845"/>
                <a:gd name="T75" fmla="*/ 327 h 538"/>
                <a:gd name="T76" fmla="*/ 771 w 845"/>
                <a:gd name="T77" fmla="*/ 336 h 538"/>
                <a:gd name="T78" fmla="*/ 771 w 845"/>
                <a:gd name="T79" fmla="*/ 268 h 538"/>
                <a:gd name="T80" fmla="*/ 800 w 845"/>
                <a:gd name="T81" fmla="*/ 268 h 538"/>
                <a:gd name="T82" fmla="*/ 802 w 845"/>
                <a:gd name="T83" fmla="*/ 245 h 538"/>
                <a:gd name="T84" fmla="*/ 785 w 845"/>
                <a:gd name="T85" fmla="*/ 228 h 538"/>
                <a:gd name="T86" fmla="*/ 845 w 845"/>
                <a:gd name="T87" fmla="*/ 154 h 538"/>
                <a:gd name="T88" fmla="*/ 826 w 845"/>
                <a:gd name="T89" fmla="*/ 131 h 538"/>
                <a:gd name="T90" fmla="*/ 749 w 845"/>
                <a:gd name="T91" fmla="*/ 114 h 538"/>
                <a:gd name="T92" fmla="*/ 749 w 845"/>
                <a:gd name="T93" fmla="*/ 86 h 538"/>
                <a:gd name="T94" fmla="*/ 800 w 845"/>
                <a:gd name="T95" fmla="*/ 23 h 538"/>
                <a:gd name="T96" fmla="*/ 794 w 845"/>
                <a:gd name="T97" fmla="*/ 0 h 538"/>
                <a:gd name="T98" fmla="*/ 756 w 845"/>
                <a:gd name="T99" fmla="*/ 0 h 538"/>
                <a:gd name="T100" fmla="*/ 745 w 845"/>
                <a:gd name="T101" fmla="*/ 19 h 538"/>
                <a:gd name="T102" fmla="*/ 718 w 845"/>
                <a:gd name="T103" fmla="*/ 0 h 538"/>
                <a:gd name="T104" fmla="*/ 608 w 845"/>
                <a:gd name="T105" fmla="*/ 30 h 538"/>
                <a:gd name="T106" fmla="*/ 608 w 845"/>
                <a:gd name="T107" fmla="*/ 30 h 538"/>
                <a:gd name="T108" fmla="*/ 608 w 845"/>
                <a:gd name="T109" fmla="*/ 30 h 53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45"/>
                <a:gd name="T166" fmla="*/ 0 h 538"/>
                <a:gd name="T167" fmla="*/ 845 w 845"/>
                <a:gd name="T168" fmla="*/ 538 h 53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45" h="538">
                  <a:moveTo>
                    <a:pt x="608" y="30"/>
                  </a:moveTo>
                  <a:lnTo>
                    <a:pt x="555" y="15"/>
                  </a:lnTo>
                  <a:lnTo>
                    <a:pt x="538" y="32"/>
                  </a:lnTo>
                  <a:lnTo>
                    <a:pt x="429" y="32"/>
                  </a:lnTo>
                  <a:lnTo>
                    <a:pt x="367" y="21"/>
                  </a:lnTo>
                  <a:lnTo>
                    <a:pt x="355" y="40"/>
                  </a:lnTo>
                  <a:lnTo>
                    <a:pt x="315" y="40"/>
                  </a:lnTo>
                  <a:lnTo>
                    <a:pt x="281" y="4"/>
                  </a:lnTo>
                  <a:lnTo>
                    <a:pt x="222" y="0"/>
                  </a:lnTo>
                  <a:lnTo>
                    <a:pt x="142" y="55"/>
                  </a:lnTo>
                  <a:lnTo>
                    <a:pt x="159" y="114"/>
                  </a:lnTo>
                  <a:lnTo>
                    <a:pt x="127" y="114"/>
                  </a:lnTo>
                  <a:lnTo>
                    <a:pt x="72" y="165"/>
                  </a:lnTo>
                  <a:lnTo>
                    <a:pt x="83" y="247"/>
                  </a:lnTo>
                  <a:lnTo>
                    <a:pt x="0" y="285"/>
                  </a:lnTo>
                  <a:lnTo>
                    <a:pt x="36" y="325"/>
                  </a:lnTo>
                  <a:lnTo>
                    <a:pt x="36" y="352"/>
                  </a:lnTo>
                  <a:lnTo>
                    <a:pt x="76" y="336"/>
                  </a:lnTo>
                  <a:lnTo>
                    <a:pt x="110" y="352"/>
                  </a:lnTo>
                  <a:lnTo>
                    <a:pt x="110" y="399"/>
                  </a:lnTo>
                  <a:lnTo>
                    <a:pt x="142" y="420"/>
                  </a:lnTo>
                  <a:lnTo>
                    <a:pt x="178" y="409"/>
                  </a:lnTo>
                  <a:lnTo>
                    <a:pt x="214" y="426"/>
                  </a:lnTo>
                  <a:lnTo>
                    <a:pt x="201" y="449"/>
                  </a:lnTo>
                  <a:lnTo>
                    <a:pt x="287" y="479"/>
                  </a:lnTo>
                  <a:lnTo>
                    <a:pt x="365" y="498"/>
                  </a:lnTo>
                  <a:lnTo>
                    <a:pt x="382" y="538"/>
                  </a:lnTo>
                  <a:lnTo>
                    <a:pt x="425" y="525"/>
                  </a:lnTo>
                  <a:lnTo>
                    <a:pt x="429" y="487"/>
                  </a:lnTo>
                  <a:lnTo>
                    <a:pt x="492" y="496"/>
                  </a:lnTo>
                  <a:lnTo>
                    <a:pt x="507" y="464"/>
                  </a:lnTo>
                  <a:lnTo>
                    <a:pt x="551" y="449"/>
                  </a:lnTo>
                  <a:lnTo>
                    <a:pt x="581" y="469"/>
                  </a:lnTo>
                  <a:lnTo>
                    <a:pt x="688" y="426"/>
                  </a:lnTo>
                  <a:lnTo>
                    <a:pt x="699" y="449"/>
                  </a:lnTo>
                  <a:lnTo>
                    <a:pt x="728" y="416"/>
                  </a:lnTo>
                  <a:lnTo>
                    <a:pt x="705" y="378"/>
                  </a:lnTo>
                  <a:lnTo>
                    <a:pt x="720" y="327"/>
                  </a:lnTo>
                  <a:lnTo>
                    <a:pt x="771" y="336"/>
                  </a:lnTo>
                  <a:lnTo>
                    <a:pt x="771" y="268"/>
                  </a:lnTo>
                  <a:lnTo>
                    <a:pt x="800" y="268"/>
                  </a:lnTo>
                  <a:lnTo>
                    <a:pt x="802" y="245"/>
                  </a:lnTo>
                  <a:lnTo>
                    <a:pt x="785" y="228"/>
                  </a:lnTo>
                  <a:lnTo>
                    <a:pt x="845" y="154"/>
                  </a:lnTo>
                  <a:lnTo>
                    <a:pt x="826" y="131"/>
                  </a:lnTo>
                  <a:lnTo>
                    <a:pt x="749" y="114"/>
                  </a:lnTo>
                  <a:lnTo>
                    <a:pt x="749" y="86"/>
                  </a:lnTo>
                  <a:lnTo>
                    <a:pt x="800" y="23"/>
                  </a:lnTo>
                  <a:lnTo>
                    <a:pt x="794" y="0"/>
                  </a:lnTo>
                  <a:lnTo>
                    <a:pt x="756" y="0"/>
                  </a:lnTo>
                  <a:lnTo>
                    <a:pt x="745" y="19"/>
                  </a:lnTo>
                  <a:lnTo>
                    <a:pt x="718" y="0"/>
                  </a:lnTo>
                  <a:lnTo>
                    <a:pt x="608" y="30"/>
                  </a:lnTo>
                  <a:close/>
                </a:path>
              </a:pathLst>
            </a:custGeom>
            <a:grpFill/>
            <a:ln w="12700">
              <a:solidFill>
                <a:schemeClr val="bg1"/>
              </a:solidFill>
              <a:round/>
              <a:headEnd/>
              <a:tailEnd/>
            </a:ln>
          </p:spPr>
          <p:txBody>
            <a:bodyPr/>
            <a:lstStyle/>
            <a:p>
              <a:pPr>
                <a:defRPr/>
              </a:pPr>
              <a:endParaRPr lang="en-US" sz="1350"/>
            </a:p>
          </p:txBody>
        </p:sp>
        <p:sp>
          <p:nvSpPr>
            <p:cNvPr id="13" name="Freeform 38">
              <a:extLst>
                <a:ext uri="{FF2B5EF4-FFF2-40B4-BE49-F238E27FC236}">
                  <a16:creationId xmlns:a16="http://schemas.microsoft.com/office/drawing/2014/main" id="{E5CC3F56-192A-4EF3-9F9C-033766A4C1FB}"/>
                </a:ext>
              </a:extLst>
            </p:cNvPr>
            <p:cNvSpPr>
              <a:spLocks/>
            </p:cNvSpPr>
            <p:nvPr/>
          </p:nvSpPr>
          <p:spPr bwMode="gray">
            <a:xfrm>
              <a:off x="7629525" y="4191000"/>
              <a:ext cx="447675" cy="512762"/>
            </a:xfrm>
            <a:custGeom>
              <a:avLst/>
              <a:gdLst>
                <a:gd name="T0" fmla="*/ 342 w 562"/>
                <a:gd name="T1" fmla="*/ 0 h 644"/>
                <a:gd name="T2" fmla="*/ 300 w 562"/>
                <a:gd name="T3" fmla="*/ 28 h 644"/>
                <a:gd name="T4" fmla="*/ 167 w 562"/>
                <a:gd name="T5" fmla="*/ 17 h 644"/>
                <a:gd name="T6" fmla="*/ 159 w 562"/>
                <a:gd name="T7" fmla="*/ 87 h 644"/>
                <a:gd name="T8" fmla="*/ 174 w 562"/>
                <a:gd name="T9" fmla="*/ 163 h 644"/>
                <a:gd name="T10" fmla="*/ 95 w 562"/>
                <a:gd name="T11" fmla="*/ 178 h 644"/>
                <a:gd name="T12" fmla="*/ 0 w 562"/>
                <a:gd name="T13" fmla="*/ 256 h 644"/>
                <a:gd name="T14" fmla="*/ 11 w 562"/>
                <a:gd name="T15" fmla="*/ 268 h 644"/>
                <a:gd name="T16" fmla="*/ 36 w 562"/>
                <a:gd name="T17" fmla="*/ 283 h 644"/>
                <a:gd name="T18" fmla="*/ 45 w 562"/>
                <a:gd name="T19" fmla="*/ 266 h 644"/>
                <a:gd name="T20" fmla="*/ 85 w 562"/>
                <a:gd name="T21" fmla="*/ 266 h 644"/>
                <a:gd name="T22" fmla="*/ 87 w 562"/>
                <a:gd name="T23" fmla="*/ 289 h 644"/>
                <a:gd name="T24" fmla="*/ 40 w 562"/>
                <a:gd name="T25" fmla="*/ 350 h 644"/>
                <a:gd name="T26" fmla="*/ 40 w 562"/>
                <a:gd name="T27" fmla="*/ 376 h 644"/>
                <a:gd name="T28" fmla="*/ 117 w 562"/>
                <a:gd name="T29" fmla="*/ 397 h 644"/>
                <a:gd name="T30" fmla="*/ 135 w 562"/>
                <a:gd name="T31" fmla="*/ 420 h 644"/>
                <a:gd name="T32" fmla="*/ 76 w 562"/>
                <a:gd name="T33" fmla="*/ 492 h 644"/>
                <a:gd name="T34" fmla="*/ 91 w 562"/>
                <a:gd name="T35" fmla="*/ 509 h 644"/>
                <a:gd name="T36" fmla="*/ 93 w 562"/>
                <a:gd name="T37" fmla="*/ 532 h 644"/>
                <a:gd name="T38" fmla="*/ 62 w 562"/>
                <a:gd name="T39" fmla="*/ 532 h 644"/>
                <a:gd name="T40" fmla="*/ 62 w 562"/>
                <a:gd name="T41" fmla="*/ 602 h 644"/>
                <a:gd name="T42" fmla="*/ 93 w 562"/>
                <a:gd name="T43" fmla="*/ 633 h 644"/>
                <a:gd name="T44" fmla="*/ 131 w 562"/>
                <a:gd name="T45" fmla="*/ 644 h 644"/>
                <a:gd name="T46" fmla="*/ 114 w 562"/>
                <a:gd name="T47" fmla="*/ 599 h 644"/>
                <a:gd name="T48" fmla="*/ 211 w 562"/>
                <a:gd name="T49" fmla="*/ 597 h 644"/>
                <a:gd name="T50" fmla="*/ 228 w 562"/>
                <a:gd name="T51" fmla="*/ 561 h 644"/>
                <a:gd name="T52" fmla="*/ 285 w 562"/>
                <a:gd name="T53" fmla="*/ 576 h 644"/>
                <a:gd name="T54" fmla="*/ 325 w 562"/>
                <a:gd name="T55" fmla="*/ 547 h 644"/>
                <a:gd name="T56" fmla="*/ 437 w 562"/>
                <a:gd name="T57" fmla="*/ 532 h 644"/>
                <a:gd name="T58" fmla="*/ 412 w 562"/>
                <a:gd name="T59" fmla="*/ 452 h 644"/>
                <a:gd name="T60" fmla="*/ 513 w 562"/>
                <a:gd name="T61" fmla="*/ 348 h 644"/>
                <a:gd name="T62" fmla="*/ 477 w 562"/>
                <a:gd name="T63" fmla="*/ 321 h 644"/>
                <a:gd name="T64" fmla="*/ 562 w 562"/>
                <a:gd name="T65" fmla="*/ 125 h 644"/>
                <a:gd name="T66" fmla="*/ 391 w 562"/>
                <a:gd name="T67" fmla="*/ 74 h 644"/>
                <a:gd name="T68" fmla="*/ 342 w 562"/>
                <a:gd name="T69" fmla="*/ 0 h 644"/>
                <a:gd name="T70" fmla="*/ 342 w 562"/>
                <a:gd name="T71" fmla="*/ 0 h 644"/>
                <a:gd name="T72" fmla="*/ 342 w 562"/>
                <a:gd name="T73" fmla="*/ 0 h 6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62"/>
                <a:gd name="T112" fmla="*/ 0 h 644"/>
                <a:gd name="T113" fmla="*/ 562 w 562"/>
                <a:gd name="T114" fmla="*/ 644 h 6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62" h="644">
                  <a:moveTo>
                    <a:pt x="342" y="0"/>
                  </a:moveTo>
                  <a:lnTo>
                    <a:pt x="300" y="28"/>
                  </a:lnTo>
                  <a:lnTo>
                    <a:pt x="167" y="17"/>
                  </a:lnTo>
                  <a:lnTo>
                    <a:pt x="159" y="87"/>
                  </a:lnTo>
                  <a:lnTo>
                    <a:pt x="174" y="163"/>
                  </a:lnTo>
                  <a:lnTo>
                    <a:pt x="95" y="178"/>
                  </a:lnTo>
                  <a:lnTo>
                    <a:pt x="0" y="256"/>
                  </a:lnTo>
                  <a:lnTo>
                    <a:pt x="11" y="268"/>
                  </a:lnTo>
                  <a:lnTo>
                    <a:pt x="36" y="283"/>
                  </a:lnTo>
                  <a:lnTo>
                    <a:pt x="45" y="266"/>
                  </a:lnTo>
                  <a:lnTo>
                    <a:pt x="85" y="266"/>
                  </a:lnTo>
                  <a:lnTo>
                    <a:pt x="87" y="289"/>
                  </a:lnTo>
                  <a:lnTo>
                    <a:pt x="40" y="350"/>
                  </a:lnTo>
                  <a:lnTo>
                    <a:pt x="40" y="376"/>
                  </a:lnTo>
                  <a:lnTo>
                    <a:pt x="117" y="397"/>
                  </a:lnTo>
                  <a:lnTo>
                    <a:pt x="135" y="420"/>
                  </a:lnTo>
                  <a:lnTo>
                    <a:pt x="76" y="492"/>
                  </a:lnTo>
                  <a:lnTo>
                    <a:pt x="91" y="509"/>
                  </a:lnTo>
                  <a:lnTo>
                    <a:pt x="93" y="532"/>
                  </a:lnTo>
                  <a:lnTo>
                    <a:pt x="62" y="532"/>
                  </a:lnTo>
                  <a:lnTo>
                    <a:pt x="62" y="602"/>
                  </a:lnTo>
                  <a:lnTo>
                    <a:pt x="93" y="633"/>
                  </a:lnTo>
                  <a:lnTo>
                    <a:pt x="131" y="644"/>
                  </a:lnTo>
                  <a:lnTo>
                    <a:pt x="114" y="599"/>
                  </a:lnTo>
                  <a:lnTo>
                    <a:pt x="211" y="597"/>
                  </a:lnTo>
                  <a:lnTo>
                    <a:pt x="228" y="561"/>
                  </a:lnTo>
                  <a:lnTo>
                    <a:pt x="285" y="576"/>
                  </a:lnTo>
                  <a:lnTo>
                    <a:pt x="325" y="547"/>
                  </a:lnTo>
                  <a:lnTo>
                    <a:pt x="437" y="532"/>
                  </a:lnTo>
                  <a:lnTo>
                    <a:pt x="412" y="452"/>
                  </a:lnTo>
                  <a:lnTo>
                    <a:pt x="513" y="348"/>
                  </a:lnTo>
                  <a:lnTo>
                    <a:pt x="477" y="321"/>
                  </a:lnTo>
                  <a:lnTo>
                    <a:pt x="562" y="125"/>
                  </a:lnTo>
                  <a:lnTo>
                    <a:pt x="391" y="74"/>
                  </a:lnTo>
                  <a:lnTo>
                    <a:pt x="342" y="0"/>
                  </a:lnTo>
                  <a:close/>
                </a:path>
              </a:pathLst>
            </a:custGeom>
            <a:grpFill/>
            <a:ln w="12700">
              <a:solidFill>
                <a:schemeClr val="bg1"/>
              </a:solidFill>
              <a:round/>
              <a:headEnd/>
              <a:tailEnd/>
            </a:ln>
          </p:spPr>
          <p:txBody>
            <a:bodyPr/>
            <a:lstStyle/>
            <a:p>
              <a:pPr>
                <a:defRPr/>
              </a:pPr>
              <a:endParaRPr lang="en-US" sz="1350"/>
            </a:p>
          </p:txBody>
        </p:sp>
        <p:sp>
          <p:nvSpPr>
            <p:cNvPr id="14" name="Freeform 39">
              <a:extLst>
                <a:ext uri="{FF2B5EF4-FFF2-40B4-BE49-F238E27FC236}">
                  <a16:creationId xmlns:a16="http://schemas.microsoft.com/office/drawing/2014/main" id="{9CE4034B-139A-442A-8A7C-303754CF4D24}"/>
                </a:ext>
              </a:extLst>
            </p:cNvPr>
            <p:cNvSpPr>
              <a:spLocks/>
            </p:cNvSpPr>
            <p:nvPr/>
          </p:nvSpPr>
          <p:spPr bwMode="gray">
            <a:xfrm>
              <a:off x="7985125" y="5035550"/>
              <a:ext cx="422275" cy="600075"/>
            </a:xfrm>
            <a:custGeom>
              <a:avLst/>
              <a:gdLst>
                <a:gd name="T0" fmla="*/ 274 w 532"/>
                <a:gd name="T1" fmla="*/ 12 h 757"/>
                <a:gd name="T2" fmla="*/ 238 w 532"/>
                <a:gd name="T3" fmla="*/ 31 h 757"/>
                <a:gd name="T4" fmla="*/ 183 w 532"/>
                <a:gd name="T5" fmla="*/ 0 h 757"/>
                <a:gd name="T6" fmla="*/ 112 w 532"/>
                <a:gd name="T7" fmla="*/ 82 h 757"/>
                <a:gd name="T8" fmla="*/ 61 w 532"/>
                <a:gd name="T9" fmla="*/ 169 h 757"/>
                <a:gd name="T10" fmla="*/ 69 w 532"/>
                <a:gd name="T11" fmla="*/ 211 h 757"/>
                <a:gd name="T12" fmla="*/ 6 w 532"/>
                <a:gd name="T13" fmla="*/ 278 h 757"/>
                <a:gd name="T14" fmla="*/ 0 w 532"/>
                <a:gd name="T15" fmla="*/ 356 h 757"/>
                <a:gd name="T16" fmla="*/ 93 w 532"/>
                <a:gd name="T17" fmla="*/ 470 h 757"/>
                <a:gd name="T18" fmla="*/ 76 w 532"/>
                <a:gd name="T19" fmla="*/ 498 h 757"/>
                <a:gd name="T20" fmla="*/ 120 w 532"/>
                <a:gd name="T21" fmla="*/ 533 h 757"/>
                <a:gd name="T22" fmla="*/ 76 w 532"/>
                <a:gd name="T23" fmla="*/ 669 h 757"/>
                <a:gd name="T24" fmla="*/ 93 w 532"/>
                <a:gd name="T25" fmla="*/ 715 h 757"/>
                <a:gd name="T26" fmla="*/ 173 w 532"/>
                <a:gd name="T27" fmla="*/ 717 h 757"/>
                <a:gd name="T28" fmla="*/ 183 w 532"/>
                <a:gd name="T29" fmla="*/ 757 h 757"/>
                <a:gd name="T30" fmla="*/ 242 w 532"/>
                <a:gd name="T31" fmla="*/ 747 h 757"/>
                <a:gd name="T32" fmla="*/ 291 w 532"/>
                <a:gd name="T33" fmla="*/ 692 h 757"/>
                <a:gd name="T34" fmla="*/ 340 w 532"/>
                <a:gd name="T35" fmla="*/ 673 h 757"/>
                <a:gd name="T36" fmla="*/ 424 w 532"/>
                <a:gd name="T37" fmla="*/ 700 h 757"/>
                <a:gd name="T38" fmla="*/ 420 w 532"/>
                <a:gd name="T39" fmla="*/ 637 h 757"/>
                <a:gd name="T40" fmla="*/ 434 w 532"/>
                <a:gd name="T41" fmla="*/ 580 h 757"/>
                <a:gd name="T42" fmla="*/ 525 w 532"/>
                <a:gd name="T43" fmla="*/ 434 h 757"/>
                <a:gd name="T44" fmla="*/ 532 w 532"/>
                <a:gd name="T45" fmla="*/ 358 h 757"/>
                <a:gd name="T46" fmla="*/ 502 w 532"/>
                <a:gd name="T47" fmla="*/ 369 h 757"/>
                <a:gd name="T48" fmla="*/ 447 w 532"/>
                <a:gd name="T49" fmla="*/ 369 h 757"/>
                <a:gd name="T50" fmla="*/ 403 w 532"/>
                <a:gd name="T51" fmla="*/ 310 h 757"/>
                <a:gd name="T52" fmla="*/ 367 w 532"/>
                <a:gd name="T53" fmla="*/ 310 h 757"/>
                <a:gd name="T54" fmla="*/ 306 w 532"/>
                <a:gd name="T55" fmla="*/ 270 h 757"/>
                <a:gd name="T56" fmla="*/ 301 w 532"/>
                <a:gd name="T57" fmla="*/ 225 h 757"/>
                <a:gd name="T58" fmla="*/ 266 w 532"/>
                <a:gd name="T59" fmla="*/ 185 h 757"/>
                <a:gd name="T60" fmla="*/ 261 w 532"/>
                <a:gd name="T61" fmla="*/ 118 h 757"/>
                <a:gd name="T62" fmla="*/ 276 w 532"/>
                <a:gd name="T63" fmla="*/ 46 h 757"/>
                <a:gd name="T64" fmla="*/ 274 w 532"/>
                <a:gd name="T65" fmla="*/ 12 h 757"/>
                <a:gd name="T66" fmla="*/ 274 w 532"/>
                <a:gd name="T67" fmla="*/ 12 h 757"/>
                <a:gd name="T68" fmla="*/ 274 w 532"/>
                <a:gd name="T69" fmla="*/ 12 h 75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32"/>
                <a:gd name="T106" fmla="*/ 0 h 757"/>
                <a:gd name="T107" fmla="*/ 532 w 532"/>
                <a:gd name="T108" fmla="*/ 757 h 75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32" h="757">
                  <a:moveTo>
                    <a:pt x="274" y="12"/>
                  </a:moveTo>
                  <a:lnTo>
                    <a:pt x="238" y="31"/>
                  </a:lnTo>
                  <a:lnTo>
                    <a:pt x="183" y="0"/>
                  </a:lnTo>
                  <a:lnTo>
                    <a:pt x="112" y="82"/>
                  </a:lnTo>
                  <a:lnTo>
                    <a:pt x="61" y="169"/>
                  </a:lnTo>
                  <a:lnTo>
                    <a:pt x="69" y="211"/>
                  </a:lnTo>
                  <a:lnTo>
                    <a:pt x="6" y="278"/>
                  </a:lnTo>
                  <a:lnTo>
                    <a:pt x="0" y="356"/>
                  </a:lnTo>
                  <a:lnTo>
                    <a:pt x="93" y="470"/>
                  </a:lnTo>
                  <a:lnTo>
                    <a:pt x="76" y="498"/>
                  </a:lnTo>
                  <a:lnTo>
                    <a:pt x="120" y="533"/>
                  </a:lnTo>
                  <a:lnTo>
                    <a:pt x="76" y="669"/>
                  </a:lnTo>
                  <a:lnTo>
                    <a:pt x="93" y="715"/>
                  </a:lnTo>
                  <a:lnTo>
                    <a:pt x="173" y="717"/>
                  </a:lnTo>
                  <a:lnTo>
                    <a:pt x="183" y="757"/>
                  </a:lnTo>
                  <a:lnTo>
                    <a:pt x="242" y="747"/>
                  </a:lnTo>
                  <a:lnTo>
                    <a:pt x="291" y="692"/>
                  </a:lnTo>
                  <a:lnTo>
                    <a:pt x="340" y="673"/>
                  </a:lnTo>
                  <a:lnTo>
                    <a:pt x="424" y="700"/>
                  </a:lnTo>
                  <a:lnTo>
                    <a:pt x="420" y="637"/>
                  </a:lnTo>
                  <a:lnTo>
                    <a:pt x="434" y="580"/>
                  </a:lnTo>
                  <a:lnTo>
                    <a:pt x="525" y="434"/>
                  </a:lnTo>
                  <a:lnTo>
                    <a:pt x="532" y="358"/>
                  </a:lnTo>
                  <a:lnTo>
                    <a:pt x="502" y="369"/>
                  </a:lnTo>
                  <a:lnTo>
                    <a:pt x="447" y="369"/>
                  </a:lnTo>
                  <a:lnTo>
                    <a:pt x="403" y="310"/>
                  </a:lnTo>
                  <a:lnTo>
                    <a:pt x="367" y="310"/>
                  </a:lnTo>
                  <a:lnTo>
                    <a:pt x="306" y="270"/>
                  </a:lnTo>
                  <a:lnTo>
                    <a:pt x="301" y="225"/>
                  </a:lnTo>
                  <a:lnTo>
                    <a:pt x="266" y="185"/>
                  </a:lnTo>
                  <a:lnTo>
                    <a:pt x="261" y="118"/>
                  </a:lnTo>
                  <a:lnTo>
                    <a:pt x="276" y="46"/>
                  </a:lnTo>
                  <a:lnTo>
                    <a:pt x="274" y="12"/>
                  </a:lnTo>
                  <a:close/>
                </a:path>
              </a:pathLst>
            </a:custGeom>
            <a:grpFill/>
            <a:ln w="12700">
              <a:solidFill>
                <a:schemeClr val="bg1"/>
              </a:solidFill>
              <a:round/>
              <a:headEnd/>
              <a:tailEnd/>
            </a:ln>
          </p:spPr>
          <p:txBody>
            <a:bodyPr/>
            <a:lstStyle/>
            <a:p>
              <a:pPr>
                <a:defRPr/>
              </a:pPr>
              <a:endParaRPr lang="en-US" sz="1350"/>
            </a:p>
          </p:txBody>
        </p:sp>
        <p:sp>
          <p:nvSpPr>
            <p:cNvPr id="15" name="Freeform 40">
              <a:extLst>
                <a:ext uri="{FF2B5EF4-FFF2-40B4-BE49-F238E27FC236}">
                  <a16:creationId xmlns:a16="http://schemas.microsoft.com/office/drawing/2014/main" id="{6F2B628A-1B9C-4C14-A9A9-6D7D399B5CFE}"/>
                </a:ext>
              </a:extLst>
            </p:cNvPr>
            <p:cNvSpPr>
              <a:spLocks/>
            </p:cNvSpPr>
            <p:nvPr/>
          </p:nvSpPr>
          <p:spPr bwMode="gray">
            <a:xfrm>
              <a:off x="6923088" y="3746500"/>
              <a:ext cx="220663" cy="106362"/>
            </a:xfrm>
            <a:custGeom>
              <a:avLst/>
              <a:gdLst>
                <a:gd name="T0" fmla="*/ 0 w 280"/>
                <a:gd name="T1" fmla="*/ 29 h 133"/>
                <a:gd name="T2" fmla="*/ 139 w 280"/>
                <a:gd name="T3" fmla="*/ 0 h 133"/>
                <a:gd name="T4" fmla="*/ 198 w 280"/>
                <a:gd name="T5" fmla="*/ 25 h 133"/>
                <a:gd name="T6" fmla="*/ 228 w 280"/>
                <a:gd name="T7" fmla="*/ 76 h 133"/>
                <a:gd name="T8" fmla="*/ 280 w 280"/>
                <a:gd name="T9" fmla="*/ 82 h 133"/>
                <a:gd name="T10" fmla="*/ 221 w 280"/>
                <a:gd name="T11" fmla="*/ 133 h 133"/>
                <a:gd name="T12" fmla="*/ 147 w 280"/>
                <a:gd name="T13" fmla="*/ 125 h 133"/>
                <a:gd name="T14" fmla="*/ 120 w 280"/>
                <a:gd name="T15" fmla="*/ 72 h 133"/>
                <a:gd name="T16" fmla="*/ 88 w 280"/>
                <a:gd name="T17" fmla="*/ 63 h 133"/>
                <a:gd name="T18" fmla="*/ 36 w 280"/>
                <a:gd name="T19" fmla="*/ 82 h 133"/>
                <a:gd name="T20" fmla="*/ 0 w 280"/>
                <a:gd name="T21" fmla="*/ 29 h 133"/>
                <a:gd name="T22" fmla="*/ 0 w 280"/>
                <a:gd name="T23" fmla="*/ 29 h 133"/>
                <a:gd name="T24" fmla="*/ 0 w 280"/>
                <a:gd name="T25" fmla="*/ 29 h 13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0"/>
                <a:gd name="T40" fmla="*/ 0 h 133"/>
                <a:gd name="T41" fmla="*/ 280 w 280"/>
                <a:gd name="T42" fmla="*/ 133 h 13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0" h="133">
                  <a:moveTo>
                    <a:pt x="0" y="29"/>
                  </a:moveTo>
                  <a:lnTo>
                    <a:pt x="139" y="0"/>
                  </a:lnTo>
                  <a:lnTo>
                    <a:pt x="198" y="25"/>
                  </a:lnTo>
                  <a:lnTo>
                    <a:pt x="228" y="76"/>
                  </a:lnTo>
                  <a:lnTo>
                    <a:pt x="280" y="82"/>
                  </a:lnTo>
                  <a:lnTo>
                    <a:pt x="221" y="133"/>
                  </a:lnTo>
                  <a:lnTo>
                    <a:pt x="147" y="125"/>
                  </a:lnTo>
                  <a:lnTo>
                    <a:pt x="120" y="72"/>
                  </a:lnTo>
                  <a:lnTo>
                    <a:pt x="88" y="63"/>
                  </a:lnTo>
                  <a:lnTo>
                    <a:pt x="36" y="82"/>
                  </a:lnTo>
                  <a:lnTo>
                    <a:pt x="0" y="29"/>
                  </a:lnTo>
                  <a:close/>
                </a:path>
              </a:pathLst>
            </a:custGeom>
            <a:grpFill/>
            <a:ln w="12700">
              <a:solidFill>
                <a:schemeClr val="bg1"/>
              </a:solidFill>
              <a:round/>
              <a:headEnd/>
              <a:tailEnd/>
            </a:ln>
          </p:spPr>
          <p:txBody>
            <a:bodyPr/>
            <a:lstStyle/>
            <a:p>
              <a:pPr>
                <a:defRPr/>
              </a:pPr>
              <a:endParaRPr lang="en-US" sz="1350"/>
            </a:p>
          </p:txBody>
        </p:sp>
        <p:sp>
          <p:nvSpPr>
            <p:cNvPr id="16" name="Freeform 41">
              <a:extLst>
                <a:ext uri="{FF2B5EF4-FFF2-40B4-BE49-F238E27FC236}">
                  <a16:creationId xmlns:a16="http://schemas.microsoft.com/office/drawing/2014/main" id="{59C1A867-B97D-4AD2-8BB4-F7CBF127DA70}"/>
                </a:ext>
              </a:extLst>
            </p:cNvPr>
            <p:cNvSpPr>
              <a:spLocks/>
            </p:cNvSpPr>
            <p:nvPr/>
          </p:nvSpPr>
          <p:spPr bwMode="gray">
            <a:xfrm>
              <a:off x="6926263" y="3852863"/>
              <a:ext cx="123825" cy="58737"/>
            </a:xfrm>
            <a:custGeom>
              <a:avLst/>
              <a:gdLst>
                <a:gd name="T0" fmla="*/ 0 w 158"/>
                <a:gd name="T1" fmla="*/ 0 h 72"/>
                <a:gd name="T2" fmla="*/ 34 w 158"/>
                <a:gd name="T3" fmla="*/ 21 h 72"/>
                <a:gd name="T4" fmla="*/ 124 w 158"/>
                <a:gd name="T5" fmla="*/ 15 h 72"/>
                <a:gd name="T6" fmla="*/ 158 w 158"/>
                <a:gd name="T7" fmla="*/ 46 h 72"/>
                <a:gd name="T8" fmla="*/ 124 w 158"/>
                <a:gd name="T9" fmla="*/ 63 h 72"/>
                <a:gd name="T10" fmla="*/ 59 w 158"/>
                <a:gd name="T11" fmla="*/ 53 h 72"/>
                <a:gd name="T12" fmla="*/ 23 w 158"/>
                <a:gd name="T13" fmla="*/ 72 h 72"/>
                <a:gd name="T14" fmla="*/ 0 w 158"/>
                <a:gd name="T15" fmla="*/ 0 h 72"/>
                <a:gd name="T16" fmla="*/ 0 w 158"/>
                <a:gd name="T17" fmla="*/ 0 h 72"/>
                <a:gd name="T18" fmla="*/ 0 w 158"/>
                <a:gd name="T19" fmla="*/ 0 h 7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8"/>
                <a:gd name="T31" fmla="*/ 0 h 72"/>
                <a:gd name="T32" fmla="*/ 158 w 158"/>
                <a:gd name="T33" fmla="*/ 72 h 7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8" h="72">
                  <a:moveTo>
                    <a:pt x="0" y="0"/>
                  </a:moveTo>
                  <a:lnTo>
                    <a:pt x="34" y="21"/>
                  </a:lnTo>
                  <a:lnTo>
                    <a:pt x="124" y="15"/>
                  </a:lnTo>
                  <a:lnTo>
                    <a:pt x="158" y="46"/>
                  </a:lnTo>
                  <a:lnTo>
                    <a:pt x="124" y="63"/>
                  </a:lnTo>
                  <a:lnTo>
                    <a:pt x="59" y="53"/>
                  </a:lnTo>
                  <a:lnTo>
                    <a:pt x="23" y="72"/>
                  </a:lnTo>
                  <a:lnTo>
                    <a:pt x="0" y="0"/>
                  </a:lnTo>
                  <a:close/>
                </a:path>
              </a:pathLst>
            </a:custGeom>
            <a:grpFill/>
            <a:ln w="12700">
              <a:solidFill>
                <a:schemeClr val="bg1"/>
              </a:solidFill>
              <a:round/>
              <a:headEnd/>
              <a:tailEnd/>
            </a:ln>
          </p:spPr>
          <p:txBody>
            <a:bodyPr/>
            <a:lstStyle/>
            <a:p>
              <a:pPr>
                <a:defRPr/>
              </a:pPr>
              <a:endParaRPr lang="en-US" sz="1350"/>
            </a:p>
          </p:txBody>
        </p:sp>
        <p:sp>
          <p:nvSpPr>
            <p:cNvPr id="17" name="Freeform 42">
              <a:extLst>
                <a:ext uri="{FF2B5EF4-FFF2-40B4-BE49-F238E27FC236}">
                  <a16:creationId xmlns:a16="http://schemas.microsoft.com/office/drawing/2014/main" id="{12D531CF-BA24-4852-8828-BE8D05EA5924}"/>
                </a:ext>
              </a:extLst>
            </p:cNvPr>
            <p:cNvSpPr>
              <a:spLocks/>
            </p:cNvSpPr>
            <p:nvPr/>
          </p:nvSpPr>
          <p:spPr bwMode="gray">
            <a:xfrm>
              <a:off x="7473950" y="2586038"/>
              <a:ext cx="117475" cy="161925"/>
            </a:xfrm>
            <a:custGeom>
              <a:avLst/>
              <a:gdLst>
                <a:gd name="T0" fmla="*/ 116 w 146"/>
                <a:gd name="T1" fmla="*/ 0 h 204"/>
                <a:gd name="T2" fmla="*/ 0 w 146"/>
                <a:gd name="T3" fmla="*/ 141 h 204"/>
                <a:gd name="T4" fmla="*/ 13 w 146"/>
                <a:gd name="T5" fmla="*/ 194 h 204"/>
                <a:gd name="T6" fmla="*/ 61 w 146"/>
                <a:gd name="T7" fmla="*/ 204 h 204"/>
                <a:gd name="T8" fmla="*/ 78 w 146"/>
                <a:gd name="T9" fmla="*/ 171 h 204"/>
                <a:gd name="T10" fmla="*/ 146 w 146"/>
                <a:gd name="T11" fmla="*/ 126 h 204"/>
                <a:gd name="T12" fmla="*/ 116 w 146"/>
                <a:gd name="T13" fmla="*/ 0 h 204"/>
                <a:gd name="T14" fmla="*/ 116 w 146"/>
                <a:gd name="T15" fmla="*/ 0 h 204"/>
                <a:gd name="T16" fmla="*/ 116 w 146"/>
                <a:gd name="T17" fmla="*/ 0 h 20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6"/>
                <a:gd name="T28" fmla="*/ 0 h 204"/>
                <a:gd name="T29" fmla="*/ 146 w 146"/>
                <a:gd name="T30" fmla="*/ 204 h 20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6" h="204">
                  <a:moveTo>
                    <a:pt x="116" y="0"/>
                  </a:moveTo>
                  <a:lnTo>
                    <a:pt x="0" y="141"/>
                  </a:lnTo>
                  <a:lnTo>
                    <a:pt x="13" y="194"/>
                  </a:lnTo>
                  <a:lnTo>
                    <a:pt x="61" y="204"/>
                  </a:lnTo>
                  <a:lnTo>
                    <a:pt x="78" y="171"/>
                  </a:lnTo>
                  <a:lnTo>
                    <a:pt x="146" y="126"/>
                  </a:lnTo>
                  <a:lnTo>
                    <a:pt x="116" y="0"/>
                  </a:lnTo>
                  <a:close/>
                </a:path>
              </a:pathLst>
            </a:custGeom>
            <a:grpFill/>
            <a:ln w="12700">
              <a:solidFill>
                <a:schemeClr val="bg1"/>
              </a:solidFill>
              <a:round/>
              <a:headEnd/>
              <a:tailEnd/>
            </a:ln>
          </p:spPr>
          <p:txBody>
            <a:bodyPr/>
            <a:lstStyle/>
            <a:p>
              <a:pPr>
                <a:defRPr/>
              </a:pPr>
              <a:endParaRPr lang="en-US" sz="1350"/>
            </a:p>
          </p:txBody>
        </p:sp>
        <p:sp>
          <p:nvSpPr>
            <p:cNvPr id="18" name="Freeform 43">
              <a:extLst>
                <a:ext uri="{FF2B5EF4-FFF2-40B4-BE49-F238E27FC236}">
                  <a16:creationId xmlns:a16="http://schemas.microsoft.com/office/drawing/2014/main" id="{1A0AD7AB-0635-40FC-B8BB-219159713244}"/>
                </a:ext>
              </a:extLst>
            </p:cNvPr>
            <p:cNvSpPr>
              <a:spLocks/>
            </p:cNvSpPr>
            <p:nvPr/>
          </p:nvSpPr>
          <p:spPr bwMode="gray">
            <a:xfrm>
              <a:off x="7577138" y="2482850"/>
              <a:ext cx="87313" cy="106362"/>
            </a:xfrm>
            <a:custGeom>
              <a:avLst/>
              <a:gdLst>
                <a:gd name="T0" fmla="*/ 110 w 110"/>
                <a:gd name="T1" fmla="*/ 0 h 135"/>
                <a:gd name="T2" fmla="*/ 29 w 110"/>
                <a:gd name="T3" fmla="*/ 29 h 135"/>
                <a:gd name="T4" fmla="*/ 0 w 110"/>
                <a:gd name="T5" fmla="*/ 118 h 135"/>
                <a:gd name="T6" fmla="*/ 27 w 110"/>
                <a:gd name="T7" fmla="*/ 135 h 135"/>
                <a:gd name="T8" fmla="*/ 55 w 110"/>
                <a:gd name="T9" fmla="*/ 55 h 135"/>
                <a:gd name="T10" fmla="*/ 110 w 110"/>
                <a:gd name="T11" fmla="*/ 0 h 135"/>
                <a:gd name="T12" fmla="*/ 110 w 110"/>
                <a:gd name="T13" fmla="*/ 0 h 135"/>
                <a:gd name="T14" fmla="*/ 110 w 110"/>
                <a:gd name="T15" fmla="*/ 0 h 135"/>
                <a:gd name="T16" fmla="*/ 0 60000 65536"/>
                <a:gd name="T17" fmla="*/ 0 60000 65536"/>
                <a:gd name="T18" fmla="*/ 0 60000 65536"/>
                <a:gd name="T19" fmla="*/ 0 60000 65536"/>
                <a:gd name="T20" fmla="*/ 0 60000 65536"/>
                <a:gd name="T21" fmla="*/ 0 60000 65536"/>
                <a:gd name="T22" fmla="*/ 0 60000 65536"/>
                <a:gd name="T23" fmla="*/ 0 60000 65536"/>
                <a:gd name="T24" fmla="*/ 0 w 110"/>
                <a:gd name="T25" fmla="*/ 0 h 135"/>
                <a:gd name="T26" fmla="*/ 110 w 110"/>
                <a:gd name="T27" fmla="*/ 135 h 13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0" h="135">
                  <a:moveTo>
                    <a:pt x="110" y="0"/>
                  </a:moveTo>
                  <a:lnTo>
                    <a:pt x="29" y="29"/>
                  </a:lnTo>
                  <a:lnTo>
                    <a:pt x="0" y="118"/>
                  </a:lnTo>
                  <a:lnTo>
                    <a:pt x="27" y="135"/>
                  </a:lnTo>
                  <a:lnTo>
                    <a:pt x="55" y="55"/>
                  </a:lnTo>
                  <a:lnTo>
                    <a:pt x="110" y="0"/>
                  </a:lnTo>
                  <a:close/>
                </a:path>
              </a:pathLst>
            </a:custGeom>
            <a:grpFill/>
            <a:ln w="12700">
              <a:solidFill>
                <a:schemeClr val="bg1"/>
              </a:solidFill>
              <a:round/>
              <a:headEnd/>
              <a:tailEnd/>
            </a:ln>
          </p:spPr>
          <p:txBody>
            <a:bodyPr/>
            <a:lstStyle/>
            <a:p>
              <a:pPr>
                <a:defRPr/>
              </a:pPr>
              <a:endParaRPr lang="en-US" sz="1350"/>
            </a:p>
          </p:txBody>
        </p:sp>
        <p:sp>
          <p:nvSpPr>
            <p:cNvPr id="19" name="Freeform 44">
              <a:extLst>
                <a:ext uri="{FF2B5EF4-FFF2-40B4-BE49-F238E27FC236}">
                  <a16:creationId xmlns:a16="http://schemas.microsoft.com/office/drawing/2014/main" id="{80D18114-CBFC-4C97-8473-1C7417AEBACF}"/>
                </a:ext>
              </a:extLst>
            </p:cNvPr>
            <p:cNvSpPr>
              <a:spLocks/>
            </p:cNvSpPr>
            <p:nvPr/>
          </p:nvSpPr>
          <p:spPr bwMode="gray">
            <a:xfrm>
              <a:off x="7685088" y="2363788"/>
              <a:ext cx="228600" cy="96837"/>
            </a:xfrm>
            <a:custGeom>
              <a:avLst/>
              <a:gdLst>
                <a:gd name="T0" fmla="*/ 0 w 289"/>
                <a:gd name="T1" fmla="*/ 104 h 122"/>
                <a:gd name="T2" fmla="*/ 8 w 289"/>
                <a:gd name="T3" fmla="*/ 63 h 122"/>
                <a:gd name="T4" fmla="*/ 106 w 289"/>
                <a:gd name="T5" fmla="*/ 59 h 122"/>
                <a:gd name="T6" fmla="*/ 232 w 289"/>
                <a:gd name="T7" fmla="*/ 0 h 122"/>
                <a:gd name="T8" fmla="*/ 289 w 289"/>
                <a:gd name="T9" fmla="*/ 38 h 122"/>
                <a:gd name="T10" fmla="*/ 222 w 289"/>
                <a:gd name="T11" fmla="*/ 38 h 122"/>
                <a:gd name="T12" fmla="*/ 143 w 289"/>
                <a:gd name="T13" fmla="*/ 87 h 122"/>
                <a:gd name="T14" fmla="*/ 38 w 289"/>
                <a:gd name="T15" fmla="*/ 87 h 122"/>
                <a:gd name="T16" fmla="*/ 32 w 289"/>
                <a:gd name="T17" fmla="*/ 122 h 122"/>
                <a:gd name="T18" fmla="*/ 0 w 289"/>
                <a:gd name="T19" fmla="*/ 104 h 122"/>
                <a:gd name="T20" fmla="*/ 0 w 289"/>
                <a:gd name="T21" fmla="*/ 104 h 122"/>
                <a:gd name="T22" fmla="*/ 0 w 289"/>
                <a:gd name="T23" fmla="*/ 104 h 1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89"/>
                <a:gd name="T37" fmla="*/ 0 h 122"/>
                <a:gd name="T38" fmla="*/ 289 w 289"/>
                <a:gd name="T39" fmla="*/ 122 h 1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89" h="122">
                  <a:moveTo>
                    <a:pt x="0" y="104"/>
                  </a:moveTo>
                  <a:lnTo>
                    <a:pt x="8" y="63"/>
                  </a:lnTo>
                  <a:lnTo>
                    <a:pt x="106" y="59"/>
                  </a:lnTo>
                  <a:lnTo>
                    <a:pt x="232" y="0"/>
                  </a:lnTo>
                  <a:lnTo>
                    <a:pt x="289" y="38"/>
                  </a:lnTo>
                  <a:lnTo>
                    <a:pt x="222" y="38"/>
                  </a:lnTo>
                  <a:lnTo>
                    <a:pt x="143" y="87"/>
                  </a:lnTo>
                  <a:lnTo>
                    <a:pt x="38" y="87"/>
                  </a:lnTo>
                  <a:lnTo>
                    <a:pt x="32" y="122"/>
                  </a:lnTo>
                  <a:lnTo>
                    <a:pt x="0" y="104"/>
                  </a:lnTo>
                  <a:close/>
                </a:path>
              </a:pathLst>
            </a:custGeom>
            <a:grpFill/>
            <a:ln w="12700">
              <a:solidFill>
                <a:schemeClr val="bg1"/>
              </a:solidFill>
              <a:round/>
              <a:headEnd/>
              <a:tailEnd/>
            </a:ln>
          </p:spPr>
          <p:txBody>
            <a:bodyPr/>
            <a:lstStyle/>
            <a:p>
              <a:pPr>
                <a:defRPr/>
              </a:pPr>
              <a:endParaRPr lang="en-US" sz="1350"/>
            </a:p>
          </p:txBody>
        </p:sp>
        <p:sp>
          <p:nvSpPr>
            <p:cNvPr id="20" name="Freeform 45">
              <a:extLst>
                <a:ext uri="{FF2B5EF4-FFF2-40B4-BE49-F238E27FC236}">
                  <a16:creationId xmlns:a16="http://schemas.microsoft.com/office/drawing/2014/main" id="{61555600-3CFC-482E-9BB1-CE254277AF25}"/>
                </a:ext>
              </a:extLst>
            </p:cNvPr>
            <p:cNvSpPr>
              <a:spLocks/>
            </p:cNvSpPr>
            <p:nvPr/>
          </p:nvSpPr>
          <p:spPr bwMode="gray">
            <a:xfrm>
              <a:off x="7923213" y="2349500"/>
              <a:ext cx="187325" cy="49212"/>
            </a:xfrm>
            <a:custGeom>
              <a:avLst/>
              <a:gdLst>
                <a:gd name="T0" fmla="*/ 0 w 236"/>
                <a:gd name="T1" fmla="*/ 34 h 63"/>
                <a:gd name="T2" fmla="*/ 33 w 236"/>
                <a:gd name="T3" fmla="*/ 63 h 63"/>
                <a:gd name="T4" fmla="*/ 92 w 236"/>
                <a:gd name="T5" fmla="*/ 36 h 63"/>
                <a:gd name="T6" fmla="*/ 236 w 236"/>
                <a:gd name="T7" fmla="*/ 34 h 63"/>
                <a:gd name="T8" fmla="*/ 190 w 236"/>
                <a:gd name="T9" fmla="*/ 0 h 63"/>
                <a:gd name="T10" fmla="*/ 95 w 236"/>
                <a:gd name="T11" fmla="*/ 13 h 63"/>
                <a:gd name="T12" fmla="*/ 29 w 236"/>
                <a:gd name="T13" fmla="*/ 25 h 63"/>
                <a:gd name="T14" fmla="*/ 0 w 236"/>
                <a:gd name="T15" fmla="*/ 34 h 63"/>
                <a:gd name="T16" fmla="*/ 0 w 236"/>
                <a:gd name="T17" fmla="*/ 34 h 63"/>
                <a:gd name="T18" fmla="*/ 0 w 236"/>
                <a:gd name="T19" fmla="*/ 34 h 6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6"/>
                <a:gd name="T31" fmla="*/ 0 h 63"/>
                <a:gd name="T32" fmla="*/ 236 w 236"/>
                <a:gd name="T33" fmla="*/ 63 h 6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6" h="63">
                  <a:moveTo>
                    <a:pt x="0" y="34"/>
                  </a:moveTo>
                  <a:lnTo>
                    <a:pt x="33" y="63"/>
                  </a:lnTo>
                  <a:lnTo>
                    <a:pt x="92" y="36"/>
                  </a:lnTo>
                  <a:lnTo>
                    <a:pt x="236" y="34"/>
                  </a:lnTo>
                  <a:lnTo>
                    <a:pt x="190" y="0"/>
                  </a:lnTo>
                  <a:lnTo>
                    <a:pt x="95" y="13"/>
                  </a:lnTo>
                  <a:lnTo>
                    <a:pt x="29" y="25"/>
                  </a:lnTo>
                  <a:lnTo>
                    <a:pt x="0" y="34"/>
                  </a:lnTo>
                  <a:close/>
                </a:path>
              </a:pathLst>
            </a:custGeom>
            <a:grpFill/>
            <a:ln w="12700">
              <a:solidFill>
                <a:schemeClr val="bg1"/>
              </a:solidFill>
              <a:round/>
              <a:headEnd/>
              <a:tailEnd/>
            </a:ln>
          </p:spPr>
          <p:txBody>
            <a:bodyPr/>
            <a:lstStyle/>
            <a:p>
              <a:pPr>
                <a:defRPr/>
              </a:pPr>
              <a:endParaRPr lang="en-US" sz="1350"/>
            </a:p>
          </p:txBody>
        </p:sp>
        <p:sp>
          <p:nvSpPr>
            <p:cNvPr id="21" name="Freeform 46">
              <a:extLst>
                <a:ext uri="{FF2B5EF4-FFF2-40B4-BE49-F238E27FC236}">
                  <a16:creationId xmlns:a16="http://schemas.microsoft.com/office/drawing/2014/main" id="{C946DF6D-69AA-41A5-A764-270B0A4A90C9}"/>
                </a:ext>
              </a:extLst>
            </p:cNvPr>
            <p:cNvSpPr>
              <a:spLocks/>
            </p:cNvSpPr>
            <p:nvPr/>
          </p:nvSpPr>
          <p:spPr bwMode="gray">
            <a:xfrm>
              <a:off x="8172450" y="2312988"/>
              <a:ext cx="103188" cy="44450"/>
            </a:xfrm>
            <a:custGeom>
              <a:avLst/>
              <a:gdLst>
                <a:gd name="T0" fmla="*/ 110 w 129"/>
                <a:gd name="T1" fmla="*/ 0 h 55"/>
                <a:gd name="T2" fmla="*/ 4 w 129"/>
                <a:gd name="T3" fmla="*/ 23 h 55"/>
                <a:gd name="T4" fmla="*/ 0 w 129"/>
                <a:gd name="T5" fmla="*/ 55 h 55"/>
                <a:gd name="T6" fmla="*/ 74 w 129"/>
                <a:gd name="T7" fmla="*/ 27 h 55"/>
                <a:gd name="T8" fmla="*/ 129 w 129"/>
                <a:gd name="T9" fmla="*/ 38 h 55"/>
                <a:gd name="T10" fmla="*/ 110 w 129"/>
                <a:gd name="T11" fmla="*/ 0 h 55"/>
                <a:gd name="T12" fmla="*/ 110 w 129"/>
                <a:gd name="T13" fmla="*/ 0 h 55"/>
                <a:gd name="T14" fmla="*/ 110 w 129"/>
                <a:gd name="T15" fmla="*/ 0 h 55"/>
                <a:gd name="T16" fmla="*/ 0 60000 65536"/>
                <a:gd name="T17" fmla="*/ 0 60000 65536"/>
                <a:gd name="T18" fmla="*/ 0 60000 65536"/>
                <a:gd name="T19" fmla="*/ 0 60000 65536"/>
                <a:gd name="T20" fmla="*/ 0 60000 65536"/>
                <a:gd name="T21" fmla="*/ 0 60000 65536"/>
                <a:gd name="T22" fmla="*/ 0 60000 65536"/>
                <a:gd name="T23" fmla="*/ 0 60000 65536"/>
                <a:gd name="T24" fmla="*/ 0 w 129"/>
                <a:gd name="T25" fmla="*/ 0 h 55"/>
                <a:gd name="T26" fmla="*/ 129 w 129"/>
                <a:gd name="T27" fmla="*/ 55 h 5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9" h="55">
                  <a:moveTo>
                    <a:pt x="110" y="0"/>
                  </a:moveTo>
                  <a:lnTo>
                    <a:pt x="4" y="23"/>
                  </a:lnTo>
                  <a:lnTo>
                    <a:pt x="0" y="55"/>
                  </a:lnTo>
                  <a:lnTo>
                    <a:pt x="74" y="27"/>
                  </a:lnTo>
                  <a:lnTo>
                    <a:pt x="129" y="38"/>
                  </a:lnTo>
                  <a:lnTo>
                    <a:pt x="110" y="0"/>
                  </a:lnTo>
                  <a:close/>
                </a:path>
              </a:pathLst>
            </a:custGeom>
            <a:grpFill/>
            <a:ln w="12700">
              <a:solidFill>
                <a:schemeClr val="bg1"/>
              </a:solidFill>
              <a:round/>
              <a:headEnd/>
              <a:tailEnd/>
            </a:ln>
          </p:spPr>
          <p:txBody>
            <a:bodyPr/>
            <a:lstStyle/>
            <a:p>
              <a:pPr>
                <a:defRPr/>
              </a:pPr>
              <a:endParaRPr lang="en-US" sz="1350"/>
            </a:p>
          </p:txBody>
        </p:sp>
        <p:sp>
          <p:nvSpPr>
            <p:cNvPr id="22" name="Freeform 47">
              <a:extLst>
                <a:ext uri="{FF2B5EF4-FFF2-40B4-BE49-F238E27FC236}">
                  <a16:creationId xmlns:a16="http://schemas.microsoft.com/office/drawing/2014/main" id="{292755C0-BFB6-444A-9824-86F25B872736}"/>
                </a:ext>
              </a:extLst>
            </p:cNvPr>
            <p:cNvSpPr>
              <a:spLocks/>
            </p:cNvSpPr>
            <p:nvPr/>
          </p:nvSpPr>
          <p:spPr bwMode="gray">
            <a:xfrm>
              <a:off x="8318500" y="2281238"/>
              <a:ext cx="49213" cy="25400"/>
            </a:xfrm>
            <a:custGeom>
              <a:avLst/>
              <a:gdLst>
                <a:gd name="T0" fmla="*/ 63 w 63"/>
                <a:gd name="T1" fmla="*/ 0 h 33"/>
                <a:gd name="T2" fmla="*/ 0 w 63"/>
                <a:gd name="T3" fmla="*/ 33 h 33"/>
                <a:gd name="T4" fmla="*/ 44 w 63"/>
                <a:gd name="T5" fmla="*/ 29 h 33"/>
                <a:gd name="T6" fmla="*/ 63 w 63"/>
                <a:gd name="T7" fmla="*/ 0 h 33"/>
                <a:gd name="T8" fmla="*/ 63 w 63"/>
                <a:gd name="T9" fmla="*/ 0 h 33"/>
                <a:gd name="T10" fmla="*/ 63 w 63"/>
                <a:gd name="T11" fmla="*/ 0 h 33"/>
                <a:gd name="T12" fmla="*/ 0 60000 65536"/>
                <a:gd name="T13" fmla="*/ 0 60000 65536"/>
                <a:gd name="T14" fmla="*/ 0 60000 65536"/>
                <a:gd name="T15" fmla="*/ 0 60000 65536"/>
                <a:gd name="T16" fmla="*/ 0 60000 65536"/>
                <a:gd name="T17" fmla="*/ 0 60000 65536"/>
                <a:gd name="T18" fmla="*/ 0 w 63"/>
                <a:gd name="T19" fmla="*/ 0 h 33"/>
                <a:gd name="T20" fmla="*/ 63 w 63"/>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63" h="33">
                  <a:moveTo>
                    <a:pt x="63" y="0"/>
                  </a:moveTo>
                  <a:lnTo>
                    <a:pt x="0" y="33"/>
                  </a:lnTo>
                  <a:lnTo>
                    <a:pt x="44" y="29"/>
                  </a:lnTo>
                  <a:lnTo>
                    <a:pt x="63" y="0"/>
                  </a:lnTo>
                  <a:close/>
                </a:path>
              </a:pathLst>
            </a:custGeom>
            <a:grpFill/>
            <a:ln w="12700">
              <a:solidFill>
                <a:schemeClr val="bg1"/>
              </a:solidFill>
              <a:round/>
              <a:headEnd/>
              <a:tailEnd/>
            </a:ln>
          </p:spPr>
          <p:txBody>
            <a:bodyPr/>
            <a:lstStyle/>
            <a:p>
              <a:pPr>
                <a:defRPr/>
              </a:pPr>
              <a:endParaRPr lang="en-US" sz="1350"/>
            </a:p>
          </p:txBody>
        </p:sp>
        <p:sp>
          <p:nvSpPr>
            <p:cNvPr id="23" name="Freeform 48">
              <a:extLst>
                <a:ext uri="{FF2B5EF4-FFF2-40B4-BE49-F238E27FC236}">
                  <a16:creationId xmlns:a16="http://schemas.microsoft.com/office/drawing/2014/main" id="{8B24ECD0-E065-41E6-8662-2D357573FABA}"/>
                </a:ext>
              </a:extLst>
            </p:cNvPr>
            <p:cNvSpPr>
              <a:spLocks/>
            </p:cNvSpPr>
            <p:nvPr/>
          </p:nvSpPr>
          <p:spPr bwMode="gray">
            <a:xfrm>
              <a:off x="8383588" y="2289175"/>
              <a:ext cx="42863" cy="14287"/>
            </a:xfrm>
            <a:custGeom>
              <a:avLst/>
              <a:gdLst>
                <a:gd name="T0" fmla="*/ 0 w 55"/>
                <a:gd name="T1" fmla="*/ 0 h 19"/>
                <a:gd name="T2" fmla="*/ 55 w 55"/>
                <a:gd name="T3" fmla="*/ 6 h 19"/>
                <a:gd name="T4" fmla="*/ 23 w 55"/>
                <a:gd name="T5" fmla="*/ 19 h 19"/>
                <a:gd name="T6" fmla="*/ 0 w 55"/>
                <a:gd name="T7" fmla="*/ 0 h 19"/>
                <a:gd name="T8" fmla="*/ 0 w 55"/>
                <a:gd name="T9" fmla="*/ 0 h 19"/>
                <a:gd name="T10" fmla="*/ 0 w 55"/>
                <a:gd name="T11" fmla="*/ 0 h 19"/>
                <a:gd name="T12" fmla="*/ 0 60000 65536"/>
                <a:gd name="T13" fmla="*/ 0 60000 65536"/>
                <a:gd name="T14" fmla="*/ 0 60000 65536"/>
                <a:gd name="T15" fmla="*/ 0 60000 65536"/>
                <a:gd name="T16" fmla="*/ 0 60000 65536"/>
                <a:gd name="T17" fmla="*/ 0 60000 65536"/>
                <a:gd name="T18" fmla="*/ 0 w 55"/>
                <a:gd name="T19" fmla="*/ 0 h 19"/>
                <a:gd name="T20" fmla="*/ 55 w 55"/>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55" h="19">
                  <a:moveTo>
                    <a:pt x="0" y="0"/>
                  </a:moveTo>
                  <a:lnTo>
                    <a:pt x="55" y="6"/>
                  </a:lnTo>
                  <a:lnTo>
                    <a:pt x="23" y="19"/>
                  </a:lnTo>
                  <a:lnTo>
                    <a:pt x="0" y="0"/>
                  </a:lnTo>
                  <a:close/>
                </a:path>
              </a:pathLst>
            </a:custGeom>
            <a:grpFill/>
            <a:ln w="12700">
              <a:solidFill>
                <a:schemeClr val="bg1"/>
              </a:solidFill>
              <a:round/>
              <a:headEnd/>
              <a:tailEnd/>
            </a:ln>
          </p:spPr>
          <p:txBody>
            <a:bodyPr/>
            <a:lstStyle/>
            <a:p>
              <a:pPr>
                <a:defRPr/>
              </a:pPr>
              <a:endParaRPr lang="en-US" sz="1350"/>
            </a:p>
          </p:txBody>
        </p:sp>
        <p:sp>
          <p:nvSpPr>
            <p:cNvPr id="24" name="Freeform 49">
              <a:extLst>
                <a:ext uri="{FF2B5EF4-FFF2-40B4-BE49-F238E27FC236}">
                  <a16:creationId xmlns:a16="http://schemas.microsoft.com/office/drawing/2014/main" id="{90665A83-7190-40DB-B03A-AC84717AE038}"/>
                </a:ext>
              </a:extLst>
            </p:cNvPr>
            <p:cNvSpPr>
              <a:spLocks/>
            </p:cNvSpPr>
            <p:nvPr/>
          </p:nvSpPr>
          <p:spPr bwMode="gray">
            <a:xfrm>
              <a:off x="8437563" y="2281238"/>
              <a:ext cx="22225" cy="12700"/>
            </a:xfrm>
            <a:custGeom>
              <a:avLst/>
              <a:gdLst>
                <a:gd name="T0" fmla="*/ 0 w 29"/>
                <a:gd name="T1" fmla="*/ 0 h 16"/>
                <a:gd name="T2" fmla="*/ 29 w 29"/>
                <a:gd name="T3" fmla="*/ 4 h 16"/>
                <a:gd name="T4" fmla="*/ 14 w 29"/>
                <a:gd name="T5" fmla="*/ 16 h 16"/>
                <a:gd name="T6" fmla="*/ 0 w 29"/>
                <a:gd name="T7" fmla="*/ 0 h 16"/>
                <a:gd name="T8" fmla="*/ 0 w 29"/>
                <a:gd name="T9" fmla="*/ 0 h 16"/>
                <a:gd name="T10" fmla="*/ 0 w 29"/>
                <a:gd name="T11" fmla="*/ 0 h 16"/>
                <a:gd name="T12" fmla="*/ 0 60000 65536"/>
                <a:gd name="T13" fmla="*/ 0 60000 65536"/>
                <a:gd name="T14" fmla="*/ 0 60000 65536"/>
                <a:gd name="T15" fmla="*/ 0 60000 65536"/>
                <a:gd name="T16" fmla="*/ 0 60000 65536"/>
                <a:gd name="T17" fmla="*/ 0 60000 65536"/>
                <a:gd name="T18" fmla="*/ 0 w 29"/>
                <a:gd name="T19" fmla="*/ 0 h 16"/>
                <a:gd name="T20" fmla="*/ 29 w 29"/>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9" h="16">
                  <a:moveTo>
                    <a:pt x="0" y="0"/>
                  </a:moveTo>
                  <a:lnTo>
                    <a:pt x="29" y="4"/>
                  </a:lnTo>
                  <a:lnTo>
                    <a:pt x="14" y="16"/>
                  </a:lnTo>
                  <a:lnTo>
                    <a:pt x="0" y="0"/>
                  </a:lnTo>
                  <a:close/>
                </a:path>
              </a:pathLst>
            </a:custGeom>
            <a:grpFill/>
            <a:ln w="12700">
              <a:solidFill>
                <a:schemeClr val="bg1"/>
              </a:solidFill>
              <a:round/>
              <a:headEnd/>
              <a:tailEnd/>
            </a:ln>
          </p:spPr>
          <p:txBody>
            <a:bodyPr/>
            <a:lstStyle/>
            <a:p>
              <a:pPr>
                <a:defRPr/>
              </a:pPr>
              <a:endParaRPr lang="en-US" sz="1350"/>
            </a:p>
          </p:txBody>
        </p:sp>
        <p:sp>
          <p:nvSpPr>
            <p:cNvPr id="25" name="Freeform 50">
              <a:extLst>
                <a:ext uri="{FF2B5EF4-FFF2-40B4-BE49-F238E27FC236}">
                  <a16:creationId xmlns:a16="http://schemas.microsoft.com/office/drawing/2014/main" id="{BE89C1C4-05C0-4531-9B31-D34726E313DC}"/>
                </a:ext>
              </a:extLst>
            </p:cNvPr>
            <p:cNvSpPr>
              <a:spLocks/>
            </p:cNvSpPr>
            <p:nvPr/>
          </p:nvSpPr>
          <p:spPr bwMode="gray">
            <a:xfrm>
              <a:off x="6751638" y="4022725"/>
              <a:ext cx="458788" cy="166687"/>
            </a:xfrm>
            <a:custGeom>
              <a:avLst/>
              <a:gdLst>
                <a:gd name="T0" fmla="*/ 578 w 578"/>
                <a:gd name="T1" fmla="*/ 57 h 211"/>
                <a:gd name="T2" fmla="*/ 508 w 578"/>
                <a:gd name="T3" fmla="*/ 152 h 211"/>
                <a:gd name="T4" fmla="*/ 428 w 578"/>
                <a:gd name="T5" fmla="*/ 179 h 211"/>
                <a:gd name="T6" fmla="*/ 398 w 578"/>
                <a:gd name="T7" fmla="*/ 211 h 211"/>
                <a:gd name="T8" fmla="*/ 261 w 578"/>
                <a:gd name="T9" fmla="*/ 184 h 211"/>
                <a:gd name="T10" fmla="*/ 280 w 578"/>
                <a:gd name="T11" fmla="*/ 156 h 211"/>
                <a:gd name="T12" fmla="*/ 181 w 578"/>
                <a:gd name="T13" fmla="*/ 112 h 211"/>
                <a:gd name="T14" fmla="*/ 109 w 578"/>
                <a:gd name="T15" fmla="*/ 112 h 211"/>
                <a:gd name="T16" fmla="*/ 92 w 578"/>
                <a:gd name="T17" fmla="*/ 156 h 211"/>
                <a:gd name="T18" fmla="*/ 4 w 578"/>
                <a:gd name="T19" fmla="*/ 152 h 211"/>
                <a:gd name="T20" fmla="*/ 23 w 578"/>
                <a:gd name="T21" fmla="*/ 80 h 211"/>
                <a:gd name="T22" fmla="*/ 0 w 578"/>
                <a:gd name="T23" fmla="*/ 38 h 211"/>
                <a:gd name="T24" fmla="*/ 99 w 578"/>
                <a:gd name="T25" fmla="*/ 0 h 211"/>
                <a:gd name="T26" fmla="*/ 181 w 578"/>
                <a:gd name="T27" fmla="*/ 15 h 211"/>
                <a:gd name="T28" fmla="*/ 299 w 578"/>
                <a:gd name="T29" fmla="*/ 72 h 211"/>
                <a:gd name="T30" fmla="*/ 415 w 578"/>
                <a:gd name="T31" fmla="*/ 47 h 211"/>
                <a:gd name="T32" fmla="*/ 424 w 578"/>
                <a:gd name="T33" fmla="*/ 28 h 211"/>
                <a:gd name="T34" fmla="*/ 540 w 578"/>
                <a:gd name="T35" fmla="*/ 66 h 211"/>
                <a:gd name="T36" fmla="*/ 578 w 578"/>
                <a:gd name="T37" fmla="*/ 57 h 211"/>
                <a:gd name="T38" fmla="*/ 578 w 578"/>
                <a:gd name="T39" fmla="*/ 57 h 211"/>
                <a:gd name="T40" fmla="*/ 578 w 578"/>
                <a:gd name="T41" fmla="*/ 57 h 21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78"/>
                <a:gd name="T64" fmla="*/ 0 h 211"/>
                <a:gd name="T65" fmla="*/ 578 w 578"/>
                <a:gd name="T66" fmla="*/ 211 h 21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78" h="211">
                  <a:moveTo>
                    <a:pt x="578" y="57"/>
                  </a:moveTo>
                  <a:lnTo>
                    <a:pt x="508" y="152"/>
                  </a:lnTo>
                  <a:lnTo>
                    <a:pt x="428" y="179"/>
                  </a:lnTo>
                  <a:lnTo>
                    <a:pt x="398" y="211"/>
                  </a:lnTo>
                  <a:lnTo>
                    <a:pt x="261" y="184"/>
                  </a:lnTo>
                  <a:lnTo>
                    <a:pt x="280" y="156"/>
                  </a:lnTo>
                  <a:lnTo>
                    <a:pt x="181" y="112"/>
                  </a:lnTo>
                  <a:lnTo>
                    <a:pt x="109" y="112"/>
                  </a:lnTo>
                  <a:lnTo>
                    <a:pt x="92" y="156"/>
                  </a:lnTo>
                  <a:lnTo>
                    <a:pt x="4" y="152"/>
                  </a:lnTo>
                  <a:lnTo>
                    <a:pt x="23" y="80"/>
                  </a:lnTo>
                  <a:lnTo>
                    <a:pt x="0" y="38"/>
                  </a:lnTo>
                  <a:lnTo>
                    <a:pt x="99" y="0"/>
                  </a:lnTo>
                  <a:lnTo>
                    <a:pt x="181" y="15"/>
                  </a:lnTo>
                  <a:lnTo>
                    <a:pt x="299" y="72"/>
                  </a:lnTo>
                  <a:lnTo>
                    <a:pt x="415" y="47"/>
                  </a:lnTo>
                  <a:lnTo>
                    <a:pt x="424" y="28"/>
                  </a:lnTo>
                  <a:lnTo>
                    <a:pt x="540" y="66"/>
                  </a:lnTo>
                  <a:lnTo>
                    <a:pt x="578" y="57"/>
                  </a:lnTo>
                  <a:close/>
                </a:path>
              </a:pathLst>
            </a:custGeom>
            <a:grpFill/>
            <a:ln w="12700">
              <a:solidFill>
                <a:schemeClr val="bg1"/>
              </a:solidFill>
              <a:round/>
              <a:headEnd/>
              <a:tailEnd/>
            </a:ln>
          </p:spPr>
          <p:txBody>
            <a:bodyPr/>
            <a:lstStyle/>
            <a:p>
              <a:pPr>
                <a:defRPr/>
              </a:pPr>
              <a:endParaRPr lang="en-US" sz="1350"/>
            </a:p>
          </p:txBody>
        </p:sp>
        <p:sp>
          <p:nvSpPr>
            <p:cNvPr id="26" name="Freeform 51">
              <a:extLst>
                <a:ext uri="{FF2B5EF4-FFF2-40B4-BE49-F238E27FC236}">
                  <a16:creationId xmlns:a16="http://schemas.microsoft.com/office/drawing/2014/main" id="{670BB0B3-CA9A-4D75-9A47-B3729A4E6F59}"/>
                </a:ext>
              </a:extLst>
            </p:cNvPr>
            <p:cNvSpPr>
              <a:spLocks/>
            </p:cNvSpPr>
            <p:nvPr/>
          </p:nvSpPr>
          <p:spPr bwMode="gray">
            <a:xfrm>
              <a:off x="7794625" y="2405063"/>
              <a:ext cx="554038" cy="496887"/>
            </a:xfrm>
            <a:custGeom>
              <a:avLst/>
              <a:gdLst>
                <a:gd name="T0" fmla="*/ 602 w 697"/>
                <a:gd name="T1" fmla="*/ 86 h 626"/>
                <a:gd name="T2" fmla="*/ 513 w 697"/>
                <a:gd name="T3" fmla="*/ 99 h 626"/>
                <a:gd name="T4" fmla="*/ 519 w 697"/>
                <a:gd name="T5" fmla="*/ 25 h 626"/>
                <a:gd name="T6" fmla="*/ 473 w 697"/>
                <a:gd name="T7" fmla="*/ 0 h 626"/>
                <a:gd name="T8" fmla="*/ 384 w 697"/>
                <a:gd name="T9" fmla="*/ 13 h 626"/>
                <a:gd name="T10" fmla="*/ 243 w 697"/>
                <a:gd name="T11" fmla="*/ 95 h 626"/>
                <a:gd name="T12" fmla="*/ 148 w 697"/>
                <a:gd name="T13" fmla="*/ 103 h 626"/>
                <a:gd name="T14" fmla="*/ 129 w 697"/>
                <a:gd name="T15" fmla="*/ 148 h 626"/>
                <a:gd name="T16" fmla="*/ 30 w 697"/>
                <a:gd name="T17" fmla="*/ 209 h 626"/>
                <a:gd name="T18" fmla="*/ 0 w 697"/>
                <a:gd name="T19" fmla="*/ 339 h 626"/>
                <a:gd name="T20" fmla="*/ 38 w 697"/>
                <a:gd name="T21" fmla="*/ 512 h 626"/>
                <a:gd name="T22" fmla="*/ 11 w 697"/>
                <a:gd name="T23" fmla="*/ 578 h 626"/>
                <a:gd name="T24" fmla="*/ 95 w 697"/>
                <a:gd name="T25" fmla="*/ 578 h 626"/>
                <a:gd name="T26" fmla="*/ 127 w 697"/>
                <a:gd name="T27" fmla="*/ 607 h 626"/>
                <a:gd name="T28" fmla="*/ 178 w 697"/>
                <a:gd name="T29" fmla="*/ 559 h 626"/>
                <a:gd name="T30" fmla="*/ 230 w 697"/>
                <a:gd name="T31" fmla="*/ 589 h 626"/>
                <a:gd name="T32" fmla="*/ 283 w 697"/>
                <a:gd name="T33" fmla="*/ 626 h 626"/>
                <a:gd name="T34" fmla="*/ 369 w 697"/>
                <a:gd name="T35" fmla="*/ 612 h 626"/>
                <a:gd name="T36" fmla="*/ 397 w 697"/>
                <a:gd name="T37" fmla="*/ 588 h 626"/>
                <a:gd name="T38" fmla="*/ 450 w 697"/>
                <a:gd name="T39" fmla="*/ 610 h 626"/>
                <a:gd name="T40" fmla="*/ 543 w 697"/>
                <a:gd name="T41" fmla="*/ 580 h 626"/>
                <a:gd name="T42" fmla="*/ 576 w 697"/>
                <a:gd name="T43" fmla="*/ 502 h 626"/>
                <a:gd name="T44" fmla="*/ 610 w 697"/>
                <a:gd name="T45" fmla="*/ 502 h 626"/>
                <a:gd name="T46" fmla="*/ 644 w 697"/>
                <a:gd name="T47" fmla="*/ 523 h 626"/>
                <a:gd name="T48" fmla="*/ 697 w 697"/>
                <a:gd name="T49" fmla="*/ 460 h 626"/>
                <a:gd name="T50" fmla="*/ 610 w 697"/>
                <a:gd name="T51" fmla="*/ 337 h 626"/>
                <a:gd name="T52" fmla="*/ 585 w 697"/>
                <a:gd name="T53" fmla="*/ 308 h 626"/>
                <a:gd name="T54" fmla="*/ 524 w 697"/>
                <a:gd name="T55" fmla="*/ 304 h 626"/>
                <a:gd name="T56" fmla="*/ 521 w 697"/>
                <a:gd name="T57" fmla="*/ 245 h 626"/>
                <a:gd name="T58" fmla="*/ 587 w 697"/>
                <a:gd name="T59" fmla="*/ 152 h 626"/>
                <a:gd name="T60" fmla="*/ 602 w 697"/>
                <a:gd name="T61" fmla="*/ 86 h 626"/>
                <a:gd name="T62" fmla="*/ 602 w 697"/>
                <a:gd name="T63" fmla="*/ 86 h 626"/>
                <a:gd name="T64" fmla="*/ 602 w 697"/>
                <a:gd name="T65" fmla="*/ 86 h 62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97"/>
                <a:gd name="T100" fmla="*/ 0 h 626"/>
                <a:gd name="T101" fmla="*/ 697 w 697"/>
                <a:gd name="T102" fmla="*/ 626 h 62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97" h="626">
                  <a:moveTo>
                    <a:pt x="602" y="86"/>
                  </a:moveTo>
                  <a:lnTo>
                    <a:pt x="513" y="99"/>
                  </a:lnTo>
                  <a:lnTo>
                    <a:pt x="519" y="25"/>
                  </a:lnTo>
                  <a:lnTo>
                    <a:pt x="473" y="0"/>
                  </a:lnTo>
                  <a:lnTo>
                    <a:pt x="384" y="13"/>
                  </a:lnTo>
                  <a:lnTo>
                    <a:pt x="243" y="95"/>
                  </a:lnTo>
                  <a:lnTo>
                    <a:pt x="148" y="103"/>
                  </a:lnTo>
                  <a:lnTo>
                    <a:pt x="129" y="148"/>
                  </a:lnTo>
                  <a:lnTo>
                    <a:pt x="30" y="209"/>
                  </a:lnTo>
                  <a:lnTo>
                    <a:pt x="0" y="339"/>
                  </a:lnTo>
                  <a:lnTo>
                    <a:pt x="38" y="512"/>
                  </a:lnTo>
                  <a:lnTo>
                    <a:pt x="11" y="578"/>
                  </a:lnTo>
                  <a:lnTo>
                    <a:pt x="95" y="578"/>
                  </a:lnTo>
                  <a:lnTo>
                    <a:pt x="127" y="607"/>
                  </a:lnTo>
                  <a:lnTo>
                    <a:pt x="178" y="559"/>
                  </a:lnTo>
                  <a:lnTo>
                    <a:pt x="230" y="589"/>
                  </a:lnTo>
                  <a:lnTo>
                    <a:pt x="283" y="626"/>
                  </a:lnTo>
                  <a:lnTo>
                    <a:pt x="369" y="612"/>
                  </a:lnTo>
                  <a:lnTo>
                    <a:pt x="397" y="588"/>
                  </a:lnTo>
                  <a:lnTo>
                    <a:pt x="450" y="610"/>
                  </a:lnTo>
                  <a:lnTo>
                    <a:pt x="543" y="580"/>
                  </a:lnTo>
                  <a:lnTo>
                    <a:pt x="576" y="502"/>
                  </a:lnTo>
                  <a:lnTo>
                    <a:pt x="610" y="502"/>
                  </a:lnTo>
                  <a:lnTo>
                    <a:pt x="644" y="523"/>
                  </a:lnTo>
                  <a:lnTo>
                    <a:pt x="697" y="460"/>
                  </a:lnTo>
                  <a:lnTo>
                    <a:pt x="610" y="337"/>
                  </a:lnTo>
                  <a:lnTo>
                    <a:pt x="585" y="308"/>
                  </a:lnTo>
                  <a:lnTo>
                    <a:pt x="524" y="304"/>
                  </a:lnTo>
                  <a:lnTo>
                    <a:pt x="521" y="245"/>
                  </a:lnTo>
                  <a:lnTo>
                    <a:pt x="587" y="152"/>
                  </a:lnTo>
                  <a:lnTo>
                    <a:pt x="602" y="86"/>
                  </a:lnTo>
                  <a:close/>
                </a:path>
              </a:pathLst>
            </a:custGeom>
            <a:grpFill/>
            <a:ln w="12700">
              <a:solidFill>
                <a:schemeClr val="bg1"/>
              </a:solidFill>
              <a:round/>
              <a:headEnd/>
              <a:tailEnd/>
            </a:ln>
          </p:spPr>
          <p:txBody>
            <a:bodyPr/>
            <a:lstStyle/>
            <a:p>
              <a:pPr>
                <a:defRPr/>
              </a:pPr>
              <a:endParaRPr lang="en-US" sz="1350"/>
            </a:p>
          </p:txBody>
        </p:sp>
        <p:sp>
          <p:nvSpPr>
            <p:cNvPr id="27" name="Freeform 52">
              <a:extLst>
                <a:ext uri="{FF2B5EF4-FFF2-40B4-BE49-F238E27FC236}">
                  <a16:creationId xmlns:a16="http://schemas.microsoft.com/office/drawing/2014/main" id="{1DDF8C68-3514-40AC-B18B-43F19E0B7617}"/>
                </a:ext>
              </a:extLst>
            </p:cNvPr>
            <p:cNvSpPr>
              <a:spLocks/>
            </p:cNvSpPr>
            <p:nvPr/>
          </p:nvSpPr>
          <p:spPr bwMode="gray">
            <a:xfrm>
              <a:off x="8205788" y="2357438"/>
              <a:ext cx="534988" cy="533400"/>
            </a:xfrm>
            <a:custGeom>
              <a:avLst/>
              <a:gdLst>
                <a:gd name="T0" fmla="*/ 79 w 672"/>
                <a:gd name="T1" fmla="*/ 59 h 673"/>
                <a:gd name="T2" fmla="*/ 81 w 672"/>
                <a:gd name="T3" fmla="*/ 147 h 673"/>
                <a:gd name="T4" fmla="*/ 68 w 672"/>
                <a:gd name="T5" fmla="*/ 213 h 673"/>
                <a:gd name="T6" fmla="*/ 0 w 672"/>
                <a:gd name="T7" fmla="*/ 310 h 673"/>
                <a:gd name="T8" fmla="*/ 5 w 672"/>
                <a:gd name="T9" fmla="*/ 365 h 673"/>
                <a:gd name="T10" fmla="*/ 66 w 672"/>
                <a:gd name="T11" fmla="*/ 371 h 673"/>
                <a:gd name="T12" fmla="*/ 91 w 672"/>
                <a:gd name="T13" fmla="*/ 398 h 673"/>
                <a:gd name="T14" fmla="*/ 131 w 672"/>
                <a:gd name="T15" fmla="*/ 394 h 673"/>
                <a:gd name="T16" fmla="*/ 144 w 672"/>
                <a:gd name="T17" fmla="*/ 320 h 673"/>
                <a:gd name="T18" fmla="*/ 186 w 672"/>
                <a:gd name="T19" fmla="*/ 299 h 673"/>
                <a:gd name="T20" fmla="*/ 211 w 672"/>
                <a:gd name="T21" fmla="*/ 299 h 673"/>
                <a:gd name="T22" fmla="*/ 317 w 672"/>
                <a:gd name="T23" fmla="*/ 382 h 673"/>
                <a:gd name="T24" fmla="*/ 363 w 672"/>
                <a:gd name="T25" fmla="*/ 362 h 673"/>
                <a:gd name="T26" fmla="*/ 557 w 672"/>
                <a:gd name="T27" fmla="*/ 569 h 673"/>
                <a:gd name="T28" fmla="*/ 557 w 672"/>
                <a:gd name="T29" fmla="*/ 618 h 673"/>
                <a:gd name="T30" fmla="*/ 577 w 672"/>
                <a:gd name="T31" fmla="*/ 620 h 673"/>
                <a:gd name="T32" fmla="*/ 581 w 672"/>
                <a:gd name="T33" fmla="*/ 673 h 673"/>
                <a:gd name="T34" fmla="*/ 671 w 672"/>
                <a:gd name="T35" fmla="*/ 510 h 673"/>
                <a:gd name="T36" fmla="*/ 672 w 672"/>
                <a:gd name="T37" fmla="*/ 377 h 673"/>
                <a:gd name="T38" fmla="*/ 655 w 672"/>
                <a:gd name="T39" fmla="*/ 335 h 673"/>
                <a:gd name="T40" fmla="*/ 669 w 672"/>
                <a:gd name="T41" fmla="*/ 242 h 673"/>
                <a:gd name="T42" fmla="*/ 572 w 672"/>
                <a:gd name="T43" fmla="*/ 219 h 673"/>
                <a:gd name="T44" fmla="*/ 583 w 672"/>
                <a:gd name="T45" fmla="*/ 168 h 673"/>
                <a:gd name="T46" fmla="*/ 467 w 672"/>
                <a:gd name="T47" fmla="*/ 141 h 673"/>
                <a:gd name="T48" fmla="*/ 465 w 672"/>
                <a:gd name="T49" fmla="*/ 46 h 673"/>
                <a:gd name="T50" fmla="*/ 349 w 672"/>
                <a:gd name="T51" fmla="*/ 0 h 673"/>
                <a:gd name="T52" fmla="*/ 178 w 672"/>
                <a:gd name="T53" fmla="*/ 54 h 673"/>
                <a:gd name="T54" fmla="*/ 79 w 672"/>
                <a:gd name="T55" fmla="*/ 59 h 673"/>
                <a:gd name="T56" fmla="*/ 79 w 672"/>
                <a:gd name="T57" fmla="*/ 59 h 673"/>
                <a:gd name="T58" fmla="*/ 79 w 672"/>
                <a:gd name="T59" fmla="*/ 59 h 67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72"/>
                <a:gd name="T91" fmla="*/ 0 h 673"/>
                <a:gd name="T92" fmla="*/ 672 w 672"/>
                <a:gd name="T93" fmla="*/ 673 h 67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72" h="673">
                  <a:moveTo>
                    <a:pt x="79" y="59"/>
                  </a:moveTo>
                  <a:lnTo>
                    <a:pt x="81" y="147"/>
                  </a:lnTo>
                  <a:lnTo>
                    <a:pt x="68" y="213"/>
                  </a:lnTo>
                  <a:lnTo>
                    <a:pt x="0" y="310"/>
                  </a:lnTo>
                  <a:lnTo>
                    <a:pt x="5" y="365"/>
                  </a:lnTo>
                  <a:lnTo>
                    <a:pt x="66" y="371"/>
                  </a:lnTo>
                  <a:lnTo>
                    <a:pt x="91" y="398"/>
                  </a:lnTo>
                  <a:lnTo>
                    <a:pt x="131" y="394"/>
                  </a:lnTo>
                  <a:lnTo>
                    <a:pt x="144" y="320"/>
                  </a:lnTo>
                  <a:lnTo>
                    <a:pt x="186" y="299"/>
                  </a:lnTo>
                  <a:lnTo>
                    <a:pt x="211" y="299"/>
                  </a:lnTo>
                  <a:lnTo>
                    <a:pt x="317" y="382"/>
                  </a:lnTo>
                  <a:lnTo>
                    <a:pt x="363" y="362"/>
                  </a:lnTo>
                  <a:lnTo>
                    <a:pt x="557" y="569"/>
                  </a:lnTo>
                  <a:lnTo>
                    <a:pt x="557" y="618"/>
                  </a:lnTo>
                  <a:lnTo>
                    <a:pt x="577" y="620"/>
                  </a:lnTo>
                  <a:lnTo>
                    <a:pt x="581" y="673"/>
                  </a:lnTo>
                  <a:lnTo>
                    <a:pt x="671" y="510"/>
                  </a:lnTo>
                  <a:lnTo>
                    <a:pt x="672" y="377"/>
                  </a:lnTo>
                  <a:lnTo>
                    <a:pt x="655" y="335"/>
                  </a:lnTo>
                  <a:lnTo>
                    <a:pt x="669" y="242"/>
                  </a:lnTo>
                  <a:lnTo>
                    <a:pt x="572" y="219"/>
                  </a:lnTo>
                  <a:lnTo>
                    <a:pt x="583" y="168"/>
                  </a:lnTo>
                  <a:lnTo>
                    <a:pt x="467" y="141"/>
                  </a:lnTo>
                  <a:lnTo>
                    <a:pt x="465" y="46"/>
                  </a:lnTo>
                  <a:lnTo>
                    <a:pt x="349" y="0"/>
                  </a:lnTo>
                  <a:lnTo>
                    <a:pt x="178" y="54"/>
                  </a:lnTo>
                  <a:lnTo>
                    <a:pt x="79" y="59"/>
                  </a:lnTo>
                  <a:close/>
                </a:path>
              </a:pathLst>
            </a:custGeom>
            <a:grpFill/>
            <a:ln w="12700">
              <a:solidFill>
                <a:schemeClr val="bg1"/>
              </a:solidFill>
              <a:round/>
              <a:headEnd/>
              <a:tailEnd/>
            </a:ln>
          </p:spPr>
          <p:txBody>
            <a:bodyPr/>
            <a:lstStyle/>
            <a:p>
              <a:pPr>
                <a:defRPr/>
              </a:pPr>
              <a:endParaRPr lang="en-US" sz="1350"/>
            </a:p>
          </p:txBody>
        </p:sp>
        <p:sp>
          <p:nvSpPr>
            <p:cNvPr id="28" name="Freeform 53">
              <a:extLst>
                <a:ext uri="{FF2B5EF4-FFF2-40B4-BE49-F238E27FC236}">
                  <a16:creationId xmlns:a16="http://schemas.microsoft.com/office/drawing/2014/main" id="{0D5CFB83-CF5A-46AE-98DB-C921D87F6490}"/>
                </a:ext>
              </a:extLst>
            </p:cNvPr>
            <p:cNvSpPr>
              <a:spLocks/>
            </p:cNvSpPr>
            <p:nvPr/>
          </p:nvSpPr>
          <p:spPr bwMode="gray">
            <a:xfrm>
              <a:off x="8196263" y="2592388"/>
              <a:ext cx="469900" cy="469900"/>
            </a:xfrm>
            <a:custGeom>
              <a:avLst/>
              <a:gdLst>
                <a:gd name="T0" fmla="*/ 225 w 593"/>
                <a:gd name="T1" fmla="*/ 0 h 593"/>
                <a:gd name="T2" fmla="*/ 200 w 593"/>
                <a:gd name="T3" fmla="*/ 0 h 593"/>
                <a:gd name="T4" fmla="*/ 156 w 593"/>
                <a:gd name="T5" fmla="*/ 21 h 593"/>
                <a:gd name="T6" fmla="*/ 147 w 593"/>
                <a:gd name="T7" fmla="*/ 97 h 593"/>
                <a:gd name="T8" fmla="*/ 103 w 593"/>
                <a:gd name="T9" fmla="*/ 101 h 593"/>
                <a:gd name="T10" fmla="*/ 192 w 593"/>
                <a:gd name="T11" fmla="*/ 224 h 593"/>
                <a:gd name="T12" fmla="*/ 139 w 593"/>
                <a:gd name="T13" fmla="*/ 287 h 593"/>
                <a:gd name="T14" fmla="*/ 107 w 593"/>
                <a:gd name="T15" fmla="*/ 264 h 593"/>
                <a:gd name="T16" fmla="*/ 71 w 593"/>
                <a:gd name="T17" fmla="*/ 264 h 593"/>
                <a:gd name="T18" fmla="*/ 38 w 593"/>
                <a:gd name="T19" fmla="*/ 344 h 593"/>
                <a:gd name="T20" fmla="*/ 0 w 593"/>
                <a:gd name="T21" fmla="*/ 357 h 593"/>
                <a:gd name="T22" fmla="*/ 52 w 593"/>
                <a:gd name="T23" fmla="*/ 393 h 593"/>
                <a:gd name="T24" fmla="*/ 0 w 593"/>
                <a:gd name="T25" fmla="*/ 462 h 593"/>
                <a:gd name="T26" fmla="*/ 17 w 593"/>
                <a:gd name="T27" fmla="*/ 519 h 593"/>
                <a:gd name="T28" fmla="*/ 131 w 593"/>
                <a:gd name="T29" fmla="*/ 549 h 593"/>
                <a:gd name="T30" fmla="*/ 149 w 593"/>
                <a:gd name="T31" fmla="*/ 578 h 593"/>
                <a:gd name="T32" fmla="*/ 249 w 593"/>
                <a:gd name="T33" fmla="*/ 593 h 593"/>
                <a:gd name="T34" fmla="*/ 280 w 593"/>
                <a:gd name="T35" fmla="*/ 544 h 593"/>
                <a:gd name="T36" fmla="*/ 325 w 593"/>
                <a:gd name="T37" fmla="*/ 538 h 593"/>
                <a:gd name="T38" fmla="*/ 388 w 593"/>
                <a:gd name="T39" fmla="*/ 561 h 593"/>
                <a:gd name="T40" fmla="*/ 417 w 593"/>
                <a:gd name="T41" fmla="*/ 542 h 593"/>
                <a:gd name="T42" fmla="*/ 538 w 593"/>
                <a:gd name="T43" fmla="*/ 536 h 593"/>
                <a:gd name="T44" fmla="*/ 582 w 593"/>
                <a:gd name="T45" fmla="*/ 568 h 593"/>
                <a:gd name="T46" fmla="*/ 593 w 593"/>
                <a:gd name="T47" fmla="*/ 371 h 593"/>
                <a:gd name="T48" fmla="*/ 593 w 593"/>
                <a:gd name="T49" fmla="*/ 323 h 593"/>
                <a:gd name="T50" fmla="*/ 571 w 593"/>
                <a:gd name="T51" fmla="*/ 319 h 593"/>
                <a:gd name="T52" fmla="*/ 571 w 593"/>
                <a:gd name="T53" fmla="*/ 270 h 593"/>
                <a:gd name="T54" fmla="*/ 379 w 593"/>
                <a:gd name="T55" fmla="*/ 65 h 593"/>
                <a:gd name="T56" fmla="*/ 329 w 593"/>
                <a:gd name="T57" fmla="*/ 85 h 593"/>
                <a:gd name="T58" fmla="*/ 225 w 593"/>
                <a:gd name="T59" fmla="*/ 0 h 593"/>
                <a:gd name="T60" fmla="*/ 225 w 593"/>
                <a:gd name="T61" fmla="*/ 0 h 593"/>
                <a:gd name="T62" fmla="*/ 225 w 593"/>
                <a:gd name="T63" fmla="*/ 0 h 59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93"/>
                <a:gd name="T97" fmla="*/ 0 h 593"/>
                <a:gd name="T98" fmla="*/ 593 w 593"/>
                <a:gd name="T99" fmla="*/ 593 h 59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93" h="593">
                  <a:moveTo>
                    <a:pt x="225" y="0"/>
                  </a:moveTo>
                  <a:lnTo>
                    <a:pt x="200" y="0"/>
                  </a:lnTo>
                  <a:lnTo>
                    <a:pt x="156" y="21"/>
                  </a:lnTo>
                  <a:lnTo>
                    <a:pt x="147" y="97"/>
                  </a:lnTo>
                  <a:lnTo>
                    <a:pt x="103" y="101"/>
                  </a:lnTo>
                  <a:lnTo>
                    <a:pt x="192" y="224"/>
                  </a:lnTo>
                  <a:lnTo>
                    <a:pt x="139" y="287"/>
                  </a:lnTo>
                  <a:lnTo>
                    <a:pt x="107" y="264"/>
                  </a:lnTo>
                  <a:lnTo>
                    <a:pt x="71" y="264"/>
                  </a:lnTo>
                  <a:lnTo>
                    <a:pt x="38" y="344"/>
                  </a:lnTo>
                  <a:lnTo>
                    <a:pt x="0" y="357"/>
                  </a:lnTo>
                  <a:lnTo>
                    <a:pt x="52" y="393"/>
                  </a:lnTo>
                  <a:lnTo>
                    <a:pt x="0" y="462"/>
                  </a:lnTo>
                  <a:lnTo>
                    <a:pt x="17" y="519"/>
                  </a:lnTo>
                  <a:lnTo>
                    <a:pt x="131" y="549"/>
                  </a:lnTo>
                  <a:lnTo>
                    <a:pt x="149" y="578"/>
                  </a:lnTo>
                  <a:lnTo>
                    <a:pt x="249" y="593"/>
                  </a:lnTo>
                  <a:lnTo>
                    <a:pt x="280" y="544"/>
                  </a:lnTo>
                  <a:lnTo>
                    <a:pt x="325" y="538"/>
                  </a:lnTo>
                  <a:lnTo>
                    <a:pt x="388" y="561"/>
                  </a:lnTo>
                  <a:lnTo>
                    <a:pt x="417" y="542"/>
                  </a:lnTo>
                  <a:lnTo>
                    <a:pt x="538" y="536"/>
                  </a:lnTo>
                  <a:lnTo>
                    <a:pt x="582" y="568"/>
                  </a:lnTo>
                  <a:lnTo>
                    <a:pt x="593" y="371"/>
                  </a:lnTo>
                  <a:lnTo>
                    <a:pt x="593" y="323"/>
                  </a:lnTo>
                  <a:lnTo>
                    <a:pt x="571" y="319"/>
                  </a:lnTo>
                  <a:lnTo>
                    <a:pt x="571" y="270"/>
                  </a:lnTo>
                  <a:lnTo>
                    <a:pt x="379" y="65"/>
                  </a:lnTo>
                  <a:lnTo>
                    <a:pt x="329" y="85"/>
                  </a:lnTo>
                  <a:lnTo>
                    <a:pt x="225" y="0"/>
                  </a:lnTo>
                  <a:close/>
                </a:path>
              </a:pathLst>
            </a:custGeom>
            <a:grpFill/>
            <a:ln w="12700">
              <a:solidFill>
                <a:schemeClr val="bg1"/>
              </a:solidFill>
              <a:round/>
              <a:headEnd/>
              <a:tailEnd/>
            </a:ln>
          </p:spPr>
          <p:txBody>
            <a:bodyPr/>
            <a:lstStyle/>
            <a:p>
              <a:pPr>
                <a:defRPr/>
              </a:pPr>
              <a:endParaRPr lang="en-US" sz="1350"/>
            </a:p>
          </p:txBody>
        </p:sp>
        <p:sp>
          <p:nvSpPr>
            <p:cNvPr id="29" name="Freeform 54">
              <a:extLst>
                <a:ext uri="{FF2B5EF4-FFF2-40B4-BE49-F238E27FC236}">
                  <a16:creationId xmlns:a16="http://schemas.microsoft.com/office/drawing/2014/main" id="{81277D7E-6044-4D1D-BA63-E52080543271}"/>
                </a:ext>
              </a:extLst>
            </p:cNvPr>
            <p:cNvSpPr>
              <a:spLocks/>
            </p:cNvSpPr>
            <p:nvPr/>
          </p:nvSpPr>
          <p:spPr bwMode="gray">
            <a:xfrm>
              <a:off x="7377113" y="2771775"/>
              <a:ext cx="393700" cy="638175"/>
            </a:xfrm>
            <a:custGeom>
              <a:avLst/>
              <a:gdLst>
                <a:gd name="T0" fmla="*/ 181 w 496"/>
                <a:gd name="T1" fmla="*/ 0 h 804"/>
                <a:gd name="T2" fmla="*/ 145 w 496"/>
                <a:gd name="T3" fmla="*/ 6 h 804"/>
                <a:gd name="T4" fmla="*/ 137 w 496"/>
                <a:gd name="T5" fmla="*/ 101 h 804"/>
                <a:gd name="T6" fmla="*/ 0 w 496"/>
                <a:gd name="T7" fmla="*/ 644 h 804"/>
                <a:gd name="T8" fmla="*/ 40 w 496"/>
                <a:gd name="T9" fmla="*/ 671 h 804"/>
                <a:gd name="T10" fmla="*/ 21 w 496"/>
                <a:gd name="T11" fmla="*/ 747 h 804"/>
                <a:gd name="T12" fmla="*/ 48 w 496"/>
                <a:gd name="T13" fmla="*/ 772 h 804"/>
                <a:gd name="T14" fmla="*/ 150 w 496"/>
                <a:gd name="T15" fmla="*/ 753 h 804"/>
                <a:gd name="T16" fmla="*/ 156 w 496"/>
                <a:gd name="T17" fmla="*/ 762 h 804"/>
                <a:gd name="T18" fmla="*/ 278 w 496"/>
                <a:gd name="T19" fmla="*/ 703 h 804"/>
                <a:gd name="T20" fmla="*/ 371 w 496"/>
                <a:gd name="T21" fmla="*/ 720 h 804"/>
                <a:gd name="T22" fmla="*/ 337 w 496"/>
                <a:gd name="T23" fmla="*/ 768 h 804"/>
                <a:gd name="T24" fmla="*/ 390 w 496"/>
                <a:gd name="T25" fmla="*/ 772 h 804"/>
                <a:gd name="T26" fmla="*/ 409 w 496"/>
                <a:gd name="T27" fmla="*/ 804 h 804"/>
                <a:gd name="T28" fmla="*/ 458 w 496"/>
                <a:gd name="T29" fmla="*/ 795 h 804"/>
                <a:gd name="T30" fmla="*/ 496 w 496"/>
                <a:gd name="T31" fmla="*/ 671 h 804"/>
                <a:gd name="T32" fmla="*/ 415 w 496"/>
                <a:gd name="T33" fmla="*/ 679 h 804"/>
                <a:gd name="T34" fmla="*/ 352 w 496"/>
                <a:gd name="T35" fmla="*/ 584 h 804"/>
                <a:gd name="T36" fmla="*/ 352 w 496"/>
                <a:gd name="T37" fmla="*/ 508 h 804"/>
                <a:gd name="T38" fmla="*/ 390 w 496"/>
                <a:gd name="T39" fmla="*/ 464 h 804"/>
                <a:gd name="T40" fmla="*/ 352 w 496"/>
                <a:gd name="T41" fmla="*/ 424 h 804"/>
                <a:gd name="T42" fmla="*/ 352 w 496"/>
                <a:gd name="T43" fmla="*/ 356 h 804"/>
                <a:gd name="T44" fmla="*/ 418 w 496"/>
                <a:gd name="T45" fmla="*/ 359 h 804"/>
                <a:gd name="T46" fmla="*/ 466 w 496"/>
                <a:gd name="T47" fmla="*/ 325 h 804"/>
                <a:gd name="T48" fmla="*/ 494 w 496"/>
                <a:gd name="T49" fmla="*/ 222 h 804"/>
                <a:gd name="T50" fmla="*/ 399 w 496"/>
                <a:gd name="T51" fmla="*/ 251 h 804"/>
                <a:gd name="T52" fmla="*/ 396 w 496"/>
                <a:gd name="T53" fmla="*/ 126 h 804"/>
                <a:gd name="T54" fmla="*/ 363 w 496"/>
                <a:gd name="T55" fmla="*/ 36 h 804"/>
                <a:gd name="T56" fmla="*/ 312 w 496"/>
                <a:gd name="T57" fmla="*/ 27 h 804"/>
                <a:gd name="T58" fmla="*/ 223 w 496"/>
                <a:gd name="T59" fmla="*/ 82 h 804"/>
                <a:gd name="T60" fmla="*/ 181 w 496"/>
                <a:gd name="T61" fmla="*/ 0 h 804"/>
                <a:gd name="T62" fmla="*/ 181 w 496"/>
                <a:gd name="T63" fmla="*/ 0 h 804"/>
                <a:gd name="T64" fmla="*/ 181 w 496"/>
                <a:gd name="T65" fmla="*/ 0 h 8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6"/>
                <a:gd name="T100" fmla="*/ 0 h 804"/>
                <a:gd name="T101" fmla="*/ 496 w 496"/>
                <a:gd name="T102" fmla="*/ 804 h 8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6" h="804">
                  <a:moveTo>
                    <a:pt x="181" y="0"/>
                  </a:moveTo>
                  <a:lnTo>
                    <a:pt x="145" y="6"/>
                  </a:lnTo>
                  <a:lnTo>
                    <a:pt x="137" y="101"/>
                  </a:lnTo>
                  <a:lnTo>
                    <a:pt x="0" y="644"/>
                  </a:lnTo>
                  <a:lnTo>
                    <a:pt x="40" y="671"/>
                  </a:lnTo>
                  <a:lnTo>
                    <a:pt x="21" y="747"/>
                  </a:lnTo>
                  <a:lnTo>
                    <a:pt x="48" y="772"/>
                  </a:lnTo>
                  <a:lnTo>
                    <a:pt x="150" y="753"/>
                  </a:lnTo>
                  <a:lnTo>
                    <a:pt x="156" y="762"/>
                  </a:lnTo>
                  <a:lnTo>
                    <a:pt x="278" y="703"/>
                  </a:lnTo>
                  <a:lnTo>
                    <a:pt x="371" y="720"/>
                  </a:lnTo>
                  <a:lnTo>
                    <a:pt x="337" y="768"/>
                  </a:lnTo>
                  <a:lnTo>
                    <a:pt x="390" y="772"/>
                  </a:lnTo>
                  <a:lnTo>
                    <a:pt x="409" y="804"/>
                  </a:lnTo>
                  <a:lnTo>
                    <a:pt x="458" y="795"/>
                  </a:lnTo>
                  <a:lnTo>
                    <a:pt x="496" y="671"/>
                  </a:lnTo>
                  <a:lnTo>
                    <a:pt x="415" y="679"/>
                  </a:lnTo>
                  <a:lnTo>
                    <a:pt x="352" y="584"/>
                  </a:lnTo>
                  <a:lnTo>
                    <a:pt x="352" y="508"/>
                  </a:lnTo>
                  <a:lnTo>
                    <a:pt x="390" y="464"/>
                  </a:lnTo>
                  <a:lnTo>
                    <a:pt x="352" y="424"/>
                  </a:lnTo>
                  <a:lnTo>
                    <a:pt x="352" y="356"/>
                  </a:lnTo>
                  <a:lnTo>
                    <a:pt x="418" y="359"/>
                  </a:lnTo>
                  <a:lnTo>
                    <a:pt x="466" y="325"/>
                  </a:lnTo>
                  <a:lnTo>
                    <a:pt x="494" y="222"/>
                  </a:lnTo>
                  <a:lnTo>
                    <a:pt x="399" y="251"/>
                  </a:lnTo>
                  <a:lnTo>
                    <a:pt x="396" y="126"/>
                  </a:lnTo>
                  <a:lnTo>
                    <a:pt x="363" y="36"/>
                  </a:lnTo>
                  <a:lnTo>
                    <a:pt x="312" y="27"/>
                  </a:lnTo>
                  <a:lnTo>
                    <a:pt x="223" y="82"/>
                  </a:lnTo>
                  <a:lnTo>
                    <a:pt x="181" y="0"/>
                  </a:lnTo>
                  <a:close/>
                </a:path>
              </a:pathLst>
            </a:custGeom>
            <a:grpFill/>
            <a:ln w="12700">
              <a:solidFill>
                <a:schemeClr val="bg1"/>
              </a:solidFill>
              <a:round/>
              <a:headEnd/>
              <a:tailEnd/>
            </a:ln>
          </p:spPr>
          <p:txBody>
            <a:bodyPr/>
            <a:lstStyle/>
            <a:p>
              <a:pPr>
                <a:defRPr/>
              </a:pPr>
              <a:endParaRPr lang="en-US" sz="1350"/>
            </a:p>
          </p:txBody>
        </p:sp>
        <p:sp>
          <p:nvSpPr>
            <p:cNvPr id="30" name="Freeform 55">
              <a:extLst>
                <a:ext uri="{FF2B5EF4-FFF2-40B4-BE49-F238E27FC236}">
                  <a16:creationId xmlns:a16="http://schemas.microsoft.com/office/drawing/2014/main" id="{028FE07B-D265-499C-9559-396E454BDFBB}"/>
                </a:ext>
              </a:extLst>
            </p:cNvPr>
            <p:cNvSpPr>
              <a:spLocks/>
            </p:cNvSpPr>
            <p:nvPr/>
          </p:nvSpPr>
          <p:spPr bwMode="gray">
            <a:xfrm>
              <a:off x="7654925" y="2873375"/>
              <a:ext cx="490538" cy="469900"/>
            </a:xfrm>
            <a:custGeom>
              <a:avLst/>
              <a:gdLst>
                <a:gd name="T0" fmla="*/ 405 w 618"/>
                <a:gd name="T1" fmla="*/ 0 h 593"/>
                <a:gd name="T2" fmla="*/ 317 w 618"/>
                <a:gd name="T3" fmla="*/ 65 h 593"/>
                <a:gd name="T4" fmla="*/ 329 w 618"/>
                <a:gd name="T5" fmla="*/ 175 h 593"/>
                <a:gd name="T6" fmla="*/ 365 w 618"/>
                <a:gd name="T7" fmla="*/ 221 h 593"/>
                <a:gd name="T8" fmla="*/ 291 w 618"/>
                <a:gd name="T9" fmla="*/ 223 h 593"/>
                <a:gd name="T10" fmla="*/ 226 w 618"/>
                <a:gd name="T11" fmla="*/ 282 h 593"/>
                <a:gd name="T12" fmla="*/ 161 w 618"/>
                <a:gd name="T13" fmla="*/ 170 h 593"/>
                <a:gd name="T14" fmla="*/ 66 w 618"/>
                <a:gd name="T15" fmla="*/ 232 h 593"/>
                <a:gd name="T16" fmla="*/ 0 w 618"/>
                <a:gd name="T17" fmla="*/ 227 h 593"/>
                <a:gd name="T18" fmla="*/ 0 w 618"/>
                <a:gd name="T19" fmla="*/ 297 h 593"/>
                <a:gd name="T20" fmla="*/ 38 w 618"/>
                <a:gd name="T21" fmla="*/ 337 h 593"/>
                <a:gd name="T22" fmla="*/ 0 w 618"/>
                <a:gd name="T23" fmla="*/ 381 h 593"/>
                <a:gd name="T24" fmla="*/ 0 w 618"/>
                <a:gd name="T25" fmla="*/ 460 h 593"/>
                <a:gd name="T26" fmla="*/ 63 w 618"/>
                <a:gd name="T27" fmla="*/ 552 h 593"/>
                <a:gd name="T28" fmla="*/ 142 w 618"/>
                <a:gd name="T29" fmla="*/ 546 h 593"/>
                <a:gd name="T30" fmla="*/ 169 w 618"/>
                <a:gd name="T31" fmla="*/ 582 h 593"/>
                <a:gd name="T32" fmla="*/ 232 w 618"/>
                <a:gd name="T33" fmla="*/ 593 h 593"/>
                <a:gd name="T34" fmla="*/ 310 w 618"/>
                <a:gd name="T35" fmla="*/ 571 h 593"/>
                <a:gd name="T36" fmla="*/ 310 w 618"/>
                <a:gd name="T37" fmla="*/ 514 h 593"/>
                <a:gd name="T38" fmla="*/ 454 w 618"/>
                <a:gd name="T39" fmla="*/ 415 h 593"/>
                <a:gd name="T40" fmla="*/ 496 w 618"/>
                <a:gd name="T41" fmla="*/ 344 h 593"/>
                <a:gd name="T42" fmla="*/ 494 w 618"/>
                <a:gd name="T43" fmla="*/ 295 h 593"/>
                <a:gd name="T44" fmla="*/ 429 w 618"/>
                <a:gd name="T45" fmla="*/ 238 h 593"/>
                <a:gd name="T46" fmla="*/ 566 w 618"/>
                <a:gd name="T47" fmla="*/ 238 h 593"/>
                <a:gd name="T48" fmla="*/ 618 w 618"/>
                <a:gd name="T49" fmla="*/ 225 h 593"/>
                <a:gd name="T50" fmla="*/ 568 w 618"/>
                <a:gd name="T51" fmla="*/ 175 h 593"/>
                <a:gd name="T52" fmla="*/ 566 w 618"/>
                <a:gd name="T53" fmla="*/ 141 h 593"/>
                <a:gd name="T54" fmla="*/ 604 w 618"/>
                <a:gd name="T55" fmla="*/ 135 h 593"/>
                <a:gd name="T56" fmla="*/ 604 w 618"/>
                <a:gd name="T57" fmla="*/ 94 h 593"/>
                <a:gd name="T58" fmla="*/ 458 w 618"/>
                <a:gd name="T59" fmla="*/ 35 h 593"/>
                <a:gd name="T60" fmla="*/ 405 w 618"/>
                <a:gd name="T61" fmla="*/ 0 h 593"/>
                <a:gd name="T62" fmla="*/ 405 w 618"/>
                <a:gd name="T63" fmla="*/ 0 h 593"/>
                <a:gd name="T64" fmla="*/ 405 w 618"/>
                <a:gd name="T65" fmla="*/ 0 h 5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18"/>
                <a:gd name="T100" fmla="*/ 0 h 593"/>
                <a:gd name="T101" fmla="*/ 618 w 618"/>
                <a:gd name="T102" fmla="*/ 593 h 59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18" h="593">
                  <a:moveTo>
                    <a:pt x="405" y="0"/>
                  </a:moveTo>
                  <a:lnTo>
                    <a:pt x="317" y="65"/>
                  </a:lnTo>
                  <a:lnTo>
                    <a:pt x="329" y="175"/>
                  </a:lnTo>
                  <a:lnTo>
                    <a:pt x="365" y="221"/>
                  </a:lnTo>
                  <a:lnTo>
                    <a:pt x="291" y="223"/>
                  </a:lnTo>
                  <a:lnTo>
                    <a:pt x="226" y="282"/>
                  </a:lnTo>
                  <a:lnTo>
                    <a:pt x="161" y="170"/>
                  </a:lnTo>
                  <a:lnTo>
                    <a:pt x="66" y="232"/>
                  </a:lnTo>
                  <a:lnTo>
                    <a:pt x="0" y="227"/>
                  </a:lnTo>
                  <a:lnTo>
                    <a:pt x="0" y="297"/>
                  </a:lnTo>
                  <a:lnTo>
                    <a:pt x="38" y="337"/>
                  </a:lnTo>
                  <a:lnTo>
                    <a:pt x="0" y="381"/>
                  </a:lnTo>
                  <a:lnTo>
                    <a:pt x="0" y="460"/>
                  </a:lnTo>
                  <a:lnTo>
                    <a:pt x="63" y="552"/>
                  </a:lnTo>
                  <a:lnTo>
                    <a:pt x="142" y="546"/>
                  </a:lnTo>
                  <a:lnTo>
                    <a:pt x="169" y="582"/>
                  </a:lnTo>
                  <a:lnTo>
                    <a:pt x="232" y="593"/>
                  </a:lnTo>
                  <a:lnTo>
                    <a:pt x="310" y="571"/>
                  </a:lnTo>
                  <a:lnTo>
                    <a:pt x="310" y="514"/>
                  </a:lnTo>
                  <a:lnTo>
                    <a:pt x="454" y="415"/>
                  </a:lnTo>
                  <a:lnTo>
                    <a:pt x="496" y="344"/>
                  </a:lnTo>
                  <a:lnTo>
                    <a:pt x="494" y="295"/>
                  </a:lnTo>
                  <a:lnTo>
                    <a:pt x="429" y="238"/>
                  </a:lnTo>
                  <a:lnTo>
                    <a:pt x="566" y="238"/>
                  </a:lnTo>
                  <a:lnTo>
                    <a:pt x="618" y="225"/>
                  </a:lnTo>
                  <a:lnTo>
                    <a:pt x="568" y="175"/>
                  </a:lnTo>
                  <a:lnTo>
                    <a:pt x="566" y="141"/>
                  </a:lnTo>
                  <a:lnTo>
                    <a:pt x="604" y="135"/>
                  </a:lnTo>
                  <a:lnTo>
                    <a:pt x="604" y="94"/>
                  </a:lnTo>
                  <a:lnTo>
                    <a:pt x="458" y="35"/>
                  </a:lnTo>
                  <a:lnTo>
                    <a:pt x="405" y="0"/>
                  </a:lnTo>
                  <a:close/>
                </a:path>
              </a:pathLst>
            </a:custGeom>
            <a:grpFill/>
            <a:ln w="12700">
              <a:solidFill>
                <a:schemeClr val="bg1"/>
              </a:solidFill>
              <a:round/>
              <a:headEnd/>
              <a:tailEnd/>
            </a:ln>
          </p:spPr>
          <p:txBody>
            <a:bodyPr/>
            <a:lstStyle/>
            <a:p>
              <a:pPr>
                <a:defRPr/>
              </a:pPr>
              <a:endParaRPr lang="en-US" sz="1350"/>
            </a:p>
          </p:txBody>
        </p:sp>
        <p:sp>
          <p:nvSpPr>
            <p:cNvPr id="31" name="Freeform 56">
              <a:extLst>
                <a:ext uri="{FF2B5EF4-FFF2-40B4-BE49-F238E27FC236}">
                  <a16:creationId xmlns:a16="http://schemas.microsoft.com/office/drawing/2014/main" id="{DB0DCC28-7E5E-4E51-9474-6857B3DE9EF2}"/>
                </a:ext>
              </a:extLst>
            </p:cNvPr>
            <p:cNvSpPr>
              <a:spLocks/>
            </p:cNvSpPr>
            <p:nvPr/>
          </p:nvSpPr>
          <p:spPr bwMode="gray">
            <a:xfrm>
              <a:off x="7996238" y="2871788"/>
              <a:ext cx="669925" cy="590550"/>
            </a:xfrm>
            <a:custGeom>
              <a:avLst/>
              <a:gdLst>
                <a:gd name="T0" fmla="*/ 31 w 844"/>
                <a:gd name="T1" fmla="*/ 38 h 745"/>
                <a:gd name="T2" fmla="*/ 116 w 844"/>
                <a:gd name="T3" fmla="*/ 24 h 745"/>
                <a:gd name="T4" fmla="*/ 139 w 844"/>
                <a:gd name="T5" fmla="*/ 0 h 745"/>
                <a:gd name="T6" fmla="*/ 198 w 844"/>
                <a:gd name="T7" fmla="*/ 19 h 745"/>
                <a:gd name="T8" fmla="*/ 255 w 844"/>
                <a:gd name="T9" fmla="*/ 5 h 745"/>
                <a:gd name="T10" fmla="*/ 303 w 844"/>
                <a:gd name="T11" fmla="*/ 41 h 745"/>
                <a:gd name="T12" fmla="*/ 251 w 844"/>
                <a:gd name="T13" fmla="*/ 108 h 745"/>
                <a:gd name="T14" fmla="*/ 270 w 844"/>
                <a:gd name="T15" fmla="*/ 171 h 745"/>
                <a:gd name="T16" fmla="*/ 384 w 844"/>
                <a:gd name="T17" fmla="*/ 199 h 745"/>
                <a:gd name="T18" fmla="*/ 400 w 844"/>
                <a:gd name="T19" fmla="*/ 228 h 745"/>
                <a:gd name="T20" fmla="*/ 500 w 844"/>
                <a:gd name="T21" fmla="*/ 239 h 745"/>
                <a:gd name="T22" fmla="*/ 531 w 844"/>
                <a:gd name="T23" fmla="*/ 190 h 745"/>
                <a:gd name="T24" fmla="*/ 576 w 844"/>
                <a:gd name="T25" fmla="*/ 186 h 745"/>
                <a:gd name="T26" fmla="*/ 641 w 844"/>
                <a:gd name="T27" fmla="*/ 209 h 745"/>
                <a:gd name="T28" fmla="*/ 618 w 844"/>
                <a:gd name="T29" fmla="*/ 230 h 745"/>
                <a:gd name="T30" fmla="*/ 662 w 844"/>
                <a:gd name="T31" fmla="*/ 273 h 745"/>
                <a:gd name="T32" fmla="*/ 588 w 844"/>
                <a:gd name="T33" fmla="*/ 279 h 745"/>
                <a:gd name="T34" fmla="*/ 630 w 844"/>
                <a:gd name="T35" fmla="*/ 326 h 745"/>
                <a:gd name="T36" fmla="*/ 603 w 844"/>
                <a:gd name="T37" fmla="*/ 351 h 745"/>
                <a:gd name="T38" fmla="*/ 708 w 844"/>
                <a:gd name="T39" fmla="*/ 368 h 745"/>
                <a:gd name="T40" fmla="*/ 753 w 844"/>
                <a:gd name="T41" fmla="*/ 408 h 745"/>
                <a:gd name="T42" fmla="*/ 814 w 844"/>
                <a:gd name="T43" fmla="*/ 368 h 745"/>
                <a:gd name="T44" fmla="*/ 844 w 844"/>
                <a:gd name="T45" fmla="*/ 471 h 745"/>
                <a:gd name="T46" fmla="*/ 808 w 844"/>
                <a:gd name="T47" fmla="*/ 577 h 745"/>
                <a:gd name="T48" fmla="*/ 839 w 844"/>
                <a:gd name="T49" fmla="*/ 619 h 745"/>
                <a:gd name="T50" fmla="*/ 789 w 844"/>
                <a:gd name="T51" fmla="*/ 627 h 745"/>
                <a:gd name="T52" fmla="*/ 780 w 844"/>
                <a:gd name="T53" fmla="*/ 667 h 745"/>
                <a:gd name="T54" fmla="*/ 717 w 844"/>
                <a:gd name="T55" fmla="*/ 731 h 745"/>
                <a:gd name="T56" fmla="*/ 671 w 844"/>
                <a:gd name="T57" fmla="*/ 722 h 745"/>
                <a:gd name="T58" fmla="*/ 658 w 844"/>
                <a:gd name="T59" fmla="*/ 745 h 745"/>
                <a:gd name="T60" fmla="*/ 633 w 844"/>
                <a:gd name="T61" fmla="*/ 737 h 745"/>
                <a:gd name="T62" fmla="*/ 611 w 844"/>
                <a:gd name="T63" fmla="*/ 686 h 745"/>
                <a:gd name="T64" fmla="*/ 514 w 844"/>
                <a:gd name="T65" fmla="*/ 688 h 745"/>
                <a:gd name="T66" fmla="*/ 472 w 844"/>
                <a:gd name="T67" fmla="*/ 653 h 745"/>
                <a:gd name="T68" fmla="*/ 487 w 844"/>
                <a:gd name="T69" fmla="*/ 615 h 745"/>
                <a:gd name="T70" fmla="*/ 449 w 844"/>
                <a:gd name="T71" fmla="*/ 615 h 745"/>
                <a:gd name="T72" fmla="*/ 396 w 844"/>
                <a:gd name="T73" fmla="*/ 634 h 745"/>
                <a:gd name="T74" fmla="*/ 320 w 844"/>
                <a:gd name="T75" fmla="*/ 615 h 745"/>
                <a:gd name="T76" fmla="*/ 259 w 844"/>
                <a:gd name="T77" fmla="*/ 625 h 745"/>
                <a:gd name="T78" fmla="*/ 259 w 844"/>
                <a:gd name="T79" fmla="*/ 587 h 745"/>
                <a:gd name="T80" fmla="*/ 213 w 844"/>
                <a:gd name="T81" fmla="*/ 541 h 745"/>
                <a:gd name="T82" fmla="*/ 213 w 844"/>
                <a:gd name="T83" fmla="*/ 498 h 745"/>
                <a:gd name="T84" fmla="*/ 249 w 844"/>
                <a:gd name="T85" fmla="*/ 446 h 745"/>
                <a:gd name="T86" fmla="*/ 238 w 844"/>
                <a:gd name="T87" fmla="*/ 408 h 745"/>
                <a:gd name="T88" fmla="*/ 156 w 844"/>
                <a:gd name="T89" fmla="*/ 353 h 745"/>
                <a:gd name="T90" fmla="*/ 115 w 844"/>
                <a:gd name="T91" fmla="*/ 363 h 745"/>
                <a:gd name="T92" fmla="*/ 65 w 844"/>
                <a:gd name="T93" fmla="*/ 340 h 745"/>
                <a:gd name="T94" fmla="*/ 65 w 844"/>
                <a:gd name="T95" fmla="*/ 296 h 745"/>
                <a:gd name="T96" fmla="*/ 0 w 844"/>
                <a:gd name="T97" fmla="*/ 239 h 745"/>
                <a:gd name="T98" fmla="*/ 139 w 844"/>
                <a:gd name="T99" fmla="*/ 237 h 745"/>
                <a:gd name="T100" fmla="*/ 185 w 844"/>
                <a:gd name="T101" fmla="*/ 228 h 745"/>
                <a:gd name="T102" fmla="*/ 139 w 844"/>
                <a:gd name="T103" fmla="*/ 176 h 745"/>
                <a:gd name="T104" fmla="*/ 137 w 844"/>
                <a:gd name="T105" fmla="*/ 140 h 745"/>
                <a:gd name="T106" fmla="*/ 175 w 844"/>
                <a:gd name="T107" fmla="*/ 138 h 745"/>
                <a:gd name="T108" fmla="*/ 175 w 844"/>
                <a:gd name="T109" fmla="*/ 96 h 745"/>
                <a:gd name="T110" fmla="*/ 31 w 844"/>
                <a:gd name="T111" fmla="*/ 38 h 745"/>
                <a:gd name="T112" fmla="*/ 31 w 844"/>
                <a:gd name="T113" fmla="*/ 38 h 745"/>
                <a:gd name="T114" fmla="*/ 31 w 844"/>
                <a:gd name="T115" fmla="*/ 38 h 74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44"/>
                <a:gd name="T175" fmla="*/ 0 h 745"/>
                <a:gd name="T176" fmla="*/ 844 w 844"/>
                <a:gd name="T177" fmla="*/ 745 h 74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44" h="745">
                  <a:moveTo>
                    <a:pt x="31" y="38"/>
                  </a:moveTo>
                  <a:lnTo>
                    <a:pt x="116" y="24"/>
                  </a:lnTo>
                  <a:lnTo>
                    <a:pt x="139" y="0"/>
                  </a:lnTo>
                  <a:lnTo>
                    <a:pt x="198" y="19"/>
                  </a:lnTo>
                  <a:lnTo>
                    <a:pt x="255" y="5"/>
                  </a:lnTo>
                  <a:lnTo>
                    <a:pt x="303" y="41"/>
                  </a:lnTo>
                  <a:lnTo>
                    <a:pt x="251" y="108"/>
                  </a:lnTo>
                  <a:lnTo>
                    <a:pt x="270" y="171"/>
                  </a:lnTo>
                  <a:lnTo>
                    <a:pt x="384" y="199"/>
                  </a:lnTo>
                  <a:lnTo>
                    <a:pt x="400" y="228"/>
                  </a:lnTo>
                  <a:lnTo>
                    <a:pt x="500" y="239"/>
                  </a:lnTo>
                  <a:lnTo>
                    <a:pt x="531" y="190"/>
                  </a:lnTo>
                  <a:lnTo>
                    <a:pt x="576" y="186"/>
                  </a:lnTo>
                  <a:lnTo>
                    <a:pt x="641" y="209"/>
                  </a:lnTo>
                  <a:lnTo>
                    <a:pt x="618" y="230"/>
                  </a:lnTo>
                  <a:lnTo>
                    <a:pt x="662" y="273"/>
                  </a:lnTo>
                  <a:lnTo>
                    <a:pt x="588" y="279"/>
                  </a:lnTo>
                  <a:lnTo>
                    <a:pt x="630" y="326"/>
                  </a:lnTo>
                  <a:lnTo>
                    <a:pt x="603" y="351"/>
                  </a:lnTo>
                  <a:lnTo>
                    <a:pt x="708" y="368"/>
                  </a:lnTo>
                  <a:lnTo>
                    <a:pt x="753" y="408"/>
                  </a:lnTo>
                  <a:lnTo>
                    <a:pt x="814" y="368"/>
                  </a:lnTo>
                  <a:lnTo>
                    <a:pt x="844" y="471"/>
                  </a:lnTo>
                  <a:lnTo>
                    <a:pt x="808" y="577"/>
                  </a:lnTo>
                  <a:lnTo>
                    <a:pt x="839" y="619"/>
                  </a:lnTo>
                  <a:lnTo>
                    <a:pt x="789" y="627"/>
                  </a:lnTo>
                  <a:lnTo>
                    <a:pt x="780" y="667"/>
                  </a:lnTo>
                  <a:lnTo>
                    <a:pt x="717" y="731"/>
                  </a:lnTo>
                  <a:lnTo>
                    <a:pt x="671" y="722"/>
                  </a:lnTo>
                  <a:lnTo>
                    <a:pt x="658" y="745"/>
                  </a:lnTo>
                  <a:lnTo>
                    <a:pt x="633" y="737"/>
                  </a:lnTo>
                  <a:lnTo>
                    <a:pt x="611" y="686"/>
                  </a:lnTo>
                  <a:lnTo>
                    <a:pt x="514" y="688"/>
                  </a:lnTo>
                  <a:lnTo>
                    <a:pt x="472" y="653"/>
                  </a:lnTo>
                  <a:lnTo>
                    <a:pt x="487" y="615"/>
                  </a:lnTo>
                  <a:lnTo>
                    <a:pt x="449" y="615"/>
                  </a:lnTo>
                  <a:lnTo>
                    <a:pt x="396" y="634"/>
                  </a:lnTo>
                  <a:lnTo>
                    <a:pt x="320" y="615"/>
                  </a:lnTo>
                  <a:lnTo>
                    <a:pt x="259" y="625"/>
                  </a:lnTo>
                  <a:lnTo>
                    <a:pt x="259" y="587"/>
                  </a:lnTo>
                  <a:lnTo>
                    <a:pt x="213" y="541"/>
                  </a:lnTo>
                  <a:lnTo>
                    <a:pt x="213" y="498"/>
                  </a:lnTo>
                  <a:lnTo>
                    <a:pt x="249" y="446"/>
                  </a:lnTo>
                  <a:lnTo>
                    <a:pt x="238" y="408"/>
                  </a:lnTo>
                  <a:lnTo>
                    <a:pt x="156" y="353"/>
                  </a:lnTo>
                  <a:lnTo>
                    <a:pt x="115" y="363"/>
                  </a:lnTo>
                  <a:lnTo>
                    <a:pt x="65" y="340"/>
                  </a:lnTo>
                  <a:lnTo>
                    <a:pt x="65" y="296"/>
                  </a:lnTo>
                  <a:lnTo>
                    <a:pt x="0" y="239"/>
                  </a:lnTo>
                  <a:lnTo>
                    <a:pt x="139" y="237"/>
                  </a:lnTo>
                  <a:lnTo>
                    <a:pt x="185" y="228"/>
                  </a:lnTo>
                  <a:lnTo>
                    <a:pt x="139" y="176"/>
                  </a:lnTo>
                  <a:lnTo>
                    <a:pt x="137" y="140"/>
                  </a:lnTo>
                  <a:lnTo>
                    <a:pt x="175" y="138"/>
                  </a:lnTo>
                  <a:lnTo>
                    <a:pt x="175" y="96"/>
                  </a:lnTo>
                  <a:lnTo>
                    <a:pt x="31" y="38"/>
                  </a:lnTo>
                  <a:close/>
                </a:path>
              </a:pathLst>
            </a:custGeom>
            <a:grpFill/>
            <a:ln w="12700">
              <a:solidFill>
                <a:schemeClr val="bg1"/>
              </a:solidFill>
              <a:round/>
              <a:headEnd/>
              <a:tailEnd/>
            </a:ln>
          </p:spPr>
          <p:txBody>
            <a:bodyPr/>
            <a:lstStyle/>
            <a:p>
              <a:pPr>
                <a:defRPr/>
              </a:pPr>
              <a:endParaRPr lang="en-US" sz="1350"/>
            </a:p>
          </p:txBody>
        </p:sp>
        <p:sp>
          <p:nvSpPr>
            <p:cNvPr id="32" name="Freeform 57">
              <a:extLst>
                <a:ext uri="{FF2B5EF4-FFF2-40B4-BE49-F238E27FC236}">
                  <a16:creationId xmlns:a16="http://schemas.microsoft.com/office/drawing/2014/main" id="{8A5F5B8B-C9B4-4479-AB9C-74E8F5DFA364}"/>
                </a:ext>
              </a:extLst>
            </p:cNvPr>
            <p:cNvSpPr>
              <a:spLocks/>
            </p:cNvSpPr>
            <p:nvPr/>
          </p:nvSpPr>
          <p:spPr bwMode="gray">
            <a:xfrm>
              <a:off x="7500938" y="3305175"/>
              <a:ext cx="455613" cy="298450"/>
            </a:xfrm>
            <a:custGeom>
              <a:avLst/>
              <a:gdLst>
                <a:gd name="T0" fmla="*/ 338 w 574"/>
                <a:gd name="T1" fmla="*/ 0 h 376"/>
                <a:gd name="T2" fmla="*/ 302 w 574"/>
                <a:gd name="T3" fmla="*/ 124 h 376"/>
                <a:gd name="T4" fmla="*/ 253 w 574"/>
                <a:gd name="T5" fmla="*/ 133 h 376"/>
                <a:gd name="T6" fmla="*/ 236 w 574"/>
                <a:gd name="T7" fmla="*/ 99 h 376"/>
                <a:gd name="T8" fmla="*/ 185 w 574"/>
                <a:gd name="T9" fmla="*/ 95 h 376"/>
                <a:gd name="T10" fmla="*/ 215 w 574"/>
                <a:gd name="T11" fmla="*/ 49 h 376"/>
                <a:gd name="T12" fmla="*/ 120 w 574"/>
                <a:gd name="T13" fmla="*/ 32 h 376"/>
                <a:gd name="T14" fmla="*/ 0 w 574"/>
                <a:gd name="T15" fmla="*/ 91 h 376"/>
                <a:gd name="T16" fmla="*/ 72 w 574"/>
                <a:gd name="T17" fmla="*/ 131 h 376"/>
                <a:gd name="T18" fmla="*/ 78 w 574"/>
                <a:gd name="T19" fmla="*/ 169 h 376"/>
                <a:gd name="T20" fmla="*/ 29 w 574"/>
                <a:gd name="T21" fmla="*/ 184 h 376"/>
                <a:gd name="T22" fmla="*/ 67 w 574"/>
                <a:gd name="T23" fmla="*/ 213 h 376"/>
                <a:gd name="T24" fmla="*/ 101 w 574"/>
                <a:gd name="T25" fmla="*/ 207 h 376"/>
                <a:gd name="T26" fmla="*/ 109 w 574"/>
                <a:gd name="T27" fmla="*/ 240 h 376"/>
                <a:gd name="T28" fmla="*/ 78 w 574"/>
                <a:gd name="T29" fmla="*/ 274 h 376"/>
                <a:gd name="T30" fmla="*/ 93 w 574"/>
                <a:gd name="T31" fmla="*/ 293 h 376"/>
                <a:gd name="T32" fmla="*/ 34 w 574"/>
                <a:gd name="T33" fmla="*/ 331 h 376"/>
                <a:gd name="T34" fmla="*/ 82 w 574"/>
                <a:gd name="T35" fmla="*/ 376 h 376"/>
                <a:gd name="T36" fmla="*/ 148 w 574"/>
                <a:gd name="T37" fmla="*/ 319 h 376"/>
                <a:gd name="T38" fmla="*/ 204 w 574"/>
                <a:gd name="T39" fmla="*/ 333 h 376"/>
                <a:gd name="T40" fmla="*/ 221 w 574"/>
                <a:gd name="T41" fmla="*/ 308 h 376"/>
                <a:gd name="T42" fmla="*/ 266 w 574"/>
                <a:gd name="T43" fmla="*/ 342 h 376"/>
                <a:gd name="T44" fmla="*/ 268 w 574"/>
                <a:gd name="T45" fmla="*/ 352 h 376"/>
                <a:gd name="T46" fmla="*/ 321 w 574"/>
                <a:gd name="T47" fmla="*/ 354 h 376"/>
                <a:gd name="T48" fmla="*/ 352 w 574"/>
                <a:gd name="T49" fmla="*/ 367 h 376"/>
                <a:gd name="T50" fmla="*/ 422 w 574"/>
                <a:gd name="T51" fmla="*/ 338 h 376"/>
                <a:gd name="T52" fmla="*/ 491 w 574"/>
                <a:gd name="T53" fmla="*/ 338 h 376"/>
                <a:gd name="T54" fmla="*/ 574 w 574"/>
                <a:gd name="T55" fmla="*/ 371 h 376"/>
                <a:gd name="T56" fmla="*/ 574 w 574"/>
                <a:gd name="T57" fmla="*/ 356 h 376"/>
                <a:gd name="T58" fmla="*/ 523 w 574"/>
                <a:gd name="T59" fmla="*/ 234 h 376"/>
                <a:gd name="T60" fmla="*/ 487 w 574"/>
                <a:gd name="T61" fmla="*/ 226 h 376"/>
                <a:gd name="T62" fmla="*/ 485 w 574"/>
                <a:gd name="T63" fmla="*/ 211 h 376"/>
                <a:gd name="T64" fmla="*/ 502 w 574"/>
                <a:gd name="T65" fmla="*/ 175 h 376"/>
                <a:gd name="T66" fmla="*/ 460 w 574"/>
                <a:gd name="T67" fmla="*/ 152 h 376"/>
                <a:gd name="T68" fmla="*/ 424 w 574"/>
                <a:gd name="T69" fmla="*/ 80 h 376"/>
                <a:gd name="T70" fmla="*/ 430 w 574"/>
                <a:gd name="T71" fmla="*/ 48 h 376"/>
                <a:gd name="T72" fmla="*/ 365 w 574"/>
                <a:gd name="T73" fmla="*/ 36 h 376"/>
                <a:gd name="T74" fmla="*/ 338 w 574"/>
                <a:gd name="T75" fmla="*/ 0 h 376"/>
                <a:gd name="T76" fmla="*/ 338 w 574"/>
                <a:gd name="T77" fmla="*/ 0 h 376"/>
                <a:gd name="T78" fmla="*/ 338 w 574"/>
                <a:gd name="T79" fmla="*/ 0 h 37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74"/>
                <a:gd name="T121" fmla="*/ 0 h 376"/>
                <a:gd name="T122" fmla="*/ 574 w 574"/>
                <a:gd name="T123" fmla="*/ 376 h 37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74" h="376">
                  <a:moveTo>
                    <a:pt x="338" y="0"/>
                  </a:moveTo>
                  <a:lnTo>
                    <a:pt x="302" y="124"/>
                  </a:lnTo>
                  <a:lnTo>
                    <a:pt x="253" y="133"/>
                  </a:lnTo>
                  <a:lnTo>
                    <a:pt x="236" y="99"/>
                  </a:lnTo>
                  <a:lnTo>
                    <a:pt x="185" y="95"/>
                  </a:lnTo>
                  <a:lnTo>
                    <a:pt x="215" y="49"/>
                  </a:lnTo>
                  <a:lnTo>
                    <a:pt x="120" y="32"/>
                  </a:lnTo>
                  <a:lnTo>
                    <a:pt x="0" y="91"/>
                  </a:lnTo>
                  <a:lnTo>
                    <a:pt x="72" y="131"/>
                  </a:lnTo>
                  <a:lnTo>
                    <a:pt x="78" y="169"/>
                  </a:lnTo>
                  <a:lnTo>
                    <a:pt x="29" y="184"/>
                  </a:lnTo>
                  <a:lnTo>
                    <a:pt x="67" y="213"/>
                  </a:lnTo>
                  <a:lnTo>
                    <a:pt x="101" y="207"/>
                  </a:lnTo>
                  <a:lnTo>
                    <a:pt x="109" y="240"/>
                  </a:lnTo>
                  <a:lnTo>
                    <a:pt x="78" y="274"/>
                  </a:lnTo>
                  <a:lnTo>
                    <a:pt x="93" y="293"/>
                  </a:lnTo>
                  <a:lnTo>
                    <a:pt x="34" y="331"/>
                  </a:lnTo>
                  <a:lnTo>
                    <a:pt x="82" y="376"/>
                  </a:lnTo>
                  <a:lnTo>
                    <a:pt x="148" y="319"/>
                  </a:lnTo>
                  <a:lnTo>
                    <a:pt x="204" y="333"/>
                  </a:lnTo>
                  <a:lnTo>
                    <a:pt x="221" y="308"/>
                  </a:lnTo>
                  <a:lnTo>
                    <a:pt x="266" y="342"/>
                  </a:lnTo>
                  <a:lnTo>
                    <a:pt x="268" y="352"/>
                  </a:lnTo>
                  <a:lnTo>
                    <a:pt x="321" y="354"/>
                  </a:lnTo>
                  <a:lnTo>
                    <a:pt x="352" y="367"/>
                  </a:lnTo>
                  <a:lnTo>
                    <a:pt x="422" y="338"/>
                  </a:lnTo>
                  <a:lnTo>
                    <a:pt x="491" y="338"/>
                  </a:lnTo>
                  <a:lnTo>
                    <a:pt x="574" y="371"/>
                  </a:lnTo>
                  <a:lnTo>
                    <a:pt x="574" y="356"/>
                  </a:lnTo>
                  <a:lnTo>
                    <a:pt x="523" y="234"/>
                  </a:lnTo>
                  <a:lnTo>
                    <a:pt x="487" y="226"/>
                  </a:lnTo>
                  <a:lnTo>
                    <a:pt x="485" y="211"/>
                  </a:lnTo>
                  <a:lnTo>
                    <a:pt x="502" y="175"/>
                  </a:lnTo>
                  <a:lnTo>
                    <a:pt x="460" y="152"/>
                  </a:lnTo>
                  <a:lnTo>
                    <a:pt x="424" y="80"/>
                  </a:lnTo>
                  <a:lnTo>
                    <a:pt x="430" y="48"/>
                  </a:lnTo>
                  <a:lnTo>
                    <a:pt x="365" y="36"/>
                  </a:lnTo>
                  <a:lnTo>
                    <a:pt x="338" y="0"/>
                  </a:lnTo>
                  <a:close/>
                </a:path>
              </a:pathLst>
            </a:custGeom>
            <a:solidFill>
              <a:schemeClr val="accent1"/>
            </a:solidFill>
            <a:ln w="12700">
              <a:solidFill>
                <a:schemeClr val="bg1"/>
              </a:solidFill>
              <a:round/>
              <a:headEnd/>
              <a:tailEnd/>
            </a:ln>
          </p:spPr>
          <p:txBody>
            <a:bodyPr/>
            <a:lstStyle/>
            <a:p>
              <a:pPr>
                <a:defRPr/>
              </a:pPr>
              <a:endParaRPr lang="en-US" sz="1350">
                <a:solidFill>
                  <a:srgbClr val="00A1DE"/>
                </a:solidFill>
              </a:endParaRPr>
            </a:p>
          </p:txBody>
        </p:sp>
        <p:sp>
          <p:nvSpPr>
            <p:cNvPr id="33" name="Freeform 58">
              <a:extLst>
                <a:ext uri="{FF2B5EF4-FFF2-40B4-BE49-F238E27FC236}">
                  <a16:creationId xmlns:a16="http://schemas.microsoft.com/office/drawing/2014/main" id="{C5C46A8A-0639-470D-B59D-D3AA3E600AD5}"/>
                </a:ext>
              </a:extLst>
            </p:cNvPr>
            <p:cNvSpPr>
              <a:spLocks/>
            </p:cNvSpPr>
            <p:nvPr/>
          </p:nvSpPr>
          <p:spPr bwMode="gray">
            <a:xfrm>
              <a:off x="7610475" y="3143250"/>
              <a:ext cx="952500" cy="635000"/>
            </a:xfrm>
            <a:custGeom>
              <a:avLst/>
              <a:gdLst>
                <a:gd name="T0" fmla="*/ 513 w 1199"/>
                <a:gd name="T1" fmla="*/ 72 h 800"/>
                <a:gd name="T2" fmla="*/ 369 w 1199"/>
                <a:gd name="T3" fmla="*/ 228 h 800"/>
                <a:gd name="T4" fmla="*/ 285 w 1199"/>
                <a:gd name="T5" fmla="*/ 287 h 800"/>
                <a:gd name="T6" fmla="*/ 363 w 1199"/>
                <a:gd name="T7" fmla="*/ 376 h 800"/>
                <a:gd name="T8" fmla="*/ 350 w 1199"/>
                <a:gd name="T9" fmla="*/ 427 h 800"/>
                <a:gd name="T10" fmla="*/ 435 w 1199"/>
                <a:gd name="T11" fmla="*/ 564 h 800"/>
                <a:gd name="T12" fmla="*/ 353 w 1199"/>
                <a:gd name="T13" fmla="*/ 541 h 800"/>
                <a:gd name="T14" fmla="*/ 209 w 1199"/>
                <a:gd name="T15" fmla="*/ 570 h 800"/>
                <a:gd name="T16" fmla="*/ 129 w 1199"/>
                <a:gd name="T17" fmla="*/ 553 h 800"/>
                <a:gd name="T18" fmla="*/ 76 w 1199"/>
                <a:gd name="T19" fmla="*/ 667 h 800"/>
                <a:gd name="T20" fmla="*/ 0 w 1199"/>
                <a:gd name="T21" fmla="*/ 711 h 800"/>
                <a:gd name="T22" fmla="*/ 116 w 1199"/>
                <a:gd name="T23" fmla="*/ 775 h 800"/>
                <a:gd name="T24" fmla="*/ 224 w 1199"/>
                <a:gd name="T25" fmla="*/ 766 h 800"/>
                <a:gd name="T26" fmla="*/ 312 w 1199"/>
                <a:gd name="T27" fmla="*/ 718 h 800"/>
                <a:gd name="T28" fmla="*/ 399 w 1199"/>
                <a:gd name="T29" fmla="*/ 703 h 800"/>
                <a:gd name="T30" fmla="*/ 456 w 1199"/>
                <a:gd name="T31" fmla="*/ 751 h 800"/>
                <a:gd name="T32" fmla="*/ 583 w 1199"/>
                <a:gd name="T33" fmla="*/ 800 h 800"/>
                <a:gd name="T34" fmla="*/ 623 w 1199"/>
                <a:gd name="T35" fmla="*/ 684 h 800"/>
                <a:gd name="T36" fmla="*/ 728 w 1199"/>
                <a:gd name="T37" fmla="*/ 598 h 800"/>
                <a:gd name="T38" fmla="*/ 1083 w 1199"/>
                <a:gd name="T39" fmla="*/ 602 h 800"/>
                <a:gd name="T40" fmla="*/ 1199 w 1199"/>
                <a:gd name="T41" fmla="*/ 547 h 800"/>
                <a:gd name="T42" fmla="*/ 1176 w 1199"/>
                <a:gd name="T43" fmla="*/ 482 h 800"/>
                <a:gd name="T44" fmla="*/ 1148 w 1199"/>
                <a:gd name="T45" fmla="*/ 403 h 800"/>
                <a:gd name="T46" fmla="*/ 1098 w 1199"/>
                <a:gd name="T47" fmla="*/ 344 h 800"/>
                <a:gd name="T48" fmla="*/ 958 w 1199"/>
                <a:gd name="T49" fmla="*/ 311 h 800"/>
                <a:gd name="T50" fmla="*/ 929 w 1199"/>
                <a:gd name="T51" fmla="*/ 273 h 800"/>
                <a:gd name="T52" fmla="*/ 806 w 1199"/>
                <a:gd name="T53" fmla="*/ 273 h 800"/>
                <a:gd name="T54" fmla="*/ 745 w 1199"/>
                <a:gd name="T55" fmla="*/ 247 h 800"/>
                <a:gd name="T56" fmla="*/ 699 w 1199"/>
                <a:gd name="T57" fmla="*/ 156 h 800"/>
                <a:gd name="T58" fmla="*/ 722 w 1199"/>
                <a:gd name="T59" fmla="*/ 64 h 800"/>
                <a:gd name="T60" fmla="*/ 601 w 1199"/>
                <a:gd name="T61" fmla="*/ 21 h 800"/>
                <a:gd name="T62" fmla="*/ 553 w 1199"/>
                <a:gd name="T63" fmla="*/ 0 h 80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199"/>
                <a:gd name="T97" fmla="*/ 0 h 800"/>
                <a:gd name="T98" fmla="*/ 1199 w 1199"/>
                <a:gd name="T99" fmla="*/ 800 h 80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199" h="800">
                  <a:moveTo>
                    <a:pt x="553" y="0"/>
                  </a:moveTo>
                  <a:lnTo>
                    <a:pt x="513" y="72"/>
                  </a:lnTo>
                  <a:lnTo>
                    <a:pt x="369" y="171"/>
                  </a:lnTo>
                  <a:lnTo>
                    <a:pt x="369" y="228"/>
                  </a:lnTo>
                  <a:lnTo>
                    <a:pt x="287" y="252"/>
                  </a:lnTo>
                  <a:lnTo>
                    <a:pt x="285" y="287"/>
                  </a:lnTo>
                  <a:lnTo>
                    <a:pt x="321" y="355"/>
                  </a:lnTo>
                  <a:lnTo>
                    <a:pt x="363" y="376"/>
                  </a:lnTo>
                  <a:lnTo>
                    <a:pt x="346" y="414"/>
                  </a:lnTo>
                  <a:lnTo>
                    <a:pt x="350" y="427"/>
                  </a:lnTo>
                  <a:lnTo>
                    <a:pt x="382" y="437"/>
                  </a:lnTo>
                  <a:lnTo>
                    <a:pt x="435" y="564"/>
                  </a:lnTo>
                  <a:lnTo>
                    <a:pt x="435" y="574"/>
                  </a:lnTo>
                  <a:lnTo>
                    <a:pt x="353" y="541"/>
                  </a:lnTo>
                  <a:lnTo>
                    <a:pt x="285" y="541"/>
                  </a:lnTo>
                  <a:lnTo>
                    <a:pt x="209" y="570"/>
                  </a:lnTo>
                  <a:lnTo>
                    <a:pt x="182" y="557"/>
                  </a:lnTo>
                  <a:lnTo>
                    <a:pt x="129" y="553"/>
                  </a:lnTo>
                  <a:lnTo>
                    <a:pt x="129" y="593"/>
                  </a:lnTo>
                  <a:lnTo>
                    <a:pt x="76" y="667"/>
                  </a:lnTo>
                  <a:lnTo>
                    <a:pt x="6" y="674"/>
                  </a:lnTo>
                  <a:lnTo>
                    <a:pt x="0" y="711"/>
                  </a:lnTo>
                  <a:lnTo>
                    <a:pt x="80" y="718"/>
                  </a:lnTo>
                  <a:lnTo>
                    <a:pt x="116" y="775"/>
                  </a:lnTo>
                  <a:lnTo>
                    <a:pt x="160" y="796"/>
                  </a:lnTo>
                  <a:lnTo>
                    <a:pt x="224" y="766"/>
                  </a:lnTo>
                  <a:lnTo>
                    <a:pt x="228" y="724"/>
                  </a:lnTo>
                  <a:lnTo>
                    <a:pt x="312" y="718"/>
                  </a:lnTo>
                  <a:lnTo>
                    <a:pt x="376" y="686"/>
                  </a:lnTo>
                  <a:lnTo>
                    <a:pt x="399" y="703"/>
                  </a:lnTo>
                  <a:lnTo>
                    <a:pt x="458" y="705"/>
                  </a:lnTo>
                  <a:lnTo>
                    <a:pt x="456" y="751"/>
                  </a:lnTo>
                  <a:lnTo>
                    <a:pt x="561" y="766"/>
                  </a:lnTo>
                  <a:lnTo>
                    <a:pt x="583" y="800"/>
                  </a:lnTo>
                  <a:lnTo>
                    <a:pt x="637" y="770"/>
                  </a:lnTo>
                  <a:lnTo>
                    <a:pt x="623" y="684"/>
                  </a:lnTo>
                  <a:lnTo>
                    <a:pt x="779" y="684"/>
                  </a:lnTo>
                  <a:lnTo>
                    <a:pt x="728" y="598"/>
                  </a:lnTo>
                  <a:lnTo>
                    <a:pt x="924" y="699"/>
                  </a:lnTo>
                  <a:lnTo>
                    <a:pt x="1083" y="602"/>
                  </a:lnTo>
                  <a:lnTo>
                    <a:pt x="1114" y="604"/>
                  </a:lnTo>
                  <a:lnTo>
                    <a:pt x="1199" y="547"/>
                  </a:lnTo>
                  <a:lnTo>
                    <a:pt x="1178" y="521"/>
                  </a:lnTo>
                  <a:lnTo>
                    <a:pt x="1176" y="482"/>
                  </a:lnTo>
                  <a:lnTo>
                    <a:pt x="1074" y="452"/>
                  </a:lnTo>
                  <a:lnTo>
                    <a:pt x="1148" y="403"/>
                  </a:lnTo>
                  <a:lnTo>
                    <a:pt x="1119" y="395"/>
                  </a:lnTo>
                  <a:lnTo>
                    <a:pt x="1098" y="344"/>
                  </a:lnTo>
                  <a:lnTo>
                    <a:pt x="1002" y="346"/>
                  </a:lnTo>
                  <a:lnTo>
                    <a:pt x="958" y="311"/>
                  </a:lnTo>
                  <a:lnTo>
                    <a:pt x="973" y="273"/>
                  </a:lnTo>
                  <a:lnTo>
                    <a:pt x="929" y="273"/>
                  </a:lnTo>
                  <a:lnTo>
                    <a:pt x="882" y="291"/>
                  </a:lnTo>
                  <a:lnTo>
                    <a:pt x="806" y="273"/>
                  </a:lnTo>
                  <a:lnTo>
                    <a:pt x="745" y="283"/>
                  </a:lnTo>
                  <a:lnTo>
                    <a:pt x="745" y="247"/>
                  </a:lnTo>
                  <a:lnTo>
                    <a:pt x="699" y="199"/>
                  </a:lnTo>
                  <a:lnTo>
                    <a:pt x="699" y="156"/>
                  </a:lnTo>
                  <a:lnTo>
                    <a:pt x="735" y="102"/>
                  </a:lnTo>
                  <a:lnTo>
                    <a:pt x="722" y="64"/>
                  </a:lnTo>
                  <a:lnTo>
                    <a:pt x="639" y="9"/>
                  </a:lnTo>
                  <a:lnTo>
                    <a:pt x="601" y="21"/>
                  </a:lnTo>
                  <a:lnTo>
                    <a:pt x="553" y="0"/>
                  </a:lnTo>
                  <a:close/>
                </a:path>
              </a:pathLst>
            </a:custGeom>
            <a:grpFill/>
            <a:ln w="12700">
              <a:solidFill>
                <a:schemeClr val="bg1"/>
              </a:solidFill>
              <a:round/>
              <a:headEnd/>
              <a:tailEnd/>
            </a:ln>
          </p:spPr>
          <p:txBody>
            <a:bodyPr/>
            <a:lstStyle/>
            <a:p>
              <a:pPr>
                <a:defRPr/>
              </a:pPr>
              <a:endParaRPr lang="en-US" sz="1350"/>
            </a:p>
          </p:txBody>
        </p:sp>
        <p:sp>
          <p:nvSpPr>
            <p:cNvPr id="34" name="Freeform 59">
              <a:extLst>
                <a:ext uri="{FF2B5EF4-FFF2-40B4-BE49-F238E27FC236}">
                  <a16:creationId xmlns:a16="http://schemas.microsoft.com/office/drawing/2014/main" id="{E8F24AC3-915D-4952-B43B-3D467FEB6AAA}"/>
                </a:ext>
              </a:extLst>
            </p:cNvPr>
            <p:cNvSpPr>
              <a:spLocks/>
            </p:cNvSpPr>
            <p:nvPr/>
          </p:nvSpPr>
          <p:spPr bwMode="gray">
            <a:xfrm>
              <a:off x="7208838" y="3687763"/>
              <a:ext cx="1014413" cy="506412"/>
            </a:xfrm>
            <a:custGeom>
              <a:avLst/>
              <a:gdLst>
                <a:gd name="T0" fmla="*/ 1141 w 1278"/>
                <a:gd name="T1" fmla="*/ 85 h 639"/>
                <a:gd name="T2" fmla="*/ 1089 w 1278"/>
                <a:gd name="T3" fmla="*/ 112 h 639"/>
                <a:gd name="T4" fmla="*/ 1072 w 1278"/>
                <a:gd name="T5" fmla="*/ 78 h 639"/>
                <a:gd name="T6" fmla="*/ 962 w 1278"/>
                <a:gd name="T7" fmla="*/ 65 h 639"/>
                <a:gd name="T8" fmla="*/ 964 w 1278"/>
                <a:gd name="T9" fmla="*/ 19 h 639"/>
                <a:gd name="T10" fmla="*/ 907 w 1278"/>
                <a:gd name="T11" fmla="*/ 15 h 639"/>
                <a:gd name="T12" fmla="*/ 880 w 1278"/>
                <a:gd name="T13" fmla="*/ 0 h 639"/>
                <a:gd name="T14" fmla="*/ 812 w 1278"/>
                <a:gd name="T15" fmla="*/ 28 h 639"/>
                <a:gd name="T16" fmla="*/ 734 w 1278"/>
                <a:gd name="T17" fmla="*/ 36 h 639"/>
                <a:gd name="T18" fmla="*/ 728 w 1278"/>
                <a:gd name="T19" fmla="*/ 78 h 639"/>
                <a:gd name="T20" fmla="*/ 666 w 1278"/>
                <a:gd name="T21" fmla="*/ 112 h 639"/>
                <a:gd name="T22" fmla="*/ 622 w 1278"/>
                <a:gd name="T23" fmla="*/ 89 h 639"/>
                <a:gd name="T24" fmla="*/ 586 w 1278"/>
                <a:gd name="T25" fmla="*/ 28 h 639"/>
                <a:gd name="T26" fmla="*/ 510 w 1278"/>
                <a:gd name="T27" fmla="*/ 26 h 639"/>
                <a:gd name="T28" fmla="*/ 460 w 1278"/>
                <a:gd name="T29" fmla="*/ 26 h 639"/>
                <a:gd name="T30" fmla="*/ 325 w 1278"/>
                <a:gd name="T31" fmla="*/ 112 h 639"/>
                <a:gd name="T32" fmla="*/ 255 w 1278"/>
                <a:gd name="T33" fmla="*/ 112 h 639"/>
                <a:gd name="T34" fmla="*/ 192 w 1278"/>
                <a:gd name="T35" fmla="*/ 139 h 639"/>
                <a:gd name="T36" fmla="*/ 122 w 1278"/>
                <a:gd name="T37" fmla="*/ 127 h 639"/>
                <a:gd name="T38" fmla="*/ 86 w 1278"/>
                <a:gd name="T39" fmla="*/ 180 h 639"/>
                <a:gd name="T40" fmla="*/ 0 w 1278"/>
                <a:gd name="T41" fmla="*/ 180 h 639"/>
                <a:gd name="T42" fmla="*/ 31 w 1278"/>
                <a:gd name="T43" fmla="*/ 285 h 639"/>
                <a:gd name="T44" fmla="*/ 0 w 1278"/>
                <a:gd name="T45" fmla="*/ 331 h 639"/>
                <a:gd name="T46" fmla="*/ 33 w 1278"/>
                <a:gd name="T47" fmla="*/ 388 h 639"/>
                <a:gd name="T48" fmla="*/ 33 w 1278"/>
                <a:gd name="T49" fmla="*/ 479 h 639"/>
                <a:gd name="T50" fmla="*/ 128 w 1278"/>
                <a:gd name="T51" fmla="*/ 494 h 639"/>
                <a:gd name="T52" fmla="*/ 93 w 1278"/>
                <a:gd name="T53" fmla="*/ 412 h 639"/>
                <a:gd name="T54" fmla="*/ 200 w 1278"/>
                <a:gd name="T55" fmla="*/ 355 h 639"/>
                <a:gd name="T56" fmla="*/ 189 w 1278"/>
                <a:gd name="T57" fmla="*/ 450 h 639"/>
                <a:gd name="T58" fmla="*/ 289 w 1278"/>
                <a:gd name="T59" fmla="*/ 420 h 639"/>
                <a:gd name="T60" fmla="*/ 339 w 1278"/>
                <a:gd name="T61" fmla="*/ 346 h 639"/>
                <a:gd name="T62" fmla="*/ 394 w 1278"/>
                <a:gd name="T63" fmla="*/ 378 h 639"/>
                <a:gd name="T64" fmla="*/ 371 w 1278"/>
                <a:gd name="T65" fmla="*/ 447 h 639"/>
                <a:gd name="T66" fmla="*/ 455 w 1278"/>
                <a:gd name="T67" fmla="*/ 450 h 639"/>
                <a:gd name="T68" fmla="*/ 552 w 1278"/>
                <a:gd name="T69" fmla="*/ 355 h 639"/>
                <a:gd name="T70" fmla="*/ 595 w 1278"/>
                <a:gd name="T71" fmla="*/ 536 h 639"/>
                <a:gd name="T72" fmla="*/ 675 w 1278"/>
                <a:gd name="T73" fmla="*/ 515 h 639"/>
                <a:gd name="T74" fmla="*/ 671 w 1278"/>
                <a:gd name="T75" fmla="*/ 580 h 639"/>
                <a:gd name="T76" fmla="*/ 802 w 1278"/>
                <a:gd name="T77" fmla="*/ 589 h 639"/>
                <a:gd name="T78" fmla="*/ 844 w 1278"/>
                <a:gd name="T79" fmla="*/ 563 h 639"/>
                <a:gd name="T80" fmla="*/ 896 w 1278"/>
                <a:gd name="T81" fmla="*/ 639 h 639"/>
                <a:gd name="T82" fmla="*/ 951 w 1278"/>
                <a:gd name="T83" fmla="*/ 606 h 639"/>
                <a:gd name="T84" fmla="*/ 947 w 1278"/>
                <a:gd name="T85" fmla="*/ 563 h 639"/>
                <a:gd name="T86" fmla="*/ 1122 w 1278"/>
                <a:gd name="T87" fmla="*/ 477 h 639"/>
                <a:gd name="T88" fmla="*/ 1051 w 1278"/>
                <a:gd name="T89" fmla="*/ 255 h 639"/>
                <a:gd name="T90" fmla="*/ 1120 w 1278"/>
                <a:gd name="T91" fmla="*/ 293 h 639"/>
                <a:gd name="T92" fmla="*/ 1278 w 1278"/>
                <a:gd name="T93" fmla="*/ 270 h 639"/>
                <a:gd name="T94" fmla="*/ 1181 w 1278"/>
                <a:gd name="T95" fmla="*/ 97 h 639"/>
                <a:gd name="T96" fmla="*/ 1143 w 1278"/>
                <a:gd name="T97" fmla="*/ 85 h 639"/>
                <a:gd name="T98" fmla="*/ 1141 w 1278"/>
                <a:gd name="T99" fmla="*/ 85 h 639"/>
                <a:gd name="T100" fmla="*/ 1141 w 1278"/>
                <a:gd name="T101" fmla="*/ 85 h 639"/>
                <a:gd name="T102" fmla="*/ 1141 w 1278"/>
                <a:gd name="T103" fmla="*/ 85 h 63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278"/>
                <a:gd name="T157" fmla="*/ 0 h 639"/>
                <a:gd name="T158" fmla="*/ 1278 w 1278"/>
                <a:gd name="T159" fmla="*/ 639 h 63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278" h="639">
                  <a:moveTo>
                    <a:pt x="1141" y="85"/>
                  </a:moveTo>
                  <a:lnTo>
                    <a:pt x="1089" y="112"/>
                  </a:lnTo>
                  <a:lnTo>
                    <a:pt x="1072" y="78"/>
                  </a:lnTo>
                  <a:lnTo>
                    <a:pt x="962" y="65"/>
                  </a:lnTo>
                  <a:lnTo>
                    <a:pt x="964" y="19"/>
                  </a:lnTo>
                  <a:lnTo>
                    <a:pt x="907" y="15"/>
                  </a:lnTo>
                  <a:lnTo>
                    <a:pt x="880" y="0"/>
                  </a:lnTo>
                  <a:lnTo>
                    <a:pt x="812" y="28"/>
                  </a:lnTo>
                  <a:lnTo>
                    <a:pt x="734" y="36"/>
                  </a:lnTo>
                  <a:lnTo>
                    <a:pt x="728" y="78"/>
                  </a:lnTo>
                  <a:lnTo>
                    <a:pt x="666" y="112"/>
                  </a:lnTo>
                  <a:lnTo>
                    <a:pt x="622" y="89"/>
                  </a:lnTo>
                  <a:lnTo>
                    <a:pt x="586" y="28"/>
                  </a:lnTo>
                  <a:lnTo>
                    <a:pt x="510" y="26"/>
                  </a:lnTo>
                  <a:lnTo>
                    <a:pt x="460" y="26"/>
                  </a:lnTo>
                  <a:lnTo>
                    <a:pt x="325" y="112"/>
                  </a:lnTo>
                  <a:lnTo>
                    <a:pt x="255" y="112"/>
                  </a:lnTo>
                  <a:lnTo>
                    <a:pt x="192" y="139"/>
                  </a:lnTo>
                  <a:lnTo>
                    <a:pt x="122" y="127"/>
                  </a:lnTo>
                  <a:lnTo>
                    <a:pt x="86" y="180"/>
                  </a:lnTo>
                  <a:lnTo>
                    <a:pt x="0" y="180"/>
                  </a:lnTo>
                  <a:lnTo>
                    <a:pt x="31" y="285"/>
                  </a:lnTo>
                  <a:lnTo>
                    <a:pt x="0" y="331"/>
                  </a:lnTo>
                  <a:lnTo>
                    <a:pt x="33" y="388"/>
                  </a:lnTo>
                  <a:lnTo>
                    <a:pt x="33" y="479"/>
                  </a:lnTo>
                  <a:lnTo>
                    <a:pt x="128" y="494"/>
                  </a:lnTo>
                  <a:lnTo>
                    <a:pt x="93" y="412"/>
                  </a:lnTo>
                  <a:lnTo>
                    <a:pt x="200" y="355"/>
                  </a:lnTo>
                  <a:lnTo>
                    <a:pt x="189" y="450"/>
                  </a:lnTo>
                  <a:lnTo>
                    <a:pt x="289" y="420"/>
                  </a:lnTo>
                  <a:lnTo>
                    <a:pt x="339" y="346"/>
                  </a:lnTo>
                  <a:lnTo>
                    <a:pt x="394" y="378"/>
                  </a:lnTo>
                  <a:lnTo>
                    <a:pt x="371" y="447"/>
                  </a:lnTo>
                  <a:lnTo>
                    <a:pt x="455" y="450"/>
                  </a:lnTo>
                  <a:lnTo>
                    <a:pt x="552" y="355"/>
                  </a:lnTo>
                  <a:lnTo>
                    <a:pt x="595" y="536"/>
                  </a:lnTo>
                  <a:lnTo>
                    <a:pt x="675" y="515"/>
                  </a:lnTo>
                  <a:lnTo>
                    <a:pt x="671" y="580"/>
                  </a:lnTo>
                  <a:lnTo>
                    <a:pt x="802" y="589"/>
                  </a:lnTo>
                  <a:lnTo>
                    <a:pt x="844" y="563"/>
                  </a:lnTo>
                  <a:lnTo>
                    <a:pt x="896" y="639"/>
                  </a:lnTo>
                  <a:lnTo>
                    <a:pt x="951" y="606"/>
                  </a:lnTo>
                  <a:lnTo>
                    <a:pt x="947" y="563"/>
                  </a:lnTo>
                  <a:lnTo>
                    <a:pt x="1122" y="477"/>
                  </a:lnTo>
                  <a:lnTo>
                    <a:pt x="1051" y="255"/>
                  </a:lnTo>
                  <a:lnTo>
                    <a:pt x="1120" y="293"/>
                  </a:lnTo>
                  <a:lnTo>
                    <a:pt x="1278" y="270"/>
                  </a:lnTo>
                  <a:lnTo>
                    <a:pt x="1181" y="97"/>
                  </a:lnTo>
                  <a:lnTo>
                    <a:pt x="1143" y="85"/>
                  </a:lnTo>
                  <a:lnTo>
                    <a:pt x="1141" y="85"/>
                  </a:lnTo>
                  <a:close/>
                </a:path>
              </a:pathLst>
            </a:custGeom>
            <a:grpFill/>
            <a:ln w="12700">
              <a:solidFill>
                <a:schemeClr val="bg1"/>
              </a:solidFill>
              <a:round/>
              <a:headEnd/>
              <a:tailEnd/>
            </a:ln>
          </p:spPr>
          <p:txBody>
            <a:bodyPr/>
            <a:lstStyle/>
            <a:p>
              <a:pPr>
                <a:defRPr/>
              </a:pPr>
              <a:endParaRPr lang="en-US" sz="1350"/>
            </a:p>
          </p:txBody>
        </p:sp>
        <p:sp>
          <p:nvSpPr>
            <p:cNvPr id="35" name="Freeform 60">
              <a:extLst>
                <a:ext uri="{FF2B5EF4-FFF2-40B4-BE49-F238E27FC236}">
                  <a16:creationId xmlns:a16="http://schemas.microsoft.com/office/drawing/2014/main" id="{CCBB1624-FEC9-4468-9CAA-B28E55B24ACC}"/>
                </a:ext>
              </a:extLst>
            </p:cNvPr>
            <p:cNvSpPr>
              <a:spLocks/>
            </p:cNvSpPr>
            <p:nvPr/>
          </p:nvSpPr>
          <p:spPr bwMode="gray">
            <a:xfrm>
              <a:off x="7916863" y="3889375"/>
              <a:ext cx="334963" cy="693737"/>
            </a:xfrm>
            <a:custGeom>
              <a:avLst/>
              <a:gdLst>
                <a:gd name="T0" fmla="*/ 386 w 422"/>
                <a:gd name="T1" fmla="*/ 15 h 872"/>
                <a:gd name="T2" fmla="*/ 228 w 422"/>
                <a:gd name="T3" fmla="*/ 38 h 872"/>
                <a:gd name="T4" fmla="*/ 159 w 422"/>
                <a:gd name="T5" fmla="*/ 0 h 872"/>
                <a:gd name="T6" fmla="*/ 230 w 422"/>
                <a:gd name="T7" fmla="*/ 222 h 872"/>
                <a:gd name="T8" fmla="*/ 55 w 422"/>
                <a:gd name="T9" fmla="*/ 308 h 872"/>
                <a:gd name="T10" fmla="*/ 59 w 422"/>
                <a:gd name="T11" fmla="*/ 351 h 872"/>
                <a:gd name="T12" fmla="*/ 0 w 422"/>
                <a:gd name="T13" fmla="*/ 384 h 872"/>
                <a:gd name="T14" fmla="*/ 173 w 422"/>
                <a:gd name="T15" fmla="*/ 433 h 872"/>
                <a:gd name="T16" fmla="*/ 85 w 422"/>
                <a:gd name="T17" fmla="*/ 627 h 872"/>
                <a:gd name="T18" fmla="*/ 121 w 422"/>
                <a:gd name="T19" fmla="*/ 653 h 872"/>
                <a:gd name="T20" fmla="*/ 23 w 422"/>
                <a:gd name="T21" fmla="*/ 760 h 872"/>
                <a:gd name="T22" fmla="*/ 59 w 422"/>
                <a:gd name="T23" fmla="*/ 872 h 872"/>
                <a:gd name="T24" fmla="*/ 119 w 422"/>
                <a:gd name="T25" fmla="*/ 830 h 872"/>
                <a:gd name="T26" fmla="*/ 291 w 422"/>
                <a:gd name="T27" fmla="*/ 868 h 872"/>
                <a:gd name="T28" fmla="*/ 330 w 422"/>
                <a:gd name="T29" fmla="*/ 739 h 872"/>
                <a:gd name="T30" fmla="*/ 218 w 422"/>
                <a:gd name="T31" fmla="*/ 583 h 872"/>
                <a:gd name="T32" fmla="*/ 268 w 422"/>
                <a:gd name="T33" fmla="*/ 574 h 872"/>
                <a:gd name="T34" fmla="*/ 306 w 422"/>
                <a:gd name="T35" fmla="*/ 482 h 872"/>
                <a:gd name="T36" fmla="*/ 397 w 422"/>
                <a:gd name="T37" fmla="*/ 448 h 872"/>
                <a:gd name="T38" fmla="*/ 372 w 422"/>
                <a:gd name="T39" fmla="*/ 420 h 872"/>
                <a:gd name="T40" fmla="*/ 319 w 422"/>
                <a:gd name="T41" fmla="*/ 420 h 872"/>
                <a:gd name="T42" fmla="*/ 306 w 422"/>
                <a:gd name="T43" fmla="*/ 330 h 872"/>
                <a:gd name="T44" fmla="*/ 422 w 422"/>
                <a:gd name="T45" fmla="*/ 218 h 872"/>
                <a:gd name="T46" fmla="*/ 386 w 422"/>
                <a:gd name="T47" fmla="*/ 15 h 872"/>
                <a:gd name="T48" fmla="*/ 386 w 422"/>
                <a:gd name="T49" fmla="*/ 15 h 872"/>
                <a:gd name="T50" fmla="*/ 386 w 422"/>
                <a:gd name="T51" fmla="*/ 15 h 87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22"/>
                <a:gd name="T79" fmla="*/ 0 h 872"/>
                <a:gd name="T80" fmla="*/ 422 w 422"/>
                <a:gd name="T81" fmla="*/ 872 h 87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22" h="872">
                  <a:moveTo>
                    <a:pt x="386" y="15"/>
                  </a:moveTo>
                  <a:lnTo>
                    <a:pt x="228" y="38"/>
                  </a:lnTo>
                  <a:lnTo>
                    <a:pt x="159" y="0"/>
                  </a:lnTo>
                  <a:lnTo>
                    <a:pt x="230" y="222"/>
                  </a:lnTo>
                  <a:lnTo>
                    <a:pt x="55" y="308"/>
                  </a:lnTo>
                  <a:lnTo>
                    <a:pt x="59" y="351"/>
                  </a:lnTo>
                  <a:lnTo>
                    <a:pt x="0" y="384"/>
                  </a:lnTo>
                  <a:lnTo>
                    <a:pt x="173" y="433"/>
                  </a:lnTo>
                  <a:lnTo>
                    <a:pt x="85" y="627"/>
                  </a:lnTo>
                  <a:lnTo>
                    <a:pt x="121" y="653"/>
                  </a:lnTo>
                  <a:lnTo>
                    <a:pt x="23" y="760"/>
                  </a:lnTo>
                  <a:lnTo>
                    <a:pt x="59" y="872"/>
                  </a:lnTo>
                  <a:lnTo>
                    <a:pt x="119" y="830"/>
                  </a:lnTo>
                  <a:lnTo>
                    <a:pt x="291" y="868"/>
                  </a:lnTo>
                  <a:lnTo>
                    <a:pt x="330" y="739"/>
                  </a:lnTo>
                  <a:lnTo>
                    <a:pt x="218" y="583"/>
                  </a:lnTo>
                  <a:lnTo>
                    <a:pt x="268" y="574"/>
                  </a:lnTo>
                  <a:lnTo>
                    <a:pt x="306" y="482"/>
                  </a:lnTo>
                  <a:lnTo>
                    <a:pt x="397" y="448"/>
                  </a:lnTo>
                  <a:lnTo>
                    <a:pt x="372" y="420"/>
                  </a:lnTo>
                  <a:lnTo>
                    <a:pt x="319" y="420"/>
                  </a:lnTo>
                  <a:lnTo>
                    <a:pt x="306" y="330"/>
                  </a:lnTo>
                  <a:lnTo>
                    <a:pt x="422" y="218"/>
                  </a:lnTo>
                  <a:lnTo>
                    <a:pt x="386" y="15"/>
                  </a:lnTo>
                  <a:close/>
                </a:path>
              </a:pathLst>
            </a:custGeom>
            <a:grpFill/>
            <a:ln w="12700">
              <a:solidFill>
                <a:schemeClr val="bg1"/>
              </a:solidFill>
              <a:round/>
              <a:headEnd/>
              <a:tailEnd/>
            </a:ln>
          </p:spPr>
          <p:txBody>
            <a:bodyPr/>
            <a:lstStyle/>
            <a:p>
              <a:pPr>
                <a:defRPr/>
              </a:pPr>
              <a:endParaRPr lang="en-US" sz="1350"/>
            </a:p>
          </p:txBody>
        </p:sp>
        <p:sp>
          <p:nvSpPr>
            <p:cNvPr id="36" name="Freeform 61">
              <a:extLst>
                <a:ext uri="{FF2B5EF4-FFF2-40B4-BE49-F238E27FC236}">
                  <a16:creationId xmlns:a16="http://schemas.microsoft.com/office/drawing/2014/main" id="{31CDD879-FF8A-479F-A4AD-9F482E8CB261}"/>
                </a:ext>
              </a:extLst>
            </p:cNvPr>
            <p:cNvSpPr>
              <a:spLocks/>
            </p:cNvSpPr>
            <p:nvPr/>
          </p:nvSpPr>
          <p:spPr bwMode="gray">
            <a:xfrm>
              <a:off x="7097713" y="3865563"/>
              <a:ext cx="134938" cy="84137"/>
            </a:xfrm>
            <a:custGeom>
              <a:avLst/>
              <a:gdLst>
                <a:gd name="T0" fmla="*/ 171 w 171"/>
                <a:gd name="T1" fmla="*/ 61 h 107"/>
                <a:gd name="T2" fmla="*/ 30 w 171"/>
                <a:gd name="T3" fmla="*/ 0 h 107"/>
                <a:gd name="T4" fmla="*/ 0 w 171"/>
                <a:gd name="T5" fmla="*/ 15 h 107"/>
                <a:gd name="T6" fmla="*/ 38 w 171"/>
                <a:gd name="T7" fmla="*/ 72 h 107"/>
                <a:gd name="T8" fmla="*/ 144 w 171"/>
                <a:gd name="T9" fmla="*/ 107 h 107"/>
                <a:gd name="T10" fmla="*/ 171 w 171"/>
                <a:gd name="T11" fmla="*/ 61 h 107"/>
                <a:gd name="T12" fmla="*/ 171 w 171"/>
                <a:gd name="T13" fmla="*/ 61 h 107"/>
                <a:gd name="T14" fmla="*/ 171 w 171"/>
                <a:gd name="T15" fmla="*/ 61 h 107"/>
                <a:gd name="T16" fmla="*/ 0 60000 65536"/>
                <a:gd name="T17" fmla="*/ 0 60000 65536"/>
                <a:gd name="T18" fmla="*/ 0 60000 65536"/>
                <a:gd name="T19" fmla="*/ 0 60000 65536"/>
                <a:gd name="T20" fmla="*/ 0 60000 65536"/>
                <a:gd name="T21" fmla="*/ 0 60000 65536"/>
                <a:gd name="T22" fmla="*/ 0 60000 65536"/>
                <a:gd name="T23" fmla="*/ 0 60000 65536"/>
                <a:gd name="T24" fmla="*/ 0 w 171"/>
                <a:gd name="T25" fmla="*/ 0 h 107"/>
                <a:gd name="T26" fmla="*/ 171 w 171"/>
                <a:gd name="T27" fmla="*/ 107 h 10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1" h="107">
                  <a:moveTo>
                    <a:pt x="171" y="61"/>
                  </a:moveTo>
                  <a:lnTo>
                    <a:pt x="30" y="0"/>
                  </a:lnTo>
                  <a:lnTo>
                    <a:pt x="0" y="15"/>
                  </a:lnTo>
                  <a:lnTo>
                    <a:pt x="38" y="72"/>
                  </a:lnTo>
                  <a:lnTo>
                    <a:pt x="144" y="107"/>
                  </a:lnTo>
                  <a:lnTo>
                    <a:pt x="171" y="61"/>
                  </a:lnTo>
                  <a:close/>
                </a:path>
              </a:pathLst>
            </a:custGeom>
            <a:grpFill/>
            <a:ln w="12700">
              <a:solidFill>
                <a:schemeClr val="bg1"/>
              </a:solidFill>
              <a:round/>
              <a:headEnd/>
              <a:tailEnd/>
            </a:ln>
          </p:spPr>
          <p:txBody>
            <a:bodyPr/>
            <a:lstStyle/>
            <a:p>
              <a:pPr>
                <a:defRPr/>
              </a:pPr>
              <a:endParaRPr lang="en-US" sz="1350"/>
            </a:p>
          </p:txBody>
        </p:sp>
        <p:sp>
          <p:nvSpPr>
            <p:cNvPr id="37" name="Freeform 62">
              <a:extLst>
                <a:ext uri="{FF2B5EF4-FFF2-40B4-BE49-F238E27FC236}">
                  <a16:creationId xmlns:a16="http://schemas.microsoft.com/office/drawing/2014/main" id="{7896555C-A8D7-47F2-80A9-F3780ED72DCF}"/>
                </a:ext>
              </a:extLst>
            </p:cNvPr>
            <p:cNvSpPr>
              <a:spLocks/>
            </p:cNvSpPr>
            <p:nvPr/>
          </p:nvSpPr>
          <p:spPr bwMode="gray">
            <a:xfrm>
              <a:off x="6810375" y="3865563"/>
              <a:ext cx="423863" cy="203200"/>
            </a:xfrm>
            <a:custGeom>
              <a:avLst/>
              <a:gdLst>
                <a:gd name="T0" fmla="*/ 534 w 534"/>
                <a:gd name="T1" fmla="*/ 164 h 257"/>
                <a:gd name="T2" fmla="*/ 448 w 534"/>
                <a:gd name="T3" fmla="*/ 169 h 257"/>
                <a:gd name="T4" fmla="*/ 306 w 534"/>
                <a:gd name="T5" fmla="*/ 65 h 257"/>
                <a:gd name="T6" fmla="*/ 205 w 534"/>
                <a:gd name="T7" fmla="*/ 65 h 257"/>
                <a:gd name="T8" fmla="*/ 174 w 534"/>
                <a:gd name="T9" fmla="*/ 107 h 257"/>
                <a:gd name="T10" fmla="*/ 114 w 534"/>
                <a:gd name="T11" fmla="*/ 46 h 257"/>
                <a:gd name="T12" fmla="*/ 119 w 534"/>
                <a:gd name="T13" fmla="*/ 0 h 257"/>
                <a:gd name="T14" fmla="*/ 43 w 534"/>
                <a:gd name="T15" fmla="*/ 0 h 257"/>
                <a:gd name="T16" fmla="*/ 0 w 534"/>
                <a:gd name="T17" fmla="*/ 65 h 257"/>
                <a:gd name="T18" fmla="*/ 51 w 534"/>
                <a:gd name="T19" fmla="*/ 147 h 257"/>
                <a:gd name="T20" fmla="*/ 161 w 534"/>
                <a:gd name="T21" fmla="*/ 137 h 257"/>
                <a:gd name="T22" fmla="*/ 148 w 534"/>
                <a:gd name="T23" fmla="*/ 181 h 257"/>
                <a:gd name="T24" fmla="*/ 247 w 534"/>
                <a:gd name="T25" fmla="*/ 226 h 257"/>
                <a:gd name="T26" fmla="*/ 334 w 534"/>
                <a:gd name="T27" fmla="*/ 164 h 257"/>
                <a:gd name="T28" fmla="*/ 408 w 534"/>
                <a:gd name="T29" fmla="*/ 221 h 257"/>
                <a:gd name="T30" fmla="*/ 507 w 534"/>
                <a:gd name="T31" fmla="*/ 215 h 257"/>
                <a:gd name="T32" fmla="*/ 505 w 534"/>
                <a:gd name="T33" fmla="*/ 249 h 257"/>
                <a:gd name="T34" fmla="*/ 534 w 534"/>
                <a:gd name="T35" fmla="*/ 257 h 257"/>
                <a:gd name="T36" fmla="*/ 534 w 534"/>
                <a:gd name="T37" fmla="*/ 164 h 257"/>
                <a:gd name="T38" fmla="*/ 534 w 534"/>
                <a:gd name="T39" fmla="*/ 164 h 257"/>
                <a:gd name="T40" fmla="*/ 534 w 534"/>
                <a:gd name="T41" fmla="*/ 164 h 25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34"/>
                <a:gd name="T64" fmla="*/ 0 h 257"/>
                <a:gd name="T65" fmla="*/ 534 w 534"/>
                <a:gd name="T66" fmla="*/ 257 h 25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34" h="257">
                  <a:moveTo>
                    <a:pt x="534" y="164"/>
                  </a:moveTo>
                  <a:lnTo>
                    <a:pt x="448" y="169"/>
                  </a:lnTo>
                  <a:lnTo>
                    <a:pt x="306" y="65"/>
                  </a:lnTo>
                  <a:lnTo>
                    <a:pt x="205" y="65"/>
                  </a:lnTo>
                  <a:lnTo>
                    <a:pt x="174" y="107"/>
                  </a:lnTo>
                  <a:lnTo>
                    <a:pt x="114" y="46"/>
                  </a:lnTo>
                  <a:lnTo>
                    <a:pt x="119" y="0"/>
                  </a:lnTo>
                  <a:lnTo>
                    <a:pt x="43" y="0"/>
                  </a:lnTo>
                  <a:lnTo>
                    <a:pt x="0" y="65"/>
                  </a:lnTo>
                  <a:lnTo>
                    <a:pt x="51" y="147"/>
                  </a:lnTo>
                  <a:lnTo>
                    <a:pt x="161" y="137"/>
                  </a:lnTo>
                  <a:lnTo>
                    <a:pt x="148" y="181"/>
                  </a:lnTo>
                  <a:lnTo>
                    <a:pt x="247" y="226"/>
                  </a:lnTo>
                  <a:lnTo>
                    <a:pt x="334" y="164"/>
                  </a:lnTo>
                  <a:lnTo>
                    <a:pt x="408" y="221"/>
                  </a:lnTo>
                  <a:lnTo>
                    <a:pt x="507" y="215"/>
                  </a:lnTo>
                  <a:lnTo>
                    <a:pt x="505" y="249"/>
                  </a:lnTo>
                  <a:lnTo>
                    <a:pt x="534" y="257"/>
                  </a:lnTo>
                  <a:lnTo>
                    <a:pt x="534" y="164"/>
                  </a:lnTo>
                  <a:close/>
                </a:path>
              </a:pathLst>
            </a:custGeom>
            <a:grpFill/>
            <a:ln w="12700">
              <a:solidFill>
                <a:schemeClr val="bg1"/>
              </a:solidFill>
              <a:round/>
              <a:headEnd/>
              <a:tailEnd/>
            </a:ln>
          </p:spPr>
          <p:txBody>
            <a:bodyPr/>
            <a:lstStyle/>
            <a:p>
              <a:pPr>
                <a:defRPr/>
              </a:pPr>
              <a:endParaRPr lang="en-US" sz="1350"/>
            </a:p>
          </p:txBody>
        </p:sp>
        <p:sp>
          <p:nvSpPr>
            <p:cNvPr id="38" name="Freeform 63">
              <a:extLst>
                <a:ext uri="{FF2B5EF4-FFF2-40B4-BE49-F238E27FC236}">
                  <a16:creationId xmlns:a16="http://schemas.microsoft.com/office/drawing/2014/main" id="{E9005C2A-1F4D-42F4-9FED-48C7FC95E6E9}"/>
                </a:ext>
              </a:extLst>
            </p:cNvPr>
            <p:cNvSpPr>
              <a:spLocks/>
            </p:cNvSpPr>
            <p:nvPr/>
          </p:nvSpPr>
          <p:spPr bwMode="gray">
            <a:xfrm>
              <a:off x="6334125" y="4052888"/>
              <a:ext cx="481013" cy="552450"/>
            </a:xfrm>
            <a:custGeom>
              <a:avLst/>
              <a:gdLst>
                <a:gd name="T0" fmla="*/ 530 w 606"/>
                <a:gd name="T1" fmla="*/ 0 h 696"/>
                <a:gd name="T2" fmla="*/ 359 w 606"/>
                <a:gd name="T3" fmla="*/ 38 h 696"/>
                <a:gd name="T4" fmla="*/ 310 w 606"/>
                <a:gd name="T5" fmla="*/ 114 h 696"/>
                <a:gd name="T6" fmla="*/ 247 w 606"/>
                <a:gd name="T7" fmla="*/ 108 h 696"/>
                <a:gd name="T8" fmla="*/ 0 w 606"/>
                <a:gd name="T9" fmla="*/ 274 h 696"/>
                <a:gd name="T10" fmla="*/ 38 w 606"/>
                <a:gd name="T11" fmla="*/ 353 h 696"/>
                <a:gd name="T12" fmla="*/ 10 w 606"/>
                <a:gd name="T13" fmla="*/ 458 h 696"/>
                <a:gd name="T14" fmla="*/ 27 w 606"/>
                <a:gd name="T15" fmla="*/ 545 h 696"/>
                <a:gd name="T16" fmla="*/ 95 w 606"/>
                <a:gd name="T17" fmla="*/ 564 h 696"/>
                <a:gd name="T18" fmla="*/ 122 w 606"/>
                <a:gd name="T19" fmla="*/ 661 h 696"/>
                <a:gd name="T20" fmla="*/ 222 w 606"/>
                <a:gd name="T21" fmla="*/ 696 h 696"/>
                <a:gd name="T22" fmla="*/ 300 w 606"/>
                <a:gd name="T23" fmla="*/ 618 h 696"/>
                <a:gd name="T24" fmla="*/ 386 w 606"/>
                <a:gd name="T25" fmla="*/ 644 h 696"/>
                <a:gd name="T26" fmla="*/ 414 w 606"/>
                <a:gd name="T27" fmla="*/ 633 h 696"/>
                <a:gd name="T28" fmla="*/ 488 w 606"/>
                <a:gd name="T29" fmla="*/ 648 h 696"/>
                <a:gd name="T30" fmla="*/ 481 w 606"/>
                <a:gd name="T31" fmla="*/ 673 h 696"/>
                <a:gd name="T32" fmla="*/ 530 w 606"/>
                <a:gd name="T33" fmla="*/ 678 h 696"/>
                <a:gd name="T34" fmla="*/ 606 w 606"/>
                <a:gd name="T35" fmla="*/ 621 h 696"/>
                <a:gd name="T36" fmla="*/ 601 w 606"/>
                <a:gd name="T37" fmla="*/ 555 h 696"/>
                <a:gd name="T38" fmla="*/ 578 w 606"/>
                <a:gd name="T39" fmla="*/ 500 h 696"/>
                <a:gd name="T40" fmla="*/ 585 w 606"/>
                <a:gd name="T41" fmla="*/ 352 h 696"/>
                <a:gd name="T42" fmla="*/ 507 w 606"/>
                <a:gd name="T43" fmla="*/ 279 h 696"/>
                <a:gd name="T44" fmla="*/ 540 w 606"/>
                <a:gd name="T45" fmla="*/ 215 h 696"/>
                <a:gd name="T46" fmla="*/ 517 w 606"/>
                <a:gd name="T47" fmla="*/ 123 h 696"/>
                <a:gd name="T48" fmla="*/ 530 w 606"/>
                <a:gd name="T49" fmla="*/ 114 h 696"/>
                <a:gd name="T50" fmla="*/ 549 w 606"/>
                <a:gd name="T51" fmla="*/ 47 h 696"/>
                <a:gd name="T52" fmla="*/ 530 w 606"/>
                <a:gd name="T53" fmla="*/ 0 h 696"/>
                <a:gd name="T54" fmla="*/ 530 w 606"/>
                <a:gd name="T55" fmla="*/ 0 h 696"/>
                <a:gd name="T56" fmla="*/ 530 w 606"/>
                <a:gd name="T57" fmla="*/ 0 h 69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06"/>
                <a:gd name="T88" fmla="*/ 0 h 696"/>
                <a:gd name="T89" fmla="*/ 606 w 606"/>
                <a:gd name="T90" fmla="*/ 696 h 69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06" h="696">
                  <a:moveTo>
                    <a:pt x="530" y="0"/>
                  </a:moveTo>
                  <a:lnTo>
                    <a:pt x="359" y="38"/>
                  </a:lnTo>
                  <a:lnTo>
                    <a:pt x="310" y="114"/>
                  </a:lnTo>
                  <a:lnTo>
                    <a:pt x="247" y="108"/>
                  </a:lnTo>
                  <a:lnTo>
                    <a:pt x="0" y="274"/>
                  </a:lnTo>
                  <a:lnTo>
                    <a:pt x="38" y="353"/>
                  </a:lnTo>
                  <a:lnTo>
                    <a:pt x="10" y="458"/>
                  </a:lnTo>
                  <a:lnTo>
                    <a:pt x="27" y="545"/>
                  </a:lnTo>
                  <a:lnTo>
                    <a:pt x="95" y="564"/>
                  </a:lnTo>
                  <a:lnTo>
                    <a:pt x="122" y="661"/>
                  </a:lnTo>
                  <a:lnTo>
                    <a:pt x="222" y="696"/>
                  </a:lnTo>
                  <a:lnTo>
                    <a:pt x="300" y="618"/>
                  </a:lnTo>
                  <a:lnTo>
                    <a:pt x="386" y="644"/>
                  </a:lnTo>
                  <a:lnTo>
                    <a:pt x="414" y="633"/>
                  </a:lnTo>
                  <a:lnTo>
                    <a:pt x="488" y="648"/>
                  </a:lnTo>
                  <a:lnTo>
                    <a:pt x="481" y="673"/>
                  </a:lnTo>
                  <a:lnTo>
                    <a:pt x="530" y="678"/>
                  </a:lnTo>
                  <a:lnTo>
                    <a:pt x="606" y="621"/>
                  </a:lnTo>
                  <a:lnTo>
                    <a:pt x="601" y="555"/>
                  </a:lnTo>
                  <a:lnTo>
                    <a:pt x="578" y="500"/>
                  </a:lnTo>
                  <a:lnTo>
                    <a:pt x="585" y="352"/>
                  </a:lnTo>
                  <a:lnTo>
                    <a:pt x="507" y="279"/>
                  </a:lnTo>
                  <a:lnTo>
                    <a:pt x="540" y="215"/>
                  </a:lnTo>
                  <a:lnTo>
                    <a:pt x="517" y="123"/>
                  </a:lnTo>
                  <a:lnTo>
                    <a:pt x="530" y="114"/>
                  </a:lnTo>
                  <a:lnTo>
                    <a:pt x="549" y="47"/>
                  </a:lnTo>
                  <a:lnTo>
                    <a:pt x="530" y="0"/>
                  </a:lnTo>
                  <a:close/>
                </a:path>
              </a:pathLst>
            </a:custGeom>
            <a:grpFill/>
            <a:ln w="12700">
              <a:solidFill>
                <a:schemeClr val="bg1"/>
              </a:solidFill>
              <a:round/>
              <a:headEnd/>
              <a:tailEnd/>
            </a:ln>
          </p:spPr>
          <p:txBody>
            <a:bodyPr/>
            <a:lstStyle/>
            <a:p>
              <a:pPr>
                <a:defRPr/>
              </a:pPr>
              <a:endParaRPr lang="en-US" sz="1350"/>
            </a:p>
          </p:txBody>
        </p:sp>
        <p:sp>
          <p:nvSpPr>
            <p:cNvPr id="39" name="Freeform 64">
              <a:extLst>
                <a:ext uri="{FF2B5EF4-FFF2-40B4-BE49-F238E27FC236}">
                  <a16:creationId xmlns:a16="http://schemas.microsoft.com/office/drawing/2014/main" id="{C7E6DE42-D6F7-4A2F-B744-6318E9406006}"/>
                </a:ext>
              </a:extLst>
            </p:cNvPr>
            <p:cNvSpPr>
              <a:spLocks/>
            </p:cNvSpPr>
            <p:nvPr/>
          </p:nvSpPr>
          <p:spPr bwMode="gray">
            <a:xfrm>
              <a:off x="6738938" y="4065588"/>
              <a:ext cx="541338" cy="536575"/>
            </a:xfrm>
            <a:custGeom>
              <a:avLst/>
              <a:gdLst>
                <a:gd name="T0" fmla="*/ 23 w 683"/>
                <a:gd name="T1" fmla="*/ 99 h 677"/>
                <a:gd name="T2" fmla="*/ 10 w 683"/>
                <a:gd name="T3" fmla="*/ 107 h 677"/>
                <a:gd name="T4" fmla="*/ 31 w 683"/>
                <a:gd name="T5" fmla="*/ 200 h 677"/>
                <a:gd name="T6" fmla="*/ 0 w 683"/>
                <a:gd name="T7" fmla="*/ 264 h 677"/>
                <a:gd name="T8" fmla="*/ 76 w 683"/>
                <a:gd name="T9" fmla="*/ 335 h 677"/>
                <a:gd name="T10" fmla="*/ 71 w 683"/>
                <a:gd name="T11" fmla="*/ 466 h 677"/>
                <a:gd name="T12" fmla="*/ 69 w 683"/>
                <a:gd name="T13" fmla="*/ 487 h 677"/>
                <a:gd name="T14" fmla="*/ 95 w 683"/>
                <a:gd name="T15" fmla="*/ 542 h 677"/>
                <a:gd name="T16" fmla="*/ 97 w 683"/>
                <a:gd name="T17" fmla="*/ 608 h 677"/>
                <a:gd name="T18" fmla="*/ 128 w 683"/>
                <a:gd name="T19" fmla="*/ 629 h 677"/>
                <a:gd name="T20" fmla="*/ 145 w 683"/>
                <a:gd name="T21" fmla="*/ 663 h 677"/>
                <a:gd name="T22" fmla="*/ 196 w 683"/>
                <a:gd name="T23" fmla="*/ 663 h 677"/>
                <a:gd name="T24" fmla="*/ 206 w 683"/>
                <a:gd name="T25" fmla="*/ 610 h 677"/>
                <a:gd name="T26" fmla="*/ 249 w 683"/>
                <a:gd name="T27" fmla="*/ 593 h 677"/>
                <a:gd name="T28" fmla="*/ 287 w 683"/>
                <a:gd name="T29" fmla="*/ 622 h 677"/>
                <a:gd name="T30" fmla="*/ 320 w 683"/>
                <a:gd name="T31" fmla="*/ 663 h 677"/>
                <a:gd name="T32" fmla="*/ 418 w 683"/>
                <a:gd name="T33" fmla="*/ 677 h 677"/>
                <a:gd name="T34" fmla="*/ 384 w 683"/>
                <a:gd name="T35" fmla="*/ 635 h 677"/>
                <a:gd name="T36" fmla="*/ 470 w 683"/>
                <a:gd name="T37" fmla="*/ 597 h 677"/>
                <a:gd name="T38" fmla="*/ 460 w 683"/>
                <a:gd name="T39" fmla="*/ 517 h 677"/>
                <a:gd name="T40" fmla="*/ 515 w 683"/>
                <a:gd name="T41" fmla="*/ 464 h 677"/>
                <a:gd name="T42" fmla="*/ 546 w 683"/>
                <a:gd name="T43" fmla="*/ 464 h 677"/>
                <a:gd name="T44" fmla="*/ 531 w 683"/>
                <a:gd name="T45" fmla="*/ 407 h 677"/>
                <a:gd name="T46" fmla="*/ 609 w 683"/>
                <a:gd name="T47" fmla="*/ 350 h 677"/>
                <a:gd name="T48" fmla="*/ 567 w 683"/>
                <a:gd name="T49" fmla="*/ 346 h 677"/>
                <a:gd name="T50" fmla="*/ 550 w 683"/>
                <a:gd name="T51" fmla="*/ 270 h 677"/>
                <a:gd name="T52" fmla="*/ 618 w 683"/>
                <a:gd name="T53" fmla="*/ 249 h 677"/>
                <a:gd name="T54" fmla="*/ 656 w 683"/>
                <a:gd name="T55" fmla="*/ 251 h 677"/>
                <a:gd name="T56" fmla="*/ 683 w 683"/>
                <a:gd name="T57" fmla="*/ 169 h 677"/>
                <a:gd name="T58" fmla="*/ 603 w 683"/>
                <a:gd name="T59" fmla="*/ 0 h 677"/>
                <a:gd name="T60" fmla="*/ 593 w 683"/>
                <a:gd name="T61" fmla="*/ 4 h 677"/>
                <a:gd name="T62" fmla="*/ 531 w 683"/>
                <a:gd name="T63" fmla="*/ 99 h 677"/>
                <a:gd name="T64" fmla="*/ 447 w 683"/>
                <a:gd name="T65" fmla="*/ 126 h 677"/>
                <a:gd name="T66" fmla="*/ 415 w 683"/>
                <a:gd name="T67" fmla="*/ 158 h 677"/>
                <a:gd name="T68" fmla="*/ 280 w 683"/>
                <a:gd name="T69" fmla="*/ 133 h 677"/>
                <a:gd name="T70" fmla="*/ 297 w 683"/>
                <a:gd name="T71" fmla="*/ 105 h 677"/>
                <a:gd name="T72" fmla="*/ 204 w 683"/>
                <a:gd name="T73" fmla="*/ 59 h 677"/>
                <a:gd name="T74" fmla="*/ 126 w 683"/>
                <a:gd name="T75" fmla="*/ 59 h 677"/>
                <a:gd name="T76" fmla="*/ 109 w 683"/>
                <a:gd name="T77" fmla="*/ 103 h 677"/>
                <a:gd name="T78" fmla="*/ 23 w 683"/>
                <a:gd name="T79" fmla="*/ 99 h 677"/>
                <a:gd name="T80" fmla="*/ 23 w 683"/>
                <a:gd name="T81" fmla="*/ 99 h 677"/>
                <a:gd name="T82" fmla="*/ 23 w 683"/>
                <a:gd name="T83" fmla="*/ 99 h 67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83"/>
                <a:gd name="T127" fmla="*/ 0 h 677"/>
                <a:gd name="T128" fmla="*/ 683 w 683"/>
                <a:gd name="T129" fmla="*/ 677 h 67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83" h="677">
                  <a:moveTo>
                    <a:pt x="23" y="99"/>
                  </a:moveTo>
                  <a:lnTo>
                    <a:pt x="10" y="107"/>
                  </a:lnTo>
                  <a:lnTo>
                    <a:pt x="31" y="200"/>
                  </a:lnTo>
                  <a:lnTo>
                    <a:pt x="0" y="264"/>
                  </a:lnTo>
                  <a:lnTo>
                    <a:pt x="76" y="335"/>
                  </a:lnTo>
                  <a:lnTo>
                    <a:pt x="71" y="466"/>
                  </a:lnTo>
                  <a:lnTo>
                    <a:pt x="69" y="487"/>
                  </a:lnTo>
                  <a:lnTo>
                    <a:pt x="95" y="542"/>
                  </a:lnTo>
                  <a:lnTo>
                    <a:pt x="97" y="608"/>
                  </a:lnTo>
                  <a:lnTo>
                    <a:pt x="128" y="629"/>
                  </a:lnTo>
                  <a:lnTo>
                    <a:pt x="145" y="663"/>
                  </a:lnTo>
                  <a:lnTo>
                    <a:pt x="196" y="663"/>
                  </a:lnTo>
                  <a:lnTo>
                    <a:pt x="206" y="610"/>
                  </a:lnTo>
                  <a:lnTo>
                    <a:pt x="249" y="593"/>
                  </a:lnTo>
                  <a:lnTo>
                    <a:pt x="287" y="622"/>
                  </a:lnTo>
                  <a:lnTo>
                    <a:pt x="320" y="663"/>
                  </a:lnTo>
                  <a:lnTo>
                    <a:pt x="418" y="677"/>
                  </a:lnTo>
                  <a:lnTo>
                    <a:pt x="384" y="635"/>
                  </a:lnTo>
                  <a:lnTo>
                    <a:pt x="470" y="597"/>
                  </a:lnTo>
                  <a:lnTo>
                    <a:pt x="460" y="517"/>
                  </a:lnTo>
                  <a:lnTo>
                    <a:pt x="515" y="464"/>
                  </a:lnTo>
                  <a:lnTo>
                    <a:pt x="546" y="464"/>
                  </a:lnTo>
                  <a:lnTo>
                    <a:pt x="531" y="407"/>
                  </a:lnTo>
                  <a:lnTo>
                    <a:pt x="609" y="350"/>
                  </a:lnTo>
                  <a:lnTo>
                    <a:pt x="567" y="346"/>
                  </a:lnTo>
                  <a:lnTo>
                    <a:pt x="550" y="270"/>
                  </a:lnTo>
                  <a:lnTo>
                    <a:pt x="618" y="249"/>
                  </a:lnTo>
                  <a:lnTo>
                    <a:pt x="656" y="251"/>
                  </a:lnTo>
                  <a:lnTo>
                    <a:pt x="683" y="169"/>
                  </a:lnTo>
                  <a:lnTo>
                    <a:pt x="603" y="0"/>
                  </a:lnTo>
                  <a:lnTo>
                    <a:pt x="593" y="4"/>
                  </a:lnTo>
                  <a:lnTo>
                    <a:pt x="531" y="99"/>
                  </a:lnTo>
                  <a:lnTo>
                    <a:pt x="447" y="126"/>
                  </a:lnTo>
                  <a:lnTo>
                    <a:pt x="415" y="158"/>
                  </a:lnTo>
                  <a:lnTo>
                    <a:pt x="280" y="133"/>
                  </a:lnTo>
                  <a:lnTo>
                    <a:pt x="297" y="105"/>
                  </a:lnTo>
                  <a:lnTo>
                    <a:pt x="204" y="59"/>
                  </a:lnTo>
                  <a:lnTo>
                    <a:pt x="126" y="59"/>
                  </a:lnTo>
                  <a:lnTo>
                    <a:pt x="109" y="103"/>
                  </a:lnTo>
                  <a:lnTo>
                    <a:pt x="23" y="99"/>
                  </a:lnTo>
                  <a:close/>
                </a:path>
              </a:pathLst>
            </a:custGeom>
            <a:grpFill/>
            <a:ln w="12700">
              <a:solidFill>
                <a:schemeClr val="bg1"/>
              </a:solidFill>
              <a:round/>
              <a:headEnd/>
              <a:tailEnd/>
            </a:ln>
          </p:spPr>
          <p:txBody>
            <a:bodyPr/>
            <a:lstStyle/>
            <a:p>
              <a:pPr>
                <a:defRPr/>
              </a:pPr>
              <a:endParaRPr lang="en-US" sz="1350"/>
            </a:p>
          </p:txBody>
        </p:sp>
        <p:sp>
          <p:nvSpPr>
            <p:cNvPr id="40" name="Freeform 65">
              <a:extLst>
                <a:ext uri="{FF2B5EF4-FFF2-40B4-BE49-F238E27FC236}">
                  <a16:creationId xmlns:a16="http://schemas.microsoft.com/office/drawing/2014/main" id="{E63785B8-B63A-4149-AE73-666E04975EA1}"/>
                </a:ext>
              </a:extLst>
            </p:cNvPr>
            <p:cNvSpPr>
              <a:spLocks/>
            </p:cNvSpPr>
            <p:nvPr/>
          </p:nvSpPr>
          <p:spPr bwMode="gray">
            <a:xfrm>
              <a:off x="6643688" y="4533900"/>
              <a:ext cx="749300" cy="693737"/>
            </a:xfrm>
            <a:custGeom>
              <a:avLst/>
              <a:gdLst>
                <a:gd name="T0" fmla="*/ 0 w 944"/>
                <a:gd name="T1" fmla="*/ 38 h 875"/>
                <a:gd name="T2" fmla="*/ 41 w 944"/>
                <a:gd name="T3" fmla="*/ 93 h 875"/>
                <a:gd name="T4" fmla="*/ 55 w 944"/>
                <a:gd name="T5" fmla="*/ 264 h 875"/>
                <a:gd name="T6" fmla="*/ 104 w 944"/>
                <a:gd name="T7" fmla="*/ 306 h 875"/>
                <a:gd name="T8" fmla="*/ 212 w 944"/>
                <a:gd name="T9" fmla="*/ 306 h 875"/>
                <a:gd name="T10" fmla="*/ 334 w 944"/>
                <a:gd name="T11" fmla="*/ 350 h 875"/>
                <a:gd name="T12" fmla="*/ 315 w 944"/>
                <a:gd name="T13" fmla="*/ 470 h 875"/>
                <a:gd name="T14" fmla="*/ 475 w 944"/>
                <a:gd name="T15" fmla="*/ 481 h 875"/>
                <a:gd name="T16" fmla="*/ 566 w 944"/>
                <a:gd name="T17" fmla="*/ 458 h 875"/>
                <a:gd name="T18" fmla="*/ 619 w 944"/>
                <a:gd name="T19" fmla="*/ 557 h 875"/>
                <a:gd name="T20" fmla="*/ 669 w 944"/>
                <a:gd name="T21" fmla="*/ 572 h 875"/>
                <a:gd name="T22" fmla="*/ 627 w 944"/>
                <a:gd name="T23" fmla="*/ 679 h 875"/>
                <a:gd name="T24" fmla="*/ 676 w 944"/>
                <a:gd name="T25" fmla="*/ 734 h 875"/>
                <a:gd name="T26" fmla="*/ 631 w 944"/>
                <a:gd name="T27" fmla="*/ 783 h 875"/>
                <a:gd name="T28" fmla="*/ 652 w 944"/>
                <a:gd name="T29" fmla="*/ 846 h 875"/>
                <a:gd name="T30" fmla="*/ 743 w 944"/>
                <a:gd name="T31" fmla="*/ 846 h 875"/>
                <a:gd name="T32" fmla="*/ 796 w 944"/>
                <a:gd name="T33" fmla="*/ 875 h 875"/>
                <a:gd name="T34" fmla="*/ 826 w 944"/>
                <a:gd name="T35" fmla="*/ 867 h 875"/>
                <a:gd name="T36" fmla="*/ 769 w 944"/>
                <a:gd name="T37" fmla="*/ 745 h 875"/>
                <a:gd name="T38" fmla="*/ 790 w 944"/>
                <a:gd name="T39" fmla="*/ 597 h 875"/>
                <a:gd name="T40" fmla="*/ 743 w 944"/>
                <a:gd name="T41" fmla="*/ 582 h 875"/>
                <a:gd name="T42" fmla="*/ 743 w 944"/>
                <a:gd name="T43" fmla="*/ 563 h 875"/>
                <a:gd name="T44" fmla="*/ 767 w 944"/>
                <a:gd name="T45" fmla="*/ 569 h 875"/>
                <a:gd name="T46" fmla="*/ 767 w 944"/>
                <a:gd name="T47" fmla="*/ 542 h 875"/>
                <a:gd name="T48" fmla="*/ 868 w 944"/>
                <a:gd name="T49" fmla="*/ 481 h 875"/>
                <a:gd name="T50" fmla="*/ 910 w 944"/>
                <a:gd name="T51" fmla="*/ 500 h 875"/>
                <a:gd name="T52" fmla="*/ 944 w 944"/>
                <a:gd name="T53" fmla="*/ 483 h 875"/>
                <a:gd name="T54" fmla="*/ 944 w 944"/>
                <a:gd name="T55" fmla="*/ 333 h 875"/>
                <a:gd name="T56" fmla="*/ 908 w 944"/>
                <a:gd name="T57" fmla="*/ 295 h 875"/>
                <a:gd name="T58" fmla="*/ 889 w 944"/>
                <a:gd name="T59" fmla="*/ 299 h 875"/>
                <a:gd name="T60" fmla="*/ 868 w 944"/>
                <a:gd name="T61" fmla="*/ 255 h 875"/>
                <a:gd name="T62" fmla="*/ 796 w 944"/>
                <a:gd name="T63" fmla="*/ 240 h 875"/>
                <a:gd name="T64" fmla="*/ 709 w 944"/>
                <a:gd name="T65" fmla="*/ 209 h 875"/>
                <a:gd name="T66" fmla="*/ 718 w 944"/>
                <a:gd name="T67" fmla="*/ 185 h 875"/>
                <a:gd name="T68" fmla="*/ 682 w 944"/>
                <a:gd name="T69" fmla="*/ 168 h 875"/>
                <a:gd name="T70" fmla="*/ 648 w 944"/>
                <a:gd name="T71" fmla="*/ 175 h 875"/>
                <a:gd name="T72" fmla="*/ 617 w 944"/>
                <a:gd name="T73" fmla="*/ 160 h 875"/>
                <a:gd name="T74" fmla="*/ 617 w 944"/>
                <a:gd name="T75" fmla="*/ 109 h 875"/>
                <a:gd name="T76" fmla="*/ 576 w 944"/>
                <a:gd name="T77" fmla="*/ 95 h 875"/>
                <a:gd name="T78" fmla="*/ 541 w 944"/>
                <a:gd name="T79" fmla="*/ 110 h 875"/>
                <a:gd name="T80" fmla="*/ 541 w 944"/>
                <a:gd name="T81" fmla="*/ 80 h 875"/>
                <a:gd name="T82" fmla="*/ 439 w 944"/>
                <a:gd name="T83" fmla="*/ 71 h 875"/>
                <a:gd name="T84" fmla="*/ 403 w 944"/>
                <a:gd name="T85" fmla="*/ 29 h 875"/>
                <a:gd name="T86" fmla="*/ 368 w 944"/>
                <a:gd name="T87" fmla="*/ 0 h 875"/>
                <a:gd name="T88" fmla="*/ 325 w 944"/>
                <a:gd name="T89" fmla="*/ 17 h 875"/>
                <a:gd name="T90" fmla="*/ 315 w 944"/>
                <a:gd name="T91" fmla="*/ 71 h 875"/>
                <a:gd name="T92" fmla="*/ 264 w 944"/>
                <a:gd name="T93" fmla="*/ 71 h 875"/>
                <a:gd name="T94" fmla="*/ 247 w 944"/>
                <a:gd name="T95" fmla="*/ 34 h 875"/>
                <a:gd name="T96" fmla="*/ 214 w 944"/>
                <a:gd name="T97" fmla="*/ 17 h 875"/>
                <a:gd name="T98" fmla="*/ 140 w 944"/>
                <a:gd name="T99" fmla="*/ 71 h 875"/>
                <a:gd name="T100" fmla="*/ 93 w 944"/>
                <a:gd name="T101" fmla="*/ 67 h 875"/>
                <a:gd name="T102" fmla="*/ 100 w 944"/>
                <a:gd name="T103" fmla="*/ 42 h 875"/>
                <a:gd name="T104" fmla="*/ 26 w 944"/>
                <a:gd name="T105" fmla="*/ 27 h 875"/>
                <a:gd name="T106" fmla="*/ 0 w 944"/>
                <a:gd name="T107" fmla="*/ 38 h 875"/>
                <a:gd name="T108" fmla="*/ 0 w 944"/>
                <a:gd name="T109" fmla="*/ 38 h 875"/>
                <a:gd name="T110" fmla="*/ 0 w 944"/>
                <a:gd name="T111" fmla="*/ 38 h 87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944"/>
                <a:gd name="T169" fmla="*/ 0 h 875"/>
                <a:gd name="T170" fmla="*/ 944 w 944"/>
                <a:gd name="T171" fmla="*/ 875 h 875"/>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944" h="875">
                  <a:moveTo>
                    <a:pt x="0" y="38"/>
                  </a:moveTo>
                  <a:lnTo>
                    <a:pt x="41" y="93"/>
                  </a:lnTo>
                  <a:lnTo>
                    <a:pt x="55" y="264"/>
                  </a:lnTo>
                  <a:lnTo>
                    <a:pt x="104" y="306"/>
                  </a:lnTo>
                  <a:lnTo>
                    <a:pt x="212" y="306"/>
                  </a:lnTo>
                  <a:lnTo>
                    <a:pt x="334" y="350"/>
                  </a:lnTo>
                  <a:lnTo>
                    <a:pt x="315" y="470"/>
                  </a:lnTo>
                  <a:lnTo>
                    <a:pt x="475" y="481"/>
                  </a:lnTo>
                  <a:lnTo>
                    <a:pt x="566" y="458"/>
                  </a:lnTo>
                  <a:lnTo>
                    <a:pt x="619" y="557"/>
                  </a:lnTo>
                  <a:lnTo>
                    <a:pt x="669" y="572"/>
                  </a:lnTo>
                  <a:lnTo>
                    <a:pt x="627" y="679"/>
                  </a:lnTo>
                  <a:lnTo>
                    <a:pt x="676" y="734"/>
                  </a:lnTo>
                  <a:lnTo>
                    <a:pt x="631" y="783"/>
                  </a:lnTo>
                  <a:lnTo>
                    <a:pt x="652" y="846"/>
                  </a:lnTo>
                  <a:lnTo>
                    <a:pt x="743" y="846"/>
                  </a:lnTo>
                  <a:lnTo>
                    <a:pt x="796" y="875"/>
                  </a:lnTo>
                  <a:lnTo>
                    <a:pt x="826" y="867"/>
                  </a:lnTo>
                  <a:lnTo>
                    <a:pt x="769" y="745"/>
                  </a:lnTo>
                  <a:lnTo>
                    <a:pt x="790" y="597"/>
                  </a:lnTo>
                  <a:lnTo>
                    <a:pt x="743" y="582"/>
                  </a:lnTo>
                  <a:lnTo>
                    <a:pt x="743" y="563"/>
                  </a:lnTo>
                  <a:lnTo>
                    <a:pt x="767" y="569"/>
                  </a:lnTo>
                  <a:lnTo>
                    <a:pt x="767" y="542"/>
                  </a:lnTo>
                  <a:lnTo>
                    <a:pt x="868" y="481"/>
                  </a:lnTo>
                  <a:lnTo>
                    <a:pt x="910" y="500"/>
                  </a:lnTo>
                  <a:lnTo>
                    <a:pt x="944" y="483"/>
                  </a:lnTo>
                  <a:lnTo>
                    <a:pt x="944" y="333"/>
                  </a:lnTo>
                  <a:lnTo>
                    <a:pt x="908" y="295"/>
                  </a:lnTo>
                  <a:lnTo>
                    <a:pt x="889" y="299"/>
                  </a:lnTo>
                  <a:lnTo>
                    <a:pt x="868" y="255"/>
                  </a:lnTo>
                  <a:lnTo>
                    <a:pt x="796" y="240"/>
                  </a:lnTo>
                  <a:lnTo>
                    <a:pt x="709" y="209"/>
                  </a:lnTo>
                  <a:lnTo>
                    <a:pt x="718" y="185"/>
                  </a:lnTo>
                  <a:lnTo>
                    <a:pt x="682" y="168"/>
                  </a:lnTo>
                  <a:lnTo>
                    <a:pt x="648" y="175"/>
                  </a:lnTo>
                  <a:lnTo>
                    <a:pt x="617" y="160"/>
                  </a:lnTo>
                  <a:lnTo>
                    <a:pt x="617" y="109"/>
                  </a:lnTo>
                  <a:lnTo>
                    <a:pt x="576" y="95"/>
                  </a:lnTo>
                  <a:lnTo>
                    <a:pt x="541" y="110"/>
                  </a:lnTo>
                  <a:lnTo>
                    <a:pt x="541" y="80"/>
                  </a:lnTo>
                  <a:lnTo>
                    <a:pt x="439" y="71"/>
                  </a:lnTo>
                  <a:lnTo>
                    <a:pt x="403" y="29"/>
                  </a:lnTo>
                  <a:lnTo>
                    <a:pt x="368" y="0"/>
                  </a:lnTo>
                  <a:lnTo>
                    <a:pt x="325" y="17"/>
                  </a:lnTo>
                  <a:lnTo>
                    <a:pt x="315" y="71"/>
                  </a:lnTo>
                  <a:lnTo>
                    <a:pt x="264" y="71"/>
                  </a:lnTo>
                  <a:lnTo>
                    <a:pt x="247" y="34"/>
                  </a:lnTo>
                  <a:lnTo>
                    <a:pt x="214" y="17"/>
                  </a:lnTo>
                  <a:lnTo>
                    <a:pt x="140" y="71"/>
                  </a:lnTo>
                  <a:lnTo>
                    <a:pt x="93" y="67"/>
                  </a:lnTo>
                  <a:lnTo>
                    <a:pt x="100" y="42"/>
                  </a:lnTo>
                  <a:lnTo>
                    <a:pt x="26" y="27"/>
                  </a:lnTo>
                  <a:lnTo>
                    <a:pt x="0" y="38"/>
                  </a:lnTo>
                  <a:close/>
                </a:path>
              </a:pathLst>
            </a:custGeom>
            <a:grpFill/>
            <a:ln w="12700">
              <a:solidFill>
                <a:schemeClr val="bg1"/>
              </a:solidFill>
              <a:round/>
              <a:headEnd/>
              <a:tailEnd/>
            </a:ln>
          </p:spPr>
          <p:txBody>
            <a:bodyPr/>
            <a:lstStyle/>
            <a:p>
              <a:pPr>
                <a:defRPr/>
              </a:pPr>
              <a:endParaRPr lang="en-US" sz="1350"/>
            </a:p>
          </p:txBody>
        </p:sp>
        <p:sp>
          <p:nvSpPr>
            <p:cNvPr id="41" name="Freeform 66">
              <a:extLst>
                <a:ext uri="{FF2B5EF4-FFF2-40B4-BE49-F238E27FC236}">
                  <a16:creationId xmlns:a16="http://schemas.microsoft.com/office/drawing/2014/main" id="{5BE8B0B9-A9FE-4EFA-BA63-0B52EC5BCAA5}"/>
                </a:ext>
              </a:extLst>
            </p:cNvPr>
            <p:cNvSpPr>
              <a:spLocks/>
            </p:cNvSpPr>
            <p:nvPr/>
          </p:nvSpPr>
          <p:spPr bwMode="gray">
            <a:xfrm>
              <a:off x="7043738" y="4343400"/>
              <a:ext cx="671513" cy="427037"/>
            </a:xfrm>
            <a:custGeom>
              <a:avLst/>
              <a:gdLst>
                <a:gd name="T0" fmla="*/ 608 w 848"/>
                <a:gd name="T1" fmla="*/ 28 h 538"/>
                <a:gd name="T2" fmla="*/ 557 w 848"/>
                <a:gd name="T3" fmla="*/ 15 h 538"/>
                <a:gd name="T4" fmla="*/ 538 w 848"/>
                <a:gd name="T5" fmla="*/ 32 h 538"/>
                <a:gd name="T6" fmla="*/ 432 w 848"/>
                <a:gd name="T7" fmla="*/ 32 h 538"/>
                <a:gd name="T8" fmla="*/ 369 w 848"/>
                <a:gd name="T9" fmla="*/ 19 h 538"/>
                <a:gd name="T10" fmla="*/ 358 w 848"/>
                <a:gd name="T11" fmla="*/ 40 h 538"/>
                <a:gd name="T12" fmla="*/ 316 w 848"/>
                <a:gd name="T13" fmla="*/ 40 h 538"/>
                <a:gd name="T14" fmla="*/ 283 w 848"/>
                <a:gd name="T15" fmla="*/ 4 h 538"/>
                <a:gd name="T16" fmla="*/ 225 w 848"/>
                <a:gd name="T17" fmla="*/ 0 h 538"/>
                <a:gd name="T18" fmla="*/ 147 w 848"/>
                <a:gd name="T19" fmla="*/ 55 h 538"/>
                <a:gd name="T20" fmla="*/ 162 w 848"/>
                <a:gd name="T21" fmla="*/ 112 h 538"/>
                <a:gd name="T22" fmla="*/ 128 w 848"/>
                <a:gd name="T23" fmla="*/ 112 h 538"/>
                <a:gd name="T24" fmla="*/ 76 w 848"/>
                <a:gd name="T25" fmla="*/ 165 h 538"/>
                <a:gd name="T26" fmla="*/ 86 w 848"/>
                <a:gd name="T27" fmla="*/ 245 h 538"/>
                <a:gd name="T28" fmla="*/ 0 w 848"/>
                <a:gd name="T29" fmla="*/ 285 h 538"/>
                <a:gd name="T30" fmla="*/ 36 w 848"/>
                <a:gd name="T31" fmla="*/ 325 h 538"/>
                <a:gd name="T32" fmla="*/ 36 w 848"/>
                <a:gd name="T33" fmla="*/ 351 h 538"/>
                <a:gd name="T34" fmla="*/ 78 w 848"/>
                <a:gd name="T35" fmla="*/ 336 h 538"/>
                <a:gd name="T36" fmla="*/ 114 w 848"/>
                <a:gd name="T37" fmla="*/ 351 h 538"/>
                <a:gd name="T38" fmla="*/ 114 w 848"/>
                <a:gd name="T39" fmla="*/ 399 h 538"/>
                <a:gd name="T40" fmla="*/ 147 w 848"/>
                <a:gd name="T41" fmla="*/ 418 h 538"/>
                <a:gd name="T42" fmla="*/ 179 w 848"/>
                <a:gd name="T43" fmla="*/ 407 h 538"/>
                <a:gd name="T44" fmla="*/ 215 w 848"/>
                <a:gd name="T45" fmla="*/ 426 h 538"/>
                <a:gd name="T46" fmla="*/ 204 w 848"/>
                <a:gd name="T47" fmla="*/ 448 h 538"/>
                <a:gd name="T48" fmla="*/ 289 w 848"/>
                <a:gd name="T49" fmla="*/ 479 h 538"/>
                <a:gd name="T50" fmla="*/ 367 w 848"/>
                <a:gd name="T51" fmla="*/ 496 h 538"/>
                <a:gd name="T52" fmla="*/ 384 w 848"/>
                <a:gd name="T53" fmla="*/ 538 h 538"/>
                <a:gd name="T54" fmla="*/ 428 w 848"/>
                <a:gd name="T55" fmla="*/ 524 h 538"/>
                <a:gd name="T56" fmla="*/ 432 w 848"/>
                <a:gd name="T57" fmla="*/ 486 h 538"/>
                <a:gd name="T58" fmla="*/ 494 w 848"/>
                <a:gd name="T59" fmla="*/ 494 h 538"/>
                <a:gd name="T60" fmla="*/ 508 w 848"/>
                <a:gd name="T61" fmla="*/ 462 h 538"/>
                <a:gd name="T62" fmla="*/ 551 w 848"/>
                <a:gd name="T63" fmla="*/ 448 h 538"/>
                <a:gd name="T64" fmla="*/ 584 w 848"/>
                <a:gd name="T65" fmla="*/ 469 h 538"/>
                <a:gd name="T66" fmla="*/ 688 w 848"/>
                <a:gd name="T67" fmla="*/ 426 h 538"/>
                <a:gd name="T68" fmla="*/ 702 w 848"/>
                <a:gd name="T69" fmla="*/ 448 h 538"/>
                <a:gd name="T70" fmla="*/ 728 w 848"/>
                <a:gd name="T71" fmla="*/ 416 h 538"/>
                <a:gd name="T72" fmla="*/ 707 w 848"/>
                <a:gd name="T73" fmla="*/ 376 h 538"/>
                <a:gd name="T74" fmla="*/ 723 w 848"/>
                <a:gd name="T75" fmla="*/ 327 h 538"/>
                <a:gd name="T76" fmla="*/ 774 w 848"/>
                <a:gd name="T77" fmla="*/ 336 h 538"/>
                <a:gd name="T78" fmla="*/ 774 w 848"/>
                <a:gd name="T79" fmla="*/ 266 h 538"/>
                <a:gd name="T80" fmla="*/ 802 w 848"/>
                <a:gd name="T81" fmla="*/ 268 h 538"/>
                <a:gd name="T82" fmla="*/ 804 w 848"/>
                <a:gd name="T83" fmla="*/ 243 h 538"/>
                <a:gd name="T84" fmla="*/ 785 w 848"/>
                <a:gd name="T85" fmla="*/ 228 h 538"/>
                <a:gd name="T86" fmla="*/ 848 w 848"/>
                <a:gd name="T87" fmla="*/ 154 h 538"/>
                <a:gd name="T88" fmla="*/ 829 w 848"/>
                <a:gd name="T89" fmla="*/ 131 h 538"/>
                <a:gd name="T90" fmla="*/ 751 w 848"/>
                <a:gd name="T91" fmla="*/ 112 h 538"/>
                <a:gd name="T92" fmla="*/ 751 w 848"/>
                <a:gd name="T93" fmla="*/ 83 h 538"/>
                <a:gd name="T94" fmla="*/ 802 w 848"/>
                <a:gd name="T95" fmla="*/ 23 h 538"/>
                <a:gd name="T96" fmla="*/ 797 w 848"/>
                <a:gd name="T97" fmla="*/ 0 h 538"/>
                <a:gd name="T98" fmla="*/ 757 w 848"/>
                <a:gd name="T99" fmla="*/ 0 h 538"/>
                <a:gd name="T100" fmla="*/ 745 w 848"/>
                <a:gd name="T101" fmla="*/ 19 h 538"/>
                <a:gd name="T102" fmla="*/ 719 w 848"/>
                <a:gd name="T103" fmla="*/ 0 h 538"/>
                <a:gd name="T104" fmla="*/ 608 w 848"/>
                <a:gd name="T105" fmla="*/ 28 h 538"/>
                <a:gd name="T106" fmla="*/ 608 w 848"/>
                <a:gd name="T107" fmla="*/ 28 h 538"/>
                <a:gd name="T108" fmla="*/ 608 w 848"/>
                <a:gd name="T109" fmla="*/ 28 h 53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48"/>
                <a:gd name="T166" fmla="*/ 0 h 538"/>
                <a:gd name="T167" fmla="*/ 848 w 848"/>
                <a:gd name="T168" fmla="*/ 538 h 53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48" h="538">
                  <a:moveTo>
                    <a:pt x="608" y="28"/>
                  </a:moveTo>
                  <a:lnTo>
                    <a:pt x="557" y="15"/>
                  </a:lnTo>
                  <a:lnTo>
                    <a:pt x="538" y="32"/>
                  </a:lnTo>
                  <a:lnTo>
                    <a:pt x="432" y="32"/>
                  </a:lnTo>
                  <a:lnTo>
                    <a:pt x="369" y="19"/>
                  </a:lnTo>
                  <a:lnTo>
                    <a:pt x="358" y="40"/>
                  </a:lnTo>
                  <a:lnTo>
                    <a:pt x="316" y="40"/>
                  </a:lnTo>
                  <a:lnTo>
                    <a:pt x="283" y="4"/>
                  </a:lnTo>
                  <a:lnTo>
                    <a:pt x="225" y="0"/>
                  </a:lnTo>
                  <a:lnTo>
                    <a:pt x="147" y="55"/>
                  </a:lnTo>
                  <a:lnTo>
                    <a:pt x="162" y="112"/>
                  </a:lnTo>
                  <a:lnTo>
                    <a:pt x="128" y="112"/>
                  </a:lnTo>
                  <a:lnTo>
                    <a:pt x="76" y="165"/>
                  </a:lnTo>
                  <a:lnTo>
                    <a:pt x="86" y="245"/>
                  </a:lnTo>
                  <a:lnTo>
                    <a:pt x="0" y="285"/>
                  </a:lnTo>
                  <a:lnTo>
                    <a:pt x="36" y="325"/>
                  </a:lnTo>
                  <a:lnTo>
                    <a:pt x="36" y="351"/>
                  </a:lnTo>
                  <a:lnTo>
                    <a:pt x="78" y="336"/>
                  </a:lnTo>
                  <a:lnTo>
                    <a:pt x="114" y="351"/>
                  </a:lnTo>
                  <a:lnTo>
                    <a:pt x="114" y="399"/>
                  </a:lnTo>
                  <a:lnTo>
                    <a:pt x="147" y="418"/>
                  </a:lnTo>
                  <a:lnTo>
                    <a:pt x="179" y="407"/>
                  </a:lnTo>
                  <a:lnTo>
                    <a:pt x="215" y="426"/>
                  </a:lnTo>
                  <a:lnTo>
                    <a:pt x="204" y="448"/>
                  </a:lnTo>
                  <a:lnTo>
                    <a:pt x="289" y="479"/>
                  </a:lnTo>
                  <a:lnTo>
                    <a:pt x="367" y="496"/>
                  </a:lnTo>
                  <a:lnTo>
                    <a:pt x="384" y="538"/>
                  </a:lnTo>
                  <a:lnTo>
                    <a:pt x="428" y="524"/>
                  </a:lnTo>
                  <a:lnTo>
                    <a:pt x="432" y="486"/>
                  </a:lnTo>
                  <a:lnTo>
                    <a:pt x="494" y="494"/>
                  </a:lnTo>
                  <a:lnTo>
                    <a:pt x="508" y="462"/>
                  </a:lnTo>
                  <a:lnTo>
                    <a:pt x="551" y="448"/>
                  </a:lnTo>
                  <a:lnTo>
                    <a:pt x="584" y="469"/>
                  </a:lnTo>
                  <a:lnTo>
                    <a:pt x="688" y="426"/>
                  </a:lnTo>
                  <a:lnTo>
                    <a:pt x="702" y="448"/>
                  </a:lnTo>
                  <a:lnTo>
                    <a:pt x="728" y="416"/>
                  </a:lnTo>
                  <a:lnTo>
                    <a:pt x="707" y="376"/>
                  </a:lnTo>
                  <a:lnTo>
                    <a:pt x="723" y="327"/>
                  </a:lnTo>
                  <a:lnTo>
                    <a:pt x="774" y="336"/>
                  </a:lnTo>
                  <a:lnTo>
                    <a:pt x="774" y="266"/>
                  </a:lnTo>
                  <a:lnTo>
                    <a:pt x="802" y="268"/>
                  </a:lnTo>
                  <a:lnTo>
                    <a:pt x="804" y="243"/>
                  </a:lnTo>
                  <a:lnTo>
                    <a:pt x="785" y="228"/>
                  </a:lnTo>
                  <a:lnTo>
                    <a:pt x="848" y="154"/>
                  </a:lnTo>
                  <a:lnTo>
                    <a:pt x="829" y="131"/>
                  </a:lnTo>
                  <a:lnTo>
                    <a:pt x="751" y="112"/>
                  </a:lnTo>
                  <a:lnTo>
                    <a:pt x="751" y="83"/>
                  </a:lnTo>
                  <a:lnTo>
                    <a:pt x="802" y="23"/>
                  </a:lnTo>
                  <a:lnTo>
                    <a:pt x="797" y="0"/>
                  </a:lnTo>
                  <a:lnTo>
                    <a:pt x="757" y="0"/>
                  </a:lnTo>
                  <a:lnTo>
                    <a:pt x="745" y="19"/>
                  </a:lnTo>
                  <a:lnTo>
                    <a:pt x="719" y="0"/>
                  </a:lnTo>
                  <a:lnTo>
                    <a:pt x="608" y="28"/>
                  </a:lnTo>
                  <a:close/>
                </a:path>
              </a:pathLst>
            </a:custGeom>
            <a:grpFill/>
            <a:ln w="12700">
              <a:solidFill>
                <a:schemeClr val="bg1"/>
              </a:solidFill>
              <a:round/>
              <a:headEnd/>
              <a:tailEnd/>
            </a:ln>
          </p:spPr>
          <p:txBody>
            <a:bodyPr/>
            <a:lstStyle/>
            <a:p>
              <a:pPr>
                <a:defRPr/>
              </a:pPr>
              <a:endParaRPr lang="en-US" sz="1350"/>
            </a:p>
          </p:txBody>
        </p:sp>
        <p:sp>
          <p:nvSpPr>
            <p:cNvPr id="42" name="Freeform 67">
              <a:extLst>
                <a:ext uri="{FF2B5EF4-FFF2-40B4-BE49-F238E27FC236}">
                  <a16:creationId xmlns:a16="http://schemas.microsoft.com/office/drawing/2014/main" id="{214C2229-4A4D-41A8-8655-B6665BE05121}"/>
                </a:ext>
              </a:extLst>
            </p:cNvPr>
            <p:cNvSpPr>
              <a:spLocks/>
            </p:cNvSpPr>
            <p:nvPr/>
          </p:nvSpPr>
          <p:spPr bwMode="gray">
            <a:xfrm>
              <a:off x="7232650" y="4683125"/>
              <a:ext cx="596900" cy="625475"/>
            </a:xfrm>
            <a:custGeom>
              <a:avLst/>
              <a:gdLst>
                <a:gd name="T0" fmla="*/ 726 w 751"/>
                <a:gd name="T1" fmla="*/ 265 h 787"/>
                <a:gd name="T2" fmla="*/ 671 w 751"/>
                <a:gd name="T3" fmla="*/ 276 h 787"/>
                <a:gd name="T4" fmla="*/ 612 w 751"/>
                <a:gd name="T5" fmla="*/ 166 h 787"/>
                <a:gd name="T6" fmla="*/ 549 w 751"/>
                <a:gd name="T7" fmla="*/ 132 h 787"/>
                <a:gd name="T8" fmla="*/ 496 w 751"/>
                <a:gd name="T9" fmla="*/ 154 h 787"/>
                <a:gd name="T10" fmla="*/ 467 w 751"/>
                <a:gd name="T11" fmla="*/ 132 h 787"/>
                <a:gd name="T12" fmla="*/ 467 w 751"/>
                <a:gd name="T13" fmla="*/ 111 h 787"/>
                <a:gd name="T14" fmla="*/ 502 w 751"/>
                <a:gd name="T15" fmla="*/ 76 h 787"/>
                <a:gd name="T16" fmla="*/ 448 w 751"/>
                <a:gd name="T17" fmla="*/ 0 h 787"/>
                <a:gd name="T18" fmla="*/ 344 w 751"/>
                <a:gd name="T19" fmla="*/ 44 h 787"/>
                <a:gd name="T20" fmla="*/ 311 w 751"/>
                <a:gd name="T21" fmla="*/ 19 h 787"/>
                <a:gd name="T22" fmla="*/ 268 w 751"/>
                <a:gd name="T23" fmla="*/ 35 h 787"/>
                <a:gd name="T24" fmla="*/ 254 w 751"/>
                <a:gd name="T25" fmla="*/ 67 h 787"/>
                <a:gd name="T26" fmla="*/ 192 w 751"/>
                <a:gd name="T27" fmla="*/ 57 h 787"/>
                <a:gd name="T28" fmla="*/ 190 w 751"/>
                <a:gd name="T29" fmla="*/ 97 h 787"/>
                <a:gd name="T30" fmla="*/ 165 w 751"/>
                <a:gd name="T31" fmla="*/ 107 h 787"/>
                <a:gd name="T32" fmla="*/ 201 w 751"/>
                <a:gd name="T33" fmla="*/ 145 h 787"/>
                <a:gd name="T34" fmla="*/ 201 w 751"/>
                <a:gd name="T35" fmla="*/ 293 h 787"/>
                <a:gd name="T36" fmla="*/ 167 w 751"/>
                <a:gd name="T37" fmla="*/ 312 h 787"/>
                <a:gd name="T38" fmla="*/ 125 w 751"/>
                <a:gd name="T39" fmla="*/ 291 h 787"/>
                <a:gd name="T40" fmla="*/ 24 w 751"/>
                <a:gd name="T41" fmla="*/ 356 h 787"/>
                <a:gd name="T42" fmla="*/ 24 w 751"/>
                <a:gd name="T43" fmla="*/ 381 h 787"/>
                <a:gd name="T44" fmla="*/ 0 w 751"/>
                <a:gd name="T45" fmla="*/ 375 h 787"/>
                <a:gd name="T46" fmla="*/ 0 w 751"/>
                <a:gd name="T47" fmla="*/ 394 h 787"/>
                <a:gd name="T48" fmla="*/ 47 w 751"/>
                <a:gd name="T49" fmla="*/ 411 h 787"/>
                <a:gd name="T50" fmla="*/ 24 w 751"/>
                <a:gd name="T51" fmla="*/ 557 h 787"/>
                <a:gd name="T52" fmla="*/ 81 w 751"/>
                <a:gd name="T53" fmla="*/ 679 h 787"/>
                <a:gd name="T54" fmla="*/ 230 w 751"/>
                <a:gd name="T55" fmla="*/ 639 h 787"/>
                <a:gd name="T56" fmla="*/ 262 w 751"/>
                <a:gd name="T57" fmla="*/ 533 h 787"/>
                <a:gd name="T58" fmla="*/ 342 w 751"/>
                <a:gd name="T59" fmla="*/ 468 h 787"/>
                <a:gd name="T60" fmla="*/ 395 w 751"/>
                <a:gd name="T61" fmla="*/ 483 h 787"/>
                <a:gd name="T62" fmla="*/ 387 w 751"/>
                <a:gd name="T63" fmla="*/ 554 h 787"/>
                <a:gd name="T64" fmla="*/ 298 w 751"/>
                <a:gd name="T65" fmla="*/ 664 h 787"/>
                <a:gd name="T66" fmla="*/ 368 w 751"/>
                <a:gd name="T67" fmla="*/ 675 h 787"/>
                <a:gd name="T68" fmla="*/ 378 w 751"/>
                <a:gd name="T69" fmla="*/ 757 h 787"/>
                <a:gd name="T70" fmla="*/ 441 w 751"/>
                <a:gd name="T71" fmla="*/ 787 h 787"/>
                <a:gd name="T72" fmla="*/ 505 w 751"/>
                <a:gd name="T73" fmla="*/ 766 h 787"/>
                <a:gd name="T74" fmla="*/ 553 w 751"/>
                <a:gd name="T75" fmla="*/ 732 h 787"/>
                <a:gd name="T76" fmla="*/ 538 w 751"/>
                <a:gd name="T77" fmla="*/ 662 h 787"/>
                <a:gd name="T78" fmla="*/ 483 w 751"/>
                <a:gd name="T79" fmla="*/ 666 h 787"/>
                <a:gd name="T80" fmla="*/ 454 w 751"/>
                <a:gd name="T81" fmla="*/ 609 h 787"/>
                <a:gd name="T82" fmla="*/ 509 w 751"/>
                <a:gd name="T83" fmla="*/ 592 h 787"/>
                <a:gd name="T84" fmla="*/ 513 w 751"/>
                <a:gd name="T85" fmla="*/ 512 h 787"/>
                <a:gd name="T86" fmla="*/ 559 w 751"/>
                <a:gd name="T87" fmla="*/ 544 h 787"/>
                <a:gd name="T88" fmla="*/ 591 w 751"/>
                <a:gd name="T89" fmla="*/ 540 h 787"/>
                <a:gd name="T90" fmla="*/ 621 w 751"/>
                <a:gd name="T91" fmla="*/ 618 h 787"/>
                <a:gd name="T92" fmla="*/ 627 w 751"/>
                <a:gd name="T93" fmla="*/ 536 h 787"/>
                <a:gd name="T94" fmla="*/ 678 w 751"/>
                <a:gd name="T95" fmla="*/ 536 h 787"/>
                <a:gd name="T96" fmla="*/ 678 w 751"/>
                <a:gd name="T97" fmla="*/ 504 h 787"/>
                <a:gd name="T98" fmla="*/ 595 w 751"/>
                <a:gd name="T99" fmla="*/ 428 h 787"/>
                <a:gd name="T100" fmla="*/ 682 w 751"/>
                <a:gd name="T101" fmla="*/ 384 h 787"/>
                <a:gd name="T102" fmla="*/ 707 w 751"/>
                <a:gd name="T103" fmla="*/ 402 h 787"/>
                <a:gd name="T104" fmla="*/ 751 w 751"/>
                <a:gd name="T105" fmla="*/ 375 h 787"/>
                <a:gd name="T106" fmla="*/ 751 w 751"/>
                <a:gd name="T107" fmla="*/ 335 h 787"/>
                <a:gd name="T108" fmla="*/ 678 w 751"/>
                <a:gd name="T109" fmla="*/ 335 h 787"/>
                <a:gd name="T110" fmla="*/ 676 w 751"/>
                <a:gd name="T111" fmla="*/ 303 h 787"/>
                <a:gd name="T112" fmla="*/ 733 w 751"/>
                <a:gd name="T113" fmla="*/ 295 h 787"/>
                <a:gd name="T114" fmla="*/ 726 w 751"/>
                <a:gd name="T115" fmla="*/ 265 h 787"/>
                <a:gd name="T116" fmla="*/ 726 w 751"/>
                <a:gd name="T117" fmla="*/ 265 h 787"/>
                <a:gd name="T118" fmla="*/ 726 w 751"/>
                <a:gd name="T119" fmla="*/ 265 h 78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51"/>
                <a:gd name="T181" fmla="*/ 0 h 787"/>
                <a:gd name="T182" fmla="*/ 751 w 751"/>
                <a:gd name="T183" fmla="*/ 787 h 78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51" h="787">
                  <a:moveTo>
                    <a:pt x="726" y="265"/>
                  </a:moveTo>
                  <a:lnTo>
                    <a:pt x="671" y="276"/>
                  </a:lnTo>
                  <a:lnTo>
                    <a:pt x="612" y="166"/>
                  </a:lnTo>
                  <a:lnTo>
                    <a:pt x="549" y="132"/>
                  </a:lnTo>
                  <a:lnTo>
                    <a:pt x="496" y="154"/>
                  </a:lnTo>
                  <a:lnTo>
                    <a:pt x="467" y="132"/>
                  </a:lnTo>
                  <a:lnTo>
                    <a:pt x="467" y="111"/>
                  </a:lnTo>
                  <a:lnTo>
                    <a:pt x="502" y="76"/>
                  </a:lnTo>
                  <a:lnTo>
                    <a:pt x="448" y="0"/>
                  </a:lnTo>
                  <a:lnTo>
                    <a:pt x="344" y="44"/>
                  </a:lnTo>
                  <a:lnTo>
                    <a:pt x="311" y="19"/>
                  </a:lnTo>
                  <a:lnTo>
                    <a:pt x="268" y="35"/>
                  </a:lnTo>
                  <a:lnTo>
                    <a:pt x="254" y="67"/>
                  </a:lnTo>
                  <a:lnTo>
                    <a:pt x="192" y="57"/>
                  </a:lnTo>
                  <a:lnTo>
                    <a:pt x="190" y="97"/>
                  </a:lnTo>
                  <a:lnTo>
                    <a:pt x="165" y="107"/>
                  </a:lnTo>
                  <a:lnTo>
                    <a:pt x="201" y="145"/>
                  </a:lnTo>
                  <a:lnTo>
                    <a:pt x="201" y="293"/>
                  </a:lnTo>
                  <a:lnTo>
                    <a:pt x="167" y="312"/>
                  </a:lnTo>
                  <a:lnTo>
                    <a:pt x="125" y="291"/>
                  </a:lnTo>
                  <a:lnTo>
                    <a:pt x="24" y="356"/>
                  </a:lnTo>
                  <a:lnTo>
                    <a:pt x="24" y="381"/>
                  </a:lnTo>
                  <a:lnTo>
                    <a:pt x="0" y="375"/>
                  </a:lnTo>
                  <a:lnTo>
                    <a:pt x="0" y="394"/>
                  </a:lnTo>
                  <a:lnTo>
                    <a:pt x="47" y="411"/>
                  </a:lnTo>
                  <a:lnTo>
                    <a:pt x="24" y="557"/>
                  </a:lnTo>
                  <a:lnTo>
                    <a:pt x="81" y="679"/>
                  </a:lnTo>
                  <a:lnTo>
                    <a:pt x="230" y="639"/>
                  </a:lnTo>
                  <a:lnTo>
                    <a:pt x="262" y="533"/>
                  </a:lnTo>
                  <a:lnTo>
                    <a:pt x="342" y="468"/>
                  </a:lnTo>
                  <a:lnTo>
                    <a:pt x="395" y="483"/>
                  </a:lnTo>
                  <a:lnTo>
                    <a:pt x="387" y="554"/>
                  </a:lnTo>
                  <a:lnTo>
                    <a:pt x="298" y="664"/>
                  </a:lnTo>
                  <a:lnTo>
                    <a:pt x="368" y="675"/>
                  </a:lnTo>
                  <a:lnTo>
                    <a:pt x="378" y="757"/>
                  </a:lnTo>
                  <a:lnTo>
                    <a:pt x="441" y="787"/>
                  </a:lnTo>
                  <a:lnTo>
                    <a:pt x="505" y="766"/>
                  </a:lnTo>
                  <a:lnTo>
                    <a:pt x="553" y="732"/>
                  </a:lnTo>
                  <a:lnTo>
                    <a:pt x="538" y="662"/>
                  </a:lnTo>
                  <a:lnTo>
                    <a:pt x="483" y="666"/>
                  </a:lnTo>
                  <a:lnTo>
                    <a:pt x="454" y="609"/>
                  </a:lnTo>
                  <a:lnTo>
                    <a:pt x="509" y="592"/>
                  </a:lnTo>
                  <a:lnTo>
                    <a:pt x="513" y="512"/>
                  </a:lnTo>
                  <a:lnTo>
                    <a:pt x="559" y="544"/>
                  </a:lnTo>
                  <a:lnTo>
                    <a:pt x="591" y="540"/>
                  </a:lnTo>
                  <a:lnTo>
                    <a:pt x="621" y="618"/>
                  </a:lnTo>
                  <a:lnTo>
                    <a:pt x="627" y="536"/>
                  </a:lnTo>
                  <a:lnTo>
                    <a:pt x="678" y="536"/>
                  </a:lnTo>
                  <a:lnTo>
                    <a:pt x="678" y="504"/>
                  </a:lnTo>
                  <a:lnTo>
                    <a:pt x="595" y="428"/>
                  </a:lnTo>
                  <a:lnTo>
                    <a:pt x="682" y="384"/>
                  </a:lnTo>
                  <a:lnTo>
                    <a:pt x="707" y="402"/>
                  </a:lnTo>
                  <a:lnTo>
                    <a:pt x="751" y="375"/>
                  </a:lnTo>
                  <a:lnTo>
                    <a:pt x="751" y="335"/>
                  </a:lnTo>
                  <a:lnTo>
                    <a:pt x="678" y="335"/>
                  </a:lnTo>
                  <a:lnTo>
                    <a:pt x="676" y="303"/>
                  </a:lnTo>
                  <a:lnTo>
                    <a:pt x="733" y="295"/>
                  </a:lnTo>
                  <a:lnTo>
                    <a:pt x="726" y="265"/>
                  </a:lnTo>
                  <a:close/>
                </a:path>
              </a:pathLst>
            </a:custGeom>
            <a:grpFill/>
            <a:ln w="12700">
              <a:solidFill>
                <a:schemeClr val="bg1"/>
              </a:solidFill>
              <a:round/>
              <a:headEnd/>
              <a:tailEnd/>
            </a:ln>
          </p:spPr>
          <p:txBody>
            <a:bodyPr/>
            <a:lstStyle/>
            <a:p>
              <a:pPr>
                <a:defRPr/>
              </a:pPr>
              <a:endParaRPr lang="en-US" sz="1350"/>
            </a:p>
          </p:txBody>
        </p:sp>
        <p:sp>
          <p:nvSpPr>
            <p:cNvPr id="43" name="Freeform 68">
              <a:extLst>
                <a:ext uri="{FF2B5EF4-FFF2-40B4-BE49-F238E27FC236}">
                  <a16:creationId xmlns:a16="http://schemas.microsoft.com/office/drawing/2014/main" id="{6CBE8797-7D20-4311-9C7B-E7054C976EDD}"/>
                </a:ext>
              </a:extLst>
            </p:cNvPr>
            <p:cNvSpPr>
              <a:spLocks/>
            </p:cNvSpPr>
            <p:nvPr/>
          </p:nvSpPr>
          <p:spPr bwMode="gray">
            <a:xfrm>
              <a:off x="7607300" y="4133850"/>
              <a:ext cx="446088" cy="511175"/>
            </a:xfrm>
            <a:custGeom>
              <a:avLst/>
              <a:gdLst>
                <a:gd name="T0" fmla="*/ 342 w 563"/>
                <a:gd name="T1" fmla="*/ 0 h 642"/>
                <a:gd name="T2" fmla="*/ 300 w 563"/>
                <a:gd name="T3" fmla="*/ 26 h 642"/>
                <a:gd name="T4" fmla="*/ 165 w 563"/>
                <a:gd name="T5" fmla="*/ 15 h 642"/>
                <a:gd name="T6" fmla="*/ 158 w 563"/>
                <a:gd name="T7" fmla="*/ 87 h 642"/>
                <a:gd name="T8" fmla="*/ 175 w 563"/>
                <a:gd name="T9" fmla="*/ 161 h 642"/>
                <a:gd name="T10" fmla="*/ 93 w 563"/>
                <a:gd name="T11" fmla="*/ 178 h 642"/>
                <a:gd name="T12" fmla="*/ 0 w 563"/>
                <a:gd name="T13" fmla="*/ 256 h 642"/>
                <a:gd name="T14" fmla="*/ 10 w 563"/>
                <a:gd name="T15" fmla="*/ 268 h 642"/>
                <a:gd name="T16" fmla="*/ 34 w 563"/>
                <a:gd name="T17" fmla="*/ 283 h 642"/>
                <a:gd name="T18" fmla="*/ 46 w 563"/>
                <a:gd name="T19" fmla="*/ 264 h 642"/>
                <a:gd name="T20" fmla="*/ 86 w 563"/>
                <a:gd name="T21" fmla="*/ 264 h 642"/>
                <a:gd name="T22" fmla="*/ 88 w 563"/>
                <a:gd name="T23" fmla="*/ 287 h 642"/>
                <a:gd name="T24" fmla="*/ 38 w 563"/>
                <a:gd name="T25" fmla="*/ 349 h 642"/>
                <a:gd name="T26" fmla="*/ 38 w 563"/>
                <a:gd name="T27" fmla="*/ 376 h 642"/>
                <a:gd name="T28" fmla="*/ 118 w 563"/>
                <a:gd name="T29" fmla="*/ 397 h 642"/>
                <a:gd name="T30" fmla="*/ 135 w 563"/>
                <a:gd name="T31" fmla="*/ 420 h 642"/>
                <a:gd name="T32" fmla="*/ 74 w 563"/>
                <a:gd name="T33" fmla="*/ 492 h 642"/>
                <a:gd name="T34" fmla="*/ 91 w 563"/>
                <a:gd name="T35" fmla="*/ 507 h 642"/>
                <a:gd name="T36" fmla="*/ 93 w 563"/>
                <a:gd name="T37" fmla="*/ 532 h 642"/>
                <a:gd name="T38" fmla="*/ 63 w 563"/>
                <a:gd name="T39" fmla="*/ 530 h 642"/>
                <a:gd name="T40" fmla="*/ 63 w 563"/>
                <a:gd name="T41" fmla="*/ 602 h 642"/>
                <a:gd name="T42" fmla="*/ 93 w 563"/>
                <a:gd name="T43" fmla="*/ 633 h 642"/>
                <a:gd name="T44" fmla="*/ 131 w 563"/>
                <a:gd name="T45" fmla="*/ 642 h 642"/>
                <a:gd name="T46" fmla="*/ 112 w 563"/>
                <a:gd name="T47" fmla="*/ 598 h 642"/>
                <a:gd name="T48" fmla="*/ 211 w 563"/>
                <a:gd name="T49" fmla="*/ 596 h 642"/>
                <a:gd name="T50" fmla="*/ 226 w 563"/>
                <a:gd name="T51" fmla="*/ 558 h 642"/>
                <a:gd name="T52" fmla="*/ 283 w 563"/>
                <a:gd name="T53" fmla="*/ 574 h 642"/>
                <a:gd name="T54" fmla="*/ 325 w 563"/>
                <a:gd name="T55" fmla="*/ 547 h 642"/>
                <a:gd name="T56" fmla="*/ 437 w 563"/>
                <a:gd name="T57" fmla="*/ 530 h 642"/>
                <a:gd name="T58" fmla="*/ 413 w 563"/>
                <a:gd name="T59" fmla="*/ 450 h 642"/>
                <a:gd name="T60" fmla="*/ 513 w 563"/>
                <a:gd name="T61" fmla="*/ 345 h 642"/>
                <a:gd name="T62" fmla="*/ 477 w 563"/>
                <a:gd name="T63" fmla="*/ 319 h 642"/>
                <a:gd name="T64" fmla="*/ 563 w 563"/>
                <a:gd name="T65" fmla="*/ 125 h 642"/>
                <a:gd name="T66" fmla="*/ 392 w 563"/>
                <a:gd name="T67" fmla="*/ 74 h 642"/>
                <a:gd name="T68" fmla="*/ 342 w 563"/>
                <a:gd name="T69" fmla="*/ 0 h 642"/>
                <a:gd name="T70" fmla="*/ 342 w 563"/>
                <a:gd name="T71" fmla="*/ 0 h 642"/>
                <a:gd name="T72" fmla="*/ 342 w 563"/>
                <a:gd name="T73" fmla="*/ 0 h 6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63"/>
                <a:gd name="T112" fmla="*/ 0 h 642"/>
                <a:gd name="T113" fmla="*/ 563 w 563"/>
                <a:gd name="T114" fmla="*/ 642 h 6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63" h="642">
                  <a:moveTo>
                    <a:pt x="342" y="0"/>
                  </a:moveTo>
                  <a:lnTo>
                    <a:pt x="300" y="26"/>
                  </a:lnTo>
                  <a:lnTo>
                    <a:pt x="165" y="15"/>
                  </a:lnTo>
                  <a:lnTo>
                    <a:pt x="158" y="87"/>
                  </a:lnTo>
                  <a:lnTo>
                    <a:pt x="175" y="161"/>
                  </a:lnTo>
                  <a:lnTo>
                    <a:pt x="93" y="178"/>
                  </a:lnTo>
                  <a:lnTo>
                    <a:pt x="0" y="256"/>
                  </a:lnTo>
                  <a:lnTo>
                    <a:pt x="10" y="268"/>
                  </a:lnTo>
                  <a:lnTo>
                    <a:pt x="34" y="283"/>
                  </a:lnTo>
                  <a:lnTo>
                    <a:pt x="46" y="264"/>
                  </a:lnTo>
                  <a:lnTo>
                    <a:pt x="86" y="264"/>
                  </a:lnTo>
                  <a:lnTo>
                    <a:pt x="88" y="287"/>
                  </a:lnTo>
                  <a:lnTo>
                    <a:pt x="38" y="349"/>
                  </a:lnTo>
                  <a:lnTo>
                    <a:pt x="38" y="376"/>
                  </a:lnTo>
                  <a:lnTo>
                    <a:pt x="118" y="397"/>
                  </a:lnTo>
                  <a:lnTo>
                    <a:pt x="135" y="420"/>
                  </a:lnTo>
                  <a:lnTo>
                    <a:pt x="74" y="492"/>
                  </a:lnTo>
                  <a:lnTo>
                    <a:pt x="91" y="507"/>
                  </a:lnTo>
                  <a:lnTo>
                    <a:pt x="93" y="532"/>
                  </a:lnTo>
                  <a:lnTo>
                    <a:pt x="63" y="530"/>
                  </a:lnTo>
                  <a:lnTo>
                    <a:pt x="63" y="602"/>
                  </a:lnTo>
                  <a:lnTo>
                    <a:pt x="93" y="633"/>
                  </a:lnTo>
                  <a:lnTo>
                    <a:pt x="131" y="642"/>
                  </a:lnTo>
                  <a:lnTo>
                    <a:pt x="112" y="598"/>
                  </a:lnTo>
                  <a:lnTo>
                    <a:pt x="211" y="596"/>
                  </a:lnTo>
                  <a:lnTo>
                    <a:pt x="226" y="558"/>
                  </a:lnTo>
                  <a:lnTo>
                    <a:pt x="283" y="574"/>
                  </a:lnTo>
                  <a:lnTo>
                    <a:pt x="325" y="547"/>
                  </a:lnTo>
                  <a:lnTo>
                    <a:pt x="437" y="530"/>
                  </a:lnTo>
                  <a:lnTo>
                    <a:pt x="413" y="450"/>
                  </a:lnTo>
                  <a:lnTo>
                    <a:pt x="513" y="345"/>
                  </a:lnTo>
                  <a:lnTo>
                    <a:pt x="477" y="319"/>
                  </a:lnTo>
                  <a:lnTo>
                    <a:pt x="563" y="125"/>
                  </a:lnTo>
                  <a:lnTo>
                    <a:pt x="392" y="74"/>
                  </a:lnTo>
                  <a:lnTo>
                    <a:pt x="342" y="0"/>
                  </a:lnTo>
                  <a:close/>
                </a:path>
              </a:pathLst>
            </a:custGeom>
            <a:grpFill/>
            <a:ln w="12700">
              <a:solidFill>
                <a:schemeClr val="bg1"/>
              </a:solidFill>
              <a:round/>
              <a:headEnd/>
              <a:tailEnd/>
            </a:ln>
          </p:spPr>
          <p:txBody>
            <a:bodyPr/>
            <a:lstStyle/>
            <a:p>
              <a:pPr>
                <a:defRPr/>
              </a:pPr>
              <a:endParaRPr lang="en-US" sz="1350"/>
            </a:p>
          </p:txBody>
        </p:sp>
        <p:sp>
          <p:nvSpPr>
            <p:cNvPr id="44" name="Freeform 69">
              <a:extLst>
                <a:ext uri="{FF2B5EF4-FFF2-40B4-BE49-F238E27FC236}">
                  <a16:creationId xmlns:a16="http://schemas.microsoft.com/office/drawing/2014/main" id="{FF5DB1A0-8326-42FF-BE87-0A031D07524C}"/>
                </a:ext>
              </a:extLst>
            </p:cNvPr>
            <p:cNvSpPr>
              <a:spLocks/>
            </p:cNvSpPr>
            <p:nvPr/>
          </p:nvSpPr>
          <p:spPr bwMode="gray">
            <a:xfrm>
              <a:off x="7600950" y="4549775"/>
              <a:ext cx="735013" cy="509587"/>
            </a:xfrm>
            <a:custGeom>
              <a:avLst/>
              <a:gdLst>
                <a:gd name="T0" fmla="*/ 688 w 925"/>
                <a:gd name="T1" fmla="*/ 38 h 643"/>
                <a:gd name="T2" fmla="*/ 515 w 925"/>
                <a:gd name="T3" fmla="*/ 0 h 643"/>
                <a:gd name="T4" fmla="*/ 456 w 925"/>
                <a:gd name="T5" fmla="*/ 40 h 643"/>
                <a:gd name="T6" fmla="*/ 444 w 925"/>
                <a:gd name="T7" fmla="*/ 8 h 643"/>
                <a:gd name="T8" fmla="*/ 332 w 925"/>
                <a:gd name="T9" fmla="*/ 23 h 643"/>
                <a:gd name="T10" fmla="*/ 290 w 925"/>
                <a:gd name="T11" fmla="*/ 52 h 643"/>
                <a:gd name="T12" fmla="*/ 231 w 925"/>
                <a:gd name="T13" fmla="*/ 36 h 643"/>
                <a:gd name="T14" fmla="*/ 218 w 925"/>
                <a:gd name="T15" fmla="*/ 76 h 643"/>
                <a:gd name="T16" fmla="*/ 121 w 925"/>
                <a:gd name="T17" fmla="*/ 72 h 643"/>
                <a:gd name="T18" fmla="*/ 136 w 925"/>
                <a:gd name="T19" fmla="*/ 122 h 643"/>
                <a:gd name="T20" fmla="*/ 100 w 925"/>
                <a:gd name="T21" fmla="*/ 109 h 643"/>
                <a:gd name="T22" fmla="*/ 72 w 925"/>
                <a:gd name="T23" fmla="*/ 78 h 643"/>
                <a:gd name="T24" fmla="*/ 17 w 925"/>
                <a:gd name="T25" fmla="*/ 67 h 643"/>
                <a:gd name="T26" fmla="*/ 3 w 925"/>
                <a:gd name="T27" fmla="*/ 120 h 643"/>
                <a:gd name="T28" fmla="*/ 22 w 925"/>
                <a:gd name="T29" fmla="*/ 160 h 643"/>
                <a:gd name="T30" fmla="*/ 0 w 925"/>
                <a:gd name="T31" fmla="*/ 190 h 643"/>
                <a:gd name="T32" fmla="*/ 38 w 925"/>
                <a:gd name="T33" fmla="*/ 244 h 643"/>
                <a:gd name="T34" fmla="*/ 1 w 925"/>
                <a:gd name="T35" fmla="*/ 282 h 643"/>
                <a:gd name="T36" fmla="*/ 3 w 925"/>
                <a:gd name="T37" fmla="*/ 301 h 643"/>
                <a:gd name="T38" fmla="*/ 32 w 925"/>
                <a:gd name="T39" fmla="*/ 321 h 643"/>
                <a:gd name="T40" fmla="*/ 85 w 925"/>
                <a:gd name="T41" fmla="*/ 301 h 643"/>
                <a:gd name="T42" fmla="*/ 148 w 925"/>
                <a:gd name="T43" fmla="*/ 335 h 643"/>
                <a:gd name="T44" fmla="*/ 207 w 925"/>
                <a:gd name="T45" fmla="*/ 447 h 643"/>
                <a:gd name="T46" fmla="*/ 262 w 925"/>
                <a:gd name="T47" fmla="*/ 434 h 643"/>
                <a:gd name="T48" fmla="*/ 288 w 925"/>
                <a:gd name="T49" fmla="*/ 398 h 643"/>
                <a:gd name="T50" fmla="*/ 271 w 925"/>
                <a:gd name="T51" fmla="*/ 354 h 643"/>
                <a:gd name="T52" fmla="*/ 340 w 925"/>
                <a:gd name="T53" fmla="*/ 354 h 643"/>
                <a:gd name="T54" fmla="*/ 347 w 925"/>
                <a:gd name="T55" fmla="*/ 405 h 643"/>
                <a:gd name="T56" fmla="*/ 433 w 925"/>
                <a:gd name="T57" fmla="*/ 358 h 643"/>
                <a:gd name="T58" fmla="*/ 414 w 925"/>
                <a:gd name="T59" fmla="*/ 415 h 643"/>
                <a:gd name="T60" fmla="*/ 486 w 925"/>
                <a:gd name="T61" fmla="*/ 451 h 643"/>
                <a:gd name="T62" fmla="*/ 467 w 925"/>
                <a:gd name="T63" fmla="*/ 468 h 643"/>
                <a:gd name="T64" fmla="*/ 501 w 925"/>
                <a:gd name="T65" fmla="*/ 502 h 643"/>
                <a:gd name="T66" fmla="*/ 494 w 925"/>
                <a:gd name="T67" fmla="*/ 534 h 643"/>
                <a:gd name="T68" fmla="*/ 535 w 925"/>
                <a:gd name="T69" fmla="*/ 559 h 643"/>
                <a:gd name="T70" fmla="*/ 551 w 925"/>
                <a:gd name="T71" fmla="*/ 548 h 643"/>
                <a:gd name="T72" fmla="*/ 627 w 925"/>
                <a:gd name="T73" fmla="*/ 574 h 643"/>
                <a:gd name="T74" fmla="*/ 547 w 925"/>
                <a:gd name="T75" fmla="*/ 500 h 643"/>
                <a:gd name="T76" fmla="*/ 564 w 925"/>
                <a:gd name="T77" fmla="*/ 462 h 643"/>
                <a:gd name="T78" fmla="*/ 613 w 925"/>
                <a:gd name="T79" fmla="*/ 470 h 643"/>
                <a:gd name="T80" fmla="*/ 678 w 925"/>
                <a:gd name="T81" fmla="*/ 468 h 643"/>
                <a:gd name="T82" fmla="*/ 667 w 925"/>
                <a:gd name="T83" fmla="*/ 612 h 643"/>
                <a:gd name="T84" fmla="*/ 720 w 925"/>
                <a:gd name="T85" fmla="*/ 643 h 643"/>
                <a:gd name="T86" fmla="*/ 794 w 925"/>
                <a:gd name="T87" fmla="*/ 601 h 643"/>
                <a:gd name="T88" fmla="*/ 794 w 925"/>
                <a:gd name="T89" fmla="*/ 548 h 643"/>
                <a:gd name="T90" fmla="*/ 925 w 925"/>
                <a:gd name="T91" fmla="*/ 455 h 643"/>
                <a:gd name="T92" fmla="*/ 891 w 925"/>
                <a:gd name="T93" fmla="*/ 301 h 643"/>
                <a:gd name="T94" fmla="*/ 828 w 925"/>
                <a:gd name="T95" fmla="*/ 289 h 643"/>
                <a:gd name="T96" fmla="*/ 781 w 925"/>
                <a:gd name="T97" fmla="*/ 244 h 643"/>
                <a:gd name="T98" fmla="*/ 870 w 925"/>
                <a:gd name="T99" fmla="*/ 160 h 643"/>
                <a:gd name="T100" fmla="*/ 853 w 925"/>
                <a:gd name="T101" fmla="*/ 150 h 643"/>
                <a:gd name="T102" fmla="*/ 796 w 925"/>
                <a:gd name="T103" fmla="*/ 143 h 643"/>
                <a:gd name="T104" fmla="*/ 771 w 925"/>
                <a:gd name="T105" fmla="*/ 72 h 643"/>
                <a:gd name="T106" fmla="*/ 688 w 925"/>
                <a:gd name="T107" fmla="*/ 38 h 643"/>
                <a:gd name="T108" fmla="*/ 688 w 925"/>
                <a:gd name="T109" fmla="*/ 38 h 643"/>
                <a:gd name="T110" fmla="*/ 688 w 925"/>
                <a:gd name="T111" fmla="*/ 38 h 64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925"/>
                <a:gd name="T169" fmla="*/ 0 h 643"/>
                <a:gd name="T170" fmla="*/ 925 w 925"/>
                <a:gd name="T171" fmla="*/ 643 h 64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925" h="643">
                  <a:moveTo>
                    <a:pt x="688" y="38"/>
                  </a:moveTo>
                  <a:lnTo>
                    <a:pt x="515" y="0"/>
                  </a:lnTo>
                  <a:lnTo>
                    <a:pt x="456" y="40"/>
                  </a:lnTo>
                  <a:lnTo>
                    <a:pt x="444" y="8"/>
                  </a:lnTo>
                  <a:lnTo>
                    <a:pt x="332" y="23"/>
                  </a:lnTo>
                  <a:lnTo>
                    <a:pt x="290" y="52"/>
                  </a:lnTo>
                  <a:lnTo>
                    <a:pt x="231" y="36"/>
                  </a:lnTo>
                  <a:lnTo>
                    <a:pt x="218" y="76"/>
                  </a:lnTo>
                  <a:lnTo>
                    <a:pt x="121" y="72"/>
                  </a:lnTo>
                  <a:lnTo>
                    <a:pt x="136" y="122"/>
                  </a:lnTo>
                  <a:lnTo>
                    <a:pt x="100" y="109"/>
                  </a:lnTo>
                  <a:lnTo>
                    <a:pt x="72" y="78"/>
                  </a:lnTo>
                  <a:lnTo>
                    <a:pt x="17" y="67"/>
                  </a:lnTo>
                  <a:lnTo>
                    <a:pt x="3" y="120"/>
                  </a:lnTo>
                  <a:lnTo>
                    <a:pt x="22" y="160"/>
                  </a:lnTo>
                  <a:lnTo>
                    <a:pt x="0" y="190"/>
                  </a:lnTo>
                  <a:lnTo>
                    <a:pt x="38" y="244"/>
                  </a:lnTo>
                  <a:lnTo>
                    <a:pt x="1" y="282"/>
                  </a:lnTo>
                  <a:lnTo>
                    <a:pt x="3" y="301"/>
                  </a:lnTo>
                  <a:lnTo>
                    <a:pt x="32" y="321"/>
                  </a:lnTo>
                  <a:lnTo>
                    <a:pt x="85" y="301"/>
                  </a:lnTo>
                  <a:lnTo>
                    <a:pt x="148" y="335"/>
                  </a:lnTo>
                  <a:lnTo>
                    <a:pt x="207" y="447"/>
                  </a:lnTo>
                  <a:lnTo>
                    <a:pt x="262" y="434"/>
                  </a:lnTo>
                  <a:lnTo>
                    <a:pt x="288" y="398"/>
                  </a:lnTo>
                  <a:lnTo>
                    <a:pt x="271" y="354"/>
                  </a:lnTo>
                  <a:lnTo>
                    <a:pt x="340" y="354"/>
                  </a:lnTo>
                  <a:lnTo>
                    <a:pt x="347" y="405"/>
                  </a:lnTo>
                  <a:lnTo>
                    <a:pt x="433" y="358"/>
                  </a:lnTo>
                  <a:lnTo>
                    <a:pt x="414" y="415"/>
                  </a:lnTo>
                  <a:lnTo>
                    <a:pt x="486" y="451"/>
                  </a:lnTo>
                  <a:lnTo>
                    <a:pt x="467" y="468"/>
                  </a:lnTo>
                  <a:lnTo>
                    <a:pt x="501" y="502"/>
                  </a:lnTo>
                  <a:lnTo>
                    <a:pt x="494" y="534"/>
                  </a:lnTo>
                  <a:lnTo>
                    <a:pt x="535" y="559"/>
                  </a:lnTo>
                  <a:lnTo>
                    <a:pt x="551" y="548"/>
                  </a:lnTo>
                  <a:lnTo>
                    <a:pt x="627" y="574"/>
                  </a:lnTo>
                  <a:lnTo>
                    <a:pt x="547" y="500"/>
                  </a:lnTo>
                  <a:lnTo>
                    <a:pt x="564" y="462"/>
                  </a:lnTo>
                  <a:lnTo>
                    <a:pt x="613" y="470"/>
                  </a:lnTo>
                  <a:lnTo>
                    <a:pt x="678" y="468"/>
                  </a:lnTo>
                  <a:lnTo>
                    <a:pt x="667" y="612"/>
                  </a:lnTo>
                  <a:lnTo>
                    <a:pt x="720" y="643"/>
                  </a:lnTo>
                  <a:lnTo>
                    <a:pt x="794" y="601"/>
                  </a:lnTo>
                  <a:lnTo>
                    <a:pt x="794" y="548"/>
                  </a:lnTo>
                  <a:lnTo>
                    <a:pt x="925" y="455"/>
                  </a:lnTo>
                  <a:lnTo>
                    <a:pt x="891" y="301"/>
                  </a:lnTo>
                  <a:lnTo>
                    <a:pt x="828" y="289"/>
                  </a:lnTo>
                  <a:lnTo>
                    <a:pt x="781" y="244"/>
                  </a:lnTo>
                  <a:lnTo>
                    <a:pt x="870" y="160"/>
                  </a:lnTo>
                  <a:lnTo>
                    <a:pt x="853" y="150"/>
                  </a:lnTo>
                  <a:lnTo>
                    <a:pt x="796" y="143"/>
                  </a:lnTo>
                  <a:lnTo>
                    <a:pt x="771" y="72"/>
                  </a:lnTo>
                  <a:lnTo>
                    <a:pt x="688" y="38"/>
                  </a:lnTo>
                  <a:close/>
                </a:path>
              </a:pathLst>
            </a:custGeom>
            <a:grpFill/>
            <a:ln w="12700">
              <a:solidFill>
                <a:schemeClr val="bg1"/>
              </a:solidFill>
              <a:round/>
              <a:headEnd/>
              <a:tailEnd/>
            </a:ln>
          </p:spPr>
          <p:txBody>
            <a:bodyPr/>
            <a:lstStyle/>
            <a:p>
              <a:pPr>
                <a:defRPr/>
              </a:pPr>
              <a:endParaRPr lang="en-US" sz="1350"/>
            </a:p>
          </p:txBody>
        </p:sp>
        <p:sp>
          <p:nvSpPr>
            <p:cNvPr id="45" name="Freeform 70">
              <a:extLst>
                <a:ext uri="{FF2B5EF4-FFF2-40B4-BE49-F238E27FC236}">
                  <a16:creationId xmlns:a16="http://schemas.microsoft.com/office/drawing/2014/main" id="{DB14DA4D-2A7E-4931-B81E-BE19EC17681A}"/>
                </a:ext>
              </a:extLst>
            </p:cNvPr>
            <p:cNvSpPr>
              <a:spLocks/>
            </p:cNvSpPr>
            <p:nvPr/>
          </p:nvSpPr>
          <p:spPr bwMode="gray">
            <a:xfrm>
              <a:off x="7532688" y="4829175"/>
              <a:ext cx="608013" cy="749300"/>
            </a:xfrm>
            <a:custGeom>
              <a:avLst/>
              <a:gdLst>
                <a:gd name="T0" fmla="*/ 766 w 766"/>
                <a:gd name="T1" fmla="*/ 112 h 943"/>
                <a:gd name="T2" fmla="*/ 652 w 766"/>
                <a:gd name="T3" fmla="*/ 106 h 943"/>
                <a:gd name="T4" fmla="*/ 713 w 766"/>
                <a:gd name="T5" fmla="*/ 220 h 943"/>
                <a:gd name="T6" fmla="*/ 622 w 766"/>
                <a:gd name="T7" fmla="*/ 203 h 943"/>
                <a:gd name="T8" fmla="*/ 591 w 766"/>
                <a:gd name="T9" fmla="*/ 142 h 943"/>
                <a:gd name="T10" fmla="*/ 574 w 766"/>
                <a:gd name="T11" fmla="*/ 97 h 943"/>
                <a:gd name="T12" fmla="*/ 523 w 766"/>
                <a:gd name="T13" fmla="*/ 2 h 943"/>
                <a:gd name="T14" fmla="*/ 426 w 766"/>
                <a:gd name="T15" fmla="*/ 0 h 943"/>
                <a:gd name="T16" fmla="*/ 375 w 766"/>
                <a:gd name="T17" fmla="*/ 45 h 943"/>
                <a:gd name="T18" fmla="*/ 356 w 766"/>
                <a:gd name="T19" fmla="*/ 110 h 943"/>
                <a:gd name="T20" fmla="*/ 302 w 766"/>
                <a:gd name="T21" fmla="*/ 150 h 943"/>
                <a:gd name="T22" fmla="*/ 375 w 766"/>
                <a:gd name="T23" fmla="*/ 190 h 943"/>
                <a:gd name="T24" fmla="*/ 304 w 766"/>
                <a:gd name="T25" fmla="*/ 199 h 943"/>
                <a:gd name="T26" fmla="*/ 302 w 766"/>
                <a:gd name="T27" fmla="*/ 321 h 943"/>
                <a:gd name="T28" fmla="*/ 251 w 766"/>
                <a:gd name="T29" fmla="*/ 351 h 943"/>
                <a:gd name="T30" fmla="*/ 213 w 766"/>
                <a:gd name="T31" fmla="*/ 353 h 943"/>
                <a:gd name="T32" fmla="*/ 135 w 766"/>
                <a:gd name="T33" fmla="*/ 321 h 943"/>
                <a:gd name="T34" fmla="*/ 78 w 766"/>
                <a:gd name="T35" fmla="*/ 422 h 943"/>
                <a:gd name="T36" fmla="*/ 162 w 766"/>
                <a:gd name="T37" fmla="*/ 481 h 943"/>
                <a:gd name="T38" fmla="*/ 118 w 766"/>
                <a:gd name="T39" fmla="*/ 583 h 943"/>
                <a:gd name="T40" fmla="*/ 0 w 766"/>
                <a:gd name="T41" fmla="*/ 570 h 943"/>
                <a:gd name="T42" fmla="*/ 59 w 766"/>
                <a:gd name="T43" fmla="*/ 669 h 943"/>
                <a:gd name="T44" fmla="*/ 194 w 766"/>
                <a:gd name="T45" fmla="*/ 779 h 943"/>
                <a:gd name="T46" fmla="*/ 298 w 766"/>
                <a:gd name="T47" fmla="*/ 832 h 943"/>
                <a:gd name="T48" fmla="*/ 395 w 766"/>
                <a:gd name="T49" fmla="*/ 943 h 943"/>
                <a:gd name="T50" fmla="*/ 473 w 766"/>
                <a:gd name="T51" fmla="*/ 912 h 943"/>
                <a:gd name="T52" fmla="*/ 660 w 766"/>
                <a:gd name="T53" fmla="*/ 889 h 943"/>
                <a:gd name="T54" fmla="*/ 644 w 766"/>
                <a:gd name="T55" fmla="*/ 760 h 943"/>
                <a:gd name="T56" fmla="*/ 568 w 766"/>
                <a:gd name="T57" fmla="*/ 610 h 943"/>
                <a:gd name="T58" fmla="*/ 639 w 766"/>
                <a:gd name="T59" fmla="*/ 466 h 943"/>
                <a:gd name="T60" fmla="*/ 686 w 766"/>
                <a:gd name="T61" fmla="*/ 332 h 943"/>
                <a:gd name="T62" fmla="*/ 758 w 766"/>
                <a:gd name="T63" fmla="*/ 258 h 943"/>
                <a:gd name="T64" fmla="*/ 758 w 766"/>
                <a:gd name="T65" fmla="*/ 258 h 94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66"/>
                <a:gd name="T100" fmla="*/ 0 h 943"/>
                <a:gd name="T101" fmla="*/ 766 w 766"/>
                <a:gd name="T102" fmla="*/ 943 h 94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66" h="943">
                  <a:moveTo>
                    <a:pt x="758" y="258"/>
                  </a:moveTo>
                  <a:lnTo>
                    <a:pt x="766" y="112"/>
                  </a:lnTo>
                  <a:lnTo>
                    <a:pt x="694" y="112"/>
                  </a:lnTo>
                  <a:lnTo>
                    <a:pt x="652" y="106"/>
                  </a:lnTo>
                  <a:lnTo>
                    <a:pt x="633" y="150"/>
                  </a:lnTo>
                  <a:lnTo>
                    <a:pt x="713" y="220"/>
                  </a:lnTo>
                  <a:lnTo>
                    <a:pt x="641" y="194"/>
                  </a:lnTo>
                  <a:lnTo>
                    <a:pt x="622" y="203"/>
                  </a:lnTo>
                  <a:lnTo>
                    <a:pt x="582" y="178"/>
                  </a:lnTo>
                  <a:lnTo>
                    <a:pt x="591" y="142"/>
                  </a:lnTo>
                  <a:lnTo>
                    <a:pt x="555" y="112"/>
                  </a:lnTo>
                  <a:lnTo>
                    <a:pt x="574" y="97"/>
                  </a:lnTo>
                  <a:lnTo>
                    <a:pt x="504" y="59"/>
                  </a:lnTo>
                  <a:lnTo>
                    <a:pt x="523" y="2"/>
                  </a:lnTo>
                  <a:lnTo>
                    <a:pt x="437" y="49"/>
                  </a:lnTo>
                  <a:lnTo>
                    <a:pt x="426" y="0"/>
                  </a:lnTo>
                  <a:lnTo>
                    <a:pt x="359" y="0"/>
                  </a:lnTo>
                  <a:lnTo>
                    <a:pt x="375" y="45"/>
                  </a:lnTo>
                  <a:lnTo>
                    <a:pt x="348" y="80"/>
                  </a:lnTo>
                  <a:lnTo>
                    <a:pt x="356" y="110"/>
                  </a:lnTo>
                  <a:lnTo>
                    <a:pt x="300" y="116"/>
                  </a:lnTo>
                  <a:lnTo>
                    <a:pt x="302" y="150"/>
                  </a:lnTo>
                  <a:lnTo>
                    <a:pt x="375" y="150"/>
                  </a:lnTo>
                  <a:lnTo>
                    <a:pt x="375" y="190"/>
                  </a:lnTo>
                  <a:lnTo>
                    <a:pt x="333" y="217"/>
                  </a:lnTo>
                  <a:lnTo>
                    <a:pt x="304" y="199"/>
                  </a:lnTo>
                  <a:lnTo>
                    <a:pt x="219" y="243"/>
                  </a:lnTo>
                  <a:lnTo>
                    <a:pt x="302" y="321"/>
                  </a:lnTo>
                  <a:lnTo>
                    <a:pt x="302" y="351"/>
                  </a:lnTo>
                  <a:lnTo>
                    <a:pt x="251" y="351"/>
                  </a:lnTo>
                  <a:lnTo>
                    <a:pt x="245" y="433"/>
                  </a:lnTo>
                  <a:lnTo>
                    <a:pt x="213" y="353"/>
                  </a:lnTo>
                  <a:lnTo>
                    <a:pt x="183" y="359"/>
                  </a:lnTo>
                  <a:lnTo>
                    <a:pt x="135" y="321"/>
                  </a:lnTo>
                  <a:lnTo>
                    <a:pt x="131" y="403"/>
                  </a:lnTo>
                  <a:lnTo>
                    <a:pt x="78" y="422"/>
                  </a:lnTo>
                  <a:lnTo>
                    <a:pt x="103" y="481"/>
                  </a:lnTo>
                  <a:lnTo>
                    <a:pt x="162" y="481"/>
                  </a:lnTo>
                  <a:lnTo>
                    <a:pt x="179" y="547"/>
                  </a:lnTo>
                  <a:lnTo>
                    <a:pt x="118" y="583"/>
                  </a:lnTo>
                  <a:lnTo>
                    <a:pt x="63" y="602"/>
                  </a:lnTo>
                  <a:lnTo>
                    <a:pt x="0" y="570"/>
                  </a:lnTo>
                  <a:lnTo>
                    <a:pt x="8" y="616"/>
                  </a:lnTo>
                  <a:lnTo>
                    <a:pt x="59" y="669"/>
                  </a:lnTo>
                  <a:lnTo>
                    <a:pt x="167" y="699"/>
                  </a:lnTo>
                  <a:lnTo>
                    <a:pt x="194" y="779"/>
                  </a:lnTo>
                  <a:lnTo>
                    <a:pt x="293" y="789"/>
                  </a:lnTo>
                  <a:lnTo>
                    <a:pt x="298" y="832"/>
                  </a:lnTo>
                  <a:lnTo>
                    <a:pt x="386" y="855"/>
                  </a:lnTo>
                  <a:lnTo>
                    <a:pt x="395" y="943"/>
                  </a:lnTo>
                  <a:lnTo>
                    <a:pt x="422" y="943"/>
                  </a:lnTo>
                  <a:lnTo>
                    <a:pt x="473" y="912"/>
                  </a:lnTo>
                  <a:lnTo>
                    <a:pt x="517" y="939"/>
                  </a:lnTo>
                  <a:lnTo>
                    <a:pt x="660" y="889"/>
                  </a:lnTo>
                  <a:lnTo>
                    <a:pt x="694" y="792"/>
                  </a:lnTo>
                  <a:lnTo>
                    <a:pt x="644" y="760"/>
                  </a:lnTo>
                  <a:lnTo>
                    <a:pt x="665" y="726"/>
                  </a:lnTo>
                  <a:lnTo>
                    <a:pt x="568" y="610"/>
                  </a:lnTo>
                  <a:lnTo>
                    <a:pt x="574" y="536"/>
                  </a:lnTo>
                  <a:lnTo>
                    <a:pt x="639" y="466"/>
                  </a:lnTo>
                  <a:lnTo>
                    <a:pt x="635" y="422"/>
                  </a:lnTo>
                  <a:lnTo>
                    <a:pt x="686" y="332"/>
                  </a:lnTo>
                  <a:lnTo>
                    <a:pt x="732" y="287"/>
                  </a:lnTo>
                  <a:lnTo>
                    <a:pt x="758" y="258"/>
                  </a:lnTo>
                  <a:close/>
                </a:path>
              </a:pathLst>
            </a:custGeom>
            <a:grpFill/>
            <a:ln w="12700">
              <a:solidFill>
                <a:schemeClr val="bg1"/>
              </a:solidFill>
              <a:round/>
              <a:headEnd/>
              <a:tailEnd/>
            </a:ln>
          </p:spPr>
          <p:txBody>
            <a:bodyPr/>
            <a:lstStyle/>
            <a:p>
              <a:pPr>
                <a:defRPr/>
              </a:pPr>
              <a:endParaRPr lang="en-US" sz="1350"/>
            </a:p>
          </p:txBody>
        </p:sp>
      </p:grpSp>
      <p:grpSp>
        <p:nvGrpSpPr>
          <p:cNvPr id="46" name="Group 72">
            <a:extLst>
              <a:ext uri="{FF2B5EF4-FFF2-40B4-BE49-F238E27FC236}">
                <a16:creationId xmlns:a16="http://schemas.microsoft.com/office/drawing/2014/main" id="{450A6B20-5C22-4840-8462-48778CC487E9}"/>
              </a:ext>
            </a:extLst>
          </p:cNvPr>
          <p:cNvGrpSpPr/>
          <p:nvPr>
            <p:custDataLst>
              <p:tags r:id="rId1"/>
            </p:custDataLst>
          </p:nvPr>
        </p:nvGrpSpPr>
        <p:grpSpPr bwMode="gray">
          <a:xfrm>
            <a:off x="5562451" y="1367633"/>
            <a:ext cx="1796105" cy="2784614"/>
            <a:chOff x="2579655" y="974725"/>
            <a:chExt cx="4054694" cy="5464175"/>
          </a:xfrm>
          <a:solidFill>
            <a:schemeClr val="accent1"/>
          </a:solidFill>
        </p:grpSpPr>
        <p:sp>
          <p:nvSpPr>
            <p:cNvPr id="47" name="Freeform 47">
              <a:extLst>
                <a:ext uri="{FF2B5EF4-FFF2-40B4-BE49-F238E27FC236}">
                  <a16:creationId xmlns:a16="http://schemas.microsoft.com/office/drawing/2014/main" id="{461CDA85-77E5-4C8D-B3A2-4E08826861E4}"/>
                </a:ext>
              </a:extLst>
            </p:cNvPr>
            <p:cNvSpPr/>
            <p:nvPr>
              <p:custDataLst>
                <p:tags r:id="rId2"/>
              </p:custDataLst>
            </p:nvPr>
          </p:nvSpPr>
          <p:spPr bwMode="gray">
            <a:xfrm>
              <a:off x="2579655" y="2746648"/>
              <a:ext cx="1587719" cy="1499103"/>
            </a:xfrm>
            <a:custGeom>
              <a:avLst/>
              <a:gdLst>
                <a:gd name="connsiteX0" fmla="*/ 563782 w 1587719"/>
                <a:gd name="connsiteY0" fmla="*/ 177527 h 1499103"/>
                <a:gd name="connsiteX1" fmla="*/ 673319 w 1587719"/>
                <a:gd name="connsiteY1" fmla="*/ 163240 h 1499103"/>
                <a:gd name="connsiteX2" fmla="*/ 697132 w 1587719"/>
                <a:gd name="connsiteY2" fmla="*/ 139427 h 1499103"/>
                <a:gd name="connsiteX3" fmla="*/ 725707 w 1587719"/>
                <a:gd name="connsiteY3" fmla="*/ 129902 h 1499103"/>
                <a:gd name="connsiteX4" fmla="*/ 739994 w 1587719"/>
                <a:gd name="connsiteY4" fmla="*/ 120377 h 1499103"/>
                <a:gd name="connsiteX5" fmla="*/ 768569 w 1587719"/>
                <a:gd name="connsiteY5" fmla="*/ 110852 h 1499103"/>
                <a:gd name="connsiteX6" fmla="*/ 782857 w 1587719"/>
                <a:gd name="connsiteY6" fmla="*/ 106090 h 1499103"/>
                <a:gd name="connsiteX7" fmla="*/ 787619 w 1587719"/>
                <a:gd name="connsiteY7" fmla="*/ 91802 h 1499103"/>
                <a:gd name="connsiteX8" fmla="*/ 806669 w 1587719"/>
                <a:gd name="connsiteY8" fmla="*/ 63227 h 1499103"/>
                <a:gd name="connsiteX9" fmla="*/ 792382 w 1587719"/>
                <a:gd name="connsiteY9" fmla="*/ 34652 h 1499103"/>
                <a:gd name="connsiteX10" fmla="*/ 797144 w 1587719"/>
                <a:gd name="connsiteY10" fmla="*/ 20365 h 1499103"/>
                <a:gd name="connsiteX11" fmla="*/ 825719 w 1587719"/>
                <a:gd name="connsiteY11" fmla="*/ 25127 h 1499103"/>
                <a:gd name="connsiteX12" fmla="*/ 844769 w 1587719"/>
                <a:gd name="connsiteY12" fmla="*/ 53702 h 1499103"/>
                <a:gd name="connsiteX13" fmla="*/ 863819 w 1587719"/>
                <a:gd name="connsiteY13" fmla="*/ 82277 h 1499103"/>
                <a:gd name="connsiteX14" fmla="*/ 878107 w 1587719"/>
                <a:gd name="connsiteY14" fmla="*/ 96565 h 1499103"/>
                <a:gd name="connsiteX15" fmla="*/ 935257 w 1587719"/>
                <a:gd name="connsiteY15" fmla="*/ 101327 h 1499103"/>
                <a:gd name="connsiteX16" fmla="*/ 949544 w 1587719"/>
                <a:gd name="connsiteY16" fmla="*/ 106090 h 1499103"/>
                <a:gd name="connsiteX17" fmla="*/ 959069 w 1587719"/>
                <a:gd name="connsiteY17" fmla="*/ 134665 h 1499103"/>
                <a:gd name="connsiteX18" fmla="*/ 944782 w 1587719"/>
                <a:gd name="connsiteY18" fmla="*/ 163240 h 1499103"/>
                <a:gd name="connsiteX19" fmla="*/ 949544 w 1587719"/>
                <a:gd name="connsiteY19" fmla="*/ 177527 h 1499103"/>
                <a:gd name="connsiteX20" fmla="*/ 944782 w 1587719"/>
                <a:gd name="connsiteY20" fmla="*/ 196577 h 1499103"/>
                <a:gd name="connsiteX21" fmla="*/ 944782 w 1587719"/>
                <a:gd name="connsiteY21" fmla="*/ 234677 h 1499103"/>
                <a:gd name="connsiteX22" fmla="*/ 959069 w 1587719"/>
                <a:gd name="connsiteY22" fmla="*/ 239440 h 1499103"/>
                <a:gd name="connsiteX23" fmla="*/ 968594 w 1587719"/>
                <a:gd name="connsiteY23" fmla="*/ 253727 h 1499103"/>
                <a:gd name="connsiteX24" fmla="*/ 954307 w 1587719"/>
                <a:gd name="connsiteY24" fmla="*/ 282302 h 1499103"/>
                <a:gd name="connsiteX25" fmla="*/ 940019 w 1587719"/>
                <a:gd name="connsiteY25" fmla="*/ 287065 h 1499103"/>
                <a:gd name="connsiteX26" fmla="*/ 930494 w 1587719"/>
                <a:gd name="connsiteY26" fmla="*/ 320402 h 1499103"/>
                <a:gd name="connsiteX27" fmla="*/ 959069 w 1587719"/>
                <a:gd name="connsiteY27" fmla="*/ 339452 h 1499103"/>
                <a:gd name="connsiteX28" fmla="*/ 982882 w 1587719"/>
                <a:gd name="connsiteY28" fmla="*/ 315640 h 1499103"/>
                <a:gd name="connsiteX29" fmla="*/ 1006694 w 1587719"/>
                <a:gd name="connsiteY29" fmla="*/ 320402 h 1499103"/>
                <a:gd name="connsiteX30" fmla="*/ 1059082 w 1587719"/>
                <a:gd name="connsiteY30" fmla="*/ 287065 h 1499103"/>
                <a:gd name="connsiteX31" fmla="*/ 1059082 w 1587719"/>
                <a:gd name="connsiteY31" fmla="*/ 287065 h 1499103"/>
                <a:gd name="connsiteX32" fmla="*/ 1087657 w 1587719"/>
                <a:gd name="connsiteY32" fmla="*/ 277540 h 1499103"/>
                <a:gd name="connsiteX33" fmla="*/ 1101944 w 1587719"/>
                <a:gd name="connsiteY33" fmla="*/ 272777 h 1499103"/>
                <a:gd name="connsiteX34" fmla="*/ 1120994 w 1587719"/>
                <a:gd name="connsiteY34" fmla="*/ 277540 h 1499103"/>
                <a:gd name="connsiteX35" fmla="*/ 1135282 w 1587719"/>
                <a:gd name="connsiteY35" fmla="*/ 287065 h 1499103"/>
                <a:gd name="connsiteX36" fmla="*/ 1149569 w 1587719"/>
                <a:gd name="connsiteY36" fmla="*/ 291827 h 1499103"/>
                <a:gd name="connsiteX37" fmla="*/ 1154332 w 1587719"/>
                <a:gd name="connsiteY37" fmla="*/ 272777 h 1499103"/>
                <a:gd name="connsiteX38" fmla="*/ 1178144 w 1587719"/>
                <a:gd name="connsiteY38" fmla="*/ 253727 h 1499103"/>
                <a:gd name="connsiteX39" fmla="*/ 1159094 w 1587719"/>
                <a:gd name="connsiteY39" fmla="*/ 210865 h 1499103"/>
                <a:gd name="connsiteX40" fmla="*/ 1163857 w 1587719"/>
                <a:gd name="connsiteY40" fmla="*/ 196577 h 1499103"/>
                <a:gd name="connsiteX41" fmla="*/ 1173382 w 1587719"/>
                <a:gd name="connsiteY41" fmla="*/ 182290 h 1499103"/>
                <a:gd name="connsiteX42" fmla="*/ 1182907 w 1587719"/>
                <a:gd name="connsiteY42" fmla="*/ 153715 h 1499103"/>
                <a:gd name="connsiteX43" fmla="*/ 1173382 w 1587719"/>
                <a:gd name="connsiteY43" fmla="*/ 139427 h 1499103"/>
                <a:gd name="connsiteX44" fmla="*/ 1154332 w 1587719"/>
                <a:gd name="connsiteY44" fmla="*/ 96565 h 1499103"/>
                <a:gd name="connsiteX45" fmla="*/ 1140044 w 1587719"/>
                <a:gd name="connsiteY45" fmla="*/ 91802 h 1499103"/>
                <a:gd name="connsiteX46" fmla="*/ 1125757 w 1587719"/>
                <a:gd name="connsiteY46" fmla="*/ 77515 h 1499103"/>
                <a:gd name="connsiteX47" fmla="*/ 1111469 w 1587719"/>
                <a:gd name="connsiteY47" fmla="*/ 67990 h 1499103"/>
                <a:gd name="connsiteX48" fmla="*/ 1101944 w 1587719"/>
                <a:gd name="connsiteY48" fmla="*/ 53702 h 1499103"/>
                <a:gd name="connsiteX49" fmla="*/ 1116232 w 1587719"/>
                <a:gd name="connsiteY49" fmla="*/ 48940 h 1499103"/>
                <a:gd name="connsiteX50" fmla="*/ 1144807 w 1587719"/>
                <a:gd name="connsiteY50" fmla="*/ 58465 h 1499103"/>
                <a:gd name="connsiteX51" fmla="*/ 1163857 w 1587719"/>
                <a:gd name="connsiteY51" fmla="*/ 53702 h 1499103"/>
                <a:gd name="connsiteX52" fmla="*/ 1182907 w 1587719"/>
                <a:gd name="connsiteY52" fmla="*/ 10840 h 1499103"/>
                <a:gd name="connsiteX53" fmla="*/ 1197194 w 1587719"/>
                <a:gd name="connsiteY53" fmla="*/ 6077 h 1499103"/>
                <a:gd name="connsiteX54" fmla="*/ 1244819 w 1587719"/>
                <a:gd name="connsiteY54" fmla="*/ 10840 h 1499103"/>
                <a:gd name="connsiteX55" fmla="*/ 1259107 w 1587719"/>
                <a:gd name="connsiteY55" fmla="*/ 1315 h 1499103"/>
                <a:gd name="connsiteX56" fmla="*/ 1287682 w 1587719"/>
                <a:gd name="connsiteY56" fmla="*/ 15602 h 1499103"/>
                <a:gd name="connsiteX57" fmla="*/ 1292444 w 1587719"/>
                <a:gd name="connsiteY57" fmla="*/ 87040 h 1499103"/>
                <a:gd name="connsiteX58" fmla="*/ 1297207 w 1587719"/>
                <a:gd name="connsiteY58" fmla="*/ 101327 h 1499103"/>
                <a:gd name="connsiteX59" fmla="*/ 1330544 w 1587719"/>
                <a:gd name="connsiteY59" fmla="*/ 96565 h 1499103"/>
                <a:gd name="connsiteX60" fmla="*/ 1363882 w 1587719"/>
                <a:gd name="connsiteY60" fmla="*/ 87040 h 1499103"/>
                <a:gd name="connsiteX61" fmla="*/ 1382932 w 1587719"/>
                <a:gd name="connsiteY61" fmla="*/ 82277 h 1499103"/>
                <a:gd name="connsiteX62" fmla="*/ 1416269 w 1587719"/>
                <a:gd name="connsiteY62" fmla="*/ 39415 h 1499103"/>
                <a:gd name="connsiteX63" fmla="*/ 1425794 w 1587719"/>
                <a:gd name="connsiteY63" fmla="*/ 25127 h 1499103"/>
                <a:gd name="connsiteX64" fmla="*/ 1440082 w 1587719"/>
                <a:gd name="connsiteY64" fmla="*/ 20365 h 1499103"/>
                <a:gd name="connsiteX65" fmla="*/ 1459132 w 1587719"/>
                <a:gd name="connsiteY65" fmla="*/ 25127 h 1499103"/>
                <a:gd name="connsiteX66" fmla="*/ 1454369 w 1587719"/>
                <a:gd name="connsiteY66" fmla="*/ 48940 h 1499103"/>
                <a:gd name="connsiteX67" fmla="*/ 1440082 w 1587719"/>
                <a:gd name="connsiteY67" fmla="*/ 120377 h 1499103"/>
                <a:gd name="connsiteX68" fmla="*/ 1425794 w 1587719"/>
                <a:gd name="connsiteY68" fmla="*/ 125140 h 1499103"/>
                <a:gd name="connsiteX69" fmla="*/ 1411507 w 1587719"/>
                <a:gd name="connsiteY69" fmla="*/ 139427 h 1499103"/>
                <a:gd name="connsiteX70" fmla="*/ 1406744 w 1587719"/>
                <a:gd name="connsiteY70" fmla="*/ 153715 h 1499103"/>
                <a:gd name="connsiteX71" fmla="*/ 1397219 w 1587719"/>
                <a:gd name="connsiteY71" fmla="*/ 168002 h 1499103"/>
                <a:gd name="connsiteX72" fmla="*/ 1401982 w 1587719"/>
                <a:gd name="connsiteY72" fmla="*/ 182290 h 1499103"/>
                <a:gd name="connsiteX73" fmla="*/ 1416269 w 1587719"/>
                <a:gd name="connsiteY73" fmla="*/ 187052 h 1499103"/>
                <a:gd name="connsiteX74" fmla="*/ 1430557 w 1587719"/>
                <a:gd name="connsiteY74" fmla="*/ 201340 h 1499103"/>
                <a:gd name="connsiteX75" fmla="*/ 1416269 w 1587719"/>
                <a:gd name="connsiteY75" fmla="*/ 239440 h 1499103"/>
                <a:gd name="connsiteX76" fmla="*/ 1401982 w 1587719"/>
                <a:gd name="connsiteY76" fmla="*/ 244202 h 1499103"/>
                <a:gd name="connsiteX77" fmla="*/ 1406744 w 1587719"/>
                <a:gd name="connsiteY77" fmla="*/ 258490 h 1499103"/>
                <a:gd name="connsiteX78" fmla="*/ 1416269 w 1587719"/>
                <a:gd name="connsiteY78" fmla="*/ 272777 h 1499103"/>
                <a:gd name="connsiteX79" fmla="*/ 1430557 w 1587719"/>
                <a:gd name="connsiteY79" fmla="*/ 277540 h 1499103"/>
                <a:gd name="connsiteX80" fmla="*/ 1463894 w 1587719"/>
                <a:gd name="connsiteY80" fmla="*/ 282302 h 1499103"/>
                <a:gd name="connsiteX81" fmla="*/ 1478182 w 1587719"/>
                <a:gd name="connsiteY81" fmla="*/ 291827 h 1499103"/>
                <a:gd name="connsiteX82" fmla="*/ 1478182 w 1587719"/>
                <a:gd name="connsiteY82" fmla="*/ 329927 h 1499103"/>
                <a:gd name="connsiteX83" fmla="*/ 1473419 w 1587719"/>
                <a:gd name="connsiteY83" fmla="*/ 344215 h 1499103"/>
                <a:gd name="connsiteX84" fmla="*/ 1487707 w 1587719"/>
                <a:gd name="connsiteY84" fmla="*/ 406127 h 1499103"/>
                <a:gd name="connsiteX85" fmla="*/ 1516282 w 1587719"/>
                <a:gd name="connsiteY85" fmla="*/ 425177 h 1499103"/>
                <a:gd name="connsiteX86" fmla="*/ 1544857 w 1587719"/>
                <a:gd name="connsiteY86" fmla="*/ 429940 h 1499103"/>
                <a:gd name="connsiteX87" fmla="*/ 1554382 w 1587719"/>
                <a:gd name="connsiteY87" fmla="*/ 444227 h 1499103"/>
                <a:gd name="connsiteX88" fmla="*/ 1554382 w 1587719"/>
                <a:gd name="connsiteY88" fmla="*/ 472802 h 1499103"/>
                <a:gd name="connsiteX89" fmla="*/ 1587719 w 1587719"/>
                <a:gd name="connsiteY89" fmla="*/ 491852 h 1499103"/>
                <a:gd name="connsiteX90" fmla="*/ 1582957 w 1587719"/>
                <a:gd name="connsiteY90" fmla="*/ 510902 h 1499103"/>
                <a:gd name="connsiteX91" fmla="*/ 1573432 w 1587719"/>
                <a:gd name="connsiteY91" fmla="*/ 539477 h 1499103"/>
                <a:gd name="connsiteX92" fmla="*/ 1563907 w 1587719"/>
                <a:gd name="connsiteY92" fmla="*/ 582340 h 1499103"/>
                <a:gd name="connsiteX93" fmla="*/ 1568669 w 1587719"/>
                <a:gd name="connsiteY93" fmla="*/ 625202 h 1499103"/>
                <a:gd name="connsiteX94" fmla="*/ 1563907 w 1587719"/>
                <a:gd name="connsiteY94" fmla="*/ 653777 h 1499103"/>
                <a:gd name="connsiteX95" fmla="*/ 1559144 w 1587719"/>
                <a:gd name="connsiteY95" fmla="*/ 677590 h 1499103"/>
                <a:gd name="connsiteX96" fmla="*/ 1535332 w 1587719"/>
                <a:gd name="connsiteY96" fmla="*/ 701402 h 1499103"/>
                <a:gd name="connsiteX97" fmla="*/ 1521044 w 1587719"/>
                <a:gd name="connsiteY97" fmla="*/ 715690 h 1499103"/>
                <a:gd name="connsiteX98" fmla="*/ 1506757 w 1587719"/>
                <a:gd name="connsiteY98" fmla="*/ 725215 h 1499103"/>
                <a:gd name="connsiteX99" fmla="*/ 1463894 w 1587719"/>
                <a:gd name="connsiteY99" fmla="*/ 763315 h 1499103"/>
                <a:gd name="connsiteX100" fmla="*/ 1449607 w 1587719"/>
                <a:gd name="connsiteY100" fmla="*/ 768077 h 1499103"/>
                <a:gd name="connsiteX101" fmla="*/ 1421032 w 1587719"/>
                <a:gd name="connsiteY101" fmla="*/ 749027 h 1499103"/>
                <a:gd name="connsiteX102" fmla="*/ 1411507 w 1587719"/>
                <a:gd name="connsiteY102" fmla="*/ 710927 h 1499103"/>
                <a:gd name="connsiteX103" fmla="*/ 1392457 w 1587719"/>
                <a:gd name="connsiteY103" fmla="*/ 706165 h 1499103"/>
                <a:gd name="connsiteX104" fmla="*/ 1354357 w 1587719"/>
                <a:gd name="connsiteY104" fmla="*/ 739502 h 1499103"/>
                <a:gd name="connsiteX105" fmla="*/ 1359119 w 1587719"/>
                <a:gd name="connsiteY105" fmla="*/ 753790 h 1499103"/>
                <a:gd name="connsiteX106" fmla="*/ 1378169 w 1587719"/>
                <a:gd name="connsiteY106" fmla="*/ 782365 h 1499103"/>
                <a:gd name="connsiteX107" fmla="*/ 1373407 w 1587719"/>
                <a:gd name="connsiteY107" fmla="*/ 796652 h 1499103"/>
                <a:gd name="connsiteX108" fmla="*/ 1344832 w 1587719"/>
                <a:gd name="connsiteY108" fmla="*/ 810940 h 1499103"/>
                <a:gd name="connsiteX109" fmla="*/ 1278157 w 1587719"/>
                <a:gd name="connsiteY109" fmla="*/ 810940 h 1499103"/>
                <a:gd name="connsiteX110" fmla="*/ 1249582 w 1587719"/>
                <a:gd name="connsiteY110" fmla="*/ 820465 h 1499103"/>
                <a:gd name="connsiteX111" fmla="*/ 1235294 w 1587719"/>
                <a:gd name="connsiteY111" fmla="*/ 825227 h 1499103"/>
                <a:gd name="connsiteX112" fmla="*/ 1221007 w 1587719"/>
                <a:gd name="connsiteY112" fmla="*/ 834752 h 1499103"/>
                <a:gd name="connsiteX113" fmla="*/ 1216244 w 1587719"/>
                <a:gd name="connsiteY113" fmla="*/ 849040 h 1499103"/>
                <a:gd name="connsiteX114" fmla="*/ 1201957 w 1587719"/>
                <a:gd name="connsiteY114" fmla="*/ 863327 h 1499103"/>
                <a:gd name="connsiteX115" fmla="*/ 1206719 w 1587719"/>
                <a:gd name="connsiteY115" fmla="*/ 887140 h 1499103"/>
                <a:gd name="connsiteX116" fmla="*/ 1211482 w 1587719"/>
                <a:gd name="connsiteY116" fmla="*/ 901427 h 1499103"/>
                <a:gd name="connsiteX117" fmla="*/ 1240057 w 1587719"/>
                <a:gd name="connsiteY117" fmla="*/ 891902 h 1499103"/>
                <a:gd name="connsiteX118" fmla="*/ 1254344 w 1587719"/>
                <a:gd name="connsiteY118" fmla="*/ 887140 h 1499103"/>
                <a:gd name="connsiteX119" fmla="*/ 1268632 w 1587719"/>
                <a:gd name="connsiteY119" fmla="*/ 882377 h 1499103"/>
                <a:gd name="connsiteX120" fmla="*/ 1287682 w 1587719"/>
                <a:gd name="connsiteY120" fmla="*/ 906190 h 1499103"/>
                <a:gd name="connsiteX121" fmla="*/ 1278157 w 1587719"/>
                <a:gd name="connsiteY121" fmla="*/ 934765 h 1499103"/>
                <a:gd name="connsiteX122" fmla="*/ 1273394 w 1587719"/>
                <a:gd name="connsiteY122" fmla="*/ 949052 h 1499103"/>
                <a:gd name="connsiteX123" fmla="*/ 1268632 w 1587719"/>
                <a:gd name="connsiteY123" fmla="*/ 977627 h 1499103"/>
                <a:gd name="connsiteX124" fmla="*/ 1263869 w 1587719"/>
                <a:gd name="connsiteY124" fmla="*/ 991915 h 1499103"/>
                <a:gd name="connsiteX125" fmla="*/ 1235294 w 1587719"/>
                <a:gd name="connsiteY125" fmla="*/ 1010965 h 1499103"/>
                <a:gd name="connsiteX126" fmla="*/ 1216244 w 1587719"/>
                <a:gd name="connsiteY126" fmla="*/ 1006202 h 1499103"/>
                <a:gd name="connsiteX127" fmla="*/ 1187669 w 1587719"/>
                <a:gd name="connsiteY127" fmla="*/ 996677 h 1499103"/>
                <a:gd name="connsiteX128" fmla="*/ 1178144 w 1587719"/>
                <a:gd name="connsiteY128" fmla="*/ 1010965 h 1499103"/>
                <a:gd name="connsiteX129" fmla="*/ 1187669 w 1587719"/>
                <a:gd name="connsiteY129" fmla="*/ 1063352 h 1499103"/>
                <a:gd name="connsiteX130" fmla="*/ 1173382 w 1587719"/>
                <a:gd name="connsiteY130" fmla="*/ 1077640 h 1499103"/>
                <a:gd name="connsiteX131" fmla="*/ 1159094 w 1587719"/>
                <a:gd name="connsiteY131" fmla="*/ 1082402 h 1499103"/>
                <a:gd name="connsiteX132" fmla="*/ 1154332 w 1587719"/>
                <a:gd name="connsiteY132" fmla="*/ 1096690 h 1499103"/>
                <a:gd name="connsiteX133" fmla="*/ 1140044 w 1587719"/>
                <a:gd name="connsiteY133" fmla="*/ 1110977 h 1499103"/>
                <a:gd name="connsiteX134" fmla="*/ 1120994 w 1587719"/>
                <a:gd name="connsiteY134" fmla="*/ 1139552 h 1499103"/>
                <a:gd name="connsiteX135" fmla="*/ 1116232 w 1587719"/>
                <a:gd name="connsiteY135" fmla="*/ 1168127 h 1499103"/>
                <a:gd name="connsiteX136" fmla="*/ 1087657 w 1587719"/>
                <a:gd name="connsiteY136" fmla="*/ 1158602 h 1499103"/>
                <a:gd name="connsiteX137" fmla="*/ 1068607 w 1587719"/>
                <a:gd name="connsiteY137" fmla="*/ 1153840 h 1499103"/>
                <a:gd name="connsiteX138" fmla="*/ 1040032 w 1587719"/>
                <a:gd name="connsiteY138" fmla="*/ 1168127 h 1499103"/>
                <a:gd name="connsiteX139" fmla="*/ 1030507 w 1587719"/>
                <a:gd name="connsiteY139" fmla="*/ 1182415 h 1499103"/>
                <a:gd name="connsiteX140" fmla="*/ 1016219 w 1587719"/>
                <a:gd name="connsiteY140" fmla="*/ 1196702 h 1499103"/>
                <a:gd name="connsiteX141" fmla="*/ 1011457 w 1587719"/>
                <a:gd name="connsiteY141" fmla="*/ 1210990 h 1499103"/>
                <a:gd name="connsiteX142" fmla="*/ 997169 w 1587719"/>
                <a:gd name="connsiteY142" fmla="*/ 1225277 h 1499103"/>
                <a:gd name="connsiteX143" fmla="*/ 1006694 w 1587719"/>
                <a:gd name="connsiteY143" fmla="*/ 1253852 h 1499103"/>
                <a:gd name="connsiteX144" fmla="*/ 1001932 w 1587719"/>
                <a:gd name="connsiteY144" fmla="*/ 1268140 h 1499103"/>
                <a:gd name="connsiteX145" fmla="*/ 973357 w 1587719"/>
                <a:gd name="connsiteY145" fmla="*/ 1277665 h 1499103"/>
                <a:gd name="connsiteX146" fmla="*/ 954307 w 1587719"/>
                <a:gd name="connsiteY146" fmla="*/ 1253852 h 1499103"/>
                <a:gd name="connsiteX147" fmla="*/ 940019 w 1587719"/>
                <a:gd name="connsiteY147" fmla="*/ 1239565 h 1499103"/>
                <a:gd name="connsiteX148" fmla="*/ 930494 w 1587719"/>
                <a:gd name="connsiteY148" fmla="*/ 1225277 h 1499103"/>
                <a:gd name="connsiteX149" fmla="*/ 925732 w 1587719"/>
                <a:gd name="connsiteY149" fmla="*/ 1210990 h 1499103"/>
                <a:gd name="connsiteX150" fmla="*/ 925732 w 1587719"/>
                <a:gd name="connsiteY150" fmla="*/ 1182415 h 1499103"/>
                <a:gd name="connsiteX151" fmla="*/ 911444 w 1587719"/>
                <a:gd name="connsiteY151" fmla="*/ 1168127 h 1499103"/>
                <a:gd name="connsiteX152" fmla="*/ 882869 w 1587719"/>
                <a:gd name="connsiteY152" fmla="*/ 1149077 h 1499103"/>
                <a:gd name="connsiteX153" fmla="*/ 873344 w 1587719"/>
                <a:gd name="connsiteY153" fmla="*/ 1134790 h 1499103"/>
                <a:gd name="connsiteX154" fmla="*/ 868582 w 1587719"/>
                <a:gd name="connsiteY154" fmla="*/ 1101452 h 1499103"/>
                <a:gd name="connsiteX155" fmla="*/ 849532 w 1587719"/>
                <a:gd name="connsiteY155" fmla="*/ 1106215 h 1499103"/>
                <a:gd name="connsiteX156" fmla="*/ 835244 w 1587719"/>
                <a:gd name="connsiteY156" fmla="*/ 1168127 h 1499103"/>
                <a:gd name="connsiteX157" fmla="*/ 825719 w 1587719"/>
                <a:gd name="connsiteY157" fmla="*/ 1182415 h 1499103"/>
                <a:gd name="connsiteX158" fmla="*/ 787619 w 1587719"/>
                <a:gd name="connsiteY158" fmla="*/ 1187177 h 1499103"/>
                <a:gd name="connsiteX159" fmla="*/ 797144 w 1587719"/>
                <a:gd name="connsiteY159" fmla="*/ 1215752 h 1499103"/>
                <a:gd name="connsiteX160" fmla="*/ 787619 w 1587719"/>
                <a:gd name="connsiteY160" fmla="*/ 1230040 h 1499103"/>
                <a:gd name="connsiteX161" fmla="*/ 768569 w 1587719"/>
                <a:gd name="connsiteY161" fmla="*/ 1234802 h 1499103"/>
                <a:gd name="connsiteX162" fmla="*/ 739994 w 1587719"/>
                <a:gd name="connsiteY162" fmla="*/ 1244327 h 1499103"/>
                <a:gd name="connsiteX163" fmla="*/ 711419 w 1587719"/>
                <a:gd name="connsiteY163" fmla="*/ 1258615 h 1499103"/>
                <a:gd name="connsiteX164" fmla="*/ 659032 w 1587719"/>
                <a:gd name="connsiteY164" fmla="*/ 1272902 h 1499103"/>
                <a:gd name="connsiteX165" fmla="*/ 654269 w 1587719"/>
                <a:gd name="connsiteY165" fmla="*/ 1287190 h 1499103"/>
                <a:gd name="connsiteX166" fmla="*/ 649507 w 1587719"/>
                <a:gd name="connsiteY166" fmla="*/ 1306240 h 1499103"/>
                <a:gd name="connsiteX167" fmla="*/ 582832 w 1587719"/>
                <a:gd name="connsiteY167" fmla="*/ 1320527 h 1499103"/>
                <a:gd name="connsiteX168" fmla="*/ 568544 w 1587719"/>
                <a:gd name="connsiteY168" fmla="*/ 1325290 h 1499103"/>
                <a:gd name="connsiteX169" fmla="*/ 539969 w 1587719"/>
                <a:gd name="connsiteY169" fmla="*/ 1339577 h 1499103"/>
                <a:gd name="connsiteX170" fmla="*/ 497107 w 1587719"/>
                <a:gd name="connsiteY170" fmla="*/ 1344340 h 1499103"/>
                <a:gd name="connsiteX171" fmla="*/ 468532 w 1587719"/>
                <a:gd name="connsiteY171" fmla="*/ 1358627 h 1499103"/>
                <a:gd name="connsiteX172" fmla="*/ 459007 w 1587719"/>
                <a:gd name="connsiteY172" fmla="*/ 1387202 h 1499103"/>
                <a:gd name="connsiteX173" fmla="*/ 439957 w 1587719"/>
                <a:gd name="connsiteY173" fmla="*/ 1415777 h 1499103"/>
                <a:gd name="connsiteX174" fmla="*/ 430432 w 1587719"/>
                <a:gd name="connsiteY174" fmla="*/ 1430065 h 1499103"/>
                <a:gd name="connsiteX175" fmla="*/ 401857 w 1587719"/>
                <a:gd name="connsiteY175" fmla="*/ 1439590 h 1499103"/>
                <a:gd name="connsiteX176" fmla="*/ 387569 w 1587719"/>
                <a:gd name="connsiteY176" fmla="*/ 1449115 h 1499103"/>
                <a:gd name="connsiteX177" fmla="*/ 368519 w 1587719"/>
                <a:gd name="connsiteY177" fmla="*/ 1496740 h 1499103"/>
                <a:gd name="connsiteX178" fmla="*/ 325657 w 1587719"/>
                <a:gd name="connsiteY178" fmla="*/ 1491977 h 1499103"/>
                <a:gd name="connsiteX179" fmla="*/ 311369 w 1587719"/>
                <a:gd name="connsiteY179" fmla="*/ 1477690 h 1499103"/>
                <a:gd name="connsiteX180" fmla="*/ 282794 w 1587719"/>
                <a:gd name="connsiteY180" fmla="*/ 1482452 h 1499103"/>
                <a:gd name="connsiteX181" fmla="*/ 235169 w 1587719"/>
                <a:gd name="connsiteY181" fmla="*/ 1477690 h 1499103"/>
                <a:gd name="connsiteX182" fmla="*/ 220882 w 1587719"/>
                <a:gd name="connsiteY182" fmla="*/ 1472927 h 1499103"/>
                <a:gd name="connsiteX183" fmla="*/ 192307 w 1587719"/>
                <a:gd name="connsiteY183" fmla="*/ 1468165 h 1499103"/>
                <a:gd name="connsiteX184" fmla="*/ 197069 w 1587719"/>
                <a:gd name="connsiteY184" fmla="*/ 1453877 h 1499103"/>
                <a:gd name="connsiteX185" fmla="*/ 206594 w 1587719"/>
                <a:gd name="connsiteY185" fmla="*/ 1439590 h 1499103"/>
                <a:gd name="connsiteX186" fmla="*/ 201832 w 1587719"/>
                <a:gd name="connsiteY186" fmla="*/ 1406252 h 1499103"/>
                <a:gd name="connsiteX187" fmla="*/ 187544 w 1587719"/>
                <a:gd name="connsiteY187" fmla="*/ 1396727 h 1499103"/>
                <a:gd name="connsiteX188" fmla="*/ 149444 w 1587719"/>
                <a:gd name="connsiteY188" fmla="*/ 1387202 h 1499103"/>
                <a:gd name="connsiteX189" fmla="*/ 135157 w 1587719"/>
                <a:gd name="connsiteY189" fmla="*/ 1377677 h 1499103"/>
                <a:gd name="connsiteX190" fmla="*/ 130394 w 1587719"/>
                <a:gd name="connsiteY190" fmla="*/ 1363390 h 1499103"/>
                <a:gd name="connsiteX191" fmla="*/ 144682 w 1587719"/>
                <a:gd name="connsiteY191" fmla="*/ 1306240 h 1499103"/>
                <a:gd name="connsiteX192" fmla="*/ 139919 w 1587719"/>
                <a:gd name="connsiteY192" fmla="*/ 1287190 h 1499103"/>
                <a:gd name="connsiteX193" fmla="*/ 111344 w 1587719"/>
                <a:gd name="connsiteY193" fmla="*/ 1272902 h 1499103"/>
                <a:gd name="connsiteX194" fmla="*/ 106582 w 1587719"/>
                <a:gd name="connsiteY194" fmla="*/ 1258615 h 1499103"/>
                <a:gd name="connsiteX195" fmla="*/ 97057 w 1587719"/>
                <a:gd name="connsiteY195" fmla="*/ 1220515 h 1499103"/>
                <a:gd name="connsiteX196" fmla="*/ 87532 w 1587719"/>
                <a:gd name="connsiteY196" fmla="*/ 1206227 h 1499103"/>
                <a:gd name="connsiteX197" fmla="*/ 73244 w 1587719"/>
                <a:gd name="connsiteY197" fmla="*/ 1201465 h 1499103"/>
                <a:gd name="connsiteX198" fmla="*/ 63719 w 1587719"/>
                <a:gd name="connsiteY198" fmla="*/ 1187177 h 1499103"/>
                <a:gd name="connsiteX199" fmla="*/ 63719 w 1587719"/>
                <a:gd name="connsiteY199" fmla="*/ 1149077 h 1499103"/>
                <a:gd name="connsiteX200" fmla="*/ 78007 w 1587719"/>
                <a:gd name="connsiteY200" fmla="*/ 1134790 h 1499103"/>
                <a:gd name="connsiteX201" fmla="*/ 87532 w 1587719"/>
                <a:gd name="connsiteY201" fmla="*/ 1120502 h 1499103"/>
                <a:gd name="connsiteX202" fmla="*/ 82769 w 1587719"/>
                <a:gd name="connsiteY202" fmla="*/ 1087165 h 1499103"/>
                <a:gd name="connsiteX203" fmla="*/ 63719 w 1587719"/>
                <a:gd name="connsiteY203" fmla="*/ 1058590 h 1499103"/>
                <a:gd name="connsiteX204" fmla="*/ 68482 w 1587719"/>
                <a:gd name="connsiteY204" fmla="*/ 1044302 h 1499103"/>
                <a:gd name="connsiteX205" fmla="*/ 54194 w 1587719"/>
                <a:gd name="connsiteY205" fmla="*/ 1039540 h 1499103"/>
                <a:gd name="connsiteX206" fmla="*/ 20857 w 1587719"/>
                <a:gd name="connsiteY206" fmla="*/ 1034777 h 1499103"/>
                <a:gd name="connsiteX207" fmla="*/ 6569 w 1587719"/>
                <a:gd name="connsiteY207" fmla="*/ 1025252 h 1499103"/>
                <a:gd name="connsiteX208" fmla="*/ 6569 w 1587719"/>
                <a:gd name="connsiteY208" fmla="*/ 991915 h 1499103"/>
                <a:gd name="connsiteX209" fmla="*/ 20857 w 1587719"/>
                <a:gd name="connsiteY209" fmla="*/ 987152 h 1499103"/>
                <a:gd name="connsiteX210" fmla="*/ 54194 w 1587719"/>
                <a:gd name="connsiteY210" fmla="*/ 972865 h 1499103"/>
                <a:gd name="connsiteX211" fmla="*/ 82769 w 1587719"/>
                <a:gd name="connsiteY211" fmla="*/ 963340 h 1499103"/>
                <a:gd name="connsiteX212" fmla="*/ 111344 w 1587719"/>
                <a:gd name="connsiteY212" fmla="*/ 944290 h 1499103"/>
                <a:gd name="connsiteX213" fmla="*/ 125632 w 1587719"/>
                <a:gd name="connsiteY213" fmla="*/ 934765 h 1499103"/>
                <a:gd name="connsiteX214" fmla="*/ 130394 w 1587719"/>
                <a:gd name="connsiteY214" fmla="*/ 896665 h 1499103"/>
                <a:gd name="connsiteX215" fmla="*/ 111344 w 1587719"/>
                <a:gd name="connsiteY215" fmla="*/ 891902 h 1499103"/>
                <a:gd name="connsiteX216" fmla="*/ 106582 w 1587719"/>
                <a:gd name="connsiteY216" fmla="*/ 877615 h 1499103"/>
                <a:gd name="connsiteX217" fmla="*/ 125632 w 1587719"/>
                <a:gd name="connsiteY217" fmla="*/ 849040 h 1499103"/>
                <a:gd name="connsiteX218" fmla="*/ 144682 w 1587719"/>
                <a:gd name="connsiteY218" fmla="*/ 820465 h 1499103"/>
                <a:gd name="connsiteX219" fmla="*/ 154207 w 1587719"/>
                <a:gd name="connsiteY219" fmla="*/ 806177 h 1499103"/>
                <a:gd name="connsiteX220" fmla="*/ 168494 w 1587719"/>
                <a:gd name="connsiteY220" fmla="*/ 749027 h 1499103"/>
                <a:gd name="connsiteX221" fmla="*/ 158969 w 1587719"/>
                <a:gd name="connsiteY221" fmla="*/ 663302 h 1499103"/>
                <a:gd name="connsiteX222" fmla="*/ 154207 w 1587719"/>
                <a:gd name="connsiteY222" fmla="*/ 639490 h 1499103"/>
                <a:gd name="connsiteX223" fmla="*/ 135157 w 1587719"/>
                <a:gd name="connsiteY223" fmla="*/ 610915 h 1499103"/>
                <a:gd name="connsiteX224" fmla="*/ 116107 w 1587719"/>
                <a:gd name="connsiteY224" fmla="*/ 563290 h 1499103"/>
                <a:gd name="connsiteX225" fmla="*/ 101819 w 1587719"/>
                <a:gd name="connsiteY225" fmla="*/ 558527 h 1499103"/>
                <a:gd name="connsiteX226" fmla="*/ 92294 w 1587719"/>
                <a:gd name="connsiteY226" fmla="*/ 544240 h 1499103"/>
                <a:gd name="connsiteX227" fmla="*/ 82769 w 1587719"/>
                <a:gd name="connsiteY227" fmla="*/ 506140 h 1499103"/>
                <a:gd name="connsiteX228" fmla="*/ 78007 w 1587719"/>
                <a:gd name="connsiteY228" fmla="*/ 487090 h 1499103"/>
                <a:gd name="connsiteX229" fmla="*/ 82769 w 1587719"/>
                <a:gd name="connsiteY229" fmla="*/ 458515 h 1499103"/>
                <a:gd name="connsiteX230" fmla="*/ 97057 w 1587719"/>
                <a:gd name="connsiteY230" fmla="*/ 453752 h 1499103"/>
                <a:gd name="connsiteX231" fmla="*/ 111344 w 1587719"/>
                <a:gd name="connsiteY231" fmla="*/ 444227 h 1499103"/>
                <a:gd name="connsiteX232" fmla="*/ 144682 w 1587719"/>
                <a:gd name="connsiteY232" fmla="*/ 434702 h 1499103"/>
                <a:gd name="connsiteX233" fmla="*/ 178019 w 1587719"/>
                <a:gd name="connsiteY233" fmla="*/ 425177 h 1499103"/>
                <a:gd name="connsiteX234" fmla="*/ 244694 w 1587719"/>
                <a:gd name="connsiteY234" fmla="*/ 434702 h 1499103"/>
                <a:gd name="connsiteX235" fmla="*/ 258982 w 1587719"/>
                <a:gd name="connsiteY235" fmla="*/ 444227 h 1499103"/>
                <a:gd name="connsiteX236" fmla="*/ 273269 w 1587719"/>
                <a:gd name="connsiteY236" fmla="*/ 439465 h 1499103"/>
                <a:gd name="connsiteX237" fmla="*/ 282794 w 1587719"/>
                <a:gd name="connsiteY237" fmla="*/ 425177 h 1499103"/>
                <a:gd name="connsiteX238" fmla="*/ 335182 w 1587719"/>
                <a:gd name="connsiteY238" fmla="*/ 420415 h 1499103"/>
                <a:gd name="connsiteX239" fmla="*/ 349469 w 1587719"/>
                <a:gd name="connsiteY239" fmla="*/ 415652 h 1499103"/>
                <a:gd name="connsiteX240" fmla="*/ 363757 w 1587719"/>
                <a:gd name="connsiteY240" fmla="*/ 406127 h 1499103"/>
                <a:gd name="connsiteX241" fmla="*/ 392332 w 1587719"/>
                <a:gd name="connsiteY241" fmla="*/ 401365 h 1499103"/>
                <a:gd name="connsiteX242" fmla="*/ 406619 w 1587719"/>
                <a:gd name="connsiteY242" fmla="*/ 406127 h 1499103"/>
                <a:gd name="connsiteX243" fmla="*/ 420907 w 1587719"/>
                <a:gd name="connsiteY243" fmla="*/ 415652 h 1499103"/>
                <a:gd name="connsiteX244" fmla="*/ 439957 w 1587719"/>
                <a:gd name="connsiteY244" fmla="*/ 410890 h 1499103"/>
                <a:gd name="connsiteX245" fmla="*/ 444719 w 1587719"/>
                <a:gd name="connsiteY245" fmla="*/ 396602 h 1499103"/>
                <a:gd name="connsiteX246" fmla="*/ 454244 w 1587719"/>
                <a:gd name="connsiteY246" fmla="*/ 358502 h 1499103"/>
                <a:gd name="connsiteX247" fmla="*/ 449482 w 1587719"/>
                <a:gd name="connsiteY247" fmla="*/ 344215 h 1499103"/>
                <a:gd name="connsiteX248" fmla="*/ 420907 w 1587719"/>
                <a:gd name="connsiteY248" fmla="*/ 320402 h 1499103"/>
                <a:gd name="connsiteX249" fmla="*/ 416144 w 1587719"/>
                <a:gd name="connsiteY249" fmla="*/ 287065 h 1499103"/>
                <a:gd name="connsiteX250" fmla="*/ 459007 w 1587719"/>
                <a:gd name="connsiteY250" fmla="*/ 268015 h 1499103"/>
                <a:gd name="connsiteX251" fmla="*/ 473294 w 1587719"/>
                <a:gd name="connsiteY251" fmla="*/ 263252 h 1499103"/>
                <a:gd name="connsiteX252" fmla="*/ 487582 w 1587719"/>
                <a:gd name="connsiteY252" fmla="*/ 234677 h 1499103"/>
                <a:gd name="connsiteX253" fmla="*/ 501869 w 1587719"/>
                <a:gd name="connsiteY253" fmla="*/ 220390 h 1499103"/>
                <a:gd name="connsiteX254" fmla="*/ 530444 w 1587719"/>
                <a:gd name="connsiteY254" fmla="*/ 210865 h 1499103"/>
                <a:gd name="connsiteX255" fmla="*/ 544732 w 1587719"/>
                <a:gd name="connsiteY255" fmla="*/ 201340 h 1499103"/>
                <a:gd name="connsiteX256" fmla="*/ 563782 w 1587719"/>
                <a:gd name="connsiteY256" fmla="*/ 177527 h 1499103"/>
                <a:gd name="connsiteX257" fmla="*/ 563782 w 1587719"/>
                <a:gd name="connsiteY257" fmla="*/ 177527 h 1499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Lst>
              <a:rect l="l" t="t" r="r" b="b"/>
              <a:pathLst>
                <a:path w="1587719" h="1499103">
                  <a:moveTo>
                    <a:pt x="563782" y="177527"/>
                  </a:moveTo>
                  <a:cubicBezTo>
                    <a:pt x="582038" y="175146"/>
                    <a:pt x="595265" y="169244"/>
                    <a:pt x="673319" y="163240"/>
                  </a:cubicBezTo>
                  <a:cubicBezTo>
                    <a:pt x="682009" y="150205"/>
                    <a:pt x="682091" y="146112"/>
                    <a:pt x="697132" y="139427"/>
                  </a:cubicBezTo>
                  <a:cubicBezTo>
                    <a:pt x="706307" y="135349"/>
                    <a:pt x="717353" y="135471"/>
                    <a:pt x="725707" y="129902"/>
                  </a:cubicBezTo>
                  <a:cubicBezTo>
                    <a:pt x="730469" y="126727"/>
                    <a:pt x="734764" y="122702"/>
                    <a:pt x="739994" y="120377"/>
                  </a:cubicBezTo>
                  <a:cubicBezTo>
                    <a:pt x="749169" y="116299"/>
                    <a:pt x="759044" y="114027"/>
                    <a:pt x="768569" y="110852"/>
                  </a:cubicBezTo>
                  <a:lnTo>
                    <a:pt x="782857" y="106090"/>
                  </a:lnTo>
                  <a:cubicBezTo>
                    <a:pt x="784444" y="101327"/>
                    <a:pt x="785181" y="96190"/>
                    <a:pt x="787619" y="91802"/>
                  </a:cubicBezTo>
                  <a:cubicBezTo>
                    <a:pt x="793178" y="81795"/>
                    <a:pt x="806669" y="63227"/>
                    <a:pt x="806669" y="63227"/>
                  </a:cubicBezTo>
                  <a:cubicBezTo>
                    <a:pt x="801852" y="56001"/>
                    <a:pt x="792382" y="44513"/>
                    <a:pt x="792382" y="34652"/>
                  </a:cubicBezTo>
                  <a:cubicBezTo>
                    <a:pt x="792382" y="29632"/>
                    <a:pt x="795557" y="25127"/>
                    <a:pt x="797144" y="20365"/>
                  </a:cubicBezTo>
                  <a:cubicBezTo>
                    <a:pt x="806669" y="21952"/>
                    <a:pt x="817808" y="19589"/>
                    <a:pt x="825719" y="25127"/>
                  </a:cubicBezTo>
                  <a:cubicBezTo>
                    <a:pt x="835097" y="31692"/>
                    <a:pt x="838419" y="44177"/>
                    <a:pt x="844769" y="53702"/>
                  </a:cubicBezTo>
                  <a:lnTo>
                    <a:pt x="863819" y="82277"/>
                  </a:lnTo>
                  <a:cubicBezTo>
                    <a:pt x="867555" y="87881"/>
                    <a:pt x="871599" y="94830"/>
                    <a:pt x="878107" y="96565"/>
                  </a:cubicBezTo>
                  <a:cubicBezTo>
                    <a:pt x="896578" y="101490"/>
                    <a:pt x="916207" y="99740"/>
                    <a:pt x="935257" y="101327"/>
                  </a:cubicBezTo>
                  <a:cubicBezTo>
                    <a:pt x="940019" y="102915"/>
                    <a:pt x="946626" y="102005"/>
                    <a:pt x="949544" y="106090"/>
                  </a:cubicBezTo>
                  <a:cubicBezTo>
                    <a:pt x="955380" y="114260"/>
                    <a:pt x="959069" y="134665"/>
                    <a:pt x="959069" y="134665"/>
                  </a:cubicBezTo>
                  <a:cubicBezTo>
                    <a:pt x="954252" y="141891"/>
                    <a:pt x="944782" y="153379"/>
                    <a:pt x="944782" y="163240"/>
                  </a:cubicBezTo>
                  <a:cubicBezTo>
                    <a:pt x="944782" y="168260"/>
                    <a:pt x="947957" y="172765"/>
                    <a:pt x="949544" y="177527"/>
                  </a:cubicBezTo>
                  <a:cubicBezTo>
                    <a:pt x="947957" y="183877"/>
                    <a:pt x="946580" y="190283"/>
                    <a:pt x="944782" y="196577"/>
                  </a:cubicBezTo>
                  <a:cubicBezTo>
                    <a:pt x="940687" y="210911"/>
                    <a:pt x="933830" y="218250"/>
                    <a:pt x="944782" y="234677"/>
                  </a:cubicBezTo>
                  <a:cubicBezTo>
                    <a:pt x="947567" y="238854"/>
                    <a:pt x="954307" y="237852"/>
                    <a:pt x="959069" y="239440"/>
                  </a:cubicBezTo>
                  <a:cubicBezTo>
                    <a:pt x="962244" y="244202"/>
                    <a:pt x="967653" y="248081"/>
                    <a:pt x="968594" y="253727"/>
                  </a:cubicBezTo>
                  <a:cubicBezTo>
                    <a:pt x="969609" y="259818"/>
                    <a:pt x="957967" y="279374"/>
                    <a:pt x="954307" y="282302"/>
                  </a:cubicBezTo>
                  <a:cubicBezTo>
                    <a:pt x="950387" y="285438"/>
                    <a:pt x="944782" y="285477"/>
                    <a:pt x="940019" y="287065"/>
                  </a:cubicBezTo>
                  <a:cubicBezTo>
                    <a:pt x="929879" y="297205"/>
                    <a:pt x="915570" y="303346"/>
                    <a:pt x="930494" y="320402"/>
                  </a:cubicBezTo>
                  <a:cubicBezTo>
                    <a:pt x="938032" y="329017"/>
                    <a:pt x="959069" y="339452"/>
                    <a:pt x="959069" y="339452"/>
                  </a:cubicBezTo>
                  <a:cubicBezTo>
                    <a:pt x="964265" y="331658"/>
                    <a:pt x="971336" y="317083"/>
                    <a:pt x="982882" y="315640"/>
                  </a:cubicBezTo>
                  <a:cubicBezTo>
                    <a:pt x="990914" y="314636"/>
                    <a:pt x="998757" y="318815"/>
                    <a:pt x="1006694" y="320402"/>
                  </a:cubicBezTo>
                  <a:cubicBezTo>
                    <a:pt x="1043716" y="312999"/>
                    <a:pt x="1024783" y="321364"/>
                    <a:pt x="1059082" y="287065"/>
                  </a:cubicBezTo>
                  <a:lnTo>
                    <a:pt x="1059082" y="287065"/>
                  </a:lnTo>
                  <a:lnTo>
                    <a:pt x="1087657" y="277540"/>
                  </a:lnTo>
                  <a:lnTo>
                    <a:pt x="1101944" y="272777"/>
                  </a:lnTo>
                  <a:cubicBezTo>
                    <a:pt x="1108294" y="274365"/>
                    <a:pt x="1114978" y="274962"/>
                    <a:pt x="1120994" y="277540"/>
                  </a:cubicBezTo>
                  <a:cubicBezTo>
                    <a:pt x="1126255" y="279795"/>
                    <a:pt x="1130162" y="284505"/>
                    <a:pt x="1135282" y="287065"/>
                  </a:cubicBezTo>
                  <a:cubicBezTo>
                    <a:pt x="1139772" y="289310"/>
                    <a:pt x="1144807" y="290240"/>
                    <a:pt x="1149569" y="291827"/>
                  </a:cubicBezTo>
                  <a:cubicBezTo>
                    <a:pt x="1151157" y="285477"/>
                    <a:pt x="1149704" y="277405"/>
                    <a:pt x="1154332" y="272777"/>
                  </a:cubicBezTo>
                  <a:cubicBezTo>
                    <a:pt x="1187220" y="239890"/>
                    <a:pt x="1164434" y="294862"/>
                    <a:pt x="1178144" y="253727"/>
                  </a:cubicBezTo>
                  <a:cubicBezTo>
                    <a:pt x="1166809" y="219722"/>
                    <a:pt x="1174188" y="233506"/>
                    <a:pt x="1159094" y="210865"/>
                  </a:cubicBezTo>
                  <a:cubicBezTo>
                    <a:pt x="1160682" y="206102"/>
                    <a:pt x="1161612" y="201067"/>
                    <a:pt x="1163857" y="196577"/>
                  </a:cubicBezTo>
                  <a:cubicBezTo>
                    <a:pt x="1166417" y="191458"/>
                    <a:pt x="1171057" y="187520"/>
                    <a:pt x="1173382" y="182290"/>
                  </a:cubicBezTo>
                  <a:cubicBezTo>
                    <a:pt x="1177460" y="173115"/>
                    <a:pt x="1182907" y="153715"/>
                    <a:pt x="1182907" y="153715"/>
                  </a:cubicBezTo>
                  <a:cubicBezTo>
                    <a:pt x="1179732" y="148952"/>
                    <a:pt x="1175707" y="144658"/>
                    <a:pt x="1173382" y="139427"/>
                  </a:cubicBezTo>
                  <a:cubicBezTo>
                    <a:pt x="1168966" y="129491"/>
                    <a:pt x="1165482" y="105485"/>
                    <a:pt x="1154332" y="96565"/>
                  </a:cubicBezTo>
                  <a:cubicBezTo>
                    <a:pt x="1150412" y="93429"/>
                    <a:pt x="1144807" y="93390"/>
                    <a:pt x="1140044" y="91802"/>
                  </a:cubicBezTo>
                  <a:cubicBezTo>
                    <a:pt x="1135282" y="87040"/>
                    <a:pt x="1130931" y="81827"/>
                    <a:pt x="1125757" y="77515"/>
                  </a:cubicBezTo>
                  <a:cubicBezTo>
                    <a:pt x="1121360" y="73851"/>
                    <a:pt x="1115516" y="72037"/>
                    <a:pt x="1111469" y="67990"/>
                  </a:cubicBezTo>
                  <a:cubicBezTo>
                    <a:pt x="1107422" y="63943"/>
                    <a:pt x="1105119" y="58465"/>
                    <a:pt x="1101944" y="53702"/>
                  </a:cubicBezTo>
                  <a:cubicBezTo>
                    <a:pt x="1106707" y="52115"/>
                    <a:pt x="1111242" y="48386"/>
                    <a:pt x="1116232" y="48940"/>
                  </a:cubicBezTo>
                  <a:cubicBezTo>
                    <a:pt x="1126211" y="50049"/>
                    <a:pt x="1144807" y="58465"/>
                    <a:pt x="1144807" y="58465"/>
                  </a:cubicBezTo>
                  <a:cubicBezTo>
                    <a:pt x="1151157" y="56877"/>
                    <a:pt x="1159597" y="58672"/>
                    <a:pt x="1163857" y="53702"/>
                  </a:cubicBezTo>
                  <a:cubicBezTo>
                    <a:pt x="1181322" y="33325"/>
                    <a:pt x="1164318" y="25712"/>
                    <a:pt x="1182907" y="10840"/>
                  </a:cubicBezTo>
                  <a:cubicBezTo>
                    <a:pt x="1186827" y="7704"/>
                    <a:pt x="1192432" y="7665"/>
                    <a:pt x="1197194" y="6077"/>
                  </a:cubicBezTo>
                  <a:cubicBezTo>
                    <a:pt x="1231979" y="17672"/>
                    <a:pt x="1216028" y="18037"/>
                    <a:pt x="1244819" y="10840"/>
                  </a:cubicBezTo>
                  <a:cubicBezTo>
                    <a:pt x="1249582" y="7665"/>
                    <a:pt x="1253461" y="2256"/>
                    <a:pt x="1259107" y="1315"/>
                  </a:cubicBezTo>
                  <a:cubicBezTo>
                    <a:pt x="1266994" y="0"/>
                    <a:pt x="1282707" y="12285"/>
                    <a:pt x="1287682" y="15602"/>
                  </a:cubicBezTo>
                  <a:cubicBezTo>
                    <a:pt x="1289269" y="39415"/>
                    <a:pt x="1289808" y="63320"/>
                    <a:pt x="1292444" y="87040"/>
                  </a:cubicBezTo>
                  <a:cubicBezTo>
                    <a:pt x="1292998" y="92029"/>
                    <a:pt x="1292337" y="100109"/>
                    <a:pt x="1297207" y="101327"/>
                  </a:cubicBezTo>
                  <a:cubicBezTo>
                    <a:pt x="1308097" y="104049"/>
                    <a:pt x="1319500" y="98573"/>
                    <a:pt x="1330544" y="96565"/>
                  </a:cubicBezTo>
                  <a:cubicBezTo>
                    <a:pt x="1350999" y="92846"/>
                    <a:pt x="1346042" y="92137"/>
                    <a:pt x="1363882" y="87040"/>
                  </a:cubicBezTo>
                  <a:cubicBezTo>
                    <a:pt x="1370176" y="85242"/>
                    <a:pt x="1376582" y="83865"/>
                    <a:pt x="1382932" y="82277"/>
                  </a:cubicBezTo>
                  <a:cubicBezTo>
                    <a:pt x="1395944" y="43238"/>
                    <a:pt x="1373436" y="103666"/>
                    <a:pt x="1416269" y="39415"/>
                  </a:cubicBezTo>
                  <a:cubicBezTo>
                    <a:pt x="1419444" y="34652"/>
                    <a:pt x="1421324" y="28703"/>
                    <a:pt x="1425794" y="25127"/>
                  </a:cubicBezTo>
                  <a:cubicBezTo>
                    <a:pt x="1429714" y="21991"/>
                    <a:pt x="1435319" y="21952"/>
                    <a:pt x="1440082" y="20365"/>
                  </a:cubicBezTo>
                  <a:cubicBezTo>
                    <a:pt x="1446432" y="21952"/>
                    <a:pt x="1456205" y="19273"/>
                    <a:pt x="1459132" y="25127"/>
                  </a:cubicBezTo>
                  <a:cubicBezTo>
                    <a:pt x="1462752" y="32367"/>
                    <a:pt x="1455315" y="40901"/>
                    <a:pt x="1454369" y="48940"/>
                  </a:cubicBezTo>
                  <a:cubicBezTo>
                    <a:pt x="1452862" y="61754"/>
                    <a:pt x="1459094" y="105168"/>
                    <a:pt x="1440082" y="120377"/>
                  </a:cubicBezTo>
                  <a:cubicBezTo>
                    <a:pt x="1436162" y="123513"/>
                    <a:pt x="1430557" y="123552"/>
                    <a:pt x="1425794" y="125140"/>
                  </a:cubicBezTo>
                  <a:cubicBezTo>
                    <a:pt x="1421032" y="129902"/>
                    <a:pt x="1415243" y="133823"/>
                    <a:pt x="1411507" y="139427"/>
                  </a:cubicBezTo>
                  <a:cubicBezTo>
                    <a:pt x="1408722" y="143604"/>
                    <a:pt x="1408989" y="149225"/>
                    <a:pt x="1406744" y="153715"/>
                  </a:cubicBezTo>
                  <a:cubicBezTo>
                    <a:pt x="1404184" y="158834"/>
                    <a:pt x="1400394" y="163240"/>
                    <a:pt x="1397219" y="168002"/>
                  </a:cubicBezTo>
                  <a:cubicBezTo>
                    <a:pt x="1398807" y="172765"/>
                    <a:pt x="1398432" y="178740"/>
                    <a:pt x="1401982" y="182290"/>
                  </a:cubicBezTo>
                  <a:cubicBezTo>
                    <a:pt x="1405532" y="185840"/>
                    <a:pt x="1412092" y="184267"/>
                    <a:pt x="1416269" y="187052"/>
                  </a:cubicBezTo>
                  <a:cubicBezTo>
                    <a:pt x="1421873" y="190788"/>
                    <a:pt x="1425794" y="196577"/>
                    <a:pt x="1430557" y="201340"/>
                  </a:cubicBezTo>
                  <a:cubicBezTo>
                    <a:pt x="1427975" y="214247"/>
                    <a:pt x="1427948" y="230097"/>
                    <a:pt x="1416269" y="239440"/>
                  </a:cubicBezTo>
                  <a:cubicBezTo>
                    <a:pt x="1412349" y="242576"/>
                    <a:pt x="1406744" y="242615"/>
                    <a:pt x="1401982" y="244202"/>
                  </a:cubicBezTo>
                  <a:cubicBezTo>
                    <a:pt x="1403569" y="248965"/>
                    <a:pt x="1404499" y="254000"/>
                    <a:pt x="1406744" y="258490"/>
                  </a:cubicBezTo>
                  <a:cubicBezTo>
                    <a:pt x="1409304" y="263609"/>
                    <a:pt x="1411800" y="269201"/>
                    <a:pt x="1416269" y="272777"/>
                  </a:cubicBezTo>
                  <a:cubicBezTo>
                    <a:pt x="1420189" y="275913"/>
                    <a:pt x="1425634" y="276555"/>
                    <a:pt x="1430557" y="277540"/>
                  </a:cubicBezTo>
                  <a:cubicBezTo>
                    <a:pt x="1441564" y="279741"/>
                    <a:pt x="1452782" y="280715"/>
                    <a:pt x="1463894" y="282302"/>
                  </a:cubicBezTo>
                  <a:cubicBezTo>
                    <a:pt x="1468657" y="285477"/>
                    <a:pt x="1475007" y="287064"/>
                    <a:pt x="1478182" y="291827"/>
                  </a:cubicBezTo>
                  <a:cubicBezTo>
                    <a:pt x="1487071" y="305161"/>
                    <a:pt x="1481992" y="316593"/>
                    <a:pt x="1478182" y="329927"/>
                  </a:cubicBezTo>
                  <a:cubicBezTo>
                    <a:pt x="1476803" y="334754"/>
                    <a:pt x="1475007" y="339452"/>
                    <a:pt x="1473419" y="344215"/>
                  </a:cubicBezTo>
                  <a:cubicBezTo>
                    <a:pt x="1474216" y="349792"/>
                    <a:pt x="1479450" y="400622"/>
                    <a:pt x="1487707" y="406127"/>
                  </a:cubicBezTo>
                  <a:lnTo>
                    <a:pt x="1516282" y="425177"/>
                  </a:lnTo>
                  <a:cubicBezTo>
                    <a:pt x="1524317" y="430533"/>
                    <a:pt x="1535332" y="428352"/>
                    <a:pt x="1544857" y="429940"/>
                  </a:cubicBezTo>
                  <a:cubicBezTo>
                    <a:pt x="1548032" y="434702"/>
                    <a:pt x="1553441" y="438581"/>
                    <a:pt x="1554382" y="444227"/>
                  </a:cubicBezTo>
                  <a:cubicBezTo>
                    <a:pt x="1557724" y="464281"/>
                    <a:pt x="1538339" y="452749"/>
                    <a:pt x="1554382" y="472802"/>
                  </a:cubicBezTo>
                  <a:cubicBezTo>
                    <a:pt x="1558870" y="478412"/>
                    <a:pt x="1583031" y="489508"/>
                    <a:pt x="1587719" y="491852"/>
                  </a:cubicBezTo>
                  <a:cubicBezTo>
                    <a:pt x="1586132" y="498202"/>
                    <a:pt x="1584838" y="504633"/>
                    <a:pt x="1582957" y="510902"/>
                  </a:cubicBezTo>
                  <a:cubicBezTo>
                    <a:pt x="1580072" y="520519"/>
                    <a:pt x="1575867" y="529737"/>
                    <a:pt x="1573432" y="539477"/>
                  </a:cubicBezTo>
                  <a:cubicBezTo>
                    <a:pt x="1566706" y="566380"/>
                    <a:pt x="1569953" y="552109"/>
                    <a:pt x="1563907" y="582340"/>
                  </a:cubicBezTo>
                  <a:cubicBezTo>
                    <a:pt x="1565494" y="596627"/>
                    <a:pt x="1569863" y="610876"/>
                    <a:pt x="1568669" y="625202"/>
                  </a:cubicBezTo>
                  <a:cubicBezTo>
                    <a:pt x="1564976" y="669513"/>
                    <a:pt x="1549777" y="611392"/>
                    <a:pt x="1563907" y="653777"/>
                  </a:cubicBezTo>
                  <a:cubicBezTo>
                    <a:pt x="1562319" y="661715"/>
                    <a:pt x="1561986" y="670011"/>
                    <a:pt x="1559144" y="677590"/>
                  </a:cubicBezTo>
                  <a:cubicBezTo>
                    <a:pt x="1552794" y="694522"/>
                    <a:pt x="1548031" y="690819"/>
                    <a:pt x="1535332" y="701402"/>
                  </a:cubicBezTo>
                  <a:cubicBezTo>
                    <a:pt x="1530158" y="705714"/>
                    <a:pt x="1526218" y="711378"/>
                    <a:pt x="1521044" y="715690"/>
                  </a:cubicBezTo>
                  <a:cubicBezTo>
                    <a:pt x="1516647" y="719354"/>
                    <a:pt x="1511035" y="721412"/>
                    <a:pt x="1506757" y="725215"/>
                  </a:cubicBezTo>
                  <a:cubicBezTo>
                    <a:pt x="1490527" y="739641"/>
                    <a:pt x="1482424" y="754050"/>
                    <a:pt x="1463894" y="763315"/>
                  </a:cubicBezTo>
                  <a:cubicBezTo>
                    <a:pt x="1459404" y="765560"/>
                    <a:pt x="1454369" y="766490"/>
                    <a:pt x="1449607" y="768077"/>
                  </a:cubicBezTo>
                  <a:lnTo>
                    <a:pt x="1421032" y="749027"/>
                  </a:lnTo>
                  <a:cubicBezTo>
                    <a:pt x="1407240" y="739832"/>
                    <a:pt x="1423818" y="720776"/>
                    <a:pt x="1411507" y="710927"/>
                  </a:cubicBezTo>
                  <a:cubicBezTo>
                    <a:pt x="1406396" y="706838"/>
                    <a:pt x="1398807" y="707752"/>
                    <a:pt x="1392457" y="706165"/>
                  </a:cubicBezTo>
                  <a:cubicBezTo>
                    <a:pt x="1359120" y="728390"/>
                    <a:pt x="1370232" y="715690"/>
                    <a:pt x="1354357" y="739502"/>
                  </a:cubicBezTo>
                  <a:cubicBezTo>
                    <a:pt x="1355944" y="744265"/>
                    <a:pt x="1356681" y="749402"/>
                    <a:pt x="1359119" y="753790"/>
                  </a:cubicBezTo>
                  <a:cubicBezTo>
                    <a:pt x="1364678" y="763797"/>
                    <a:pt x="1378169" y="782365"/>
                    <a:pt x="1378169" y="782365"/>
                  </a:cubicBezTo>
                  <a:cubicBezTo>
                    <a:pt x="1376582" y="787127"/>
                    <a:pt x="1376543" y="792732"/>
                    <a:pt x="1373407" y="796652"/>
                  </a:cubicBezTo>
                  <a:cubicBezTo>
                    <a:pt x="1366693" y="805044"/>
                    <a:pt x="1354243" y="807803"/>
                    <a:pt x="1344832" y="810940"/>
                  </a:cubicBezTo>
                  <a:cubicBezTo>
                    <a:pt x="1310839" y="806083"/>
                    <a:pt x="1312149" y="803095"/>
                    <a:pt x="1278157" y="810940"/>
                  </a:cubicBezTo>
                  <a:cubicBezTo>
                    <a:pt x="1268374" y="813198"/>
                    <a:pt x="1259107" y="817290"/>
                    <a:pt x="1249582" y="820465"/>
                  </a:cubicBezTo>
                  <a:lnTo>
                    <a:pt x="1235294" y="825227"/>
                  </a:lnTo>
                  <a:cubicBezTo>
                    <a:pt x="1230532" y="828402"/>
                    <a:pt x="1224583" y="830283"/>
                    <a:pt x="1221007" y="834752"/>
                  </a:cubicBezTo>
                  <a:cubicBezTo>
                    <a:pt x="1217871" y="838672"/>
                    <a:pt x="1219029" y="844863"/>
                    <a:pt x="1216244" y="849040"/>
                  </a:cubicBezTo>
                  <a:cubicBezTo>
                    <a:pt x="1212508" y="854644"/>
                    <a:pt x="1206719" y="858565"/>
                    <a:pt x="1201957" y="863327"/>
                  </a:cubicBezTo>
                  <a:cubicBezTo>
                    <a:pt x="1203544" y="871265"/>
                    <a:pt x="1204756" y="879287"/>
                    <a:pt x="1206719" y="887140"/>
                  </a:cubicBezTo>
                  <a:cubicBezTo>
                    <a:pt x="1207937" y="892010"/>
                    <a:pt x="1206512" y="900717"/>
                    <a:pt x="1211482" y="901427"/>
                  </a:cubicBezTo>
                  <a:cubicBezTo>
                    <a:pt x="1221421" y="902847"/>
                    <a:pt x="1230532" y="895077"/>
                    <a:pt x="1240057" y="891902"/>
                  </a:cubicBezTo>
                  <a:lnTo>
                    <a:pt x="1254344" y="887140"/>
                  </a:lnTo>
                  <a:lnTo>
                    <a:pt x="1268632" y="882377"/>
                  </a:lnTo>
                  <a:cubicBezTo>
                    <a:pt x="1277794" y="888485"/>
                    <a:pt x="1289268" y="891912"/>
                    <a:pt x="1287682" y="906190"/>
                  </a:cubicBezTo>
                  <a:cubicBezTo>
                    <a:pt x="1286573" y="916169"/>
                    <a:pt x="1281332" y="925240"/>
                    <a:pt x="1278157" y="934765"/>
                  </a:cubicBezTo>
                  <a:lnTo>
                    <a:pt x="1273394" y="949052"/>
                  </a:lnTo>
                  <a:cubicBezTo>
                    <a:pt x="1271807" y="958577"/>
                    <a:pt x="1270727" y="968201"/>
                    <a:pt x="1268632" y="977627"/>
                  </a:cubicBezTo>
                  <a:cubicBezTo>
                    <a:pt x="1267543" y="982528"/>
                    <a:pt x="1267419" y="988365"/>
                    <a:pt x="1263869" y="991915"/>
                  </a:cubicBezTo>
                  <a:cubicBezTo>
                    <a:pt x="1255774" y="1000010"/>
                    <a:pt x="1235294" y="1010965"/>
                    <a:pt x="1235294" y="1010965"/>
                  </a:cubicBezTo>
                  <a:cubicBezTo>
                    <a:pt x="1228944" y="1009377"/>
                    <a:pt x="1222513" y="1008083"/>
                    <a:pt x="1216244" y="1006202"/>
                  </a:cubicBezTo>
                  <a:cubicBezTo>
                    <a:pt x="1206627" y="1003317"/>
                    <a:pt x="1187669" y="996677"/>
                    <a:pt x="1187669" y="996677"/>
                  </a:cubicBezTo>
                  <a:cubicBezTo>
                    <a:pt x="1184494" y="1001440"/>
                    <a:pt x="1178662" y="1005265"/>
                    <a:pt x="1178144" y="1010965"/>
                  </a:cubicBezTo>
                  <a:cubicBezTo>
                    <a:pt x="1176221" y="1032119"/>
                    <a:pt x="1181726" y="1045523"/>
                    <a:pt x="1187669" y="1063352"/>
                  </a:cubicBezTo>
                  <a:cubicBezTo>
                    <a:pt x="1182907" y="1068115"/>
                    <a:pt x="1178986" y="1073904"/>
                    <a:pt x="1173382" y="1077640"/>
                  </a:cubicBezTo>
                  <a:cubicBezTo>
                    <a:pt x="1169205" y="1080425"/>
                    <a:pt x="1162644" y="1078852"/>
                    <a:pt x="1159094" y="1082402"/>
                  </a:cubicBezTo>
                  <a:cubicBezTo>
                    <a:pt x="1155544" y="1085952"/>
                    <a:pt x="1157117" y="1092513"/>
                    <a:pt x="1154332" y="1096690"/>
                  </a:cubicBezTo>
                  <a:cubicBezTo>
                    <a:pt x="1150596" y="1102294"/>
                    <a:pt x="1144179" y="1105661"/>
                    <a:pt x="1140044" y="1110977"/>
                  </a:cubicBezTo>
                  <a:cubicBezTo>
                    <a:pt x="1133016" y="1120013"/>
                    <a:pt x="1120994" y="1139552"/>
                    <a:pt x="1120994" y="1139552"/>
                  </a:cubicBezTo>
                  <a:cubicBezTo>
                    <a:pt x="1119407" y="1149077"/>
                    <a:pt x="1121023" y="1159743"/>
                    <a:pt x="1116232" y="1168127"/>
                  </a:cubicBezTo>
                  <a:cubicBezTo>
                    <a:pt x="1105718" y="1186527"/>
                    <a:pt x="1091858" y="1161003"/>
                    <a:pt x="1087657" y="1158602"/>
                  </a:cubicBezTo>
                  <a:cubicBezTo>
                    <a:pt x="1081974" y="1155355"/>
                    <a:pt x="1074957" y="1155427"/>
                    <a:pt x="1068607" y="1153840"/>
                  </a:cubicBezTo>
                  <a:cubicBezTo>
                    <a:pt x="1056986" y="1157713"/>
                    <a:pt x="1049265" y="1158894"/>
                    <a:pt x="1040032" y="1168127"/>
                  </a:cubicBezTo>
                  <a:cubicBezTo>
                    <a:pt x="1035985" y="1172175"/>
                    <a:pt x="1034171" y="1178018"/>
                    <a:pt x="1030507" y="1182415"/>
                  </a:cubicBezTo>
                  <a:cubicBezTo>
                    <a:pt x="1026195" y="1187589"/>
                    <a:pt x="1020982" y="1191940"/>
                    <a:pt x="1016219" y="1196702"/>
                  </a:cubicBezTo>
                  <a:cubicBezTo>
                    <a:pt x="1014632" y="1201465"/>
                    <a:pt x="1014242" y="1206813"/>
                    <a:pt x="1011457" y="1210990"/>
                  </a:cubicBezTo>
                  <a:cubicBezTo>
                    <a:pt x="1007721" y="1216594"/>
                    <a:pt x="997913" y="1218583"/>
                    <a:pt x="997169" y="1225277"/>
                  </a:cubicBezTo>
                  <a:cubicBezTo>
                    <a:pt x="996060" y="1235256"/>
                    <a:pt x="1006694" y="1253852"/>
                    <a:pt x="1006694" y="1253852"/>
                  </a:cubicBezTo>
                  <a:cubicBezTo>
                    <a:pt x="1005107" y="1258615"/>
                    <a:pt x="1006017" y="1265222"/>
                    <a:pt x="1001932" y="1268140"/>
                  </a:cubicBezTo>
                  <a:cubicBezTo>
                    <a:pt x="993762" y="1273976"/>
                    <a:pt x="973357" y="1277665"/>
                    <a:pt x="973357" y="1277665"/>
                  </a:cubicBezTo>
                  <a:cubicBezTo>
                    <a:pt x="941401" y="1256362"/>
                    <a:pt x="972711" y="1281458"/>
                    <a:pt x="954307" y="1253852"/>
                  </a:cubicBezTo>
                  <a:cubicBezTo>
                    <a:pt x="950571" y="1248248"/>
                    <a:pt x="944331" y="1244739"/>
                    <a:pt x="940019" y="1239565"/>
                  </a:cubicBezTo>
                  <a:cubicBezTo>
                    <a:pt x="936355" y="1235168"/>
                    <a:pt x="933669" y="1230040"/>
                    <a:pt x="930494" y="1225277"/>
                  </a:cubicBezTo>
                  <a:cubicBezTo>
                    <a:pt x="928907" y="1220515"/>
                    <a:pt x="925732" y="1216010"/>
                    <a:pt x="925732" y="1210990"/>
                  </a:cubicBezTo>
                  <a:cubicBezTo>
                    <a:pt x="925732" y="1191942"/>
                    <a:pt x="938430" y="1201462"/>
                    <a:pt x="925732" y="1182415"/>
                  </a:cubicBezTo>
                  <a:cubicBezTo>
                    <a:pt x="921996" y="1176811"/>
                    <a:pt x="916761" y="1172262"/>
                    <a:pt x="911444" y="1168127"/>
                  </a:cubicBezTo>
                  <a:cubicBezTo>
                    <a:pt x="902408" y="1161099"/>
                    <a:pt x="882869" y="1149077"/>
                    <a:pt x="882869" y="1149077"/>
                  </a:cubicBezTo>
                  <a:cubicBezTo>
                    <a:pt x="879694" y="1144315"/>
                    <a:pt x="874989" y="1140272"/>
                    <a:pt x="873344" y="1134790"/>
                  </a:cubicBezTo>
                  <a:cubicBezTo>
                    <a:pt x="870118" y="1124038"/>
                    <a:pt x="875768" y="1110076"/>
                    <a:pt x="868582" y="1101452"/>
                  </a:cubicBezTo>
                  <a:cubicBezTo>
                    <a:pt x="864392" y="1096424"/>
                    <a:pt x="855882" y="1104627"/>
                    <a:pt x="849532" y="1106215"/>
                  </a:cubicBezTo>
                  <a:cubicBezTo>
                    <a:pt x="827331" y="1139515"/>
                    <a:pt x="851240" y="1098812"/>
                    <a:pt x="835244" y="1168127"/>
                  </a:cubicBezTo>
                  <a:cubicBezTo>
                    <a:pt x="833957" y="1173704"/>
                    <a:pt x="831034" y="1180289"/>
                    <a:pt x="825719" y="1182415"/>
                  </a:cubicBezTo>
                  <a:cubicBezTo>
                    <a:pt x="813836" y="1187168"/>
                    <a:pt x="800319" y="1185590"/>
                    <a:pt x="787619" y="1187177"/>
                  </a:cubicBezTo>
                  <a:cubicBezTo>
                    <a:pt x="790794" y="1196702"/>
                    <a:pt x="802713" y="1207398"/>
                    <a:pt x="797144" y="1215752"/>
                  </a:cubicBezTo>
                  <a:cubicBezTo>
                    <a:pt x="793969" y="1220515"/>
                    <a:pt x="792382" y="1226865"/>
                    <a:pt x="787619" y="1230040"/>
                  </a:cubicBezTo>
                  <a:cubicBezTo>
                    <a:pt x="782173" y="1233671"/>
                    <a:pt x="774838" y="1232921"/>
                    <a:pt x="768569" y="1234802"/>
                  </a:cubicBezTo>
                  <a:cubicBezTo>
                    <a:pt x="758952" y="1237687"/>
                    <a:pt x="749519" y="1241152"/>
                    <a:pt x="739994" y="1244327"/>
                  </a:cubicBezTo>
                  <a:cubicBezTo>
                    <a:pt x="687891" y="1261696"/>
                    <a:pt x="766811" y="1233996"/>
                    <a:pt x="711419" y="1258615"/>
                  </a:cubicBezTo>
                  <a:cubicBezTo>
                    <a:pt x="691642" y="1267404"/>
                    <a:pt x="679405" y="1268828"/>
                    <a:pt x="659032" y="1272902"/>
                  </a:cubicBezTo>
                  <a:cubicBezTo>
                    <a:pt x="657444" y="1277665"/>
                    <a:pt x="655648" y="1282363"/>
                    <a:pt x="654269" y="1287190"/>
                  </a:cubicBezTo>
                  <a:cubicBezTo>
                    <a:pt x="652471" y="1293484"/>
                    <a:pt x="654477" y="1301980"/>
                    <a:pt x="649507" y="1306240"/>
                  </a:cubicBezTo>
                  <a:cubicBezTo>
                    <a:pt x="637921" y="1316171"/>
                    <a:pt x="593760" y="1319161"/>
                    <a:pt x="582832" y="1320527"/>
                  </a:cubicBezTo>
                  <a:cubicBezTo>
                    <a:pt x="578069" y="1322115"/>
                    <a:pt x="573034" y="1323045"/>
                    <a:pt x="568544" y="1325290"/>
                  </a:cubicBezTo>
                  <a:cubicBezTo>
                    <a:pt x="552085" y="1333520"/>
                    <a:pt x="557929" y="1336584"/>
                    <a:pt x="539969" y="1339577"/>
                  </a:cubicBezTo>
                  <a:cubicBezTo>
                    <a:pt x="525789" y="1341940"/>
                    <a:pt x="511394" y="1342752"/>
                    <a:pt x="497107" y="1344340"/>
                  </a:cubicBezTo>
                  <a:cubicBezTo>
                    <a:pt x="489321" y="1346935"/>
                    <a:pt x="473392" y="1350851"/>
                    <a:pt x="468532" y="1358627"/>
                  </a:cubicBezTo>
                  <a:cubicBezTo>
                    <a:pt x="463211" y="1367141"/>
                    <a:pt x="462182" y="1377677"/>
                    <a:pt x="459007" y="1387202"/>
                  </a:cubicBezTo>
                  <a:cubicBezTo>
                    <a:pt x="455387" y="1398062"/>
                    <a:pt x="446307" y="1406252"/>
                    <a:pt x="439957" y="1415777"/>
                  </a:cubicBezTo>
                  <a:lnTo>
                    <a:pt x="430432" y="1430065"/>
                  </a:lnTo>
                  <a:cubicBezTo>
                    <a:pt x="424863" y="1438419"/>
                    <a:pt x="411382" y="1436415"/>
                    <a:pt x="401857" y="1439590"/>
                  </a:cubicBezTo>
                  <a:cubicBezTo>
                    <a:pt x="396427" y="1441400"/>
                    <a:pt x="392332" y="1445940"/>
                    <a:pt x="387569" y="1449115"/>
                  </a:cubicBezTo>
                  <a:cubicBezTo>
                    <a:pt x="386371" y="1457500"/>
                    <a:pt x="388034" y="1493487"/>
                    <a:pt x="368519" y="1496740"/>
                  </a:cubicBezTo>
                  <a:cubicBezTo>
                    <a:pt x="354339" y="1499103"/>
                    <a:pt x="339944" y="1493565"/>
                    <a:pt x="325657" y="1491977"/>
                  </a:cubicBezTo>
                  <a:cubicBezTo>
                    <a:pt x="320894" y="1487215"/>
                    <a:pt x="317944" y="1479151"/>
                    <a:pt x="311369" y="1477690"/>
                  </a:cubicBezTo>
                  <a:cubicBezTo>
                    <a:pt x="301943" y="1475595"/>
                    <a:pt x="292450" y="1482452"/>
                    <a:pt x="282794" y="1482452"/>
                  </a:cubicBezTo>
                  <a:cubicBezTo>
                    <a:pt x="266840" y="1482452"/>
                    <a:pt x="251044" y="1479277"/>
                    <a:pt x="235169" y="1477690"/>
                  </a:cubicBezTo>
                  <a:cubicBezTo>
                    <a:pt x="230407" y="1476102"/>
                    <a:pt x="225782" y="1474016"/>
                    <a:pt x="220882" y="1472927"/>
                  </a:cubicBezTo>
                  <a:cubicBezTo>
                    <a:pt x="211456" y="1470832"/>
                    <a:pt x="199847" y="1474197"/>
                    <a:pt x="192307" y="1468165"/>
                  </a:cubicBezTo>
                  <a:cubicBezTo>
                    <a:pt x="188387" y="1465029"/>
                    <a:pt x="194824" y="1458367"/>
                    <a:pt x="197069" y="1453877"/>
                  </a:cubicBezTo>
                  <a:cubicBezTo>
                    <a:pt x="199629" y="1448758"/>
                    <a:pt x="203419" y="1444352"/>
                    <a:pt x="206594" y="1439590"/>
                  </a:cubicBezTo>
                  <a:cubicBezTo>
                    <a:pt x="205007" y="1428477"/>
                    <a:pt x="206391" y="1416510"/>
                    <a:pt x="201832" y="1406252"/>
                  </a:cubicBezTo>
                  <a:cubicBezTo>
                    <a:pt x="199507" y="1401021"/>
                    <a:pt x="192664" y="1399287"/>
                    <a:pt x="187544" y="1396727"/>
                  </a:cubicBezTo>
                  <a:cubicBezTo>
                    <a:pt x="177783" y="1391847"/>
                    <a:pt x="158497" y="1389013"/>
                    <a:pt x="149444" y="1387202"/>
                  </a:cubicBezTo>
                  <a:cubicBezTo>
                    <a:pt x="144682" y="1384027"/>
                    <a:pt x="138733" y="1382146"/>
                    <a:pt x="135157" y="1377677"/>
                  </a:cubicBezTo>
                  <a:cubicBezTo>
                    <a:pt x="132021" y="1373757"/>
                    <a:pt x="130394" y="1368410"/>
                    <a:pt x="130394" y="1363390"/>
                  </a:cubicBezTo>
                  <a:cubicBezTo>
                    <a:pt x="130394" y="1322931"/>
                    <a:pt x="129331" y="1329266"/>
                    <a:pt x="144682" y="1306240"/>
                  </a:cubicBezTo>
                  <a:cubicBezTo>
                    <a:pt x="143094" y="1299890"/>
                    <a:pt x="143550" y="1292636"/>
                    <a:pt x="139919" y="1287190"/>
                  </a:cubicBezTo>
                  <a:cubicBezTo>
                    <a:pt x="134643" y="1279277"/>
                    <a:pt x="119494" y="1275619"/>
                    <a:pt x="111344" y="1272902"/>
                  </a:cubicBezTo>
                  <a:cubicBezTo>
                    <a:pt x="109757" y="1268140"/>
                    <a:pt x="107800" y="1263485"/>
                    <a:pt x="106582" y="1258615"/>
                  </a:cubicBezTo>
                  <a:cubicBezTo>
                    <a:pt x="103866" y="1247751"/>
                    <a:pt x="102499" y="1231399"/>
                    <a:pt x="97057" y="1220515"/>
                  </a:cubicBezTo>
                  <a:cubicBezTo>
                    <a:pt x="94497" y="1215395"/>
                    <a:pt x="92002" y="1209803"/>
                    <a:pt x="87532" y="1206227"/>
                  </a:cubicBezTo>
                  <a:cubicBezTo>
                    <a:pt x="83612" y="1203091"/>
                    <a:pt x="78007" y="1203052"/>
                    <a:pt x="73244" y="1201465"/>
                  </a:cubicBezTo>
                  <a:cubicBezTo>
                    <a:pt x="70069" y="1196702"/>
                    <a:pt x="66279" y="1192297"/>
                    <a:pt x="63719" y="1187177"/>
                  </a:cubicBezTo>
                  <a:cubicBezTo>
                    <a:pt x="57240" y="1174218"/>
                    <a:pt x="56614" y="1163287"/>
                    <a:pt x="63719" y="1149077"/>
                  </a:cubicBezTo>
                  <a:cubicBezTo>
                    <a:pt x="66731" y="1143053"/>
                    <a:pt x="73695" y="1139964"/>
                    <a:pt x="78007" y="1134790"/>
                  </a:cubicBezTo>
                  <a:cubicBezTo>
                    <a:pt x="81671" y="1130393"/>
                    <a:pt x="84357" y="1125265"/>
                    <a:pt x="87532" y="1120502"/>
                  </a:cubicBezTo>
                  <a:cubicBezTo>
                    <a:pt x="85944" y="1109390"/>
                    <a:pt x="86799" y="1097642"/>
                    <a:pt x="82769" y="1087165"/>
                  </a:cubicBezTo>
                  <a:cubicBezTo>
                    <a:pt x="78659" y="1076480"/>
                    <a:pt x="63719" y="1058590"/>
                    <a:pt x="63719" y="1058590"/>
                  </a:cubicBezTo>
                  <a:cubicBezTo>
                    <a:pt x="65307" y="1053827"/>
                    <a:pt x="70727" y="1048792"/>
                    <a:pt x="68482" y="1044302"/>
                  </a:cubicBezTo>
                  <a:cubicBezTo>
                    <a:pt x="66237" y="1039812"/>
                    <a:pt x="59117" y="1040525"/>
                    <a:pt x="54194" y="1039540"/>
                  </a:cubicBezTo>
                  <a:cubicBezTo>
                    <a:pt x="43187" y="1037339"/>
                    <a:pt x="31969" y="1036365"/>
                    <a:pt x="20857" y="1034777"/>
                  </a:cubicBezTo>
                  <a:cubicBezTo>
                    <a:pt x="16094" y="1031602"/>
                    <a:pt x="10145" y="1029722"/>
                    <a:pt x="6569" y="1025252"/>
                  </a:cubicBezTo>
                  <a:cubicBezTo>
                    <a:pt x="0" y="1017040"/>
                    <a:pt x="248" y="999817"/>
                    <a:pt x="6569" y="991915"/>
                  </a:cubicBezTo>
                  <a:cubicBezTo>
                    <a:pt x="9705" y="987995"/>
                    <a:pt x="16367" y="989397"/>
                    <a:pt x="20857" y="987152"/>
                  </a:cubicBezTo>
                  <a:cubicBezTo>
                    <a:pt x="62412" y="966374"/>
                    <a:pt x="4636" y="987732"/>
                    <a:pt x="54194" y="972865"/>
                  </a:cubicBezTo>
                  <a:cubicBezTo>
                    <a:pt x="63811" y="969980"/>
                    <a:pt x="82769" y="963340"/>
                    <a:pt x="82769" y="963340"/>
                  </a:cubicBezTo>
                  <a:lnTo>
                    <a:pt x="111344" y="944290"/>
                  </a:lnTo>
                  <a:lnTo>
                    <a:pt x="125632" y="934765"/>
                  </a:lnTo>
                  <a:cubicBezTo>
                    <a:pt x="141978" y="910246"/>
                    <a:pt x="157147" y="908131"/>
                    <a:pt x="130394" y="896665"/>
                  </a:cubicBezTo>
                  <a:cubicBezTo>
                    <a:pt x="124378" y="894087"/>
                    <a:pt x="117694" y="893490"/>
                    <a:pt x="111344" y="891902"/>
                  </a:cubicBezTo>
                  <a:cubicBezTo>
                    <a:pt x="109757" y="887140"/>
                    <a:pt x="106582" y="882635"/>
                    <a:pt x="106582" y="877615"/>
                  </a:cubicBezTo>
                  <a:cubicBezTo>
                    <a:pt x="106582" y="861998"/>
                    <a:pt x="117040" y="860087"/>
                    <a:pt x="125632" y="849040"/>
                  </a:cubicBezTo>
                  <a:cubicBezTo>
                    <a:pt x="132660" y="840004"/>
                    <a:pt x="138332" y="829990"/>
                    <a:pt x="144682" y="820465"/>
                  </a:cubicBezTo>
                  <a:lnTo>
                    <a:pt x="154207" y="806177"/>
                  </a:lnTo>
                  <a:cubicBezTo>
                    <a:pt x="166786" y="768441"/>
                    <a:pt x="162082" y="787506"/>
                    <a:pt x="168494" y="749027"/>
                  </a:cubicBezTo>
                  <a:cubicBezTo>
                    <a:pt x="161443" y="650302"/>
                    <a:pt x="169672" y="711465"/>
                    <a:pt x="158969" y="663302"/>
                  </a:cubicBezTo>
                  <a:cubicBezTo>
                    <a:pt x="157213" y="655400"/>
                    <a:pt x="157556" y="646859"/>
                    <a:pt x="154207" y="639490"/>
                  </a:cubicBezTo>
                  <a:cubicBezTo>
                    <a:pt x="149470" y="629068"/>
                    <a:pt x="135157" y="610915"/>
                    <a:pt x="135157" y="610915"/>
                  </a:cubicBezTo>
                  <a:cubicBezTo>
                    <a:pt x="130923" y="577049"/>
                    <a:pt x="140489" y="575481"/>
                    <a:pt x="116107" y="563290"/>
                  </a:cubicBezTo>
                  <a:cubicBezTo>
                    <a:pt x="111617" y="561045"/>
                    <a:pt x="106582" y="560115"/>
                    <a:pt x="101819" y="558527"/>
                  </a:cubicBezTo>
                  <a:cubicBezTo>
                    <a:pt x="98644" y="553765"/>
                    <a:pt x="94854" y="549359"/>
                    <a:pt x="92294" y="544240"/>
                  </a:cubicBezTo>
                  <a:cubicBezTo>
                    <a:pt x="87190" y="534032"/>
                    <a:pt x="84941" y="515914"/>
                    <a:pt x="82769" y="506140"/>
                  </a:cubicBezTo>
                  <a:cubicBezTo>
                    <a:pt x="81349" y="499750"/>
                    <a:pt x="79594" y="493440"/>
                    <a:pt x="78007" y="487090"/>
                  </a:cubicBezTo>
                  <a:cubicBezTo>
                    <a:pt x="79594" y="477565"/>
                    <a:pt x="77978" y="466899"/>
                    <a:pt x="82769" y="458515"/>
                  </a:cubicBezTo>
                  <a:cubicBezTo>
                    <a:pt x="85260" y="454156"/>
                    <a:pt x="92567" y="455997"/>
                    <a:pt x="97057" y="453752"/>
                  </a:cubicBezTo>
                  <a:cubicBezTo>
                    <a:pt x="102176" y="451192"/>
                    <a:pt x="106225" y="446787"/>
                    <a:pt x="111344" y="444227"/>
                  </a:cubicBezTo>
                  <a:cubicBezTo>
                    <a:pt x="118951" y="440424"/>
                    <a:pt x="137569" y="436734"/>
                    <a:pt x="144682" y="434702"/>
                  </a:cubicBezTo>
                  <a:cubicBezTo>
                    <a:pt x="192508" y="421037"/>
                    <a:pt x="118464" y="440067"/>
                    <a:pt x="178019" y="425177"/>
                  </a:cubicBezTo>
                  <a:cubicBezTo>
                    <a:pt x="191397" y="426393"/>
                    <a:pt x="226371" y="425541"/>
                    <a:pt x="244694" y="434702"/>
                  </a:cubicBezTo>
                  <a:cubicBezTo>
                    <a:pt x="249814" y="437262"/>
                    <a:pt x="254219" y="441052"/>
                    <a:pt x="258982" y="444227"/>
                  </a:cubicBezTo>
                  <a:cubicBezTo>
                    <a:pt x="263744" y="442640"/>
                    <a:pt x="269349" y="442601"/>
                    <a:pt x="273269" y="439465"/>
                  </a:cubicBezTo>
                  <a:cubicBezTo>
                    <a:pt x="277739" y="435889"/>
                    <a:pt x="277323" y="426860"/>
                    <a:pt x="282794" y="425177"/>
                  </a:cubicBezTo>
                  <a:cubicBezTo>
                    <a:pt x="299553" y="420020"/>
                    <a:pt x="317719" y="422002"/>
                    <a:pt x="335182" y="420415"/>
                  </a:cubicBezTo>
                  <a:cubicBezTo>
                    <a:pt x="339944" y="418827"/>
                    <a:pt x="344979" y="417897"/>
                    <a:pt x="349469" y="415652"/>
                  </a:cubicBezTo>
                  <a:cubicBezTo>
                    <a:pt x="354589" y="413092"/>
                    <a:pt x="358327" y="407937"/>
                    <a:pt x="363757" y="406127"/>
                  </a:cubicBezTo>
                  <a:cubicBezTo>
                    <a:pt x="372918" y="403074"/>
                    <a:pt x="382807" y="402952"/>
                    <a:pt x="392332" y="401365"/>
                  </a:cubicBezTo>
                  <a:cubicBezTo>
                    <a:pt x="397094" y="402952"/>
                    <a:pt x="402129" y="403882"/>
                    <a:pt x="406619" y="406127"/>
                  </a:cubicBezTo>
                  <a:cubicBezTo>
                    <a:pt x="411739" y="408687"/>
                    <a:pt x="415241" y="414842"/>
                    <a:pt x="420907" y="415652"/>
                  </a:cubicBezTo>
                  <a:cubicBezTo>
                    <a:pt x="427387" y="416578"/>
                    <a:pt x="433607" y="412477"/>
                    <a:pt x="439957" y="410890"/>
                  </a:cubicBezTo>
                  <a:cubicBezTo>
                    <a:pt x="441544" y="406127"/>
                    <a:pt x="443501" y="401472"/>
                    <a:pt x="444719" y="396602"/>
                  </a:cubicBezTo>
                  <a:lnTo>
                    <a:pt x="454244" y="358502"/>
                  </a:lnTo>
                  <a:cubicBezTo>
                    <a:pt x="452657" y="353740"/>
                    <a:pt x="452267" y="348392"/>
                    <a:pt x="449482" y="344215"/>
                  </a:cubicBezTo>
                  <a:cubicBezTo>
                    <a:pt x="442148" y="333214"/>
                    <a:pt x="431449" y="327430"/>
                    <a:pt x="420907" y="320402"/>
                  </a:cubicBezTo>
                  <a:cubicBezTo>
                    <a:pt x="412234" y="307392"/>
                    <a:pt x="404868" y="303979"/>
                    <a:pt x="416144" y="287065"/>
                  </a:cubicBezTo>
                  <a:cubicBezTo>
                    <a:pt x="422613" y="277362"/>
                    <a:pt x="453371" y="269894"/>
                    <a:pt x="459007" y="268015"/>
                  </a:cubicBezTo>
                  <a:lnTo>
                    <a:pt x="473294" y="263252"/>
                  </a:lnTo>
                  <a:cubicBezTo>
                    <a:pt x="478067" y="248934"/>
                    <a:pt x="477325" y="246986"/>
                    <a:pt x="487582" y="234677"/>
                  </a:cubicBezTo>
                  <a:cubicBezTo>
                    <a:pt x="491894" y="229503"/>
                    <a:pt x="495982" y="223661"/>
                    <a:pt x="501869" y="220390"/>
                  </a:cubicBezTo>
                  <a:cubicBezTo>
                    <a:pt x="510646" y="215514"/>
                    <a:pt x="530444" y="210865"/>
                    <a:pt x="530444" y="210865"/>
                  </a:cubicBezTo>
                  <a:cubicBezTo>
                    <a:pt x="535207" y="207690"/>
                    <a:pt x="541156" y="205810"/>
                    <a:pt x="544732" y="201340"/>
                  </a:cubicBezTo>
                  <a:cubicBezTo>
                    <a:pt x="557964" y="184800"/>
                    <a:pt x="537723" y="186213"/>
                    <a:pt x="563782" y="177527"/>
                  </a:cubicBezTo>
                  <a:lnTo>
                    <a:pt x="563782" y="177527"/>
                  </a:lnTo>
                  <a:close/>
                </a:path>
              </a:pathLst>
            </a:custGeom>
            <a:grp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rtl="0" eaLnBrk="0" fontAlgn="base" hangingPunct="0">
                <a:spcBef>
                  <a:spcPct val="50000"/>
                </a:spcBef>
                <a:spcAft>
                  <a:spcPct val="0"/>
                </a:spcAft>
              </a:pPr>
              <a:endParaRPr lang="en-US" sz="900">
                <a:solidFill>
                  <a:srgbClr val="000000"/>
                </a:solidFill>
                <a:latin typeface="Arial" charset="0"/>
              </a:endParaRPr>
            </a:p>
          </p:txBody>
        </p:sp>
        <p:sp>
          <p:nvSpPr>
            <p:cNvPr id="48" name="Freeform 48">
              <a:extLst>
                <a:ext uri="{FF2B5EF4-FFF2-40B4-BE49-F238E27FC236}">
                  <a16:creationId xmlns:a16="http://schemas.microsoft.com/office/drawing/2014/main" id="{195F1231-2B50-4C1C-9B35-9813D03D2F8B}"/>
                </a:ext>
              </a:extLst>
            </p:cNvPr>
            <p:cNvSpPr/>
            <p:nvPr>
              <p:custDataLst>
                <p:tags r:id="rId3"/>
              </p:custDataLst>
            </p:nvPr>
          </p:nvSpPr>
          <p:spPr bwMode="gray">
            <a:xfrm>
              <a:off x="2995799" y="1806575"/>
              <a:ext cx="2090570" cy="1829497"/>
            </a:xfrm>
            <a:custGeom>
              <a:avLst/>
              <a:gdLst>
                <a:gd name="connsiteX0" fmla="*/ 152400 w 2090570"/>
                <a:gd name="connsiteY0" fmla="*/ 1123950 h 1829497"/>
                <a:gd name="connsiteX1" fmla="*/ 146050 w 2090570"/>
                <a:gd name="connsiteY1" fmla="*/ 1098550 h 1829497"/>
                <a:gd name="connsiteX2" fmla="*/ 139700 w 2090570"/>
                <a:gd name="connsiteY2" fmla="*/ 1079500 h 1829497"/>
                <a:gd name="connsiteX3" fmla="*/ 142875 w 2090570"/>
                <a:gd name="connsiteY3" fmla="*/ 1069975 h 1829497"/>
                <a:gd name="connsiteX4" fmla="*/ 152400 w 2090570"/>
                <a:gd name="connsiteY4" fmla="*/ 1066800 h 1829497"/>
                <a:gd name="connsiteX5" fmla="*/ 158750 w 2090570"/>
                <a:gd name="connsiteY5" fmla="*/ 1047750 h 1829497"/>
                <a:gd name="connsiteX6" fmla="*/ 152400 w 2090570"/>
                <a:gd name="connsiteY6" fmla="*/ 1019175 h 1829497"/>
                <a:gd name="connsiteX7" fmla="*/ 146050 w 2090570"/>
                <a:gd name="connsiteY7" fmla="*/ 1000125 h 1829497"/>
                <a:gd name="connsiteX8" fmla="*/ 136525 w 2090570"/>
                <a:gd name="connsiteY8" fmla="*/ 981075 h 1829497"/>
                <a:gd name="connsiteX9" fmla="*/ 127000 w 2090570"/>
                <a:gd name="connsiteY9" fmla="*/ 977900 h 1829497"/>
                <a:gd name="connsiteX10" fmla="*/ 98425 w 2090570"/>
                <a:gd name="connsiteY10" fmla="*/ 984250 h 1829497"/>
                <a:gd name="connsiteX11" fmla="*/ 85725 w 2090570"/>
                <a:gd name="connsiteY11" fmla="*/ 987425 h 1829497"/>
                <a:gd name="connsiteX12" fmla="*/ 76200 w 2090570"/>
                <a:gd name="connsiteY12" fmla="*/ 984250 h 1829497"/>
                <a:gd name="connsiteX13" fmla="*/ 57150 w 2090570"/>
                <a:gd name="connsiteY13" fmla="*/ 971550 h 1829497"/>
                <a:gd name="connsiteX14" fmla="*/ 15875 w 2090570"/>
                <a:gd name="connsiteY14" fmla="*/ 965200 h 1829497"/>
                <a:gd name="connsiteX15" fmla="*/ 6350 w 2090570"/>
                <a:gd name="connsiteY15" fmla="*/ 958850 h 1829497"/>
                <a:gd name="connsiteX16" fmla="*/ 0 w 2090570"/>
                <a:gd name="connsiteY16" fmla="*/ 939800 h 1829497"/>
                <a:gd name="connsiteX17" fmla="*/ 6350 w 2090570"/>
                <a:gd name="connsiteY17" fmla="*/ 930275 h 1829497"/>
                <a:gd name="connsiteX18" fmla="*/ 15875 w 2090570"/>
                <a:gd name="connsiteY18" fmla="*/ 923925 h 1829497"/>
                <a:gd name="connsiteX19" fmla="*/ 19050 w 2090570"/>
                <a:gd name="connsiteY19" fmla="*/ 914400 h 1829497"/>
                <a:gd name="connsiteX20" fmla="*/ 12700 w 2090570"/>
                <a:gd name="connsiteY20" fmla="*/ 892175 h 1829497"/>
                <a:gd name="connsiteX21" fmla="*/ 9525 w 2090570"/>
                <a:gd name="connsiteY21" fmla="*/ 882650 h 1829497"/>
                <a:gd name="connsiteX22" fmla="*/ 3175 w 2090570"/>
                <a:gd name="connsiteY22" fmla="*/ 857250 h 1829497"/>
                <a:gd name="connsiteX23" fmla="*/ 12700 w 2090570"/>
                <a:gd name="connsiteY23" fmla="*/ 835025 h 1829497"/>
                <a:gd name="connsiteX24" fmla="*/ 22225 w 2090570"/>
                <a:gd name="connsiteY24" fmla="*/ 831850 h 1829497"/>
                <a:gd name="connsiteX25" fmla="*/ 31750 w 2090570"/>
                <a:gd name="connsiteY25" fmla="*/ 825500 h 1829497"/>
                <a:gd name="connsiteX26" fmla="*/ 85725 w 2090570"/>
                <a:gd name="connsiteY26" fmla="*/ 831850 h 1829497"/>
                <a:gd name="connsiteX27" fmla="*/ 98425 w 2090570"/>
                <a:gd name="connsiteY27" fmla="*/ 835025 h 1829497"/>
                <a:gd name="connsiteX28" fmla="*/ 120650 w 2090570"/>
                <a:gd name="connsiteY28" fmla="*/ 838200 h 1829497"/>
                <a:gd name="connsiteX29" fmla="*/ 158750 w 2090570"/>
                <a:gd name="connsiteY29" fmla="*/ 825500 h 1829497"/>
                <a:gd name="connsiteX30" fmla="*/ 155575 w 2090570"/>
                <a:gd name="connsiteY30" fmla="*/ 815975 h 1829497"/>
                <a:gd name="connsiteX31" fmla="*/ 158750 w 2090570"/>
                <a:gd name="connsiteY31" fmla="*/ 803275 h 1829497"/>
                <a:gd name="connsiteX32" fmla="*/ 168275 w 2090570"/>
                <a:gd name="connsiteY32" fmla="*/ 774700 h 1829497"/>
                <a:gd name="connsiteX33" fmla="*/ 171450 w 2090570"/>
                <a:gd name="connsiteY33" fmla="*/ 765175 h 1829497"/>
                <a:gd name="connsiteX34" fmla="*/ 174625 w 2090570"/>
                <a:gd name="connsiteY34" fmla="*/ 755650 h 1829497"/>
                <a:gd name="connsiteX35" fmla="*/ 180975 w 2090570"/>
                <a:gd name="connsiteY35" fmla="*/ 708025 h 1829497"/>
                <a:gd name="connsiteX36" fmla="*/ 187325 w 2090570"/>
                <a:gd name="connsiteY36" fmla="*/ 698500 h 1829497"/>
                <a:gd name="connsiteX37" fmla="*/ 190500 w 2090570"/>
                <a:gd name="connsiteY37" fmla="*/ 688975 h 1829497"/>
                <a:gd name="connsiteX38" fmla="*/ 200025 w 2090570"/>
                <a:gd name="connsiteY38" fmla="*/ 679450 h 1829497"/>
                <a:gd name="connsiteX39" fmla="*/ 219075 w 2090570"/>
                <a:gd name="connsiteY39" fmla="*/ 650875 h 1829497"/>
                <a:gd name="connsiteX40" fmla="*/ 225425 w 2090570"/>
                <a:gd name="connsiteY40" fmla="*/ 641350 h 1829497"/>
                <a:gd name="connsiteX41" fmla="*/ 228600 w 2090570"/>
                <a:gd name="connsiteY41" fmla="*/ 625475 h 1829497"/>
                <a:gd name="connsiteX42" fmla="*/ 234950 w 2090570"/>
                <a:gd name="connsiteY42" fmla="*/ 606425 h 1829497"/>
                <a:gd name="connsiteX43" fmla="*/ 231775 w 2090570"/>
                <a:gd name="connsiteY43" fmla="*/ 546100 h 1829497"/>
                <a:gd name="connsiteX44" fmla="*/ 238125 w 2090570"/>
                <a:gd name="connsiteY44" fmla="*/ 495300 h 1829497"/>
                <a:gd name="connsiteX45" fmla="*/ 241300 w 2090570"/>
                <a:gd name="connsiteY45" fmla="*/ 460375 h 1829497"/>
                <a:gd name="connsiteX46" fmla="*/ 247650 w 2090570"/>
                <a:gd name="connsiteY46" fmla="*/ 422275 h 1829497"/>
                <a:gd name="connsiteX47" fmla="*/ 250825 w 2090570"/>
                <a:gd name="connsiteY47" fmla="*/ 412750 h 1829497"/>
                <a:gd name="connsiteX48" fmla="*/ 260350 w 2090570"/>
                <a:gd name="connsiteY48" fmla="*/ 403225 h 1829497"/>
                <a:gd name="connsiteX49" fmla="*/ 266700 w 2090570"/>
                <a:gd name="connsiteY49" fmla="*/ 393700 h 1829497"/>
                <a:gd name="connsiteX50" fmla="*/ 269875 w 2090570"/>
                <a:gd name="connsiteY50" fmla="*/ 381000 h 1829497"/>
                <a:gd name="connsiteX51" fmla="*/ 260350 w 2090570"/>
                <a:gd name="connsiteY51" fmla="*/ 371475 h 1829497"/>
                <a:gd name="connsiteX52" fmla="*/ 219075 w 2090570"/>
                <a:gd name="connsiteY52" fmla="*/ 361950 h 1829497"/>
                <a:gd name="connsiteX53" fmla="*/ 177800 w 2090570"/>
                <a:gd name="connsiteY53" fmla="*/ 358775 h 1829497"/>
                <a:gd name="connsiteX54" fmla="*/ 165100 w 2090570"/>
                <a:gd name="connsiteY54" fmla="*/ 355600 h 1829497"/>
                <a:gd name="connsiteX55" fmla="*/ 168275 w 2090570"/>
                <a:gd name="connsiteY55" fmla="*/ 339725 h 1829497"/>
                <a:gd name="connsiteX56" fmla="*/ 165100 w 2090570"/>
                <a:gd name="connsiteY56" fmla="*/ 327025 h 1829497"/>
                <a:gd name="connsiteX57" fmla="*/ 171450 w 2090570"/>
                <a:gd name="connsiteY57" fmla="*/ 254000 h 1829497"/>
                <a:gd name="connsiteX58" fmla="*/ 174625 w 2090570"/>
                <a:gd name="connsiteY58" fmla="*/ 231775 h 1829497"/>
                <a:gd name="connsiteX59" fmla="*/ 193675 w 2090570"/>
                <a:gd name="connsiteY59" fmla="*/ 222250 h 1829497"/>
                <a:gd name="connsiteX60" fmla="*/ 219075 w 2090570"/>
                <a:gd name="connsiteY60" fmla="*/ 238125 h 1829497"/>
                <a:gd name="connsiteX61" fmla="*/ 228600 w 2090570"/>
                <a:gd name="connsiteY61" fmla="*/ 234950 h 1829497"/>
                <a:gd name="connsiteX62" fmla="*/ 225425 w 2090570"/>
                <a:gd name="connsiteY62" fmla="*/ 222250 h 1829497"/>
                <a:gd name="connsiteX63" fmla="*/ 206375 w 2090570"/>
                <a:gd name="connsiteY63" fmla="*/ 212725 h 1829497"/>
                <a:gd name="connsiteX64" fmla="*/ 200025 w 2090570"/>
                <a:gd name="connsiteY64" fmla="*/ 203200 h 1829497"/>
                <a:gd name="connsiteX65" fmla="*/ 203200 w 2090570"/>
                <a:gd name="connsiteY65" fmla="*/ 190500 h 1829497"/>
                <a:gd name="connsiteX66" fmla="*/ 219075 w 2090570"/>
                <a:gd name="connsiteY66" fmla="*/ 165100 h 1829497"/>
                <a:gd name="connsiteX67" fmla="*/ 228600 w 2090570"/>
                <a:gd name="connsiteY67" fmla="*/ 161925 h 1829497"/>
                <a:gd name="connsiteX68" fmla="*/ 257175 w 2090570"/>
                <a:gd name="connsiteY68" fmla="*/ 142875 h 1829497"/>
                <a:gd name="connsiteX69" fmla="*/ 266700 w 2090570"/>
                <a:gd name="connsiteY69" fmla="*/ 136525 h 1829497"/>
                <a:gd name="connsiteX70" fmla="*/ 304800 w 2090570"/>
                <a:gd name="connsiteY70" fmla="*/ 123825 h 1829497"/>
                <a:gd name="connsiteX71" fmla="*/ 314325 w 2090570"/>
                <a:gd name="connsiteY71" fmla="*/ 120650 h 1829497"/>
                <a:gd name="connsiteX72" fmla="*/ 355600 w 2090570"/>
                <a:gd name="connsiteY72" fmla="*/ 117475 h 1829497"/>
                <a:gd name="connsiteX73" fmla="*/ 384175 w 2090570"/>
                <a:gd name="connsiteY73" fmla="*/ 123825 h 1829497"/>
                <a:gd name="connsiteX74" fmla="*/ 403225 w 2090570"/>
                <a:gd name="connsiteY74" fmla="*/ 133350 h 1829497"/>
                <a:gd name="connsiteX75" fmla="*/ 438150 w 2090570"/>
                <a:gd name="connsiteY75" fmla="*/ 123825 h 1829497"/>
                <a:gd name="connsiteX76" fmla="*/ 438150 w 2090570"/>
                <a:gd name="connsiteY76" fmla="*/ 123825 h 1829497"/>
                <a:gd name="connsiteX77" fmla="*/ 450850 w 2090570"/>
                <a:gd name="connsiteY77" fmla="*/ 120650 h 1829497"/>
                <a:gd name="connsiteX78" fmla="*/ 469900 w 2090570"/>
                <a:gd name="connsiteY78" fmla="*/ 114300 h 1829497"/>
                <a:gd name="connsiteX79" fmla="*/ 479425 w 2090570"/>
                <a:gd name="connsiteY79" fmla="*/ 111125 h 1829497"/>
                <a:gd name="connsiteX80" fmla="*/ 523875 w 2090570"/>
                <a:gd name="connsiteY80" fmla="*/ 104775 h 1829497"/>
                <a:gd name="connsiteX81" fmla="*/ 571500 w 2090570"/>
                <a:gd name="connsiteY81" fmla="*/ 107950 h 1829497"/>
                <a:gd name="connsiteX82" fmla="*/ 590550 w 2090570"/>
                <a:gd name="connsiteY82" fmla="*/ 114300 h 1829497"/>
                <a:gd name="connsiteX83" fmla="*/ 600075 w 2090570"/>
                <a:gd name="connsiteY83" fmla="*/ 120650 h 1829497"/>
                <a:gd name="connsiteX84" fmla="*/ 606425 w 2090570"/>
                <a:gd name="connsiteY84" fmla="*/ 139700 h 1829497"/>
                <a:gd name="connsiteX85" fmla="*/ 609600 w 2090570"/>
                <a:gd name="connsiteY85" fmla="*/ 149225 h 1829497"/>
                <a:gd name="connsiteX86" fmla="*/ 612775 w 2090570"/>
                <a:gd name="connsiteY86" fmla="*/ 158750 h 1829497"/>
                <a:gd name="connsiteX87" fmla="*/ 628650 w 2090570"/>
                <a:gd name="connsiteY87" fmla="*/ 177800 h 1829497"/>
                <a:gd name="connsiteX88" fmla="*/ 641350 w 2090570"/>
                <a:gd name="connsiteY88" fmla="*/ 196850 h 1829497"/>
                <a:gd name="connsiteX89" fmla="*/ 647700 w 2090570"/>
                <a:gd name="connsiteY89" fmla="*/ 215900 h 1829497"/>
                <a:gd name="connsiteX90" fmla="*/ 635000 w 2090570"/>
                <a:gd name="connsiteY90" fmla="*/ 257175 h 1829497"/>
                <a:gd name="connsiteX91" fmla="*/ 625475 w 2090570"/>
                <a:gd name="connsiteY91" fmla="*/ 263525 h 1829497"/>
                <a:gd name="connsiteX92" fmla="*/ 622300 w 2090570"/>
                <a:gd name="connsiteY92" fmla="*/ 273050 h 1829497"/>
                <a:gd name="connsiteX93" fmla="*/ 635000 w 2090570"/>
                <a:gd name="connsiteY93" fmla="*/ 298450 h 1829497"/>
                <a:gd name="connsiteX94" fmla="*/ 644525 w 2090570"/>
                <a:gd name="connsiteY94" fmla="*/ 301625 h 1829497"/>
                <a:gd name="connsiteX95" fmla="*/ 650875 w 2090570"/>
                <a:gd name="connsiteY95" fmla="*/ 311150 h 1829497"/>
                <a:gd name="connsiteX96" fmla="*/ 660400 w 2090570"/>
                <a:gd name="connsiteY96" fmla="*/ 330200 h 1829497"/>
                <a:gd name="connsiteX97" fmla="*/ 669925 w 2090570"/>
                <a:gd name="connsiteY97" fmla="*/ 336550 h 1829497"/>
                <a:gd name="connsiteX98" fmla="*/ 679450 w 2090570"/>
                <a:gd name="connsiteY98" fmla="*/ 327025 h 1829497"/>
                <a:gd name="connsiteX99" fmla="*/ 685800 w 2090570"/>
                <a:gd name="connsiteY99" fmla="*/ 317500 h 1829497"/>
                <a:gd name="connsiteX100" fmla="*/ 704850 w 2090570"/>
                <a:gd name="connsiteY100" fmla="*/ 304800 h 1829497"/>
                <a:gd name="connsiteX101" fmla="*/ 708025 w 2090570"/>
                <a:gd name="connsiteY101" fmla="*/ 263525 h 1829497"/>
                <a:gd name="connsiteX102" fmla="*/ 704850 w 2090570"/>
                <a:gd name="connsiteY102" fmla="*/ 254000 h 1829497"/>
                <a:gd name="connsiteX103" fmla="*/ 695325 w 2090570"/>
                <a:gd name="connsiteY103" fmla="*/ 250825 h 1829497"/>
                <a:gd name="connsiteX104" fmla="*/ 679450 w 2090570"/>
                <a:gd name="connsiteY104" fmla="*/ 247650 h 1829497"/>
                <a:gd name="connsiteX105" fmla="*/ 676275 w 2090570"/>
                <a:gd name="connsiteY105" fmla="*/ 238125 h 1829497"/>
                <a:gd name="connsiteX106" fmla="*/ 685800 w 2090570"/>
                <a:gd name="connsiteY106" fmla="*/ 203200 h 1829497"/>
                <a:gd name="connsiteX107" fmla="*/ 695325 w 2090570"/>
                <a:gd name="connsiteY107" fmla="*/ 196850 h 1829497"/>
                <a:gd name="connsiteX108" fmla="*/ 714375 w 2090570"/>
                <a:gd name="connsiteY108" fmla="*/ 190500 h 1829497"/>
                <a:gd name="connsiteX109" fmla="*/ 739775 w 2090570"/>
                <a:gd name="connsiteY109" fmla="*/ 203200 h 1829497"/>
                <a:gd name="connsiteX110" fmla="*/ 752475 w 2090570"/>
                <a:gd name="connsiteY110" fmla="*/ 222250 h 1829497"/>
                <a:gd name="connsiteX111" fmla="*/ 777875 w 2090570"/>
                <a:gd name="connsiteY111" fmla="*/ 228600 h 1829497"/>
                <a:gd name="connsiteX112" fmla="*/ 806450 w 2090570"/>
                <a:gd name="connsiteY112" fmla="*/ 219075 h 1829497"/>
                <a:gd name="connsiteX113" fmla="*/ 809625 w 2090570"/>
                <a:gd name="connsiteY113" fmla="*/ 209550 h 1829497"/>
                <a:gd name="connsiteX114" fmla="*/ 803275 w 2090570"/>
                <a:gd name="connsiteY114" fmla="*/ 184150 h 1829497"/>
                <a:gd name="connsiteX115" fmla="*/ 800100 w 2090570"/>
                <a:gd name="connsiteY115" fmla="*/ 152400 h 1829497"/>
                <a:gd name="connsiteX116" fmla="*/ 793750 w 2090570"/>
                <a:gd name="connsiteY116" fmla="*/ 130175 h 1829497"/>
                <a:gd name="connsiteX117" fmla="*/ 800100 w 2090570"/>
                <a:gd name="connsiteY117" fmla="*/ 79375 h 1829497"/>
                <a:gd name="connsiteX118" fmla="*/ 806450 w 2090570"/>
                <a:gd name="connsiteY118" fmla="*/ 69850 h 1829497"/>
                <a:gd name="connsiteX119" fmla="*/ 815975 w 2090570"/>
                <a:gd name="connsiteY119" fmla="*/ 60325 h 1829497"/>
                <a:gd name="connsiteX120" fmla="*/ 822325 w 2090570"/>
                <a:gd name="connsiteY120" fmla="*/ 25400 h 1829497"/>
                <a:gd name="connsiteX121" fmla="*/ 825500 w 2090570"/>
                <a:gd name="connsiteY121" fmla="*/ 15875 h 1829497"/>
                <a:gd name="connsiteX122" fmla="*/ 844550 w 2090570"/>
                <a:gd name="connsiteY122" fmla="*/ 9525 h 1829497"/>
                <a:gd name="connsiteX123" fmla="*/ 854075 w 2090570"/>
                <a:gd name="connsiteY123" fmla="*/ 3175 h 1829497"/>
                <a:gd name="connsiteX124" fmla="*/ 866775 w 2090570"/>
                <a:gd name="connsiteY124" fmla="*/ 0 h 1829497"/>
                <a:gd name="connsiteX125" fmla="*/ 892175 w 2090570"/>
                <a:gd name="connsiteY125" fmla="*/ 6350 h 1829497"/>
                <a:gd name="connsiteX126" fmla="*/ 901700 w 2090570"/>
                <a:gd name="connsiteY126" fmla="*/ 12700 h 1829497"/>
                <a:gd name="connsiteX127" fmla="*/ 920750 w 2090570"/>
                <a:gd name="connsiteY127" fmla="*/ 19050 h 1829497"/>
                <a:gd name="connsiteX128" fmla="*/ 930275 w 2090570"/>
                <a:gd name="connsiteY128" fmla="*/ 25400 h 1829497"/>
                <a:gd name="connsiteX129" fmla="*/ 949325 w 2090570"/>
                <a:gd name="connsiteY129" fmla="*/ 31750 h 1829497"/>
                <a:gd name="connsiteX130" fmla="*/ 977900 w 2090570"/>
                <a:gd name="connsiteY130" fmla="*/ 25400 h 1829497"/>
                <a:gd name="connsiteX131" fmla="*/ 996950 w 2090570"/>
                <a:gd name="connsiteY131" fmla="*/ 12700 h 1829497"/>
                <a:gd name="connsiteX132" fmla="*/ 1006475 w 2090570"/>
                <a:gd name="connsiteY132" fmla="*/ 6350 h 1829497"/>
                <a:gd name="connsiteX133" fmla="*/ 1028700 w 2090570"/>
                <a:gd name="connsiteY133" fmla="*/ 0 h 1829497"/>
                <a:gd name="connsiteX134" fmla="*/ 1095375 w 2090570"/>
                <a:gd name="connsiteY134" fmla="*/ 3175 h 1829497"/>
                <a:gd name="connsiteX135" fmla="*/ 1127125 w 2090570"/>
                <a:gd name="connsiteY135" fmla="*/ 19050 h 1829497"/>
                <a:gd name="connsiteX136" fmla="*/ 1149350 w 2090570"/>
                <a:gd name="connsiteY136" fmla="*/ 34925 h 1829497"/>
                <a:gd name="connsiteX137" fmla="*/ 1168400 w 2090570"/>
                <a:gd name="connsiteY137" fmla="*/ 50800 h 1829497"/>
                <a:gd name="connsiteX138" fmla="*/ 1177925 w 2090570"/>
                <a:gd name="connsiteY138" fmla="*/ 69850 h 1829497"/>
                <a:gd name="connsiteX139" fmla="*/ 1181100 w 2090570"/>
                <a:gd name="connsiteY139" fmla="*/ 79375 h 1829497"/>
                <a:gd name="connsiteX140" fmla="*/ 1187450 w 2090570"/>
                <a:gd name="connsiteY140" fmla="*/ 88900 h 1829497"/>
                <a:gd name="connsiteX141" fmla="*/ 1190625 w 2090570"/>
                <a:gd name="connsiteY141" fmla="*/ 98425 h 1829497"/>
                <a:gd name="connsiteX142" fmla="*/ 1196975 w 2090570"/>
                <a:gd name="connsiteY142" fmla="*/ 107950 h 1829497"/>
                <a:gd name="connsiteX143" fmla="*/ 1200150 w 2090570"/>
                <a:gd name="connsiteY143" fmla="*/ 117475 h 1829497"/>
                <a:gd name="connsiteX144" fmla="*/ 1209675 w 2090570"/>
                <a:gd name="connsiteY144" fmla="*/ 123825 h 1829497"/>
                <a:gd name="connsiteX145" fmla="*/ 1219200 w 2090570"/>
                <a:gd name="connsiteY145" fmla="*/ 142875 h 1829497"/>
                <a:gd name="connsiteX146" fmla="*/ 1228725 w 2090570"/>
                <a:gd name="connsiteY146" fmla="*/ 161925 h 1829497"/>
                <a:gd name="connsiteX147" fmla="*/ 1238250 w 2090570"/>
                <a:gd name="connsiteY147" fmla="*/ 193675 h 1829497"/>
                <a:gd name="connsiteX148" fmla="*/ 1247775 w 2090570"/>
                <a:gd name="connsiteY148" fmla="*/ 196850 h 1829497"/>
                <a:gd name="connsiteX149" fmla="*/ 1266825 w 2090570"/>
                <a:gd name="connsiteY149" fmla="*/ 206375 h 1829497"/>
                <a:gd name="connsiteX150" fmla="*/ 1285875 w 2090570"/>
                <a:gd name="connsiteY150" fmla="*/ 215900 h 1829497"/>
                <a:gd name="connsiteX151" fmla="*/ 1295400 w 2090570"/>
                <a:gd name="connsiteY151" fmla="*/ 222250 h 1829497"/>
                <a:gd name="connsiteX152" fmla="*/ 1314450 w 2090570"/>
                <a:gd name="connsiteY152" fmla="*/ 228600 h 1829497"/>
                <a:gd name="connsiteX153" fmla="*/ 1323975 w 2090570"/>
                <a:gd name="connsiteY153" fmla="*/ 234950 h 1829497"/>
                <a:gd name="connsiteX154" fmla="*/ 1330325 w 2090570"/>
                <a:gd name="connsiteY154" fmla="*/ 244475 h 1829497"/>
                <a:gd name="connsiteX155" fmla="*/ 1339850 w 2090570"/>
                <a:gd name="connsiteY155" fmla="*/ 279400 h 1829497"/>
                <a:gd name="connsiteX156" fmla="*/ 1346200 w 2090570"/>
                <a:gd name="connsiteY156" fmla="*/ 304800 h 1829497"/>
                <a:gd name="connsiteX157" fmla="*/ 1355725 w 2090570"/>
                <a:gd name="connsiteY157" fmla="*/ 311150 h 1829497"/>
                <a:gd name="connsiteX158" fmla="*/ 1384300 w 2090570"/>
                <a:gd name="connsiteY158" fmla="*/ 317500 h 1829497"/>
                <a:gd name="connsiteX159" fmla="*/ 1403350 w 2090570"/>
                <a:gd name="connsiteY159" fmla="*/ 323850 h 1829497"/>
                <a:gd name="connsiteX160" fmla="*/ 1431925 w 2090570"/>
                <a:gd name="connsiteY160" fmla="*/ 317500 h 1829497"/>
                <a:gd name="connsiteX161" fmla="*/ 1450975 w 2090570"/>
                <a:gd name="connsiteY161" fmla="*/ 311150 h 1829497"/>
                <a:gd name="connsiteX162" fmla="*/ 1479550 w 2090570"/>
                <a:gd name="connsiteY162" fmla="*/ 320675 h 1829497"/>
                <a:gd name="connsiteX163" fmla="*/ 1492250 w 2090570"/>
                <a:gd name="connsiteY163" fmla="*/ 336550 h 1829497"/>
                <a:gd name="connsiteX164" fmla="*/ 1511300 w 2090570"/>
                <a:gd name="connsiteY164" fmla="*/ 342900 h 1829497"/>
                <a:gd name="connsiteX165" fmla="*/ 1527175 w 2090570"/>
                <a:gd name="connsiteY165" fmla="*/ 330200 h 1829497"/>
                <a:gd name="connsiteX166" fmla="*/ 1546225 w 2090570"/>
                <a:gd name="connsiteY166" fmla="*/ 320675 h 1829497"/>
                <a:gd name="connsiteX167" fmla="*/ 1577975 w 2090570"/>
                <a:gd name="connsiteY167" fmla="*/ 323850 h 1829497"/>
                <a:gd name="connsiteX168" fmla="*/ 1587500 w 2090570"/>
                <a:gd name="connsiteY168" fmla="*/ 333375 h 1829497"/>
                <a:gd name="connsiteX169" fmla="*/ 1606550 w 2090570"/>
                <a:gd name="connsiteY169" fmla="*/ 346075 h 1829497"/>
                <a:gd name="connsiteX170" fmla="*/ 1606550 w 2090570"/>
                <a:gd name="connsiteY170" fmla="*/ 346075 h 1829497"/>
                <a:gd name="connsiteX171" fmla="*/ 1631950 w 2090570"/>
                <a:gd name="connsiteY171" fmla="*/ 352425 h 1829497"/>
                <a:gd name="connsiteX172" fmla="*/ 1651000 w 2090570"/>
                <a:gd name="connsiteY172" fmla="*/ 358775 h 1829497"/>
                <a:gd name="connsiteX173" fmla="*/ 1660525 w 2090570"/>
                <a:gd name="connsiteY173" fmla="*/ 361950 h 1829497"/>
                <a:gd name="connsiteX174" fmla="*/ 1682750 w 2090570"/>
                <a:gd name="connsiteY174" fmla="*/ 365125 h 1829497"/>
                <a:gd name="connsiteX175" fmla="*/ 1701800 w 2090570"/>
                <a:gd name="connsiteY175" fmla="*/ 371475 h 1829497"/>
                <a:gd name="connsiteX176" fmla="*/ 1724025 w 2090570"/>
                <a:gd name="connsiteY176" fmla="*/ 377825 h 1829497"/>
                <a:gd name="connsiteX177" fmla="*/ 1727200 w 2090570"/>
                <a:gd name="connsiteY177" fmla="*/ 387350 h 1829497"/>
                <a:gd name="connsiteX178" fmla="*/ 1736725 w 2090570"/>
                <a:gd name="connsiteY178" fmla="*/ 396875 h 1829497"/>
                <a:gd name="connsiteX179" fmla="*/ 1749425 w 2090570"/>
                <a:gd name="connsiteY179" fmla="*/ 400050 h 1829497"/>
                <a:gd name="connsiteX180" fmla="*/ 1778000 w 2090570"/>
                <a:gd name="connsiteY180" fmla="*/ 403225 h 1829497"/>
                <a:gd name="connsiteX181" fmla="*/ 1790700 w 2090570"/>
                <a:gd name="connsiteY181" fmla="*/ 400050 h 1829497"/>
                <a:gd name="connsiteX182" fmla="*/ 1812925 w 2090570"/>
                <a:gd name="connsiteY182" fmla="*/ 384175 h 1829497"/>
                <a:gd name="connsiteX183" fmla="*/ 1825625 w 2090570"/>
                <a:gd name="connsiteY183" fmla="*/ 381000 h 1829497"/>
                <a:gd name="connsiteX184" fmla="*/ 1835150 w 2090570"/>
                <a:gd name="connsiteY184" fmla="*/ 384175 h 1829497"/>
                <a:gd name="connsiteX185" fmla="*/ 1838325 w 2090570"/>
                <a:gd name="connsiteY185" fmla="*/ 393700 h 1829497"/>
                <a:gd name="connsiteX186" fmla="*/ 1847850 w 2090570"/>
                <a:gd name="connsiteY186" fmla="*/ 403225 h 1829497"/>
                <a:gd name="connsiteX187" fmla="*/ 1863725 w 2090570"/>
                <a:gd name="connsiteY187" fmla="*/ 431800 h 1829497"/>
                <a:gd name="connsiteX188" fmla="*/ 1866900 w 2090570"/>
                <a:gd name="connsiteY188" fmla="*/ 441325 h 1829497"/>
                <a:gd name="connsiteX189" fmla="*/ 1892300 w 2090570"/>
                <a:gd name="connsiteY189" fmla="*/ 469900 h 1829497"/>
                <a:gd name="connsiteX190" fmla="*/ 1898650 w 2090570"/>
                <a:gd name="connsiteY190" fmla="*/ 479425 h 1829497"/>
                <a:gd name="connsiteX191" fmla="*/ 1917700 w 2090570"/>
                <a:gd name="connsiteY191" fmla="*/ 488950 h 1829497"/>
                <a:gd name="connsiteX192" fmla="*/ 1936750 w 2090570"/>
                <a:gd name="connsiteY192" fmla="*/ 504825 h 1829497"/>
                <a:gd name="connsiteX193" fmla="*/ 1943100 w 2090570"/>
                <a:gd name="connsiteY193" fmla="*/ 523875 h 1829497"/>
                <a:gd name="connsiteX194" fmla="*/ 1952625 w 2090570"/>
                <a:gd name="connsiteY194" fmla="*/ 533400 h 1829497"/>
                <a:gd name="connsiteX195" fmla="*/ 1971675 w 2090570"/>
                <a:gd name="connsiteY195" fmla="*/ 561975 h 1829497"/>
                <a:gd name="connsiteX196" fmla="*/ 1981200 w 2090570"/>
                <a:gd name="connsiteY196" fmla="*/ 568325 h 1829497"/>
                <a:gd name="connsiteX197" fmla="*/ 2003425 w 2090570"/>
                <a:gd name="connsiteY197" fmla="*/ 577850 h 1829497"/>
                <a:gd name="connsiteX198" fmla="*/ 2047875 w 2090570"/>
                <a:gd name="connsiteY198" fmla="*/ 584200 h 1829497"/>
                <a:gd name="connsiteX199" fmla="*/ 2082800 w 2090570"/>
                <a:gd name="connsiteY199" fmla="*/ 593725 h 1829497"/>
                <a:gd name="connsiteX200" fmla="*/ 2089150 w 2090570"/>
                <a:gd name="connsiteY200" fmla="*/ 612775 h 1829497"/>
                <a:gd name="connsiteX201" fmla="*/ 2079625 w 2090570"/>
                <a:gd name="connsiteY201" fmla="*/ 622300 h 1829497"/>
                <a:gd name="connsiteX202" fmla="*/ 2060575 w 2090570"/>
                <a:gd name="connsiteY202" fmla="*/ 631825 h 1829497"/>
                <a:gd name="connsiteX203" fmla="*/ 2057400 w 2090570"/>
                <a:gd name="connsiteY203" fmla="*/ 641350 h 1829497"/>
                <a:gd name="connsiteX204" fmla="*/ 2054225 w 2090570"/>
                <a:gd name="connsiteY204" fmla="*/ 657225 h 1829497"/>
                <a:gd name="connsiteX205" fmla="*/ 2041525 w 2090570"/>
                <a:gd name="connsiteY205" fmla="*/ 663575 h 1829497"/>
                <a:gd name="connsiteX206" fmla="*/ 2022475 w 2090570"/>
                <a:gd name="connsiteY206" fmla="*/ 676275 h 1829497"/>
                <a:gd name="connsiteX207" fmla="*/ 2000250 w 2090570"/>
                <a:gd name="connsiteY207" fmla="*/ 704850 h 1829497"/>
                <a:gd name="connsiteX208" fmla="*/ 1984375 w 2090570"/>
                <a:gd name="connsiteY208" fmla="*/ 708025 h 1829497"/>
                <a:gd name="connsiteX209" fmla="*/ 1974850 w 2090570"/>
                <a:gd name="connsiteY209" fmla="*/ 711200 h 1829497"/>
                <a:gd name="connsiteX210" fmla="*/ 1939925 w 2090570"/>
                <a:gd name="connsiteY210" fmla="*/ 701675 h 1829497"/>
                <a:gd name="connsiteX211" fmla="*/ 1936750 w 2090570"/>
                <a:gd name="connsiteY211" fmla="*/ 692150 h 1829497"/>
                <a:gd name="connsiteX212" fmla="*/ 1866900 w 2090570"/>
                <a:gd name="connsiteY212" fmla="*/ 698500 h 1829497"/>
                <a:gd name="connsiteX213" fmla="*/ 1847850 w 2090570"/>
                <a:gd name="connsiteY213" fmla="*/ 704850 h 1829497"/>
                <a:gd name="connsiteX214" fmla="*/ 1831975 w 2090570"/>
                <a:gd name="connsiteY214" fmla="*/ 720725 h 1829497"/>
                <a:gd name="connsiteX215" fmla="*/ 1822450 w 2090570"/>
                <a:gd name="connsiteY215" fmla="*/ 727075 h 1829497"/>
                <a:gd name="connsiteX216" fmla="*/ 1771650 w 2090570"/>
                <a:gd name="connsiteY216" fmla="*/ 736600 h 1829497"/>
                <a:gd name="connsiteX217" fmla="*/ 1752600 w 2090570"/>
                <a:gd name="connsiteY217" fmla="*/ 746125 h 1829497"/>
                <a:gd name="connsiteX218" fmla="*/ 1755775 w 2090570"/>
                <a:gd name="connsiteY218" fmla="*/ 765175 h 1829497"/>
                <a:gd name="connsiteX219" fmla="*/ 1765300 w 2090570"/>
                <a:gd name="connsiteY219" fmla="*/ 796925 h 1829497"/>
                <a:gd name="connsiteX220" fmla="*/ 1768475 w 2090570"/>
                <a:gd name="connsiteY220" fmla="*/ 806450 h 1829497"/>
                <a:gd name="connsiteX221" fmla="*/ 1774825 w 2090570"/>
                <a:gd name="connsiteY221" fmla="*/ 838200 h 1829497"/>
                <a:gd name="connsiteX222" fmla="*/ 1781175 w 2090570"/>
                <a:gd name="connsiteY222" fmla="*/ 847725 h 1829497"/>
                <a:gd name="connsiteX223" fmla="*/ 1800225 w 2090570"/>
                <a:gd name="connsiteY223" fmla="*/ 869950 h 1829497"/>
                <a:gd name="connsiteX224" fmla="*/ 1809750 w 2090570"/>
                <a:gd name="connsiteY224" fmla="*/ 889000 h 1829497"/>
                <a:gd name="connsiteX225" fmla="*/ 1822450 w 2090570"/>
                <a:gd name="connsiteY225" fmla="*/ 908050 h 1829497"/>
                <a:gd name="connsiteX226" fmla="*/ 1825625 w 2090570"/>
                <a:gd name="connsiteY226" fmla="*/ 917575 h 1829497"/>
                <a:gd name="connsiteX227" fmla="*/ 1831975 w 2090570"/>
                <a:gd name="connsiteY227" fmla="*/ 927100 h 1829497"/>
                <a:gd name="connsiteX228" fmla="*/ 1835150 w 2090570"/>
                <a:gd name="connsiteY228" fmla="*/ 939800 h 1829497"/>
                <a:gd name="connsiteX229" fmla="*/ 1838325 w 2090570"/>
                <a:gd name="connsiteY229" fmla="*/ 949325 h 1829497"/>
                <a:gd name="connsiteX230" fmla="*/ 1841500 w 2090570"/>
                <a:gd name="connsiteY230" fmla="*/ 965200 h 1829497"/>
                <a:gd name="connsiteX231" fmla="*/ 1851025 w 2090570"/>
                <a:gd name="connsiteY231" fmla="*/ 971550 h 1829497"/>
                <a:gd name="connsiteX232" fmla="*/ 1841500 w 2090570"/>
                <a:gd name="connsiteY232" fmla="*/ 981075 h 1829497"/>
                <a:gd name="connsiteX233" fmla="*/ 1831975 w 2090570"/>
                <a:gd name="connsiteY233" fmla="*/ 987425 h 1829497"/>
                <a:gd name="connsiteX234" fmla="*/ 1847850 w 2090570"/>
                <a:gd name="connsiteY234" fmla="*/ 1016000 h 1829497"/>
                <a:gd name="connsiteX235" fmla="*/ 1860550 w 2090570"/>
                <a:gd name="connsiteY235" fmla="*/ 1038225 h 1829497"/>
                <a:gd name="connsiteX236" fmla="*/ 1879600 w 2090570"/>
                <a:gd name="connsiteY236" fmla="*/ 1054100 h 1829497"/>
                <a:gd name="connsiteX237" fmla="*/ 1889125 w 2090570"/>
                <a:gd name="connsiteY237" fmla="*/ 1063625 h 1829497"/>
                <a:gd name="connsiteX238" fmla="*/ 1873250 w 2090570"/>
                <a:gd name="connsiteY238" fmla="*/ 1079500 h 1829497"/>
                <a:gd name="connsiteX239" fmla="*/ 1857375 w 2090570"/>
                <a:gd name="connsiteY239" fmla="*/ 1095375 h 1829497"/>
                <a:gd name="connsiteX240" fmla="*/ 1870075 w 2090570"/>
                <a:gd name="connsiteY240" fmla="*/ 1136650 h 1829497"/>
                <a:gd name="connsiteX241" fmla="*/ 1879600 w 2090570"/>
                <a:gd name="connsiteY241" fmla="*/ 1143000 h 1829497"/>
                <a:gd name="connsiteX242" fmla="*/ 1885950 w 2090570"/>
                <a:gd name="connsiteY242" fmla="*/ 1152525 h 1829497"/>
                <a:gd name="connsiteX243" fmla="*/ 1885950 w 2090570"/>
                <a:gd name="connsiteY243" fmla="*/ 1171575 h 1829497"/>
                <a:gd name="connsiteX244" fmla="*/ 1876425 w 2090570"/>
                <a:gd name="connsiteY244" fmla="*/ 1177925 h 1829497"/>
                <a:gd name="connsiteX245" fmla="*/ 1866900 w 2090570"/>
                <a:gd name="connsiteY245" fmla="*/ 1187450 h 1829497"/>
                <a:gd name="connsiteX246" fmla="*/ 1876425 w 2090570"/>
                <a:gd name="connsiteY246" fmla="*/ 1206500 h 1829497"/>
                <a:gd name="connsiteX247" fmla="*/ 1879600 w 2090570"/>
                <a:gd name="connsiteY247" fmla="*/ 1216025 h 1829497"/>
                <a:gd name="connsiteX248" fmla="*/ 1870075 w 2090570"/>
                <a:gd name="connsiteY248" fmla="*/ 1225550 h 1829497"/>
                <a:gd name="connsiteX249" fmla="*/ 1863725 w 2090570"/>
                <a:gd name="connsiteY249" fmla="*/ 1244600 h 1829497"/>
                <a:gd name="connsiteX250" fmla="*/ 1857375 w 2090570"/>
                <a:gd name="connsiteY250" fmla="*/ 1263650 h 1829497"/>
                <a:gd name="connsiteX251" fmla="*/ 1844675 w 2090570"/>
                <a:gd name="connsiteY251" fmla="*/ 1282700 h 1829497"/>
                <a:gd name="connsiteX252" fmla="*/ 1825625 w 2090570"/>
                <a:gd name="connsiteY252" fmla="*/ 1292225 h 1829497"/>
                <a:gd name="connsiteX253" fmla="*/ 1803400 w 2090570"/>
                <a:gd name="connsiteY253" fmla="*/ 1289050 h 1829497"/>
                <a:gd name="connsiteX254" fmla="*/ 1784350 w 2090570"/>
                <a:gd name="connsiteY254" fmla="*/ 1292225 h 1829497"/>
                <a:gd name="connsiteX255" fmla="*/ 1755775 w 2090570"/>
                <a:gd name="connsiteY255" fmla="*/ 1301750 h 1829497"/>
                <a:gd name="connsiteX256" fmla="*/ 1724025 w 2090570"/>
                <a:gd name="connsiteY256" fmla="*/ 1304925 h 1829497"/>
                <a:gd name="connsiteX257" fmla="*/ 1704975 w 2090570"/>
                <a:gd name="connsiteY257" fmla="*/ 1311275 h 1829497"/>
                <a:gd name="connsiteX258" fmla="*/ 1685925 w 2090570"/>
                <a:gd name="connsiteY258" fmla="*/ 1327150 h 1829497"/>
                <a:gd name="connsiteX259" fmla="*/ 1682750 w 2090570"/>
                <a:gd name="connsiteY259" fmla="*/ 1336675 h 1829497"/>
                <a:gd name="connsiteX260" fmla="*/ 1695450 w 2090570"/>
                <a:gd name="connsiteY260" fmla="*/ 1358900 h 1829497"/>
                <a:gd name="connsiteX261" fmla="*/ 1704975 w 2090570"/>
                <a:gd name="connsiteY261" fmla="*/ 1377950 h 1829497"/>
                <a:gd name="connsiteX262" fmla="*/ 1708150 w 2090570"/>
                <a:gd name="connsiteY262" fmla="*/ 1387475 h 1829497"/>
                <a:gd name="connsiteX263" fmla="*/ 1698625 w 2090570"/>
                <a:gd name="connsiteY263" fmla="*/ 1416050 h 1829497"/>
                <a:gd name="connsiteX264" fmla="*/ 1685925 w 2090570"/>
                <a:gd name="connsiteY264" fmla="*/ 1422400 h 1829497"/>
                <a:gd name="connsiteX265" fmla="*/ 1682750 w 2090570"/>
                <a:gd name="connsiteY265" fmla="*/ 1431925 h 1829497"/>
                <a:gd name="connsiteX266" fmla="*/ 1673225 w 2090570"/>
                <a:gd name="connsiteY266" fmla="*/ 1441450 h 1829497"/>
                <a:gd name="connsiteX267" fmla="*/ 1682750 w 2090570"/>
                <a:gd name="connsiteY267" fmla="*/ 1466850 h 1829497"/>
                <a:gd name="connsiteX268" fmla="*/ 1689100 w 2090570"/>
                <a:gd name="connsiteY268" fmla="*/ 1485900 h 1829497"/>
                <a:gd name="connsiteX269" fmla="*/ 1698625 w 2090570"/>
                <a:gd name="connsiteY269" fmla="*/ 1514475 h 1829497"/>
                <a:gd name="connsiteX270" fmla="*/ 1704975 w 2090570"/>
                <a:gd name="connsiteY270" fmla="*/ 1543050 h 1829497"/>
                <a:gd name="connsiteX271" fmla="*/ 1714500 w 2090570"/>
                <a:gd name="connsiteY271" fmla="*/ 1577975 h 1829497"/>
                <a:gd name="connsiteX272" fmla="*/ 1704975 w 2090570"/>
                <a:gd name="connsiteY272" fmla="*/ 1625600 h 1829497"/>
                <a:gd name="connsiteX273" fmla="*/ 1695450 w 2090570"/>
                <a:gd name="connsiteY273" fmla="*/ 1631950 h 1829497"/>
                <a:gd name="connsiteX274" fmla="*/ 1682750 w 2090570"/>
                <a:gd name="connsiteY274" fmla="*/ 1628775 h 1829497"/>
                <a:gd name="connsiteX275" fmla="*/ 1673225 w 2090570"/>
                <a:gd name="connsiteY275" fmla="*/ 1625600 h 1829497"/>
                <a:gd name="connsiteX276" fmla="*/ 1638300 w 2090570"/>
                <a:gd name="connsiteY276" fmla="*/ 1628775 h 1829497"/>
                <a:gd name="connsiteX277" fmla="*/ 1622425 w 2090570"/>
                <a:gd name="connsiteY277" fmla="*/ 1625600 h 1829497"/>
                <a:gd name="connsiteX278" fmla="*/ 1612900 w 2090570"/>
                <a:gd name="connsiteY278" fmla="*/ 1622425 h 1829497"/>
                <a:gd name="connsiteX279" fmla="*/ 1590675 w 2090570"/>
                <a:gd name="connsiteY279" fmla="*/ 1625600 h 1829497"/>
                <a:gd name="connsiteX280" fmla="*/ 1581150 w 2090570"/>
                <a:gd name="connsiteY280" fmla="*/ 1628775 h 1829497"/>
                <a:gd name="connsiteX281" fmla="*/ 1577975 w 2090570"/>
                <a:gd name="connsiteY281" fmla="*/ 1638300 h 1829497"/>
                <a:gd name="connsiteX282" fmla="*/ 1571625 w 2090570"/>
                <a:gd name="connsiteY282" fmla="*/ 1647825 h 1829497"/>
                <a:gd name="connsiteX283" fmla="*/ 1555750 w 2090570"/>
                <a:gd name="connsiteY283" fmla="*/ 1676400 h 1829497"/>
                <a:gd name="connsiteX284" fmla="*/ 1543050 w 2090570"/>
                <a:gd name="connsiteY284" fmla="*/ 1682750 h 1829497"/>
                <a:gd name="connsiteX285" fmla="*/ 1524000 w 2090570"/>
                <a:gd name="connsiteY285" fmla="*/ 1695450 h 1829497"/>
                <a:gd name="connsiteX286" fmla="*/ 1517650 w 2090570"/>
                <a:gd name="connsiteY286" fmla="*/ 1704975 h 1829497"/>
                <a:gd name="connsiteX287" fmla="*/ 1508125 w 2090570"/>
                <a:gd name="connsiteY287" fmla="*/ 1708150 h 1829497"/>
                <a:gd name="connsiteX288" fmla="*/ 1498600 w 2090570"/>
                <a:gd name="connsiteY288" fmla="*/ 1714500 h 1829497"/>
                <a:gd name="connsiteX289" fmla="*/ 1479550 w 2090570"/>
                <a:gd name="connsiteY289" fmla="*/ 1720850 h 1829497"/>
                <a:gd name="connsiteX290" fmla="*/ 1470025 w 2090570"/>
                <a:gd name="connsiteY290" fmla="*/ 1724025 h 1829497"/>
                <a:gd name="connsiteX291" fmla="*/ 1460500 w 2090570"/>
                <a:gd name="connsiteY291" fmla="*/ 1727200 h 1829497"/>
                <a:gd name="connsiteX292" fmla="*/ 1450975 w 2090570"/>
                <a:gd name="connsiteY292" fmla="*/ 1733550 h 1829497"/>
                <a:gd name="connsiteX293" fmla="*/ 1431925 w 2090570"/>
                <a:gd name="connsiteY293" fmla="*/ 1739900 h 1829497"/>
                <a:gd name="connsiteX294" fmla="*/ 1409700 w 2090570"/>
                <a:gd name="connsiteY294" fmla="*/ 1755775 h 1829497"/>
                <a:gd name="connsiteX295" fmla="*/ 1403350 w 2090570"/>
                <a:gd name="connsiteY295" fmla="*/ 1765300 h 1829497"/>
                <a:gd name="connsiteX296" fmla="*/ 1374775 w 2090570"/>
                <a:gd name="connsiteY296" fmla="*/ 1743075 h 1829497"/>
                <a:gd name="connsiteX297" fmla="*/ 1327150 w 2090570"/>
                <a:gd name="connsiteY297" fmla="*/ 1746250 h 1829497"/>
                <a:gd name="connsiteX298" fmla="*/ 1314450 w 2090570"/>
                <a:gd name="connsiteY298" fmla="*/ 1749425 h 1829497"/>
                <a:gd name="connsiteX299" fmla="*/ 1304925 w 2090570"/>
                <a:gd name="connsiteY299" fmla="*/ 1768475 h 1829497"/>
                <a:gd name="connsiteX300" fmla="*/ 1314450 w 2090570"/>
                <a:gd name="connsiteY300" fmla="*/ 1803400 h 1829497"/>
                <a:gd name="connsiteX301" fmla="*/ 1317625 w 2090570"/>
                <a:gd name="connsiteY301" fmla="*/ 1812925 h 1829497"/>
                <a:gd name="connsiteX302" fmla="*/ 1311275 w 2090570"/>
                <a:gd name="connsiteY302" fmla="*/ 1822450 h 1829497"/>
                <a:gd name="connsiteX303" fmla="*/ 1301750 w 2090570"/>
                <a:gd name="connsiteY303" fmla="*/ 1828800 h 1829497"/>
                <a:gd name="connsiteX304" fmla="*/ 1276350 w 2090570"/>
                <a:gd name="connsiteY304" fmla="*/ 1822450 h 1829497"/>
                <a:gd name="connsiteX305" fmla="*/ 1257300 w 2090570"/>
                <a:gd name="connsiteY305" fmla="*/ 1809750 h 1829497"/>
                <a:gd name="connsiteX306" fmla="*/ 1247775 w 2090570"/>
                <a:gd name="connsiteY306" fmla="*/ 1803400 h 1829497"/>
                <a:gd name="connsiteX307" fmla="*/ 1238250 w 2090570"/>
                <a:gd name="connsiteY307" fmla="*/ 1800225 h 1829497"/>
                <a:gd name="connsiteX308" fmla="*/ 1222375 w 2090570"/>
                <a:gd name="connsiteY308" fmla="*/ 1781175 h 1829497"/>
                <a:gd name="connsiteX309" fmla="*/ 1228725 w 2090570"/>
                <a:gd name="connsiteY309" fmla="*/ 1752600 h 1829497"/>
                <a:gd name="connsiteX310" fmla="*/ 1250950 w 2090570"/>
                <a:gd name="connsiteY310" fmla="*/ 1739900 h 1829497"/>
                <a:gd name="connsiteX311" fmla="*/ 1260475 w 2090570"/>
                <a:gd name="connsiteY311" fmla="*/ 1720850 h 1829497"/>
                <a:gd name="connsiteX312" fmla="*/ 1257300 w 2090570"/>
                <a:gd name="connsiteY312" fmla="*/ 1704975 h 1829497"/>
                <a:gd name="connsiteX313" fmla="*/ 1250950 w 2090570"/>
                <a:gd name="connsiteY313" fmla="*/ 1695450 h 1829497"/>
                <a:gd name="connsiteX314" fmla="*/ 1244600 w 2090570"/>
                <a:gd name="connsiteY314" fmla="*/ 1676400 h 1829497"/>
                <a:gd name="connsiteX315" fmla="*/ 1241425 w 2090570"/>
                <a:gd name="connsiteY315" fmla="*/ 1666875 h 1829497"/>
                <a:gd name="connsiteX316" fmla="*/ 1244600 w 2090570"/>
                <a:gd name="connsiteY316" fmla="*/ 1654175 h 1829497"/>
                <a:gd name="connsiteX317" fmla="*/ 1263650 w 2090570"/>
                <a:gd name="connsiteY317" fmla="*/ 1644650 h 1829497"/>
                <a:gd name="connsiteX318" fmla="*/ 1276350 w 2090570"/>
                <a:gd name="connsiteY318" fmla="*/ 1638300 h 1829497"/>
                <a:gd name="connsiteX319" fmla="*/ 1282700 w 2090570"/>
                <a:gd name="connsiteY319" fmla="*/ 1628775 h 1829497"/>
                <a:gd name="connsiteX320" fmla="*/ 1279525 w 2090570"/>
                <a:gd name="connsiteY320" fmla="*/ 1619250 h 1829497"/>
                <a:gd name="connsiteX321" fmla="*/ 1263650 w 2090570"/>
                <a:gd name="connsiteY321" fmla="*/ 1600200 h 1829497"/>
                <a:gd name="connsiteX322" fmla="*/ 1206500 w 2090570"/>
                <a:gd name="connsiteY322" fmla="*/ 1590675 h 1829497"/>
                <a:gd name="connsiteX323" fmla="*/ 1190625 w 2090570"/>
                <a:gd name="connsiteY323" fmla="*/ 1571625 h 1829497"/>
                <a:gd name="connsiteX324" fmla="*/ 1171575 w 2090570"/>
                <a:gd name="connsiteY324" fmla="*/ 1574800 h 1829497"/>
                <a:gd name="connsiteX325" fmla="*/ 1162050 w 2090570"/>
                <a:gd name="connsiteY325" fmla="*/ 1577975 h 1829497"/>
                <a:gd name="connsiteX326" fmla="*/ 1155700 w 2090570"/>
                <a:gd name="connsiteY326" fmla="*/ 1568450 h 1829497"/>
                <a:gd name="connsiteX327" fmla="*/ 1158875 w 2090570"/>
                <a:gd name="connsiteY327" fmla="*/ 1530350 h 1829497"/>
                <a:gd name="connsiteX328" fmla="*/ 1162050 w 2090570"/>
                <a:gd name="connsiteY328" fmla="*/ 1511300 h 1829497"/>
                <a:gd name="connsiteX329" fmla="*/ 1168400 w 2090570"/>
                <a:gd name="connsiteY329" fmla="*/ 1479550 h 1829497"/>
                <a:gd name="connsiteX330" fmla="*/ 1177925 w 2090570"/>
                <a:gd name="connsiteY330" fmla="*/ 1460500 h 1829497"/>
                <a:gd name="connsiteX331" fmla="*/ 1168400 w 2090570"/>
                <a:gd name="connsiteY331" fmla="*/ 1441450 h 1829497"/>
                <a:gd name="connsiteX332" fmla="*/ 1158875 w 2090570"/>
                <a:gd name="connsiteY332" fmla="*/ 1435100 h 1829497"/>
                <a:gd name="connsiteX333" fmla="*/ 1149350 w 2090570"/>
                <a:gd name="connsiteY333" fmla="*/ 1431925 h 1829497"/>
                <a:gd name="connsiteX334" fmla="*/ 1127125 w 2090570"/>
                <a:gd name="connsiteY334" fmla="*/ 1409700 h 1829497"/>
                <a:gd name="connsiteX335" fmla="*/ 1130300 w 2090570"/>
                <a:gd name="connsiteY335" fmla="*/ 1390650 h 1829497"/>
                <a:gd name="connsiteX336" fmla="*/ 1111250 w 2090570"/>
                <a:gd name="connsiteY336" fmla="*/ 1384300 h 1829497"/>
                <a:gd name="connsiteX337" fmla="*/ 1082675 w 2090570"/>
                <a:gd name="connsiteY337" fmla="*/ 1362075 h 1829497"/>
                <a:gd name="connsiteX338" fmla="*/ 1073150 w 2090570"/>
                <a:gd name="connsiteY338" fmla="*/ 1343025 h 1829497"/>
                <a:gd name="connsiteX339" fmla="*/ 1066800 w 2090570"/>
                <a:gd name="connsiteY339" fmla="*/ 1333500 h 1829497"/>
                <a:gd name="connsiteX340" fmla="*/ 1066800 w 2090570"/>
                <a:gd name="connsiteY340" fmla="*/ 1285875 h 1829497"/>
                <a:gd name="connsiteX341" fmla="*/ 1073150 w 2090570"/>
                <a:gd name="connsiteY341" fmla="*/ 1266825 h 1829497"/>
                <a:gd name="connsiteX342" fmla="*/ 1069975 w 2090570"/>
                <a:gd name="connsiteY342" fmla="*/ 1250950 h 1829497"/>
                <a:gd name="connsiteX343" fmla="*/ 1054100 w 2090570"/>
                <a:gd name="connsiteY343" fmla="*/ 1235075 h 1829497"/>
                <a:gd name="connsiteX344" fmla="*/ 1031875 w 2090570"/>
                <a:gd name="connsiteY344" fmla="*/ 1231900 h 1829497"/>
                <a:gd name="connsiteX345" fmla="*/ 1003300 w 2090570"/>
                <a:gd name="connsiteY345" fmla="*/ 1225550 h 1829497"/>
                <a:gd name="connsiteX346" fmla="*/ 993775 w 2090570"/>
                <a:gd name="connsiteY346" fmla="*/ 1196975 h 1829497"/>
                <a:gd name="connsiteX347" fmla="*/ 1003300 w 2090570"/>
                <a:gd name="connsiteY347" fmla="*/ 1193800 h 1829497"/>
                <a:gd name="connsiteX348" fmla="*/ 1012825 w 2090570"/>
                <a:gd name="connsiteY348" fmla="*/ 1152525 h 1829497"/>
                <a:gd name="connsiteX349" fmla="*/ 1006475 w 2090570"/>
                <a:gd name="connsiteY349" fmla="*/ 1143000 h 1829497"/>
                <a:gd name="connsiteX350" fmla="*/ 987425 w 2090570"/>
                <a:gd name="connsiteY350" fmla="*/ 1136650 h 1829497"/>
                <a:gd name="connsiteX351" fmla="*/ 987425 w 2090570"/>
                <a:gd name="connsiteY351" fmla="*/ 1114425 h 1829497"/>
                <a:gd name="connsiteX352" fmla="*/ 990600 w 2090570"/>
                <a:gd name="connsiteY352" fmla="*/ 1104900 h 1829497"/>
                <a:gd name="connsiteX353" fmla="*/ 1000125 w 2090570"/>
                <a:gd name="connsiteY353" fmla="*/ 1098550 h 1829497"/>
                <a:gd name="connsiteX354" fmla="*/ 1025525 w 2090570"/>
                <a:gd name="connsiteY354" fmla="*/ 1076325 h 1829497"/>
                <a:gd name="connsiteX355" fmla="*/ 1041400 w 2090570"/>
                <a:gd name="connsiteY355" fmla="*/ 1057275 h 1829497"/>
                <a:gd name="connsiteX356" fmla="*/ 1041400 w 2090570"/>
                <a:gd name="connsiteY356" fmla="*/ 987425 h 1829497"/>
                <a:gd name="connsiteX357" fmla="*/ 1031875 w 2090570"/>
                <a:gd name="connsiteY357" fmla="*/ 977900 h 1829497"/>
                <a:gd name="connsiteX358" fmla="*/ 1012825 w 2090570"/>
                <a:gd name="connsiteY358" fmla="*/ 981075 h 1829497"/>
                <a:gd name="connsiteX359" fmla="*/ 996950 w 2090570"/>
                <a:gd name="connsiteY359" fmla="*/ 996950 h 1829497"/>
                <a:gd name="connsiteX360" fmla="*/ 977900 w 2090570"/>
                <a:gd name="connsiteY360" fmla="*/ 1016000 h 1829497"/>
                <a:gd name="connsiteX361" fmla="*/ 949325 w 2090570"/>
                <a:gd name="connsiteY361" fmla="*/ 1035050 h 1829497"/>
                <a:gd name="connsiteX362" fmla="*/ 930275 w 2090570"/>
                <a:gd name="connsiteY362" fmla="*/ 1041400 h 1829497"/>
                <a:gd name="connsiteX363" fmla="*/ 920750 w 2090570"/>
                <a:gd name="connsiteY363" fmla="*/ 1047750 h 1829497"/>
                <a:gd name="connsiteX364" fmla="*/ 895350 w 2090570"/>
                <a:gd name="connsiteY364" fmla="*/ 1054100 h 1829497"/>
                <a:gd name="connsiteX365" fmla="*/ 885825 w 2090570"/>
                <a:gd name="connsiteY365" fmla="*/ 1050925 h 1829497"/>
                <a:gd name="connsiteX366" fmla="*/ 879475 w 2090570"/>
                <a:gd name="connsiteY366" fmla="*/ 1041400 h 1829497"/>
                <a:gd name="connsiteX367" fmla="*/ 873125 w 2090570"/>
                <a:gd name="connsiteY367" fmla="*/ 977900 h 1829497"/>
                <a:gd name="connsiteX368" fmla="*/ 866775 w 2090570"/>
                <a:gd name="connsiteY368" fmla="*/ 955675 h 1829497"/>
                <a:gd name="connsiteX369" fmla="*/ 857250 w 2090570"/>
                <a:gd name="connsiteY369" fmla="*/ 952500 h 1829497"/>
                <a:gd name="connsiteX370" fmla="*/ 831850 w 2090570"/>
                <a:gd name="connsiteY370" fmla="*/ 955675 h 1829497"/>
                <a:gd name="connsiteX371" fmla="*/ 812800 w 2090570"/>
                <a:gd name="connsiteY371" fmla="*/ 965200 h 1829497"/>
                <a:gd name="connsiteX372" fmla="*/ 803275 w 2090570"/>
                <a:gd name="connsiteY372" fmla="*/ 968375 h 1829497"/>
                <a:gd name="connsiteX373" fmla="*/ 784225 w 2090570"/>
                <a:gd name="connsiteY373" fmla="*/ 958850 h 1829497"/>
                <a:gd name="connsiteX374" fmla="*/ 765175 w 2090570"/>
                <a:gd name="connsiteY374" fmla="*/ 962025 h 1829497"/>
                <a:gd name="connsiteX375" fmla="*/ 755650 w 2090570"/>
                <a:gd name="connsiteY375" fmla="*/ 990600 h 1829497"/>
                <a:gd name="connsiteX376" fmla="*/ 752475 w 2090570"/>
                <a:gd name="connsiteY376" fmla="*/ 1000125 h 1829497"/>
                <a:gd name="connsiteX377" fmla="*/ 742950 w 2090570"/>
                <a:gd name="connsiteY377" fmla="*/ 1003300 h 1829497"/>
                <a:gd name="connsiteX378" fmla="*/ 733425 w 2090570"/>
                <a:gd name="connsiteY378" fmla="*/ 1009650 h 1829497"/>
                <a:gd name="connsiteX379" fmla="*/ 695325 w 2090570"/>
                <a:gd name="connsiteY379" fmla="*/ 1003300 h 1829497"/>
                <a:gd name="connsiteX380" fmla="*/ 688975 w 2090570"/>
                <a:gd name="connsiteY380" fmla="*/ 1012825 h 1829497"/>
                <a:gd name="connsiteX381" fmla="*/ 692150 w 2090570"/>
                <a:gd name="connsiteY381" fmla="*/ 1022350 h 1829497"/>
                <a:gd name="connsiteX382" fmla="*/ 711200 w 2090570"/>
                <a:gd name="connsiteY382" fmla="*/ 1035050 h 1829497"/>
                <a:gd name="connsiteX383" fmla="*/ 730250 w 2090570"/>
                <a:gd name="connsiteY383" fmla="*/ 1044575 h 1829497"/>
                <a:gd name="connsiteX384" fmla="*/ 752475 w 2090570"/>
                <a:gd name="connsiteY384" fmla="*/ 1073150 h 1829497"/>
                <a:gd name="connsiteX385" fmla="*/ 755650 w 2090570"/>
                <a:gd name="connsiteY385" fmla="*/ 1082675 h 1829497"/>
                <a:gd name="connsiteX386" fmla="*/ 758825 w 2090570"/>
                <a:gd name="connsiteY386" fmla="*/ 1101725 h 1829497"/>
                <a:gd name="connsiteX387" fmla="*/ 762000 w 2090570"/>
                <a:gd name="connsiteY387" fmla="*/ 1114425 h 1829497"/>
                <a:gd name="connsiteX388" fmla="*/ 752475 w 2090570"/>
                <a:gd name="connsiteY388" fmla="*/ 1149350 h 1829497"/>
                <a:gd name="connsiteX389" fmla="*/ 746125 w 2090570"/>
                <a:gd name="connsiteY389" fmla="*/ 1158875 h 1829497"/>
                <a:gd name="connsiteX390" fmla="*/ 746125 w 2090570"/>
                <a:gd name="connsiteY390" fmla="*/ 1187450 h 1829497"/>
                <a:gd name="connsiteX391" fmla="*/ 755650 w 2090570"/>
                <a:gd name="connsiteY391" fmla="*/ 1193800 h 1829497"/>
                <a:gd name="connsiteX392" fmla="*/ 758825 w 2090570"/>
                <a:gd name="connsiteY392" fmla="*/ 1203325 h 1829497"/>
                <a:gd name="connsiteX393" fmla="*/ 749300 w 2090570"/>
                <a:gd name="connsiteY393" fmla="*/ 1225550 h 1829497"/>
                <a:gd name="connsiteX394" fmla="*/ 739775 w 2090570"/>
                <a:gd name="connsiteY394" fmla="*/ 1231900 h 1829497"/>
                <a:gd name="connsiteX395" fmla="*/ 733425 w 2090570"/>
                <a:gd name="connsiteY395" fmla="*/ 1241425 h 1829497"/>
                <a:gd name="connsiteX396" fmla="*/ 723900 w 2090570"/>
                <a:gd name="connsiteY396" fmla="*/ 1238250 h 1829497"/>
                <a:gd name="connsiteX397" fmla="*/ 704850 w 2090570"/>
                <a:gd name="connsiteY397" fmla="*/ 1225550 h 1829497"/>
                <a:gd name="connsiteX398" fmla="*/ 663575 w 2090570"/>
                <a:gd name="connsiteY398" fmla="*/ 1228725 h 1829497"/>
                <a:gd name="connsiteX399" fmla="*/ 644525 w 2090570"/>
                <a:gd name="connsiteY399" fmla="*/ 1235075 h 1829497"/>
                <a:gd name="connsiteX400" fmla="*/ 635000 w 2090570"/>
                <a:gd name="connsiteY400" fmla="*/ 1244600 h 1829497"/>
                <a:gd name="connsiteX401" fmla="*/ 625475 w 2090570"/>
                <a:gd name="connsiteY401" fmla="*/ 1250950 h 1829497"/>
                <a:gd name="connsiteX402" fmla="*/ 609600 w 2090570"/>
                <a:gd name="connsiteY402" fmla="*/ 1263650 h 1829497"/>
                <a:gd name="connsiteX403" fmla="*/ 600075 w 2090570"/>
                <a:gd name="connsiteY403" fmla="*/ 1270000 h 1829497"/>
                <a:gd name="connsiteX404" fmla="*/ 568325 w 2090570"/>
                <a:gd name="connsiteY404" fmla="*/ 1270000 h 1829497"/>
                <a:gd name="connsiteX405" fmla="*/ 546100 w 2090570"/>
                <a:gd name="connsiteY405" fmla="*/ 1276350 h 1829497"/>
                <a:gd name="connsiteX406" fmla="*/ 539750 w 2090570"/>
                <a:gd name="connsiteY406" fmla="*/ 1285875 h 1829497"/>
                <a:gd name="connsiteX407" fmla="*/ 517525 w 2090570"/>
                <a:gd name="connsiteY407" fmla="*/ 1276350 h 1829497"/>
                <a:gd name="connsiteX408" fmla="*/ 511175 w 2090570"/>
                <a:gd name="connsiteY408" fmla="*/ 1266825 h 1829497"/>
                <a:gd name="connsiteX409" fmla="*/ 523875 w 2090570"/>
                <a:gd name="connsiteY409" fmla="*/ 1244600 h 1829497"/>
                <a:gd name="connsiteX410" fmla="*/ 542925 w 2090570"/>
                <a:gd name="connsiteY410" fmla="*/ 1231900 h 1829497"/>
                <a:gd name="connsiteX411" fmla="*/ 549275 w 2090570"/>
                <a:gd name="connsiteY411" fmla="*/ 1222375 h 1829497"/>
                <a:gd name="connsiteX412" fmla="*/ 546100 w 2090570"/>
                <a:gd name="connsiteY412" fmla="*/ 1212850 h 1829497"/>
                <a:gd name="connsiteX413" fmla="*/ 542925 w 2090570"/>
                <a:gd name="connsiteY413" fmla="*/ 1200150 h 1829497"/>
                <a:gd name="connsiteX414" fmla="*/ 527050 w 2090570"/>
                <a:gd name="connsiteY414" fmla="*/ 1171575 h 1829497"/>
                <a:gd name="connsiteX415" fmla="*/ 533400 w 2090570"/>
                <a:gd name="connsiteY415" fmla="*/ 1123950 h 1829497"/>
                <a:gd name="connsiteX416" fmla="*/ 536575 w 2090570"/>
                <a:gd name="connsiteY416" fmla="*/ 1108075 h 1829497"/>
                <a:gd name="connsiteX417" fmla="*/ 546100 w 2090570"/>
                <a:gd name="connsiteY417" fmla="*/ 1098550 h 1829497"/>
                <a:gd name="connsiteX418" fmla="*/ 539750 w 2090570"/>
                <a:gd name="connsiteY418" fmla="*/ 1066800 h 1829497"/>
                <a:gd name="connsiteX419" fmla="*/ 536575 w 2090570"/>
                <a:gd name="connsiteY419" fmla="*/ 1057275 h 1829497"/>
                <a:gd name="connsiteX420" fmla="*/ 527050 w 2090570"/>
                <a:gd name="connsiteY420" fmla="*/ 1054100 h 1829497"/>
                <a:gd name="connsiteX421" fmla="*/ 495300 w 2090570"/>
                <a:gd name="connsiteY421" fmla="*/ 1050925 h 1829497"/>
                <a:gd name="connsiteX422" fmla="*/ 463550 w 2090570"/>
                <a:gd name="connsiteY422" fmla="*/ 1044575 h 1829497"/>
                <a:gd name="connsiteX423" fmla="*/ 454025 w 2090570"/>
                <a:gd name="connsiteY423" fmla="*/ 1038225 h 1829497"/>
                <a:gd name="connsiteX424" fmla="*/ 441325 w 2090570"/>
                <a:gd name="connsiteY424" fmla="*/ 1019175 h 1829497"/>
                <a:gd name="connsiteX425" fmla="*/ 428625 w 2090570"/>
                <a:gd name="connsiteY425" fmla="*/ 1000125 h 1829497"/>
                <a:gd name="connsiteX426" fmla="*/ 419100 w 2090570"/>
                <a:gd name="connsiteY426" fmla="*/ 990600 h 1829497"/>
                <a:gd name="connsiteX427" fmla="*/ 409575 w 2090570"/>
                <a:gd name="connsiteY427" fmla="*/ 984250 h 1829497"/>
                <a:gd name="connsiteX428" fmla="*/ 387350 w 2090570"/>
                <a:gd name="connsiteY428" fmla="*/ 977900 h 1829497"/>
                <a:gd name="connsiteX429" fmla="*/ 377825 w 2090570"/>
                <a:gd name="connsiteY429" fmla="*/ 974725 h 1829497"/>
                <a:gd name="connsiteX430" fmla="*/ 381000 w 2090570"/>
                <a:gd name="connsiteY430" fmla="*/ 1012825 h 1829497"/>
                <a:gd name="connsiteX431" fmla="*/ 381000 w 2090570"/>
                <a:gd name="connsiteY431" fmla="*/ 1035050 h 1829497"/>
                <a:gd name="connsiteX432" fmla="*/ 368300 w 2090570"/>
                <a:gd name="connsiteY432" fmla="*/ 1054100 h 1829497"/>
                <a:gd name="connsiteX433" fmla="*/ 355600 w 2090570"/>
                <a:gd name="connsiteY433" fmla="*/ 1063625 h 1829497"/>
                <a:gd name="connsiteX434" fmla="*/ 327025 w 2090570"/>
                <a:gd name="connsiteY434" fmla="*/ 1073150 h 1829497"/>
                <a:gd name="connsiteX435" fmla="*/ 317500 w 2090570"/>
                <a:gd name="connsiteY435" fmla="*/ 1076325 h 1829497"/>
                <a:gd name="connsiteX436" fmla="*/ 307975 w 2090570"/>
                <a:gd name="connsiteY436" fmla="*/ 1079500 h 1829497"/>
                <a:gd name="connsiteX437" fmla="*/ 298450 w 2090570"/>
                <a:gd name="connsiteY437" fmla="*/ 1085850 h 1829497"/>
                <a:gd name="connsiteX438" fmla="*/ 279400 w 2090570"/>
                <a:gd name="connsiteY438" fmla="*/ 1092200 h 1829497"/>
                <a:gd name="connsiteX439" fmla="*/ 269875 w 2090570"/>
                <a:gd name="connsiteY439" fmla="*/ 1098550 h 1829497"/>
                <a:gd name="connsiteX440" fmla="*/ 250825 w 2090570"/>
                <a:gd name="connsiteY440" fmla="*/ 1114425 h 1829497"/>
                <a:gd name="connsiteX441" fmla="*/ 215900 w 2090570"/>
                <a:gd name="connsiteY441" fmla="*/ 1123950 h 1829497"/>
                <a:gd name="connsiteX442" fmla="*/ 146050 w 2090570"/>
                <a:gd name="connsiteY442" fmla="*/ 1111250 h 1829497"/>
                <a:gd name="connsiteX443" fmla="*/ 152400 w 2090570"/>
                <a:gd name="connsiteY443" fmla="*/ 1123950 h 1829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Lst>
              <a:rect l="l" t="t" r="r" b="b"/>
              <a:pathLst>
                <a:path w="2090570" h="1829497">
                  <a:moveTo>
                    <a:pt x="152400" y="1123950"/>
                  </a:moveTo>
                  <a:cubicBezTo>
                    <a:pt x="150283" y="1115483"/>
                    <a:pt x="148810" y="1106829"/>
                    <a:pt x="146050" y="1098550"/>
                  </a:cubicBezTo>
                  <a:lnTo>
                    <a:pt x="139700" y="1079500"/>
                  </a:lnTo>
                  <a:cubicBezTo>
                    <a:pt x="140758" y="1076325"/>
                    <a:pt x="140508" y="1072342"/>
                    <a:pt x="142875" y="1069975"/>
                  </a:cubicBezTo>
                  <a:cubicBezTo>
                    <a:pt x="145242" y="1067608"/>
                    <a:pt x="150455" y="1069523"/>
                    <a:pt x="152400" y="1066800"/>
                  </a:cubicBezTo>
                  <a:cubicBezTo>
                    <a:pt x="156291" y="1061353"/>
                    <a:pt x="158750" y="1047750"/>
                    <a:pt x="158750" y="1047750"/>
                  </a:cubicBezTo>
                  <a:cubicBezTo>
                    <a:pt x="156937" y="1038686"/>
                    <a:pt x="155090" y="1028143"/>
                    <a:pt x="152400" y="1019175"/>
                  </a:cubicBezTo>
                  <a:cubicBezTo>
                    <a:pt x="150477" y="1012764"/>
                    <a:pt x="148167" y="1006475"/>
                    <a:pt x="146050" y="1000125"/>
                  </a:cubicBezTo>
                  <a:cubicBezTo>
                    <a:pt x="143958" y="993850"/>
                    <a:pt x="142120" y="985551"/>
                    <a:pt x="136525" y="981075"/>
                  </a:cubicBezTo>
                  <a:cubicBezTo>
                    <a:pt x="133912" y="978984"/>
                    <a:pt x="130175" y="978958"/>
                    <a:pt x="127000" y="977900"/>
                  </a:cubicBezTo>
                  <a:cubicBezTo>
                    <a:pt x="96027" y="985643"/>
                    <a:pt x="134702" y="976188"/>
                    <a:pt x="98425" y="984250"/>
                  </a:cubicBezTo>
                  <a:cubicBezTo>
                    <a:pt x="94165" y="985197"/>
                    <a:pt x="89958" y="986367"/>
                    <a:pt x="85725" y="987425"/>
                  </a:cubicBezTo>
                  <a:cubicBezTo>
                    <a:pt x="82550" y="986367"/>
                    <a:pt x="79126" y="985875"/>
                    <a:pt x="76200" y="984250"/>
                  </a:cubicBezTo>
                  <a:cubicBezTo>
                    <a:pt x="69529" y="980544"/>
                    <a:pt x="64554" y="973401"/>
                    <a:pt x="57150" y="971550"/>
                  </a:cubicBezTo>
                  <a:cubicBezTo>
                    <a:pt x="35153" y="966051"/>
                    <a:pt x="48787" y="968857"/>
                    <a:pt x="15875" y="965200"/>
                  </a:cubicBezTo>
                  <a:cubicBezTo>
                    <a:pt x="12700" y="963083"/>
                    <a:pt x="8372" y="962086"/>
                    <a:pt x="6350" y="958850"/>
                  </a:cubicBezTo>
                  <a:cubicBezTo>
                    <a:pt x="2802" y="953174"/>
                    <a:pt x="0" y="939800"/>
                    <a:pt x="0" y="939800"/>
                  </a:cubicBezTo>
                  <a:cubicBezTo>
                    <a:pt x="2117" y="936625"/>
                    <a:pt x="3652" y="932973"/>
                    <a:pt x="6350" y="930275"/>
                  </a:cubicBezTo>
                  <a:cubicBezTo>
                    <a:pt x="9048" y="927577"/>
                    <a:pt x="13491" y="926905"/>
                    <a:pt x="15875" y="923925"/>
                  </a:cubicBezTo>
                  <a:cubicBezTo>
                    <a:pt x="17966" y="921312"/>
                    <a:pt x="17992" y="917575"/>
                    <a:pt x="19050" y="914400"/>
                  </a:cubicBezTo>
                  <a:cubicBezTo>
                    <a:pt x="11437" y="891562"/>
                    <a:pt x="20673" y="920082"/>
                    <a:pt x="12700" y="892175"/>
                  </a:cubicBezTo>
                  <a:cubicBezTo>
                    <a:pt x="11781" y="888957"/>
                    <a:pt x="10406" y="885879"/>
                    <a:pt x="9525" y="882650"/>
                  </a:cubicBezTo>
                  <a:cubicBezTo>
                    <a:pt x="7229" y="874230"/>
                    <a:pt x="3175" y="857250"/>
                    <a:pt x="3175" y="857250"/>
                  </a:cubicBezTo>
                  <a:cubicBezTo>
                    <a:pt x="5082" y="849624"/>
                    <a:pt x="5848" y="840507"/>
                    <a:pt x="12700" y="835025"/>
                  </a:cubicBezTo>
                  <a:cubicBezTo>
                    <a:pt x="15313" y="832934"/>
                    <a:pt x="19050" y="832908"/>
                    <a:pt x="22225" y="831850"/>
                  </a:cubicBezTo>
                  <a:cubicBezTo>
                    <a:pt x="25400" y="829733"/>
                    <a:pt x="27943" y="825754"/>
                    <a:pt x="31750" y="825500"/>
                  </a:cubicBezTo>
                  <a:cubicBezTo>
                    <a:pt x="47499" y="824450"/>
                    <a:pt x="69095" y="828155"/>
                    <a:pt x="85725" y="831850"/>
                  </a:cubicBezTo>
                  <a:cubicBezTo>
                    <a:pt x="89985" y="832797"/>
                    <a:pt x="94132" y="834244"/>
                    <a:pt x="98425" y="835025"/>
                  </a:cubicBezTo>
                  <a:cubicBezTo>
                    <a:pt x="105788" y="836364"/>
                    <a:pt x="113242" y="837142"/>
                    <a:pt x="120650" y="838200"/>
                  </a:cubicBezTo>
                  <a:cubicBezTo>
                    <a:pt x="134907" y="836904"/>
                    <a:pt x="158750" y="845490"/>
                    <a:pt x="158750" y="825500"/>
                  </a:cubicBezTo>
                  <a:cubicBezTo>
                    <a:pt x="158750" y="822153"/>
                    <a:pt x="156633" y="819150"/>
                    <a:pt x="155575" y="815975"/>
                  </a:cubicBezTo>
                  <a:cubicBezTo>
                    <a:pt x="156633" y="811742"/>
                    <a:pt x="157496" y="807455"/>
                    <a:pt x="158750" y="803275"/>
                  </a:cubicBezTo>
                  <a:cubicBezTo>
                    <a:pt x="161635" y="793658"/>
                    <a:pt x="165100" y="784225"/>
                    <a:pt x="168275" y="774700"/>
                  </a:cubicBezTo>
                  <a:lnTo>
                    <a:pt x="171450" y="765175"/>
                  </a:lnTo>
                  <a:lnTo>
                    <a:pt x="174625" y="755650"/>
                  </a:lnTo>
                  <a:cubicBezTo>
                    <a:pt x="175099" y="750438"/>
                    <a:pt x="176121" y="719352"/>
                    <a:pt x="180975" y="708025"/>
                  </a:cubicBezTo>
                  <a:cubicBezTo>
                    <a:pt x="182478" y="704518"/>
                    <a:pt x="185618" y="701913"/>
                    <a:pt x="187325" y="698500"/>
                  </a:cubicBezTo>
                  <a:cubicBezTo>
                    <a:pt x="188822" y="695507"/>
                    <a:pt x="188644" y="691760"/>
                    <a:pt x="190500" y="688975"/>
                  </a:cubicBezTo>
                  <a:cubicBezTo>
                    <a:pt x="192991" y="685239"/>
                    <a:pt x="197268" y="682994"/>
                    <a:pt x="200025" y="679450"/>
                  </a:cubicBezTo>
                  <a:lnTo>
                    <a:pt x="219075" y="650875"/>
                  </a:lnTo>
                  <a:lnTo>
                    <a:pt x="225425" y="641350"/>
                  </a:lnTo>
                  <a:cubicBezTo>
                    <a:pt x="226483" y="636058"/>
                    <a:pt x="227180" y="630681"/>
                    <a:pt x="228600" y="625475"/>
                  </a:cubicBezTo>
                  <a:cubicBezTo>
                    <a:pt x="230361" y="619017"/>
                    <a:pt x="234950" y="606425"/>
                    <a:pt x="234950" y="606425"/>
                  </a:cubicBezTo>
                  <a:cubicBezTo>
                    <a:pt x="233892" y="586317"/>
                    <a:pt x="231775" y="566236"/>
                    <a:pt x="231775" y="546100"/>
                  </a:cubicBezTo>
                  <a:cubicBezTo>
                    <a:pt x="231775" y="534497"/>
                    <a:pt x="236719" y="507952"/>
                    <a:pt x="238125" y="495300"/>
                  </a:cubicBezTo>
                  <a:cubicBezTo>
                    <a:pt x="239416" y="483682"/>
                    <a:pt x="240009" y="471993"/>
                    <a:pt x="241300" y="460375"/>
                  </a:cubicBezTo>
                  <a:cubicBezTo>
                    <a:pt x="242375" y="450698"/>
                    <a:pt x="245072" y="432588"/>
                    <a:pt x="247650" y="422275"/>
                  </a:cubicBezTo>
                  <a:cubicBezTo>
                    <a:pt x="248462" y="419028"/>
                    <a:pt x="248969" y="415535"/>
                    <a:pt x="250825" y="412750"/>
                  </a:cubicBezTo>
                  <a:cubicBezTo>
                    <a:pt x="253316" y="409014"/>
                    <a:pt x="257475" y="406674"/>
                    <a:pt x="260350" y="403225"/>
                  </a:cubicBezTo>
                  <a:cubicBezTo>
                    <a:pt x="262793" y="400294"/>
                    <a:pt x="264583" y="396875"/>
                    <a:pt x="266700" y="393700"/>
                  </a:cubicBezTo>
                  <a:cubicBezTo>
                    <a:pt x="267758" y="389467"/>
                    <a:pt x="271074" y="385196"/>
                    <a:pt x="269875" y="381000"/>
                  </a:cubicBezTo>
                  <a:cubicBezTo>
                    <a:pt x="268641" y="376683"/>
                    <a:pt x="264275" y="373656"/>
                    <a:pt x="260350" y="371475"/>
                  </a:cubicBezTo>
                  <a:cubicBezTo>
                    <a:pt x="249384" y="365383"/>
                    <a:pt x="230951" y="363138"/>
                    <a:pt x="219075" y="361950"/>
                  </a:cubicBezTo>
                  <a:cubicBezTo>
                    <a:pt x="205345" y="360577"/>
                    <a:pt x="191558" y="359833"/>
                    <a:pt x="177800" y="358775"/>
                  </a:cubicBezTo>
                  <a:cubicBezTo>
                    <a:pt x="173567" y="357717"/>
                    <a:pt x="167051" y="359503"/>
                    <a:pt x="165100" y="355600"/>
                  </a:cubicBezTo>
                  <a:cubicBezTo>
                    <a:pt x="162687" y="350773"/>
                    <a:pt x="168275" y="345121"/>
                    <a:pt x="168275" y="339725"/>
                  </a:cubicBezTo>
                  <a:cubicBezTo>
                    <a:pt x="168275" y="335361"/>
                    <a:pt x="166158" y="331258"/>
                    <a:pt x="165100" y="327025"/>
                  </a:cubicBezTo>
                  <a:cubicBezTo>
                    <a:pt x="168203" y="280486"/>
                    <a:pt x="166645" y="290039"/>
                    <a:pt x="171450" y="254000"/>
                  </a:cubicBezTo>
                  <a:cubicBezTo>
                    <a:pt x="172439" y="246582"/>
                    <a:pt x="171586" y="238614"/>
                    <a:pt x="174625" y="231775"/>
                  </a:cubicBezTo>
                  <a:cubicBezTo>
                    <a:pt x="176766" y="226958"/>
                    <a:pt x="189449" y="223659"/>
                    <a:pt x="193675" y="222250"/>
                  </a:cubicBezTo>
                  <a:cubicBezTo>
                    <a:pt x="216345" y="229807"/>
                    <a:pt x="209012" y="223031"/>
                    <a:pt x="219075" y="238125"/>
                  </a:cubicBezTo>
                  <a:cubicBezTo>
                    <a:pt x="222250" y="237067"/>
                    <a:pt x="227357" y="238057"/>
                    <a:pt x="228600" y="234950"/>
                  </a:cubicBezTo>
                  <a:cubicBezTo>
                    <a:pt x="230221" y="230898"/>
                    <a:pt x="227846" y="225881"/>
                    <a:pt x="225425" y="222250"/>
                  </a:cubicBezTo>
                  <a:cubicBezTo>
                    <a:pt x="221908" y="216974"/>
                    <a:pt x="211808" y="214536"/>
                    <a:pt x="206375" y="212725"/>
                  </a:cubicBezTo>
                  <a:cubicBezTo>
                    <a:pt x="204258" y="209550"/>
                    <a:pt x="200565" y="206978"/>
                    <a:pt x="200025" y="203200"/>
                  </a:cubicBezTo>
                  <a:cubicBezTo>
                    <a:pt x="199408" y="198880"/>
                    <a:pt x="201946" y="194680"/>
                    <a:pt x="203200" y="190500"/>
                  </a:cubicBezTo>
                  <a:cubicBezTo>
                    <a:pt x="208310" y="173466"/>
                    <a:pt x="205375" y="171950"/>
                    <a:pt x="219075" y="165100"/>
                  </a:cubicBezTo>
                  <a:cubicBezTo>
                    <a:pt x="222068" y="163603"/>
                    <a:pt x="225425" y="162983"/>
                    <a:pt x="228600" y="161925"/>
                  </a:cubicBezTo>
                  <a:lnTo>
                    <a:pt x="257175" y="142875"/>
                  </a:lnTo>
                  <a:cubicBezTo>
                    <a:pt x="260350" y="140758"/>
                    <a:pt x="263080" y="137732"/>
                    <a:pt x="266700" y="136525"/>
                  </a:cubicBezTo>
                  <a:lnTo>
                    <a:pt x="304800" y="123825"/>
                  </a:lnTo>
                  <a:cubicBezTo>
                    <a:pt x="307975" y="122767"/>
                    <a:pt x="310988" y="120907"/>
                    <a:pt x="314325" y="120650"/>
                  </a:cubicBezTo>
                  <a:lnTo>
                    <a:pt x="355600" y="117475"/>
                  </a:lnTo>
                  <a:cubicBezTo>
                    <a:pt x="362917" y="118694"/>
                    <a:pt x="376359" y="119917"/>
                    <a:pt x="384175" y="123825"/>
                  </a:cubicBezTo>
                  <a:cubicBezTo>
                    <a:pt x="408794" y="136135"/>
                    <a:pt x="379284" y="125370"/>
                    <a:pt x="403225" y="133350"/>
                  </a:cubicBezTo>
                  <a:cubicBezTo>
                    <a:pt x="425664" y="128862"/>
                    <a:pt x="413980" y="131882"/>
                    <a:pt x="438150" y="123825"/>
                  </a:cubicBezTo>
                  <a:lnTo>
                    <a:pt x="438150" y="123825"/>
                  </a:lnTo>
                  <a:cubicBezTo>
                    <a:pt x="442383" y="122767"/>
                    <a:pt x="446670" y="121904"/>
                    <a:pt x="450850" y="120650"/>
                  </a:cubicBezTo>
                  <a:cubicBezTo>
                    <a:pt x="457261" y="118727"/>
                    <a:pt x="463550" y="116417"/>
                    <a:pt x="469900" y="114300"/>
                  </a:cubicBezTo>
                  <a:cubicBezTo>
                    <a:pt x="473075" y="113242"/>
                    <a:pt x="476104" y="111540"/>
                    <a:pt x="479425" y="111125"/>
                  </a:cubicBezTo>
                  <a:cubicBezTo>
                    <a:pt x="511213" y="107152"/>
                    <a:pt x="496409" y="109353"/>
                    <a:pt x="523875" y="104775"/>
                  </a:cubicBezTo>
                  <a:cubicBezTo>
                    <a:pt x="539750" y="105833"/>
                    <a:pt x="555750" y="105700"/>
                    <a:pt x="571500" y="107950"/>
                  </a:cubicBezTo>
                  <a:cubicBezTo>
                    <a:pt x="578126" y="108897"/>
                    <a:pt x="590550" y="114300"/>
                    <a:pt x="590550" y="114300"/>
                  </a:cubicBezTo>
                  <a:cubicBezTo>
                    <a:pt x="593725" y="116417"/>
                    <a:pt x="598053" y="117414"/>
                    <a:pt x="600075" y="120650"/>
                  </a:cubicBezTo>
                  <a:cubicBezTo>
                    <a:pt x="603623" y="126326"/>
                    <a:pt x="604308" y="133350"/>
                    <a:pt x="606425" y="139700"/>
                  </a:cubicBezTo>
                  <a:lnTo>
                    <a:pt x="609600" y="149225"/>
                  </a:lnTo>
                  <a:cubicBezTo>
                    <a:pt x="610658" y="152400"/>
                    <a:pt x="610919" y="155965"/>
                    <a:pt x="612775" y="158750"/>
                  </a:cubicBezTo>
                  <a:cubicBezTo>
                    <a:pt x="621616" y="172011"/>
                    <a:pt x="616427" y="165577"/>
                    <a:pt x="628650" y="177800"/>
                  </a:cubicBezTo>
                  <a:cubicBezTo>
                    <a:pt x="639154" y="209312"/>
                    <a:pt x="621531" y="161175"/>
                    <a:pt x="641350" y="196850"/>
                  </a:cubicBezTo>
                  <a:cubicBezTo>
                    <a:pt x="644601" y="202701"/>
                    <a:pt x="647700" y="215900"/>
                    <a:pt x="647700" y="215900"/>
                  </a:cubicBezTo>
                  <a:cubicBezTo>
                    <a:pt x="644812" y="244776"/>
                    <a:pt x="651736" y="243228"/>
                    <a:pt x="635000" y="257175"/>
                  </a:cubicBezTo>
                  <a:cubicBezTo>
                    <a:pt x="632069" y="259618"/>
                    <a:pt x="628650" y="261408"/>
                    <a:pt x="625475" y="263525"/>
                  </a:cubicBezTo>
                  <a:cubicBezTo>
                    <a:pt x="624417" y="266700"/>
                    <a:pt x="622300" y="269703"/>
                    <a:pt x="622300" y="273050"/>
                  </a:cubicBezTo>
                  <a:cubicBezTo>
                    <a:pt x="622300" y="285280"/>
                    <a:pt x="625034" y="291806"/>
                    <a:pt x="635000" y="298450"/>
                  </a:cubicBezTo>
                  <a:cubicBezTo>
                    <a:pt x="637785" y="300306"/>
                    <a:pt x="641350" y="300567"/>
                    <a:pt x="644525" y="301625"/>
                  </a:cubicBezTo>
                  <a:cubicBezTo>
                    <a:pt x="646642" y="304800"/>
                    <a:pt x="649168" y="307737"/>
                    <a:pt x="650875" y="311150"/>
                  </a:cubicBezTo>
                  <a:cubicBezTo>
                    <a:pt x="656040" y="321479"/>
                    <a:pt x="651301" y="321101"/>
                    <a:pt x="660400" y="330200"/>
                  </a:cubicBezTo>
                  <a:cubicBezTo>
                    <a:pt x="663098" y="332898"/>
                    <a:pt x="666750" y="334433"/>
                    <a:pt x="669925" y="336550"/>
                  </a:cubicBezTo>
                  <a:cubicBezTo>
                    <a:pt x="673100" y="333375"/>
                    <a:pt x="676575" y="330474"/>
                    <a:pt x="679450" y="327025"/>
                  </a:cubicBezTo>
                  <a:cubicBezTo>
                    <a:pt x="681893" y="324094"/>
                    <a:pt x="682928" y="320013"/>
                    <a:pt x="685800" y="317500"/>
                  </a:cubicBezTo>
                  <a:cubicBezTo>
                    <a:pt x="691543" y="312474"/>
                    <a:pt x="704850" y="304800"/>
                    <a:pt x="704850" y="304800"/>
                  </a:cubicBezTo>
                  <a:cubicBezTo>
                    <a:pt x="716542" y="287262"/>
                    <a:pt x="713135" y="296739"/>
                    <a:pt x="708025" y="263525"/>
                  </a:cubicBezTo>
                  <a:cubicBezTo>
                    <a:pt x="707516" y="260217"/>
                    <a:pt x="707217" y="256367"/>
                    <a:pt x="704850" y="254000"/>
                  </a:cubicBezTo>
                  <a:cubicBezTo>
                    <a:pt x="702483" y="251633"/>
                    <a:pt x="698572" y="251637"/>
                    <a:pt x="695325" y="250825"/>
                  </a:cubicBezTo>
                  <a:cubicBezTo>
                    <a:pt x="690090" y="249516"/>
                    <a:pt x="684742" y="248708"/>
                    <a:pt x="679450" y="247650"/>
                  </a:cubicBezTo>
                  <a:cubicBezTo>
                    <a:pt x="678392" y="244475"/>
                    <a:pt x="676275" y="241472"/>
                    <a:pt x="676275" y="238125"/>
                  </a:cubicBezTo>
                  <a:cubicBezTo>
                    <a:pt x="676275" y="224978"/>
                    <a:pt x="676349" y="212651"/>
                    <a:pt x="685800" y="203200"/>
                  </a:cubicBezTo>
                  <a:cubicBezTo>
                    <a:pt x="688498" y="200502"/>
                    <a:pt x="691838" y="198400"/>
                    <a:pt x="695325" y="196850"/>
                  </a:cubicBezTo>
                  <a:cubicBezTo>
                    <a:pt x="701442" y="194132"/>
                    <a:pt x="714375" y="190500"/>
                    <a:pt x="714375" y="190500"/>
                  </a:cubicBezTo>
                  <a:cubicBezTo>
                    <a:pt x="730434" y="193712"/>
                    <a:pt x="729945" y="190561"/>
                    <a:pt x="739775" y="203200"/>
                  </a:cubicBezTo>
                  <a:cubicBezTo>
                    <a:pt x="744460" y="209224"/>
                    <a:pt x="745071" y="220399"/>
                    <a:pt x="752475" y="222250"/>
                  </a:cubicBezTo>
                  <a:lnTo>
                    <a:pt x="777875" y="228600"/>
                  </a:lnTo>
                  <a:cubicBezTo>
                    <a:pt x="787170" y="227051"/>
                    <a:pt x="799582" y="227660"/>
                    <a:pt x="806450" y="219075"/>
                  </a:cubicBezTo>
                  <a:cubicBezTo>
                    <a:pt x="808541" y="216462"/>
                    <a:pt x="808567" y="212725"/>
                    <a:pt x="809625" y="209550"/>
                  </a:cubicBezTo>
                  <a:lnTo>
                    <a:pt x="803275" y="184150"/>
                  </a:lnTo>
                  <a:cubicBezTo>
                    <a:pt x="800695" y="173831"/>
                    <a:pt x="801604" y="162929"/>
                    <a:pt x="800100" y="152400"/>
                  </a:cubicBezTo>
                  <a:cubicBezTo>
                    <a:pt x="799103" y="145423"/>
                    <a:pt x="796012" y="136960"/>
                    <a:pt x="793750" y="130175"/>
                  </a:cubicBezTo>
                  <a:cubicBezTo>
                    <a:pt x="794356" y="122297"/>
                    <a:pt x="793247" y="93082"/>
                    <a:pt x="800100" y="79375"/>
                  </a:cubicBezTo>
                  <a:cubicBezTo>
                    <a:pt x="801807" y="75962"/>
                    <a:pt x="804007" y="72781"/>
                    <a:pt x="806450" y="69850"/>
                  </a:cubicBezTo>
                  <a:cubicBezTo>
                    <a:pt x="809325" y="66401"/>
                    <a:pt x="812800" y="63500"/>
                    <a:pt x="815975" y="60325"/>
                  </a:cubicBezTo>
                  <a:cubicBezTo>
                    <a:pt x="823256" y="38481"/>
                    <a:pt x="815145" y="64891"/>
                    <a:pt x="822325" y="25400"/>
                  </a:cubicBezTo>
                  <a:cubicBezTo>
                    <a:pt x="822924" y="22107"/>
                    <a:pt x="822777" y="17820"/>
                    <a:pt x="825500" y="15875"/>
                  </a:cubicBezTo>
                  <a:cubicBezTo>
                    <a:pt x="830947" y="11984"/>
                    <a:pt x="844550" y="9525"/>
                    <a:pt x="844550" y="9525"/>
                  </a:cubicBezTo>
                  <a:cubicBezTo>
                    <a:pt x="847725" y="7408"/>
                    <a:pt x="850568" y="4678"/>
                    <a:pt x="854075" y="3175"/>
                  </a:cubicBezTo>
                  <a:cubicBezTo>
                    <a:pt x="858086" y="1456"/>
                    <a:pt x="862411" y="0"/>
                    <a:pt x="866775" y="0"/>
                  </a:cubicBezTo>
                  <a:cubicBezTo>
                    <a:pt x="874438" y="0"/>
                    <a:pt x="884659" y="3845"/>
                    <a:pt x="892175" y="6350"/>
                  </a:cubicBezTo>
                  <a:cubicBezTo>
                    <a:pt x="895350" y="8467"/>
                    <a:pt x="898213" y="11150"/>
                    <a:pt x="901700" y="12700"/>
                  </a:cubicBezTo>
                  <a:cubicBezTo>
                    <a:pt x="907817" y="15418"/>
                    <a:pt x="920750" y="19050"/>
                    <a:pt x="920750" y="19050"/>
                  </a:cubicBezTo>
                  <a:cubicBezTo>
                    <a:pt x="923925" y="21167"/>
                    <a:pt x="926788" y="23850"/>
                    <a:pt x="930275" y="25400"/>
                  </a:cubicBezTo>
                  <a:cubicBezTo>
                    <a:pt x="936392" y="28118"/>
                    <a:pt x="949325" y="31750"/>
                    <a:pt x="949325" y="31750"/>
                  </a:cubicBezTo>
                  <a:cubicBezTo>
                    <a:pt x="954494" y="30889"/>
                    <a:pt x="971200" y="29122"/>
                    <a:pt x="977900" y="25400"/>
                  </a:cubicBezTo>
                  <a:cubicBezTo>
                    <a:pt x="984571" y="21694"/>
                    <a:pt x="990600" y="16933"/>
                    <a:pt x="996950" y="12700"/>
                  </a:cubicBezTo>
                  <a:cubicBezTo>
                    <a:pt x="1000125" y="10583"/>
                    <a:pt x="1002855" y="7557"/>
                    <a:pt x="1006475" y="6350"/>
                  </a:cubicBezTo>
                  <a:cubicBezTo>
                    <a:pt x="1020140" y="1795"/>
                    <a:pt x="1012753" y="3987"/>
                    <a:pt x="1028700" y="0"/>
                  </a:cubicBezTo>
                  <a:cubicBezTo>
                    <a:pt x="1050925" y="1058"/>
                    <a:pt x="1073196" y="1401"/>
                    <a:pt x="1095375" y="3175"/>
                  </a:cubicBezTo>
                  <a:cubicBezTo>
                    <a:pt x="1112488" y="4544"/>
                    <a:pt x="1109676" y="10325"/>
                    <a:pt x="1127125" y="19050"/>
                  </a:cubicBezTo>
                  <a:cubicBezTo>
                    <a:pt x="1150625" y="30800"/>
                    <a:pt x="1130042" y="18835"/>
                    <a:pt x="1149350" y="34925"/>
                  </a:cubicBezTo>
                  <a:cubicBezTo>
                    <a:pt x="1175872" y="57027"/>
                    <a:pt x="1140573" y="22973"/>
                    <a:pt x="1168400" y="50800"/>
                  </a:cubicBezTo>
                  <a:cubicBezTo>
                    <a:pt x="1176380" y="74741"/>
                    <a:pt x="1165615" y="45231"/>
                    <a:pt x="1177925" y="69850"/>
                  </a:cubicBezTo>
                  <a:cubicBezTo>
                    <a:pt x="1179422" y="72843"/>
                    <a:pt x="1179603" y="76382"/>
                    <a:pt x="1181100" y="79375"/>
                  </a:cubicBezTo>
                  <a:cubicBezTo>
                    <a:pt x="1182807" y="82788"/>
                    <a:pt x="1185743" y="85487"/>
                    <a:pt x="1187450" y="88900"/>
                  </a:cubicBezTo>
                  <a:cubicBezTo>
                    <a:pt x="1188947" y="91893"/>
                    <a:pt x="1189128" y="95432"/>
                    <a:pt x="1190625" y="98425"/>
                  </a:cubicBezTo>
                  <a:cubicBezTo>
                    <a:pt x="1192332" y="101838"/>
                    <a:pt x="1195268" y="104537"/>
                    <a:pt x="1196975" y="107950"/>
                  </a:cubicBezTo>
                  <a:cubicBezTo>
                    <a:pt x="1198472" y="110943"/>
                    <a:pt x="1198059" y="114862"/>
                    <a:pt x="1200150" y="117475"/>
                  </a:cubicBezTo>
                  <a:cubicBezTo>
                    <a:pt x="1202534" y="120455"/>
                    <a:pt x="1206500" y="121708"/>
                    <a:pt x="1209675" y="123825"/>
                  </a:cubicBezTo>
                  <a:cubicBezTo>
                    <a:pt x="1227873" y="151122"/>
                    <a:pt x="1206055" y="116585"/>
                    <a:pt x="1219200" y="142875"/>
                  </a:cubicBezTo>
                  <a:cubicBezTo>
                    <a:pt x="1228477" y="161428"/>
                    <a:pt x="1223405" y="143304"/>
                    <a:pt x="1228725" y="161925"/>
                  </a:cubicBezTo>
                  <a:cubicBezTo>
                    <a:pt x="1238322" y="195514"/>
                    <a:pt x="1223160" y="148404"/>
                    <a:pt x="1238250" y="193675"/>
                  </a:cubicBezTo>
                  <a:cubicBezTo>
                    <a:pt x="1239308" y="196850"/>
                    <a:pt x="1244600" y="195792"/>
                    <a:pt x="1247775" y="196850"/>
                  </a:cubicBezTo>
                  <a:cubicBezTo>
                    <a:pt x="1275072" y="215048"/>
                    <a:pt x="1240535" y="193230"/>
                    <a:pt x="1266825" y="206375"/>
                  </a:cubicBezTo>
                  <a:cubicBezTo>
                    <a:pt x="1291444" y="218685"/>
                    <a:pt x="1261934" y="207920"/>
                    <a:pt x="1285875" y="215900"/>
                  </a:cubicBezTo>
                  <a:cubicBezTo>
                    <a:pt x="1289050" y="218017"/>
                    <a:pt x="1291913" y="220700"/>
                    <a:pt x="1295400" y="222250"/>
                  </a:cubicBezTo>
                  <a:cubicBezTo>
                    <a:pt x="1301517" y="224968"/>
                    <a:pt x="1314450" y="228600"/>
                    <a:pt x="1314450" y="228600"/>
                  </a:cubicBezTo>
                  <a:cubicBezTo>
                    <a:pt x="1317625" y="230717"/>
                    <a:pt x="1321277" y="232252"/>
                    <a:pt x="1323975" y="234950"/>
                  </a:cubicBezTo>
                  <a:cubicBezTo>
                    <a:pt x="1326673" y="237648"/>
                    <a:pt x="1328775" y="240988"/>
                    <a:pt x="1330325" y="244475"/>
                  </a:cubicBezTo>
                  <a:cubicBezTo>
                    <a:pt x="1337262" y="260084"/>
                    <a:pt x="1336265" y="263863"/>
                    <a:pt x="1339850" y="279400"/>
                  </a:cubicBezTo>
                  <a:cubicBezTo>
                    <a:pt x="1341812" y="287904"/>
                    <a:pt x="1338938" y="299959"/>
                    <a:pt x="1346200" y="304800"/>
                  </a:cubicBezTo>
                  <a:cubicBezTo>
                    <a:pt x="1349375" y="306917"/>
                    <a:pt x="1352218" y="309647"/>
                    <a:pt x="1355725" y="311150"/>
                  </a:cubicBezTo>
                  <a:cubicBezTo>
                    <a:pt x="1360715" y="313288"/>
                    <a:pt x="1380156" y="316370"/>
                    <a:pt x="1384300" y="317500"/>
                  </a:cubicBezTo>
                  <a:cubicBezTo>
                    <a:pt x="1390758" y="319261"/>
                    <a:pt x="1403350" y="323850"/>
                    <a:pt x="1403350" y="323850"/>
                  </a:cubicBezTo>
                  <a:cubicBezTo>
                    <a:pt x="1422929" y="336903"/>
                    <a:pt x="1402292" y="327378"/>
                    <a:pt x="1431925" y="317500"/>
                  </a:cubicBezTo>
                  <a:lnTo>
                    <a:pt x="1450975" y="311150"/>
                  </a:lnTo>
                  <a:cubicBezTo>
                    <a:pt x="1460270" y="312699"/>
                    <a:pt x="1472682" y="312090"/>
                    <a:pt x="1479550" y="320675"/>
                  </a:cubicBezTo>
                  <a:cubicBezTo>
                    <a:pt x="1490472" y="334328"/>
                    <a:pt x="1472483" y="327765"/>
                    <a:pt x="1492250" y="336550"/>
                  </a:cubicBezTo>
                  <a:cubicBezTo>
                    <a:pt x="1498367" y="339268"/>
                    <a:pt x="1511300" y="342900"/>
                    <a:pt x="1511300" y="342900"/>
                  </a:cubicBezTo>
                  <a:cubicBezTo>
                    <a:pt x="1529843" y="336719"/>
                    <a:pt x="1512814" y="344561"/>
                    <a:pt x="1527175" y="330200"/>
                  </a:cubicBezTo>
                  <a:cubicBezTo>
                    <a:pt x="1533330" y="324045"/>
                    <a:pt x="1538478" y="323257"/>
                    <a:pt x="1546225" y="320675"/>
                  </a:cubicBezTo>
                  <a:cubicBezTo>
                    <a:pt x="1556808" y="321733"/>
                    <a:pt x="1567809" y="320722"/>
                    <a:pt x="1577975" y="323850"/>
                  </a:cubicBezTo>
                  <a:cubicBezTo>
                    <a:pt x="1582267" y="325170"/>
                    <a:pt x="1583956" y="330618"/>
                    <a:pt x="1587500" y="333375"/>
                  </a:cubicBezTo>
                  <a:cubicBezTo>
                    <a:pt x="1593524" y="338060"/>
                    <a:pt x="1600200" y="341842"/>
                    <a:pt x="1606550" y="346075"/>
                  </a:cubicBezTo>
                  <a:lnTo>
                    <a:pt x="1606550" y="346075"/>
                  </a:lnTo>
                  <a:lnTo>
                    <a:pt x="1631950" y="352425"/>
                  </a:lnTo>
                  <a:cubicBezTo>
                    <a:pt x="1638444" y="354048"/>
                    <a:pt x="1644650" y="356658"/>
                    <a:pt x="1651000" y="358775"/>
                  </a:cubicBezTo>
                  <a:cubicBezTo>
                    <a:pt x="1654175" y="359833"/>
                    <a:pt x="1657212" y="361477"/>
                    <a:pt x="1660525" y="361950"/>
                  </a:cubicBezTo>
                  <a:lnTo>
                    <a:pt x="1682750" y="365125"/>
                  </a:lnTo>
                  <a:cubicBezTo>
                    <a:pt x="1689100" y="367242"/>
                    <a:pt x="1695306" y="369852"/>
                    <a:pt x="1701800" y="371475"/>
                  </a:cubicBezTo>
                  <a:cubicBezTo>
                    <a:pt x="1717747" y="375462"/>
                    <a:pt x="1710360" y="373270"/>
                    <a:pt x="1724025" y="377825"/>
                  </a:cubicBezTo>
                  <a:cubicBezTo>
                    <a:pt x="1725083" y="381000"/>
                    <a:pt x="1725344" y="384565"/>
                    <a:pt x="1727200" y="387350"/>
                  </a:cubicBezTo>
                  <a:cubicBezTo>
                    <a:pt x="1729691" y="391086"/>
                    <a:pt x="1732826" y="394647"/>
                    <a:pt x="1736725" y="396875"/>
                  </a:cubicBezTo>
                  <a:cubicBezTo>
                    <a:pt x="1740514" y="399040"/>
                    <a:pt x="1745112" y="399386"/>
                    <a:pt x="1749425" y="400050"/>
                  </a:cubicBezTo>
                  <a:cubicBezTo>
                    <a:pt x="1758897" y="401507"/>
                    <a:pt x="1768475" y="402167"/>
                    <a:pt x="1778000" y="403225"/>
                  </a:cubicBezTo>
                  <a:cubicBezTo>
                    <a:pt x="1782233" y="402167"/>
                    <a:pt x="1786689" y="401769"/>
                    <a:pt x="1790700" y="400050"/>
                  </a:cubicBezTo>
                  <a:cubicBezTo>
                    <a:pt x="1797960" y="396939"/>
                    <a:pt x="1806420" y="387428"/>
                    <a:pt x="1812925" y="384175"/>
                  </a:cubicBezTo>
                  <a:cubicBezTo>
                    <a:pt x="1816828" y="382224"/>
                    <a:pt x="1821392" y="382058"/>
                    <a:pt x="1825625" y="381000"/>
                  </a:cubicBezTo>
                  <a:cubicBezTo>
                    <a:pt x="1828800" y="382058"/>
                    <a:pt x="1832783" y="381808"/>
                    <a:pt x="1835150" y="384175"/>
                  </a:cubicBezTo>
                  <a:cubicBezTo>
                    <a:pt x="1837517" y="386542"/>
                    <a:pt x="1836469" y="390915"/>
                    <a:pt x="1838325" y="393700"/>
                  </a:cubicBezTo>
                  <a:cubicBezTo>
                    <a:pt x="1840816" y="397436"/>
                    <a:pt x="1844675" y="400050"/>
                    <a:pt x="1847850" y="403225"/>
                  </a:cubicBezTo>
                  <a:cubicBezTo>
                    <a:pt x="1853438" y="419990"/>
                    <a:pt x="1849169" y="409965"/>
                    <a:pt x="1863725" y="431800"/>
                  </a:cubicBezTo>
                  <a:cubicBezTo>
                    <a:pt x="1865581" y="434585"/>
                    <a:pt x="1865403" y="438332"/>
                    <a:pt x="1866900" y="441325"/>
                  </a:cubicBezTo>
                  <a:cubicBezTo>
                    <a:pt x="1876141" y="459807"/>
                    <a:pt x="1875471" y="444656"/>
                    <a:pt x="1892300" y="469900"/>
                  </a:cubicBezTo>
                  <a:cubicBezTo>
                    <a:pt x="1894417" y="473075"/>
                    <a:pt x="1895952" y="476727"/>
                    <a:pt x="1898650" y="479425"/>
                  </a:cubicBezTo>
                  <a:cubicBezTo>
                    <a:pt x="1904805" y="485580"/>
                    <a:pt x="1909953" y="486368"/>
                    <a:pt x="1917700" y="488950"/>
                  </a:cubicBezTo>
                  <a:cubicBezTo>
                    <a:pt x="1923628" y="492902"/>
                    <a:pt x="1933155" y="498354"/>
                    <a:pt x="1936750" y="504825"/>
                  </a:cubicBezTo>
                  <a:cubicBezTo>
                    <a:pt x="1940001" y="510676"/>
                    <a:pt x="1938367" y="519142"/>
                    <a:pt x="1943100" y="523875"/>
                  </a:cubicBezTo>
                  <a:cubicBezTo>
                    <a:pt x="1946275" y="527050"/>
                    <a:pt x="1949868" y="529856"/>
                    <a:pt x="1952625" y="533400"/>
                  </a:cubicBezTo>
                  <a:lnTo>
                    <a:pt x="1971675" y="561975"/>
                  </a:lnTo>
                  <a:cubicBezTo>
                    <a:pt x="1973792" y="565150"/>
                    <a:pt x="1977887" y="566432"/>
                    <a:pt x="1981200" y="568325"/>
                  </a:cubicBezTo>
                  <a:cubicBezTo>
                    <a:pt x="1987377" y="571855"/>
                    <a:pt x="1996139" y="576231"/>
                    <a:pt x="2003425" y="577850"/>
                  </a:cubicBezTo>
                  <a:cubicBezTo>
                    <a:pt x="2030115" y="583781"/>
                    <a:pt x="2017117" y="578433"/>
                    <a:pt x="2047875" y="584200"/>
                  </a:cubicBezTo>
                  <a:cubicBezTo>
                    <a:pt x="2064245" y="587269"/>
                    <a:pt x="2069704" y="589360"/>
                    <a:pt x="2082800" y="593725"/>
                  </a:cubicBezTo>
                  <a:lnTo>
                    <a:pt x="2089150" y="612775"/>
                  </a:lnTo>
                  <a:cubicBezTo>
                    <a:pt x="2090570" y="617035"/>
                    <a:pt x="2083074" y="619425"/>
                    <a:pt x="2079625" y="622300"/>
                  </a:cubicBezTo>
                  <a:cubicBezTo>
                    <a:pt x="2071419" y="629139"/>
                    <a:pt x="2070121" y="628643"/>
                    <a:pt x="2060575" y="631825"/>
                  </a:cubicBezTo>
                  <a:cubicBezTo>
                    <a:pt x="2059517" y="635000"/>
                    <a:pt x="2058212" y="638103"/>
                    <a:pt x="2057400" y="641350"/>
                  </a:cubicBezTo>
                  <a:cubicBezTo>
                    <a:pt x="2056091" y="646585"/>
                    <a:pt x="2057362" y="652834"/>
                    <a:pt x="2054225" y="657225"/>
                  </a:cubicBezTo>
                  <a:cubicBezTo>
                    <a:pt x="2051474" y="661076"/>
                    <a:pt x="2045584" y="661140"/>
                    <a:pt x="2041525" y="663575"/>
                  </a:cubicBezTo>
                  <a:cubicBezTo>
                    <a:pt x="2034981" y="667502"/>
                    <a:pt x="2022475" y="676275"/>
                    <a:pt x="2022475" y="676275"/>
                  </a:cubicBezTo>
                  <a:cubicBezTo>
                    <a:pt x="2019965" y="680040"/>
                    <a:pt x="2007711" y="701120"/>
                    <a:pt x="2000250" y="704850"/>
                  </a:cubicBezTo>
                  <a:cubicBezTo>
                    <a:pt x="1995423" y="707263"/>
                    <a:pt x="1989610" y="706716"/>
                    <a:pt x="1984375" y="708025"/>
                  </a:cubicBezTo>
                  <a:cubicBezTo>
                    <a:pt x="1981128" y="708837"/>
                    <a:pt x="1978025" y="710142"/>
                    <a:pt x="1974850" y="711200"/>
                  </a:cubicBezTo>
                  <a:cubicBezTo>
                    <a:pt x="1964939" y="709961"/>
                    <a:pt x="1947929" y="711680"/>
                    <a:pt x="1939925" y="701675"/>
                  </a:cubicBezTo>
                  <a:cubicBezTo>
                    <a:pt x="1937834" y="699062"/>
                    <a:pt x="1937808" y="695325"/>
                    <a:pt x="1936750" y="692150"/>
                  </a:cubicBezTo>
                  <a:cubicBezTo>
                    <a:pt x="1924910" y="692939"/>
                    <a:pt x="1884531" y="694431"/>
                    <a:pt x="1866900" y="698500"/>
                  </a:cubicBezTo>
                  <a:cubicBezTo>
                    <a:pt x="1860378" y="700005"/>
                    <a:pt x="1847850" y="704850"/>
                    <a:pt x="1847850" y="704850"/>
                  </a:cubicBezTo>
                  <a:cubicBezTo>
                    <a:pt x="1822450" y="721783"/>
                    <a:pt x="1853142" y="699558"/>
                    <a:pt x="1831975" y="720725"/>
                  </a:cubicBezTo>
                  <a:cubicBezTo>
                    <a:pt x="1829277" y="723423"/>
                    <a:pt x="1825937" y="725525"/>
                    <a:pt x="1822450" y="727075"/>
                  </a:cubicBezTo>
                  <a:cubicBezTo>
                    <a:pt x="1802710" y="735848"/>
                    <a:pt x="1795123" y="734253"/>
                    <a:pt x="1771650" y="736600"/>
                  </a:cubicBezTo>
                  <a:cubicBezTo>
                    <a:pt x="1768320" y="737710"/>
                    <a:pt x="1753719" y="741649"/>
                    <a:pt x="1752600" y="746125"/>
                  </a:cubicBezTo>
                  <a:cubicBezTo>
                    <a:pt x="1751039" y="752370"/>
                    <a:pt x="1754512" y="758862"/>
                    <a:pt x="1755775" y="765175"/>
                  </a:cubicBezTo>
                  <a:cubicBezTo>
                    <a:pt x="1758174" y="777171"/>
                    <a:pt x="1761250" y="784776"/>
                    <a:pt x="1765300" y="796925"/>
                  </a:cubicBezTo>
                  <a:lnTo>
                    <a:pt x="1768475" y="806450"/>
                  </a:lnTo>
                  <a:cubicBezTo>
                    <a:pt x="1772414" y="818268"/>
                    <a:pt x="1770057" y="827074"/>
                    <a:pt x="1774825" y="838200"/>
                  </a:cubicBezTo>
                  <a:cubicBezTo>
                    <a:pt x="1776328" y="841707"/>
                    <a:pt x="1778957" y="844620"/>
                    <a:pt x="1781175" y="847725"/>
                  </a:cubicBezTo>
                  <a:cubicBezTo>
                    <a:pt x="1804956" y="881019"/>
                    <a:pt x="1777148" y="842257"/>
                    <a:pt x="1800225" y="869950"/>
                  </a:cubicBezTo>
                  <a:cubicBezTo>
                    <a:pt x="1814320" y="886864"/>
                    <a:pt x="1800204" y="871817"/>
                    <a:pt x="1809750" y="889000"/>
                  </a:cubicBezTo>
                  <a:cubicBezTo>
                    <a:pt x="1813456" y="895671"/>
                    <a:pt x="1818217" y="901700"/>
                    <a:pt x="1822450" y="908050"/>
                  </a:cubicBezTo>
                  <a:cubicBezTo>
                    <a:pt x="1824306" y="910835"/>
                    <a:pt x="1824128" y="914582"/>
                    <a:pt x="1825625" y="917575"/>
                  </a:cubicBezTo>
                  <a:cubicBezTo>
                    <a:pt x="1827332" y="920988"/>
                    <a:pt x="1829858" y="923925"/>
                    <a:pt x="1831975" y="927100"/>
                  </a:cubicBezTo>
                  <a:cubicBezTo>
                    <a:pt x="1833033" y="931333"/>
                    <a:pt x="1833951" y="935604"/>
                    <a:pt x="1835150" y="939800"/>
                  </a:cubicBezTo>
                  <a:cubicBezTo>
                    <a:pt x="1836069" y="943018"/>
                    <a:pt x="1837513" y="946078"/>
                    <a:pt x="1838325" y="949325"/>
                  </a:cubicBezTo>
                  <a:cubicBezTo>
                    <a:pt x="1839634" y="954560"/>
                    <a:pt x="1838823" y="960515"/>
                    <a:pt x="1841500" y="965200"/>
                  </a:cubicBezTo>
                  <a:cubicBezTo>
                    <a:pt x="1843393" y="968513"/>
                    <a:pt x="1847850" y="969433"/>
                    <a:pt x="1851025" y="971550"/>
                  </a:cubicBezTo>
                  <a:cubicBezTo>
                    <a:pt x="1847850" y="974725"/>
                    <a:pt x="1844949" y="978200"/>
                    <a:pt x="1841500" y="981075"/>
                  </a:cubicBezTo>
                  <a:cubicBezTo>
                    <a:pt x="1838569" y="983518"/>
                    <a:pt x="1832448" y="983639"/>
                    <a:pt x="1831975" y="987425"/>
                  </a:cubicBezTo>
                  <a:cubicBezTo>
                    <a:pt x="1829748" y="1005241"/>
                    <a:pt x="1840298" y="1005427"/>
                    <a:pt x="1847850" y="1016000"/>
                  </a:cubicBezTo>
                  <a:cubicBezTo>
                    <a:pt x="1863377" y="1037738"/>
                    <a:pt x="1845552" y="1020227"/>
                    <a:pt x="1860550" y="1038225"/>
                  </a:cubicBezTo>
                  <a:cubicBezTo>
                    <a:pt x="1873199" y="1053404"/>
                    <a:pt x="1865977" y="1042748"/>
                    <a:pt x="1879600" y="1054100"/>
                  </a:cubicBezTo>
                  <a:cubicBezTo>
                    <a:pt x="1883049" y="1056975"/>
                    <a:pt x="1885950" y="1060450"/>
                    <a:pt x="1889125" y="1063625"/>
                  </a:cubicBezTo>
                  <a:cubicBezTo>
                    <a:pt x="1872192" y="1089025"/>
                    <a:pt x="1894417" y="1058333"/>
                    <a:pt x="1873250" y="1079500"/>
                  </a:cubicBezTo>
                  <a:cubicBezTo>
                    <a:pt x="1852083" y="1100667"/>
                    <a:pt x="1882775" y="1078442"/>
                    <a:pt x="1857375" y="1095375"/>
                  </a:cubicBezTo>
                  <a:cubicBezTo>
                    <a:pt x="1860263" y="1124251"/>
                    <a:pt x="1853339" y="1122703"/>
                    <a:pt x="1870075" y="1136650"/>
                  </a:cubicBezTo>
                  <a:cubicBezTo>
                    <a:pt x="1873006" y="1139093"/>
                    <a:pt x="1876425" y="1140883"/>
                    <a:pt x="1879600" y="1143000"/>
                  </a:cubicBezTo>
                  <a:cubicBezTo>
                    <a:pt x="1881717" y="1146175"/>
                    <a:pt x="1884243" y="1149112"/>
                    <a:pt x="1885950" y="1152525"/>
                  </a:cubicBezTo>
                  <a:cubicBezTo>
                    <a:pt x="1889206" y="1159038"/>
                    <a:pt x="1891160" y="1165062"/>
                    <a:pt x="1885950" y="1171575"/>
                  </a:cubicBezTo>
                  <a:cubicBezTo>
                    <a:pt x="1883566" y="1174555"/>
                    <a:pt x="1879356" y="1175482"/>
                    <a:pt x="1876425" y="1177925"/>
                  </a:cubicBezTo>
                  <a:cubicBezTo>
                    <a:pt x="1872976" y="1180800"/>
                    <a:pt x="1870075" y="1184275"/>
                    <a:pt x="1866900" y="1187450"/>
                  </a:cubicBezTo>
                  <a:cubicBezTo>
                    <a:pt x="1874880" y="1211391"/>
                    <a:pt x="1864115" y="1181881"/>
                    <a:pt x="1876425" y="1206500"/>
                  </a:cubicBezTo>
                  <a:cubicBezTo>
                    <a:pt x="1877922" y="1209493"/>
                    <a:pt x="1878542" y="1212850"/>
                    <a:pt x="1879600" y="1216025"/>
                  </a:cubicBezTo>
                  <a:cubicBezTo>
                    <a:pt x="1876425" y="1219200"/>
                    <a:pt x="1872256" y="1221625"/>
                    <a:pt x="1870075" y="1225550"/>
                  </a:cubicBezTo>
                  <a:cubicBezTo>
                    <a:pt x="1866824" y="1231401"/>
                    <a:pt x="1865842" y="1238250"/>
                    <a:pt x="1863725" y="1244600"/>
                  </a:cubicBezTo>
                  <a:lnTo>
                    <a:pt x="1857375" y="1263650"/>
                  </a:lnTo>
                  <a:cubicBezTo>
                    <a:pt x="1854962" y="1270890"/>
                    <a:pt x="1848908" y="1276350"/>
                    <a:pt x="1844675" y="1282700"/>
                  </a:cubicBezTo>
                  <a:cubicBezTo>
                    <a:pt x="1841158" y="1287976"/>
                    <a:pt x="1831058" y="1290414"/>
                    <a:pt x="1825625" y="1292225"/>
                  </a:cubicBezTo>
                  <a:cubicBezTo>
                    <a:pt x="1818217" y="1291167"/>
                    <a:pt x="1810884" y="1289050"/>
                    <a:pt x="1803400" y="1289050"/>
                  </a:cubicBezTo>
                  <a:cubicBezTo>
                    <a:pt x="1796962" y="1289050"/>
                    <a:pt x="1790595" y="1290664"/>
                    <a:pt x="1784350" y="1292225"/>
                  </a:cubicBezTo>
                  <a:lnTo>
                    <a:pt x="1755775" y="1301750"/>
                  </a:lnTo>
                  <a:cubicBezTo>
                    <a:pt x="1745685" y="1305113"/>
                    <a:pt x="1734608" y="1303867"/>
                    <a:pt x="1724025" y="1304925"/>
                  </a:cubicBezTo>
                  <a:cubicBezTo>
                    <a:pt x="1717675" y="1307042"/>
                    <a:pt x="1709708" y="1306542"/>
                    <a:pt x="1704975" y="1311275"/>
                  </a:cubicBezTo>
                  <a:cubicBezTo>
                    <a:pt x="1692752" y="1323498"/>
                    <a:pt x="1699186" y="1318309"/>
                    <a:pt x="1685925" y="1327150"/>
                  </a:cubicBezTo>
                  <a:cubicBezTo>
                    <a:pt x="1684867" y="1330325"/>
                    <a:pt x="1682750" y="1333328"/>
                    <a:pt x="1682750" y="1336675"/>
                  </a:cubicBezTo>
                  <a:cubicBezTo>
                    <a:pt x="1682750" y="1344756"/>
                    <a:pt x="1691583" y="1353744"/>
                    <a:pt x="1695450" y="1358900"/>
                  </a:cubicBezTo>
                  <a:cubicBezTo>
                    <a:pt x="1703430" y="1382841"/>
                    <a:pt x="1692665" y="1353331"/>
                    <a:pt x="1704975" y="1377950"/>
                  </a:cubicBezTo>
                  <a:cubicBezTo>
                    <a:pt x="1706472" y="1380943"/>
                    <a:pt x="1707092" y="1384300"/>
                    <a:pt x="1708150" y="1387475"/>
                  </a:cubicBezTo>
                  <a:cubicBezTo>
                    <a:pt x="1706507" y="1397331"/>
                    <a:pt x="1707266" y="1408849"/>
                    <a:pt x="1698625" y="1416050"/>
                  </a:cubicBezTo>
                  <a:cubicBezTo>
                    <a:pt x="1694989" y="1419080"/>
                    <a:pt x="1690158" y="1420283"/>
                    <a:pt x="1685925" y="1422400"/>
                  </a:cubicBezTo>
                  <a:cubicBezTo>
                    <a:pt x="1684867" y="1425575"/>
                    <a:pt x="1684606" y="1429140"/>
                    <a:pt x="1682750" y="1431925"/>
                  </a:cubicBezTo>
                  <a:cubicBezTo>
                    <a:pt x="1680259" y="1435661"/>
                    <a:pt x="1674314" y="1437094"/>
                    <a:pt x="1673225" y="1441450"/>
                  </a:cubicBezTo>
                  <a:cubicBezTo>
                    <a:pt x="1669913" y="1454698"/>
                    <a:pt x="1678523" y="1457339"/>
                    <a:pt x="1682750" y="1466850"/>
                  </a:cubicBezTo>
                  <a:cubicBezTo>
                    <a:pt x="1685468" y="1472967"/>
                    <a:pt x="1686983" y="1479550"/>
                    <a:pt x="1689100" y="1485900"/>
                  </a:cubicBezTo>
                  <a:lnTo>
                    <a:pt x="1698625" y="1514475"/>
                  </a:lnTo>
                  <a:cubicBezTo>
                    <a:pt x="1702902" y="1527305"/>
                    <a:pt x="1701200" y="1529210"/>
                    <a:pt x="1704975" y="1543050"/>
                  </a:cubicBezTo>
                  <a:cubicBezTo>
                    <a:pt x="1717060" y="1587361"/>
                    <a:pt x="1706765" y="1539298"/>
                    <a:pt x="1714500" y="1577975"/>
                  </a:cubicBezTo>
                  <a:cubicBezTo>
                    <a:pt x="1710586" y="1613203"/>
                    <a:pt x="1714356" y="1597458"/>
                    <a:pt x="1704975" y="1625600"/>
                  </a:cubicBezTo>
                  <a:cubicBezTo>
                    <a:pt x="1703768" y="1629220"/>
                    <a:pt x="1698625" y="1629833"/>
                    <a:pt x="1695450" y="1631950"/>
                  </a:cubicBezTo>
                  <a:cubicBezTo>
                    <a:pt x="1691217" y="1630892"/>
                    <a:pt x="1686946" y="1629974"/>
                    <a:pt x="1682750" y="1628775"/>
                  </a:cubicBezTo>
                  <a:cubicBezTo>
                    <a:pt x="1679532" y="1627856"/>
                    <a:pt x="1676572" y="1625600"/>
                    <a:pt x="1673225" y="1625600"/>
                  </a:cubicBezTo>
                  <a:cubicBezTo>
                    <a:pt x="1661535" y="1625600"/>
                    <a:pt x="1649942" y="1627717"/>
                    <a:pt x="1638300" y="1628775"/>
                  </a:cubicBezTo>
                  <a:cubicBezTo>
                    <a:pt x="1633008" y="1627717"/>
                    <a:pt x="1627660" y="1626909"/>
                    <a:pt x="1622425" y="1625600"/>
                  </a:cubicBezTo>
                  <a:cubicBezTo>
                    <a:pt x="1619178" y="1624788"/>
                    <a:pt x="1616247" y="1622425"/>
                    <a:pt x="1612900" y="1622425"/>
                  </a:cubicBezTo>
                  <a:cubicBezTo>
                    <a:pt x="1605416" y="1622425"/>
                    <a:pt x="1598083" y="1624542"/>
                    <a:pt x="1590675" y="1625600"/>
                  </a:cubicBezTo>
                  <a:cubicBezTo>
                    <a:pt x="1587500" y="1626658"/>
                    <a:pt x="1583517" y="1626408"/>
                    <a:pt x="1581150" y="1628775"/>
                  </a:cubicBezTo>
                  <a:cubicBezTo>
                    <a:pt x="1578783" y="1631142"/>
                    <a:pt x="1579472" y="1635307"/>
                    <a:pt x="1577975" y="1638300"/>
                  </a:cubicBezTo>
                  <a:cubicBezTo>
                    <a:pt x="1576268" y="1641713"/>
                    <a:pt x="1573332" y="1644412"/>
                    <a:pt x="1571625" y="1647825"/>
                  </a:cubicBezTo>
                  <a:cubicBezTo>
                    <a:pt x="1566567" y="1657942"/>
                    <a:pt x="1569098" y="1669726"/>
                    <a:pt x="1555750" y="1676400"/>
                  </a:cubicBezTo>
                  <a:cubicBezTo>
                    <a:pt x="1551517" y="1678517"/>
                    <a:pt x="1547109" y="1680315"/>
                    <a:pt x="1543050" y="1682750"/>
                  </a:cubicBezTo>
                  <a:cubicBezTo>
                    <a:pt x="1536506" y="1686677"/>
                    <a:pt x="1524000" y="1695450"/>
                    <a:pt x="1524000" y="1695450"/>
                  </a:cubicBezTo>
                  <a:cubicBezTo>
                    <a:pt x="1521883" y="1698625"/>
                    <a:pt x="1520630" y="1702591"/>
                    <a:pt x="1517650" y="1704975"/>
                  </a:cubicBezTo>
                  <a:cubicBezTo>
                    <a:pt x="1515037" y="1707066"/>
                    <a:pt x="1511118" y="1706653"/>
                    <a:pt x="1508125" y="1708150"/>
                  </a:cubicBezTo>
                  <a:cubicBezTo>
                    <a:pt x="1504712" y="1709857"/>
                    <a:pt x="1502087" y="1712950"/>
                    <a:pt x="1498600" y="1714500"/>
                  </a:cubicBezTo>
                  <a:cubicBezTo>
                    <a:pt x="1492483" y="1717218"/>
                    <a:pt x="1485900" y="1718733"/>
                    <a:pt x="1479550" y="1720850"/>
                  </a:cubicBezTo>
                  <a:lnTo>
                    <a:pt x="1470025" y="1724025"/>
                  </a:lnTo>
                  <a:lnTo>
                    <a:pt x="1460500" y="1727200"/>
                  </a:lnTo>
                  <a:cubicBezTo>
                    <a:pt x="1457325" y="1729317"/>
                    <a:pt x="1454462" y="1732000"/>
                    <a:pt x="1450975" y="1733550"/>
                  </a:cubicBezTo>
                  <a:cubicBezTo>
                    <a:pt x="1444858" y="1736268"/>
                    <a:pt x="1431925" y="1739900"/>
                    <a:pt x="1431925" y="1739900"/>
                  </a:cubicBezTo>
                  <a:cubicBezTo>
                    <a:pt x="1426517" y="1743506"/>
                    <a:pt x="1413638" y="1751837"/>
                    <a:pt x="1409700" y="1755775"/>
                  </a:cubicBezTo>
                  <a:cubicBezTo>
                    <a:pt x="1407002" y="1758473"/>
                    <a:pt x="1405467" y="1762125"/>
                    <a:pt x="1403350" y="1765300"/>
                  </a:cubicBezTo>
                  <a:cubicBezTo>
                    <a:pt x="1381933" y="1743883"/>
                    <a:pt x="1392819" y="1749090"/>
                    <a:pt x="1374775" y="1743075"/>
                  </a:cubicBezTo>
                  <a:cubicBezTo>
                    <a:pt x="1358900" y="1744133"/>
                    <a:pt x="1342973" y="1744584"/>
                    <a:pt x="1327150" y="1746250"/>
                  </a:cubicBezTo>
                  <a:cubicBezTo>
                    <a:pt x="1322810" y="1746707"/>
                    <a:pt x="1318081" y="1747004"/>
                    <a:pt x="1314450" y="1749425"/>
                  </a:cubicBezTo>
                  <a:cubicBezTo>
                    <a:pt x="1309174" y="1752942"/>
                    <a:pt x="1306736" y="1763042"/>
                    <a:pt x="1304925" y="1768475"/>
                  </a:cubicBezTo>
                  <a:cubicBezTo>
                    <a:pt x="1309413" y="1790914"/>
                    <a:pt x="1306393" y="1779230"/>
                    <a:pt x="1314450" y="1803400"/>
                  </a:cubicBezTo>
                  <a:lnTo>
                    <a:pt x="1317625" y="1812925"/>
                  </a:lnTo>
                  <a:cubicBezTo>
                    <a:pt x="1315508" y="1816100"/>
                    <a:pt x="1313973" y="1819752"/>
                    <a:pt x="1311275" y="1822450"/>
                  </a:cubicBezTo>
                  <a:cubicBezTo>
                    <a:pt x="1308577" y="1825148"/>
                    <a:pt x="1305536" y="1828327"/>
                    <a:pt x="1301750" y="1828800"/>
                  </a:cubicBezTo>
                  <a:cubicBezTo>
                    <a:pt x="1296177" y="1829497"/>
                    <a:pt x="1282570" y="1824523"/>
                    <a:pt x="1276350" y="1822450"/>
                  </a:cubicBezTo>
                  <a:lnTo>
                    <a:pt x="1257300" y="1809750"/>
                  </a:lnTo>
                  <a:cubicBezTo>
                    <a:pt x="1254125" y="1807633"/>
                    <a:pt x="1251395" y="1804607"/>
                    <a:pt x="1247775" y="1803400"/>
                  </a:cubicBezTo>
                  <a:lnTo>
                    <a:pt x="1238250" y="1800225"/>
                  </a:lnTo>
                  <a:cubicBezTo>
                    <a:pt x="1235779" y="1797754"/>
                    <a:pt x="1222928" y="1786148"/>
                    <a:pt x="1222375" y="1781175"/>
                  </a:cubicBezTo>
                  <a:cubicBezTo>
                    <a:pt x="1222360" y="1781039"/>
                    <a:pt x="1225459" y="1756683"/>
                    <a:pt x="1228725" y="1752600"/>
                  </a:cubicBezTo>
                  <a:cubicBezTo>
                    <a:pt x="1231717" y="1748860"/>
                    <a:pt x="1247825" y="1741462"/>
                    <a:pt x="1250950" y="1739900"/>
                  </a:cubicBezTo>
                  <a:cubicBezTo>
                    <a:pt x="1254161" y="1735084"/>
                    <a:pt x="1260475" y="1727423"/>
                    <a:pt x="1260475" y="1720850"/>
                  </a:cubicBezTo>
                  <a:cubicBezTo>
                    <a:pt x="1260475" y="1715454"/>
                    <a:pt x="1259195" y="1710028"/>
                    <a:pt x="1257300" y="1704975"/>
                  </a:cubicBezTo>
                  <a:cubicBezTo>
                    <a:pt x="1255960" y="1701402"/>
                    <a:pt x="1252500" y="1698937"/>
                    <a:pt x="1250950" y="1695450"/>
                  </a:cubicBezTo>
                  <a:cubicBezTo>
                    <a:pt x="1248232" y="1689333"/>
                    <a:pt x="1246717" y="1682750"/>
                    <a:pt x="1244600" y="1676400"/>
                  </a:cubicBezTo>
                  <a:lnTo>
                    <a:pt x="1241425" y="1666875"/>
                  </a:lnTo>
                  <a:cubicBezTo>
                    <a:pt x="1242483" y="1662642"/>
                    <a:pt x="1242179" y="1657806"/>
                    <a:pt x="1244600" y="1654175"/>
                  </a:cubicBezTo>
                  <a:cubicBezTo>
                    <a:pt x="1248668" y="1648073"/>
                    <a:pt x="1257734" y="1647186"/>
                    <a:pt x="1263650" y="1644650"/>
                  </a:cubicBezTo>
                  <a:cubicBezTo>
                    <a:pt x="1268000" y="1642786"/>
                    <a:pt x="1272117" y="1640417"/>
                    <a:pt x="1276350" y="1638300"/>
                  </a:cubicBezTo>
                  <a:cubicBezTo>
                    <a:pt x="1278467" y="1635125"/>
                    <a:pt x="1282073" y="1632539"/>
                    <a:pt x="1282700" y="1628775"/>
                  </a:cubicBezTo>
                  <a:cubicBezTo>
                    <a:pt x="1283250" y="1625474"/>
                    <a:pt x="1281022" y="1622243"/>
                    <a:pt x="1279525" y="1619250"/>
                  </a:cubicBezTo>
                  <a:cubicBezTo>
                    <a:pt x="1276941" y="1614082"/>
                    <a:pt x="1268511" y="1602901"/>
                    <a:pt x="1263650" y="1600200"/>
                  </a:cubicBezTo>
                  <a:cubicBezTo>
                    <a:pt x="1247164" y="1591041"/>
                    <a:pt x="1223370" y="1592081"/>
                    <a:pt x="1206500" y="1590675"/>
                  </a:cubicBezTo>
                  <a:cubicBezTo>
                    <a:pt x="1203982" y="1586898"/>
                    <a:pt x="1195408" y="1572688"/>
                    <a:pt x="1190625" y="1571625"/>
                  </a:cubicBezTo>
                  <a:cubicBezTo>
                    <a:pt x="1184341" y="1570228"/>
                    <a:pt x="1177925" y="1573742"/>
                    <a:pt x="1171575" y="1574800"/>
                  </a:cubicBezTo>
                  <a:cubicBezTo>
                    <a:pt x="1168400" y="1575858"/>
                    <a:pt x="1165157" y="1579218"/>
                    <a:pt x="1162050" y="1577975"/>
                  </a:cubicBezTo>
                  <a:cubicBezTo>
                    <a:pt x="1158507" y="1576558"/>
                    <a:pt x="1155954" y="1572257"/>
                    <a:pt x="1155700" y="1568450"/>
                  </a:cubicBezTo>
                  <a:cubicBezTo>
                    <a:pt x="1154852" y="1555734"/>
                    <a:pt x="1157468" y="1543016"/>
                    <a:pt x="1158875" y="1530350"/>
                  </a:cubicBezTo>
                  <a:cubicBezTo>
                    <a:pt x="1159586" y="1523952"/>
                    <a:pt x="1161071" y="1517663"/>
                    <a:pt x="1162050" y="1511300"/>
                  </a:cubicBezTo>
                  <a:cubicBezTo>
                    <a:pt x="1163350" y="1502850"/>
                    <a:pt x="1163909" y="1488533"/>
                    <a:pt x="1168400" y="1479550"/>
                  </a:cubicBezTo>
                  <a:cubicBezTo>
                    <a:pt x="1180710" y="1454931"/>
                    <a:pt x="1169945" y="1484441"/>
                    <a:pt x="1177925" y="1460500"/>
                  </a:cubicBezTo>
                  <a:cubicBezTo>
                    <a:pt x="1175343" y="1452753"/>
                    <a:pt x="1174555" y="1447605"/>
                    <a:pt x="1168400" y="1441450"/>
                  </a:cubicBezTo>
                  <a:cubicBezTo>
                    <a:pt x="1165702" y="1438752"/>
                    <a:pt x="1162288" y="1436807"/>
                    <a:pt x="1158875" y="1435100"/>
                  </a:cubicBezTo>
                  <a:cubicBezTo>
                    <a:pt x="1155882" y="1433603"/>
                    <a:pt x="1152525" y="1432983"/>
                    <a:pt x="1149350" y="1431925"/>
                  </a:cubicBezTo>
                  <a:cubicBezTo>
                    <a:pt x="1127515" y="1417369"/>
                    <a:pt x="1132713" y="1426465"/>
                    <a:pt x="1127125" y="1409700"/>
                  </a:cubicBezTo>
                  <a:cubicBezTo>
                    <a:pt x="1130174" y="1405126"/>
                    <a:pt x="1139205" y="1397011"/>
                    <a:pt x="1130300" y="1390650"/>
                  </a:cubicBezTo>
                  <a:cubicBezTo>
                    <a:pt x="1124853" y="1386759"/>
                    <a:pt x="1111250" y="1384300"/>
                    <a:pt x="1111250" y="1384300"/>
                  </a:cubicBezTo>
                  <a:cubicBezTo>
                    <a:pt x="1097975" y="1375450"/>
                    <a:pt x="1092001" y="1373266"/>
                    <a:pt x="1082675" y="1362075"/>
                  </a:cubicBezTo>
                  <a:cubicBezTo>
                    <a:pt x="1071301" y="1348426"/>
                    <a:pt x="1080310" y="1357344"/>
                    <a:pt x="1073150" y="1343025"/>
                  </a:cubicBezTo>
                  <a:cubicBezTo>
                    <a:pt x="1071443" y="1339612"/>
                    <a:pt x="1068917" y="1336675"/>
                    <a:pt x="1066800" y="1333500"/>
                  </a:cubicBezTo>
                  <a:cubicBezTo>
                    <a:pt x="1064002" y="1308319"/>
                    <a:pt x="1061319" y="1307801"/>
                    <a:pt x="1066800" y="1285875"/>
                  </a:cubicBezTo>
                  <a:cubicBezTo>
                    <a:pt x="1068423" y="1279381"/>
                    <a:pt x="1073150" y="1266825"/>
                    <a:pt x="1073150" y="1266825"/>
                  </a:cubicBezTo>
                  <a:cubicBezTo>
                    <a:pt x="1072092" y="1261533"/>
                    <a:pt x="1071870" y="1256003"/>
                    <a:pt x="1069975" y="1250950"/>
                  </a:cubicBezTo>
                  <a:cubicBezTo>
                    <a:pt x="1067650" y="1244749"/>
                    <a:pt x="1060659" y="1237043"/>
                    <a:pt x="1054100" y="1235075"/>
                  </a:cubicBezTo>
                  <a:cubicBezTo>
                    <a:pt x="1046932" y="1232925"/>
                    <a:pt x="1039257" y="1233130"/>
                    <a:pt x="1031875" y="1231900"/>
                  </a:cubicBezTo>
                  <a:cubicBezTo>
                    <a:pt x="1019783" y="1229885"/>
                    <a:pt x="1014717" y="1228404"/>
                    <a:pt x="1003300" y="1225550"/>
                  </a:cubicBezTo>
                  <a:cubicBezTo>
                    <a:pt x="998938" y="1219007"/>
                    <a:pt x="983716" y="1207034"/>
                    <a:pt x="993775" y="1196975"/>
                  </a:cubicBezTo>
                  <a:cubicBezTo>
                    <a:pt x="996142" y="1194608"/>
                    <a:pt x="1000125" y="1194858"/>
                    <a:pt x="1003300" y="1193800"/>
                  </a:cubicBezTo>
                  <a:cubicBezTo>
                    <a:pt x="1016860" y="1173460"/>
                    <a:pt x="1020307" y="1177464"/>
                    <a:pt x="1012825" y="1152525"/>
                  </a:cubicBezTo>
                  <a:cubicBezTo>
                    <a:pt x="1011729" y="1148870"/>
                    <a:pt x="1009711" y="1145022"/>
                    <a:pt x="1006475" y="1143000"/>
                  </a:cubicBezTo>
                  <a:cubicBezTo>
                    <a:pt x="1000799" y="1139452"/>
                    <a:pt x="987425" y="1136650"/>
                    <a:pt x="987425" y="1136650"/>
                  </a:cubicBezTo>
                  <a:cubicBezTo>
                    <a:pt x="983105" y="1123691"/>
                    <a:pt x="983132" y="1129452"/>
                    <a:pt x="987425" y="1114425"/>
                  </a:cubicBezTo>
                  <a:cubicBezTo>
                    <a:pt x="988344" y="1111207"/>
                    <a:pt x="988509" y="1107513"/>
                    <a:pt x="990600" y="1104900"/>
                  </a:cubicBezTo>
                  <a:cubicBezTo>
                    <a:pt x="992984" y="1101920"/>
                    <a:pt x="996950" y="1100667"/>
                    <a:pt x="1000125" y="1098550"/>
                  </a:cubicBezTo>
                  <a:cubicBezTo>
                    <a:pt x="1018117" y="1071563"/>
                    <a:pt x="988483" y="1113367"/>
                    <a:pt x="1025525" y="1076325"/>
                  </a:cubicBezTo>
                  <a:cubicBezTo>
                    <a:pt x="1037748" y="1064102"/>
                    <a:pt x="1032559" y="1070536"/>
                    <a:pt x="1041400" y="1057275"/>
                  </a:cubicBezTo>
                  <a:cubicBezTo>
                    <a:pt x="1041747" y="1051728"/>
                    <a:pt x="1048590" y="1003602"/>
                    <a:pt x="1041400" y="987425"/>
                  </a:cubicBezTo>
                  <a:cubicBezTo>
                    <a:pt x="1039576" y="983322"/>
                    <a:pt x="1035050" y="981075"/>
                    <a:pt x="1031875" y="977900"/>
                  </a:cubicBezTo>
                  <a:cubicBezTo>
                    <a:pt x="1025525" y="978958"/>
                    <a:pt x="1018932" y="979039"/>
                    <a:pt x="1012825" y="981075"/>
                  </a:cubicBezTo>
                  <a:cubicBezTo>
                    <a:pt x="1001462" y="984863"/>
                    <a:pt x="1004080" y="988929"/>
                    <a:pt x="996950" y="996950"/>
                  </a:cubicBezTo>
                  <a:cubicBezTo>
                    <a:pt x="990984" y="1003662"/>
                    <a:pt x="984250" y="1009650"/>
                    <a:pt x="977900" y="1016000"/>
                  </a:cubicBezTo>
                  <a:lnTo>
                    <a:pt x="949325" y="1035050"/>
                  </a:lnTo>
                  <a:cubicBezTo>
                    <a:pt x="943756" y="1038763"/>
                    <a:pt x="930275" y="1041400"/>
                    <a:pt x="930275" y="1041400"/>
                  </a:cubicBezTo>
                  <a:cubicBezTo>
                    <a:pt x="927100" y="1043517"/>
                    <a:pt x="924163" y="1046043"/>
                    <a:pt x="920750" y="1047750"/>
                  </a:cubicBezTo>
                  <a:cubicBezTo>
                    <a:pt x="914241" y="1051004"/>
                    <a:pt x="901388" y="1052892"/>
                    <a:pt x="895350" y="1054100"/>
                  </a:cubicBezTo>
                  <a:cubicBezTo>
                    <a:pt x="892175" y="1053042"/>
                    <a:pt x="888438" y="1053016"/>
                    <a:pt x="885825" y="1050925"/>
                  </a:cubicBezTo>
                  <a:cubicBezTo>
                    <a:pt x="882845" y="1048541"/>
                    <a:pt x="880129" y="1045159"/>
                    <a:pt x="879475" y="1041400"/>
                  </a:cubicBezTo>
                  <a:cubicBezTo>
                    <a:pt x="875830" y="1020442"/>
                    <a:pt x="875242" y="999067"/>
                    <a:pt x="873125" y="977900"/>
                  </a:cubicBezTo>
                  <a:cubicBezTo>
                    <a:pt x="873116" y="977808"/>
                    <a:pt x="868279" y="957179"/>
                    <a:pt x="866775" y="955675"/>
                  </a:cubicBezTo>
                  <a:cubicBezTo>
                    <a:pt x="864408" y="953308"/>
                    <a:pt x="860425" y="953558"/>
                    <a:pt x="857250" y="952500"/>
                  </a:cubicBezTo>
                  <a:cubicBezTo>
                    <a:pt x="848783" y="953558"/>
                    <a:pt x="840245" y="954149"/>
                    <a:pt x="831850" y="955675"/>
                  </a:cubicBezTo>
                  <a:cubicBezTo>
                    <a:pt x="819309" y="957955"/>
                    <a:pt x="824421" y="959390"/>
                    <a:pt x="812800" y="965200"/>
                  </a:cubicBezTo>
                  <a:cubicBezTo>
                    <a:pt x="809807" y="966697"/>
                    <a:pt x="806450" y="967317"/>
                    <a:pt x="803275" y="968375"/>
                  </a:cubicBezTo>
                  <a:cubicBezTo>
                    <a:pt x="798459" y="965164"/>
                    <a:pt x="790798" y="958850"/>
                    <a:pt x="784225" y="958850"/>
                  </a:cubicBezTo>
                  <a:cubicBezTo>
                    <a:pt x="777787" y="958850"/>
                    <a:pt x="771525" y="960967"/>
                    <a:pt x="765175" y="962025"/>
                  </a:cubicBezTo>
                  <a:lnTo>
                    <a:pt x="755650" y="990600"/>
                  </a:lnTo>
                  <a:cubicBezTo>
                    <a:pt x="754592" y="993775"/>
                    <a:pt x="755650" y="999067"/>
                    <a:pt x="752475" y="1000125"/>
                  </a:cubicBezTo>
                  <a:lnTo>
                    <a:pt x="742950" y="1003300"/>
                  </a:lnTo>
                  <a:cubicBezTo>
                    <a:pt x="739775" y="1005417"/>
                    <a:pt x="737228" y="1009333"/>
                    <a:pt x="733425" y="1009650"/>
                  </a:cubicBezTo>
                  <a:cubicBezTo>
                    <a:pt x="716411" y="1011068"/>
                    <a:pt x="708743" y="1007773"/>
                    <a:pt x="695325" y="1003300"/>
                  </a:cubicBezTo>
                  <a:cubicBezTo>
                    <a:pt x="693208" y="1006475"/>
                    <a:pt x="689602" y="1009061"/>
                    <a:pt x="688975" y="1012825"/>
                  </a:cubicBezTo>
                  <a:cubicBezTo>
                    <a:pt x="688425" y="1016126"/>
                    <a:pt x="689783" y="1019983"/>
                    <a:pt x="692150" y="1022350"/>
                  </a:cubicBezTo>
                  <a:cubicBezTo>
                    <a:pt x="697546" y="1027746"/>
                    <a:pt x="704850" y="1030817"/>
                    <a:pt x="711200" y="1035050"/>
                  </a:cubicBezTo>
                  <a:cubicBezTo>
                    <a:pt x="723510" y="1043256"/>
                    <a:pt x="717105" y="1040193"/>
                    <a:pt x="730250" y="1044575"/>
                  </a:cubicBezTo>
                  <a:cubicBezTo>
                    <a:pt x="745441" y="1067361"/>
                    <a:pt x="737554" y="1058229"/>
                    <a:pt x="752475" y="1073150"/>
                  </a:cubicBezTo>
                  <a:cubicBezTo>
                    <a:pt x="753533" y="1076325"/>
                    <a:pt x="754924" y="1079408"/>
                    <a:pt x="755650" y="1082675"/>
                  </a:cubicBezTo>
                  <a:cubicBezTo>
                    <a:pt x="757047" y="1088959"/>
                    <a:pt x="757562" y="1095412"/>
                    <a:pt x="758825" y="1101725"/>
                  </a:cubicBezTo>
                  <a:cubicBezTo>
                    <a:pt x="759681" y="1106004"/>
                    <a:pt x="760942" y="1110192"/>
                    <a:pt x="762000" y="1114425"/>
                  </a:cubicBezTo>
                  <a:cubicBezTo>
                    <a:pt x="760296" y="1122945"/>
                    <a:pt x="757079" y="1142444"/>
                    <a:pt x="752475" y="1149350"/>
                  </a:cubicBezTo>
                  <a:lnTo>
                    <a:pt x="746125" y="1158875"/>
                  </a:lnTo>
                  <a:cubicBezTo>
                    <a:pt x="744227" y="1168365"/>
                    <a:pt x="739917" y="1178137"/>
                    <a:pt x="746125" y="1187450"/>
                  </a:cubicBezTo>
                  <a:cubicBezTo>
                    <a:pt x="748242" y="1190625"/>
                    <a:pt x="752475" y="1191683"/>
                    <a:pt x="755650" y="1193800"/>
                  </a:cubicBezTo>
                  <a:cubicBezTo>
                    <a:pt x="756708" y="1196975"/>
                    <a:pt x="758825" y="1199978"/>
                    <a:pt x="758825" y="1203325"/>
                  </a:cubicBezTo>
                  <a:cubicBezTo>
                    <a:pt x="758825" y="1210612"/>
                    <a:pt x="754485" y="1220365"/>
                    <a:pt x="749300" y="1225550"/>
                  </a:cubicBezTo>
                  <a:cubicBezTo>
                    <a:pt x="746602" y="1228248"/>
                    <a:pt x="742950" y="1229783"/>
                    <a:pt x="739775" y="1231900"/>
                  </a:cubicBezTo>
                  <a:cubicBezTo>
                    <a:pt x="737658" y="1235075"/>
                    <a:pt x="736968" y="1240008"/>
                    <a:pt x="733425" y="1241425"/>
                  </a:cubicBezTo>
                  <a:cubicBezTo>
                    <a:pt x="730318" y="1242668"/>
                    <a:pt x="726826" y="1239875"/>
                    <a:pt x="723900" y="1238250"/>
                  </a:cubicBezTo>
                  <a:cubicBezTo>
                    <a:pt x="717229" y="1234544"/>
                    <a:pt x="704850" y="1225550"/>
                    <a:pt x="704850" y="1225550"/>
                  </a:cubicBezTo>
                  <a:cubicBezTo>
                    <a:pt x="691092" y="1226608"/>
                    <a:pt x="677205" y="1226573"/>
                    <a:pt x="663575" y="1228725"/>
                  </a:cubicBezTo>
                  <a:cubicBezTo>
                    <a:pt x="656963" y="1229769"/>
                    <a:pt x="644525" y="1235075"/>
                    <a:pt x="644525" y="1235075"/>
                  </a:cubicBezTo>
                  <a:cubicBezTo>
                    <a:pt x="641350" y="1238250"/>
                    <a:pt x="638449" y="1241725"/>
                    <a:pt x="635000" y="1244600"/>
                  </a:cubicBezTo>
                  <a:cubicBezTo>
                    <a:pt x="632069" y="1247043"/>
                    <a:pt x="628173" y="1248252"/>
                    <a:pt x="625475" y="1250950"/>
                  </a:cubicBezTo>
                  <a:cubicBezTo>
                    <a:pt x="611114" y="1265311"/>
                    <a:pt x="628143" y="1257469"/>
                    <a:pt x="609600" y="1263650"/>
                  </a:cubicBezTo>
                  <a:cubicBezTo>
                    <a:pt x="606425" y="1265767"/>
                    <a:pt x="603488" y="1268293"/>
                    <a:pt x="600075" y="1270000"/>
                  </a:cubicBezTo>
                  <a:cubicBezTo>
                    <a:pt x="587761" y="1276157"/>
                    <a:pt x="584226" y="1272272"/>
                    <a:pt x="568325" y="1270000"/>
                  </a:cubicBezTo>
                  <a:cubicBezTo>
                    <a:pt x="567495" y="1270207"/>
                    <a:pt x="548170" y="1274694"/>
                    <a:pt x="546100" y="1276350"/>
                  </a:cubicBezTo>
                  <a:cubicBezTo>
                    <a:pt x="543120" y="1278734"/>
                    <a:pt x="541867" y="1282700"/>
                    <a:pt x="539750" y="1285875"/>
                  </a:cubicBezTo>
                  <a:cubicBezTo>
                    <a:pt x="530034" y="1283446"/>
                    <a:pt x="524834" y="1283659"/>
                    <a:pt x="517525" y="1276350"/>
                  </a:cubicBezTo>
                  <a:cubicBezTo>
                    <a:pt x="514827" y="1273652"/>
                    <a:pt x="513292" y="1270000"/>
                    <a:pt x="511175" y="1266825"/>
                  </a:cubicBezTo>
                  <a:cubicBezTo>
                    <a:pt x="514594" y="1253150"/>
                    <a:pt x="512134" y="1253732"/>
                    <a:pt x="523875" y="1244600"/>
                  </a:cubicBezTo>
                  <a:cubicBezTo>
                    <a:pt x="529899" y="1239915"/>
                    <a:pt x="542925" y="1231900"/>
                    <a:pt x="542925" y="1231900"/>
                  </a:cubicBezTo>
                  <a:cubicBezTo>
                    <a:pt x="545042" y="1228725"/>
                    <a:pt x="548648" y="1226139"/>
                    <a:pt x="549275" y="1222375"/>
                  </a:cubicBezTo>
                  <a:cubicBezTo>
                    <a:pt x="549825" y="1219074"/>
                    <a:pt x="547019" y="1216068"/>
                    <a:pt x="546100" y="1212850"/>
                  </a:cubicBezTo>
                  <a:cubicBezTo>
                    <a:pt x="544901" y="1208654"/>
                    <a:pt x="544876" y="1204053"/>
                    <a:pt x="542925" y="1200150"/>
                  </a:cubicBezTo>
                  <a:cubicBezTo>
                    <a:pt x="521090" y="1156481"/>
                    <a:pt x="535830" y="1197915"/>
                    <a:pt x="527050" y="1171575"/>
                  </a:cubicBezTo>
                  <a:cubicBezTo>
                    <a:pt x="534060" y="1143536"/>
                    <a:pt x="527152" y="1173931"/>
                    <a:pt x="533400" y="1123950"/>
                  </a:cubicBezTo>
                  <a:cubicBezTo>
                    <a:pt x="534069" y="1118595"/>
                    <a:pt x="534162" y="1112902"/>
                    <a:pt x="536575" y="1108075"/>
                  </a:cubicBezTo>
                  <a:cubicBezTo>
                    <a:pt x="538583" y="1104059"/>
                    <a:pt x="542925" y="1101725"/>
                    <a:pt x="546100" y="1098550"/>
                  </a:cubicBezTo>
                  <a:cubicBezTo>
                    <a:pt x="543605" y="1083581"/>
                    <a:pt x="543539" y="1080062"/>
                    <a:pt x="539750" y="1066800"/>
                  </a:cubicBezTo>
                  <a:cubicBezTo>
                    <a:pt x="538831" y="1063582"/>
                    <a:pt x="538942" y="1059642"/>
                    <a:pt x="536575" y="1057275"/>
                  </a:cubicBezTo>
                  <a:cubicBezTo>
                    <a:pt x="534208" y="1054908"/>
                    <a:pt x="530358" y="1054609"/>
                    <a:pt x="527050" y="1054100"/>
                  </a:cubicBezTo>
                  <a:cubicBezTo>
                    <a:pt x="516538" y="1052483"/>
                    <a:pt x="505818" y="1052503"/>
                    <a:pt x="495300" y="1050925"/>
                  </a:cubicBezTo>
                  <a:cubicBezTo>
                    <a:pt x="484626" y="1049324"/>
                    <a:pt x="463550" y="1044575"/>
                    <a:pt x="463550" y="1044575"/>
                  </a:cubicBezTo>
                  <a:cubicBezTo>
                    <a:pt x="460375" y="1042458"/>
                    <a:pt x="456538" y="1041097"/>
                    <a:pt x="454025" y="1038225"/>
                  </a:cubicBezTo>
                  <a:cubicBezTo>
                    <a:pt x="448999" y="1032482"/>
                    <a:pt x="445558" y="1025525"/>
                    <a:pt x="441325" y="1019175"/>
                  </a:cubicBezTo>
                  <a:lnTo>
                    <a:pt x="428625" y="1000125"/>
                  </a:lnTo>
                  <a:cubicBezTo>
                    <a:pt x="426134" y="996389"/>
                    <a:pt x="422549" y="993475"/>
                    <a:pt x="419100" y="990600"/>
                  </a:cubicBezTo>
                  <a:cubicBezTo>
                    <a:pt x="416169" y="988157"/>
                    <a:pt x="412988" y="985957"/>
                    <a:pt x="409575" y="984250"/>
                  </a:cubicBezTo>
                  <a:cubicBezTo>
                    <a:pt x="404500" y="981712"/>
                    <a:pt x="392097" y="979256"/>
                    <a:pt x="387350" y="977900"/>
                  </a:cubicBezTo>
                  <a:cubicBezTo>
                    <a:pt x="384132" y="976981"/>
                    <a:pt x="381000" y="975783"/>
                    <a:pt x="377825" y="974725"/>
                  </a:cubicBezTo>
                  <a:cubicBezTo>
                    <a:pt x="378883" y="987425"/>
                    <a:pt x="379316" y="1000193"/>
                    <a:pt x="381000" y="1012825"/>
                  </a:cubicBezTo>
                  <a:cubicBezTo>
                    <a:pt x="382754" y="1025977"/>
                    <a:pt x="388639" y="1019772"/>
                    <a:pt x="381000" y="1035050"/>
                  </a:cubicBezTo>
                  <a:cubicBezTo>
                    <a:pt x="377587" y="1041876"/>
                    <a:pt x="372533" y="1047750"/>
                    <a:pt x="368300" y="1054100"/>
                  </a:cubicBezTo>
                  <a:cubicBezTo>
                    <a:pt x="365365" y="1058503"/>
                    <a:pt x="360333" y="1061258"/>
                    <a:pt x="355600" y="1063625"/>
                  </a:cubicBezTo>
                  <a:lnTo>
                    <a:pt x="327025" y="1073150"/>
                  </a:lnTo>
                  <a:lnTo>
                    <a:pt x="317500" y="1076325"/>
                  </a:lnTo>
                  <a:lnTo>
                    <a:pt x="307975" y="1079500"/>
                  </a:lnTo>
                  <a:cubicBezTo>
                    <a:pt x="304800" y="1081617"/>
                    <a:pt x="301937" y="1084300"/>
                    <a:pt x="298450" y="1085850"/>
                  </a:cubicBezTo>
                  <a:cubicBezTo>
                    <a:pt x="292333" y="1088568"/>
                    <a:pt x="279400" y="1092200"/>
                    <a:pt x="279400" y="1092200"/>
                  </a:cubicBezTo>
                  <a:cubicBezTo>
                    <a:pt x="276225" y="1094317"/>
                    <a:pt x="272806" y="1096107"/>
                    <a:pt x="269875" y="1098550"/>
                  </a:cubicBezTo>
                  <a:cubicBezTo>
                    <a:pt x="261330" y="1105671"/>
                    <a:pt x="260960" y="1109920"/>
                    <a:pt x="250825" y="1114425"/>
                  </a:cubicBezTo>
                  <a:cubicBezTo>
                    <a:pt x="237642" y="1120284"/>
                    <a:pt x="229481" y="1121234"/>
                    <a:pt x="215900" y="1123950"/>
                  </a:cubicBezTo>
                  <a:cubicBezTo>
                    <a:pt x="189633" y="1122637"/>
                    <a:pt x="156766" y="1138039"/>
                    <a:pt x="146050" y="1111250"/>
                  </a:cubicBezTo>
                  <a:cubicBezTo>
                    <a:pt x="145264" y="1109285"/>
                    <a:pt x="146050" y="1107017"/>
                    <a:pt x="152400" y="1123950"/>
                  </a:cubicBezTo>
                  <a:close/>
                </a:path>
              </a:pathLst>
            </a:custGeom>
            <a:grp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rtl="0" eaLnBrk="0" fontAlgn="base" hangingPunct="0">
                <a:spcBef>
                  <a:spcPct val="50000"/>
                </a:spcBef>
                <a:spcAft>
                  <a:spcPct val="0"/>
                </a:spcAft>
              </a:pPr>
              <a:endParaRPr lang="en-US" sz="900">
                <a:solidFill>
                  <a:srgbClr val="000000"/>
                </a:solidFill>
                <a:latin typeface="Arial" charset="0"/>
              </a:endParaRPr>
            </a:p>
          </p:txBody>
        </p:sp>
        <p:sp>
          <p:nvSpPr>
            <p:cNvPr id="49" name="Freeform 49">
              <a:extLst>
                <a:ext uri="{FF2B5EF4-FFF2-40B4-BE49-F238E27FC236}">
                  <a16:creationId xmlns:a16="http://schemas.microsoft.com/office/drawing/2014/main" id="{06E9C000-A0BA-4265-B638-2DB9824ADB69}"/>
                </a:ext>
              </a:extLst>
            </p:cNvPr>
            <p:cNvSpPr/>
            <p:nvPr>
              <p:custDataLst>
                <p:tags r:id="rId4"/>
              </p:custDataLst>
            </p:nvPr>
          </p:nvSpPr>
          <p:spPr bwMode="gray">
            <a:xfrm>
              <a:off x="3014479" y="1942448"/>
              <a:ext cx="72418" cy="54842"/>
            </a:xfrm>
            <a:custGeom>
              <a:avLst/>
              <a:gdLst>
                <a:gd name="connsiteX0" fmla="*/ 47995 w 72418"/>
                <a:gd name="connsiteY0" fmla="*/ 652 h 54842"/>
                <a:gd name="connsiteX1" fmla="*/ 3545 w 72418"/>
                <a:gd name="connsiteY1" fmla="*/ 3827 h 54842"/>
                <a:gd name="connsiteX2" fmla="*/ 370 w 72418"/>
                <a:gd name="connsiteY2" fmla="*/ 13352 h 54842"/>
                <a:gd name="connsiteX3" fmla="*/ 16245 w 72418"/>
                <a:gd name="connsiteY3" fmla="*/ 38752 h 54842"/>
                <a:gd name="connsiteX4" fmla="*/ 38470 w 72418"/>
                <a:gd name="connsiteY4" fmla="*/ 54627 h 54842"/>
                <a:gd name="connsiteX5" fmla="*/ 60695 w 72418"/>
                <a:gd name="connsiteY5" fmla="*/ 29227 h 54842"/>
                <a:gd name="connsiteX6" fmla="*/ 60695 w 72418"/>
                <a:gd name="connsiteY6" fmla="*/ 10177 h 54842"/>
                <a:gd name="connsiteX7" fmla="*/ 47995 w 72418"/>
                <a:gd name="connsiteY7" fmla="*/ 7002 h 54842"/>
                <a:gd name="connsiteX8" fmla="*/ 47995 w 72418"/>
                <a:gd name="connsiteY8" fmla="*/ 652 h 54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418" h="54842">
                  <a:moveTo>
                    <a:pt x="47995" y="652"/>
                  </a:moveTo>
                  <a:cubicBezTo>
                    <a:pt x="40587" y="123"/>
                    <a:pt x="17898" y="0"/>
                    <a:pt x="3545" y="3827"/>
                  </a:cubicBezTo>
                  <a:cubicBezTo>
                    <a:pt x="311" y="4689"/>
                    <a:pt x="0" y="10026"/>
                    <a:pt x="370" y="13352"/>
                  </a:cubicBezTo>
                  <a:cubicBezTo>
                    <a:pt x="2915" y="36259"/>
                    <a:pt x="4008" y="28554"/>
                    <a:pt x="16245" y="38752"/>
                  </a:cubicBezTo>
                  <a:cubicBezTo>
                    <a:pt x="35553" y="54842"/>
                    <a:pt x="14970" y="42877"/>
                    <a:pt x="38470" y="54627"/>
                  </a:cubicBezTo>
                  <a:cubicBezTo>
                    <a:pt x="53287" y="32402"/>
                    <a:pt x="44820" y="39810"/>
                    <a:pt x="60695" y="29227"/>
                  </a:cubicBezTo>
                  <a:cubicBezTo>
                    <a:pt x="65905" y="21412"/>
                    <a:pt x="72418" y="17992"/>
                    <a:pt x="60695" y="10177"/>
                  </a:cubicBezTo>
                  <a:cubicBezTo>
                    <a:pt x="57064" y="7756"/>
                    <a:pt x="52191" y="8201"/>
                    <a:pt x="47995" y="7002"/>
                  </a:cubicBezTo>
                  <a:cubicBezTo>
                    <a:pt x="44777" y="6083"/>
                    <a:pt x="55403" y="1181"/>
                    <a:pt x="47995" y="652"/>
                  </a:cubicBezTo>
                  <a:close/>
                </a:path>
              </a:pathLst>
            </a:custGeom>
            <a:grp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rtl="0" eaLnBrk="0" fontAlgn="base" hangingPunct="0">
                <a:spcBef>
                  <a:spcPct val="50000"/>
                </a:spcBef>
                <a:spcAft>
                  <a:spcPct val="0"/>
                </a:spcAft>
              </a:pPr>
              <a:endParaRPr lang="en-US" sz="900">
                <a:solidFill>
                  <a:srgbClr val="000000"/>
                </a:solidFill>
                <a:latin typeface="Arial" charset="0"/>
              </a:endParaRPr>
            </a:p>
          </p:txBody>
        </p:sp>
        <p:sp>
          <p:nvSpPr>
            <p:cNvPr id="50" name="Freeform 50">
              <a:extLst>
                <a:ext uri="{FF2B5EF4-FFF2-40B4-BE49-F238E27FC236}">
                  <a16:creationId xmlns:a16="http://schemas.microsoft.com/office/drawing/2014/main" id="{3528797B-CC21-4738-94F6-D2CE7CADE7C7}"/>
                </a:ext>
              </a:extLst>
            </p:cNvPr>
            <p:cNvSpPr/>
            <p:nvPr>
              <p:custDataLst>
                <p:tags r:id="rId5"/>
              </p:custDataLst>
            </p:nvPr>
          </p:nvSpPr>
          <p:spPr bwMode="gray">
            <a:xfrm>
              <a:off x="3103749" y="1890150"/>
              <a:ext cx="105523" cy="27550"/>
            </a:xfrm>
            <a:custGeom>
              <a:avLst/>
              <a:gdLst>
                <a:gd name="connsiteX0" fmla="*/ 3175 w 105523"/>
                <a:gd name="connsiteY0" fmla="*/ 8500 h 27550"/>
                <a:gd name="connsiteX1" fmla="*/ 22225 w 105523"/>
                <a:gd name="connsiteY1" fmla="*/ 5325 h 27550"/>
                <a:gd name="connsiteX2" fmla="*/ 34925 w 105523"/>
                <a:gd name="connsiteY2" fmla="*/ 2150 h 27550"/>
                <a:gd name="connsiteX3" fmla="*/ 69850 w 105523"/>
                <a:gd name="connsiteY3" fmla="*/ 8500 h 27550"/>
                <a:gd name="connsiteX4" fmla="*/ 98425 w 105523"/>
                <a:gd name="connsiteY4" fmla="*/ 11675 h 27550"/>
                <a:gd name="connsiteX5" fmla="*/ 104775 w 105523"/>
                <a:gd name="connsiteY5" fmla="*/ 21200 h 27550"/>
                <a:gd name="connsiteX6" fmla="*/ 95250 w 105523"/>
                <a:gd name="connsiteY6" fmla="*/ 27550 h 27550"/>
                <a:gd name="connsiteX7" fmla="*/ 19050 w 105523"/>
                <a:gd name="connsiteY7" fmla="*/ 24375 h 27550"/>
                <a:gd name="connsiteX8" fmla="*/ 3175 w 105523"/>
                <a:gd name="connsiteY8" fmla="*/ 11675 h 27550"/>
                <a:gd name="connsiteX9" fmla="*/ 3175 w 105523"/>
                <a:gd name="connsiteY9" fmla="*/ 8500 h 2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523" h="27550">
                  <a:moveTo>
                    <a:pt x="3175" y="8500"/>
                  </a:moveTo>
                  <a:cubicBezTo>
                    <a:pt x="6350" y="7442"/>
                    <a:pt x="15912" y="6588"/>
                    <a:pt x="22225" y="5325"/>
                  </a:cubicBezTo>
                  <a:cubicBezTo>
                    <a:pt x="26504" y="4469"/>
                    <a:pt x="30561" y="2150"/>
                    <a:pt x="34925" y="2150"/>
                  </a:cubicBezTo>
                  <a:cubicBezTo>
                    <a:pt x="58216" y="2150"/>
                    <a:pt x="51787" y="5721"/>
                    <a:pt x="69850" y="8500"/>
                  </a:cubicBezTo>
                  <a:cubicBezTo>
                    <a:pt x="79322" y="9957"/>
                    <a:pt x="88900" y="10617"/>
                    <a:pt x="98425" y="11675"/>
                  </a:cubicBezTo>
                  <a:cubicBezTo>
                    <a:pt x="100542" y="14850"/>
                    <a:pt x="105523" y="17458"/>
                    <a:pt x="104775" y="21200"/>
                  </a:cubicBezTo>
                  <a:cubicBezTo>
                    <a:pt x="104027" y="24942"/>
                    <a:pt x="99063" y="27409"/>
                    <a:pt x="95250" y="27550"/>
                  </a:cubicBezTo>
                  <a:lnTo>
                    <a:pt x="19050" y="24375"/>
                  </a:lnTo>
                  <a:cubicBezTo>
                    <a:pt x="15040" y="23038"/>
                    <a:pt x="966" y="20513"/>
                    <a:pt x="3175" y="11675"/>
                  </a:cubicBezTo>
                  <a:cubicBezTo>
                    <a:pt x="6094" y="0"/>
                    <a:pt x="0" y="9558"/>
                    <a:pt x="3175" y="8500"/>
                  </a:cubicBezTo>
                  <a:close/>
                </a:path>
              </a:pathLst>
            </a:custGeom>
            <a:grp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rtl="0" eaLnBrk="0" fontAlgn="base" hangingPunct="0">
                <a:spcBef>
                  <a:spcPct val="50000"/>
                </a:spcBef>
                <a:spcAft>
                  <a:spcPct val="0"/>
                </a:spcAft>
              </a:pPr>
              <a:endParaRPr lang="en-US" sz="900">
                <a:solidFill>
                  <a:srgbClr val="000000"/>
                </a:solidFill>
                <a:latin typeface="Arial" charset="0"/>
              </a:endParaRPr>
            </a:p>
          </p:txBody>
        </p:sp>
        <p:sp>
          <p:nvSpPr>
            <p:cNvPr id="51" name="Freeform 51">
              <a:extLst>
                <a:ext uri="{FF2B5EF4-FFF2-40B4-BE49-F238E27FC236}">
                  <a16:creationId xmlns:a16="http://schemas.microsoft.com/office/drawing/2014/main" id="{071DBA3D-FEFE-4821-9CA7-0AC4FC78791F}"/>
                </a:ext>
              </a:extLst>
            </p:cNvPr>
            <p:cNvSpPr/>
            <p:nvPr>
              <p:custDataLst>
                <p:tags r:id="rId6"/>
              </p:custDataLst>
            </p:nvPr>
          </p:nvSpPr>
          <p:spPr bwMode="gray">
            <a:xfrm>
              <a:off x="3222812" y="1844675"/>
              <a:ext cx="277812" cy="57809"/>
            </a:xfrm>
            <a:custGeom>
              <a:avLst/>
              <a:gdLst>
                <a:gd name="connsiteX0" fmla="*/ 1587 w 277812"/>
                <a:gd name="connsiteY0" fmla="*/ 41275 h 57809"/>
                <a:gd name="connsiteX1" fmla="*/ 11112 w 277812"/>
                <a:gd name="connsiteY1" fmla="*/ 34925 h 57809"/>
                <a:gd name="connsiteX2" fmla="*/ 20637 w 277812"/>
                <a:gd name="connsiteY2" fmla="*/ 25400 h 57809"/>
                <a:gd name="connsiteX3" fmla="*/ 30162 w 277812"/>
                <a:gd name="connsiteY3" fmla="*/ 22225 h 57809"/>
                <a:gd name="connsiteX4" fmla="*/ 80962 w 277812"/>
                <a:gd name="connsiteY4" fmla="*/ 28575 h 57809"/>
                <a:gd name="connsiteX5" fmla="*/ 90487 w 277812"/>
                <a:gd name="connsiteY5" fmla="*/ 31750 h 57809"/>
                <a:gd name="connsiteX6" fmla="*/ 131762 w 277812"/>
                <a:gd name="connsiteY6" fmla="*/ 22225 h 57809"/>
                <a:gd name="connsiteX7" fmla="*/ 141287 w 277812"/>
                <a:gd name="connsiteY7" fmla="*/ 19050 h 57809"/>
                <a:gd name="connsiteX8" fmla="*/ 150812 w 277812"/>
                <a:gd name="connsiteY8" fmla="*/ 15875 h 57809"/>
                <a:gd name="connsiteX9" fmla="*/ 198437 w 277812"/>
                <a:gd name="connsiteY9" fmla="*/ 19050 h 57809"/>
                <a:gd name="connsiteX10" fmla="*/ 223837 w 277812"/>
                <a:gd name="connsiteY10" fmla="*/ 9525 h 57809"/>
                <a:gd name="connsiteX11" fmla="*/ 233362 w 277812"/>
                <a:gd name="connsiteY11" fmla="*/ 3175 h 57809"/>
                <a:gd name="connsiteX12" fmla="*/ 242887 w 277812"/>
                <a:gd name="connsiteY12" fmla="*/ 0 h 57809"/>
                <a:gd name="connsiteX13" fmla="*/ 277812 w 277812"/>
                <a:gd name="connsiteY13" fmla="*/ 9525 h 57809"/>
                <a:gd name="connsiteX14" fmla="*/ 239712 w 277812"/>
                <a:gd name="connsiteY14" fmla="*/ 19050 h 57809"/>
                <a:gd name="connsiteX15" fmla="*/ 214312 w 277812"/>
                <a:gd name="connsiteY15" fmla="*/ 25400 h 57809"/>
                <a:gd name="connsiteX16" fmla="*/ 188912 w 277812"/>
                <a:gd name="connsiteY16" fmla="*/ 22225 h 57809"/>
                <a:gd name="connsiteX17" fmla="*/ 179387 w 277812"/>
                <a:gd name="connsiteY17" fmla="*/ 19050 h 57809"/>
                <a:gd name="connsiteX18" fmla="*/ 160337 w 277812"/>
                <a:gd name="connsiteY18" fmla="*/ 22225 h 57809"/>
                <a:gd name="connsiteX19" fmla="*/ 138112 w 277812"/>
                <a:gd name="connsiteY19" fmla="*/ 28575 h 57809"/>
                <a:gd name="connsiteX20" fmla="*/ 115887 w 277812"/>
                <a:gd name="connsiteY20" fmla="*/ 38100 h 57809"/>
                <a:gd name="connsiteX21" fmla="*/ 84137 w 277812"/>
                <a:gd name="connsiteY21" fmla="*/ 31750 h 57809"/>
                <a:gd name="connsiteX22" fmla="*/ 55562 w 277812"/>
                <a:gd name="connsiteY22" fmla="*/ 34925 h 57809"/>
                <a:gd name="connsiteX23" fmla="*/ 20637 w 277812"/>
                <a:gd name="connsiteY23" fmla="*/ 41275 h 57809"/>
                <a:gd name="connsiteX24" fmla="*/ 4762 w 277812"/>
                <a:gd name="connsiteY24" fmla="*/ 53975 h 57809"/>
                <a:gd name="connsiteX25" fmla="*/ 1587 w 277812"/>
                <a:gd name="connsiteY25" fmla="*/ 44450 h 57809"/>
                <a:gd name="connsiteX26" fmla="*/ 1587 w 277812"/>
                <a:gd name="connsiteY26" fmla="*/ 41275 h 57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77812" h="57809">
                  <a:moveTo>
                    <a:pt x="1587" y="41275"/>
                  </a:moveTo>
                  <a:cubicBezTo>
                    <a:pt x="3174" y="39688"/>
                    <a:pt x="8181" y="37368"/>
                    <a:pt x="11112" y="34925"/>
                  </a:cubicBezTo>
                  <a:cubicBezTo>
                    <a:pt x="14561" y="32050"/>
                    <a:pt x="16901" y="27891"/>
                    <a:pt x="20637" y="25400"/>
                  </a:cubicBezTo>
                  <a:cubicBezTo>
                    <a:pt x="23422" y="23544"/>
                    <a:pt x="26987" y="23283"/>
                    <a:pt x="30162" y="22225"/>
                  </a:cubicBezTo>
                  <a:cubicBezTo>
                    <a:pt x="46132" y="23822"/>
                    <a:pt x="64849" y="24994"/>
                    <a:pt x="80962" y="28575"/>
                  </a:cubicBezTo>
                  <a:cubicBezTo>
                    <a:pt x="84229" y="29301"/>
                    <a:pt x="87312" y="30692"/>
                    <a:pt x="90487" y="31750"/>
                  </a:cubicBezTo>
                  <a:cubicBezTo>
                    <a:pt x="119338" y="27628"/>
                    <a:pt x="105612" y="30942"/>
                    <a:pt x="131762" y="22225"/>
                  </a:cubicBezTo>
                  <a:lnTo>
                    <a:pt x="141287" y="19050"/>
                  </a:lnTo>
                  <a:lnTo>
                    <a:pt x="150812" y="15875"/>
                  </a:lnTo>
                  <a:cubicBezTo>
                    <a:pt x="166687" y="16933"/>
                    <a:pt x="182527" y="19050"/>
                    <a:pt x="198437" y="19050"/>
                  </a:cubicBezTo>
                  <a:cubicBezTo>
                    <a:pt x="206250" y="19050"/>
                    <a:pt x="217515" y="13138"/>
                    <a:pt x="223837" y="9525"/>
                  </a:cubicBezTo>
                  <a:cubicBezTo>
                    <a:pt x="227150" y="7632"/>
                    <a:pt x="229949" y="4882"/>
                    <a:pt x="233362" y="3175"/>
                  </a:cubicBezTo>
                  <a:cubicBezTo>
                    <a:pt x="236355" y="1678"/>
                    <a:pt x="239712" y="1058"/>
                    <a:pt x="242887" y="0"/>
                  </a:cubicBezTo>
                  <a:cubicBezTo>
                    <a:pt x="271534" y="7162"/>
                    <a:pt x="260008" y="3590"/>
                    <a:pt x="277812" y="9525"/>
                  </a:cubicBezTo>
                  <a:cubicBezTo>
                    <a:pt x="259532" y="21712"/>
                    <a:pt x="274041" y="14146"/>
                    <a:pt x="239712" y="19050"/>
                  </a:cubicBezTo>
                  <a:cubicBezTo>
                    <a:pt x="226302" y="20966"/>
                    <a:pt x="225392" y="21707"/>
                    <a:pt x="214312" y="25400"/>
                  </a:cubicBezTo>
                  <a:cubicBezTo>
                    <a:pt x="205845" y="24342"/>
                    <a:pt x="197307" y="23751"/>
                    <a:pt x="188912" y="22225"/>
                  </a:cubicBezTo>
                  <a:cubicBezTo>
                    <a:pt x="185619" y="21626"/>
                    <a:pt x="182734" y="19050"/>
                    <a:pt x="179387" y="19050"/>
                  </a:cubicBezTo>
                  <a:cubicBezTo>
                    <a:pt x="172949" y="19050"/>
                    <a:pt x="166650" y="20962"/>
                    <a:pt x="160337" y="22225"/>
                  </a:cubicBezTo>
                  <a:cubicBezTo>
                    <a:pt x="150370" y="24218"/>
                    <a:pt x="147190" y="25549"/>
                    <a:pt x="138112" y="28575"/>
                  </a:cubicBezTo>
                  <a:cubicBezTo>
                    <a:pt x="131202" y="33181"/>
                    <a:pt x="125146" y="38761"/>
                    <a:pt x="115887" y="38100"/>
                  </a:cubicBezTo>
                  <a:cubicBezTo>
                    <a:pt x="105122" y="37331"/>
                    <a:pt x="84137" y="31750"/>
                    <a:pt x="84137" y="31750"/>
                  </a:cubicBezTo>
                  <a:cubicBezTo>
                    <a:pt x="74612" y="32808"/>
                    <a:pt x="65062" y="33658"/>
                    <a:pt x="55562" y="34925"/>
                  </a:cubicBezTo>
                  <a:cubicBezTo>
                    <a:pt x="43375" y="36550"/>
                    <a:pt x="32609" y="38881"/>
                    <a:pt x="20637" y="41275"/>
                  </a:cubicBezTo>
                  <a:cubicBezTo>
                    <a:pt x="18675" y="44217"/>
                    <a:pt x="12430" y="57809"/>
                    <a:pt x="4762" y="53975"/>
                  </a:cubicBezTo>
                  <a:cubicBezTo>
                    <a:pt x="1769" y="52478"/>
                    <a:pt x="2399" y="47697"/>
                    <a:pt x="1587" y="44450"/>
                  </a:cubicBezTo>
                  <a:cubicBezTo>
                    <a:pt x="1330" y="43423"/>
                    <a:pt x="0" y="42862"/>
                    <a:pt x="1587" y="41275"/>
                  </a:cubicBezTo>
                  <a:close/>
                </a:path>
              </a:pathLst>
            </a:custGeom>
            <a:grp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rtl="0" eaLnBrk="0" fontAlgn="base" hangingPunct="0">
                <a:spcBef>
                  <a:spcPct val="50000"/>
                </a:spcBef>
                <a:spcAft>
                  <a:spcPct val="0"/>
                </a:spcAft>
              </a:pPr>
              <a:endParaRPr lang="en-US" sz="900">
                <a:solidFill>
                  <a:srgbClr val="000000"/>
                </a:solidFill>
                <a:latin typeface="Arial" charset="0"/>
              </a:endParaRPr>
            </a:p>
          </p:txBody>
        </p:sp>
        <p:sp>
          <p:nvSpPr>
            <p:cNvPr id="52" name="Freeform 52">
              <a:extLst>
                <a:ext uri="{FF2B5EF4-FFF2-40B4-BE49-F238E27FC236}">
                  <a16:creationId xmlns:a16="http://schemas.microsoft.com/office/drawing/2014/main" id="{FE758447-35DA-4DE1-BDB7-1671DCF81C84}"/>
                </a:ext>
              </a:extLst>
            </p:cNvPr>
            <p:cNvSpPr/>
            <p:nvPr>
              <p:custDataLst>
                <p:tags r:id="rId7"/>
              </p:custDataLst>
            </p:nvPr>
          </p:nvSpPr>
          <p:spPr bwMode="gray">
            <a:xfrm>
              <a:off x="3519706" y="1828250"/>
              <a:ext cx="78535" cy="48175"/>
            </a:xfrm>
            <a:custGeom>
              <a:avLst/>
              <a:gdLst>
                <a:gd name="connsiteX0" fmla="*/ 3143 w 78535"/>
                <a:gd name="connsiteY0" fmla="*/ 6900 h 48175"/>
                <a:gd name="connsiteX1" fmla="*/ 22193 w 78535"/>
                <a:gd name="connsiteY1" fmla="*/ 3725 h 48175"/>
                <a:gd name="connsiteX2" fmla="*/ 31718 w 78535"/>
                <a:gd name="connsiteY2" fmla="*/ 550 h 48175"/>
                <a:gd name="connsiteX3" fmla="*/ 41243 w 78535"/>
                <a:gd name="connsiteY3" fmla="*/ 6900 h 48175"/>
                <a:gd name="connsiteX4" fmla="*/ 53943 w 78535"/>
                <a:gd name="connsiteY4" fmla="*/ 25950 h 48175"/>
                <a:gd name="connsiteX5" fmla="*/ 72993 w 78535"/>
                <a:gd name="connsiteY5" fmla="*/ 32300 h 48175"/>
                <a:gd name="connsiteX6" fmla="*/ 76168 w 78535"/>
                <a:gd name="connsiteY6" fmla="*/ 41825 h 48175"/>
                <a:gd name="connsiteX7" fmla="*/ 57118 w 78535"/>
                <a:gd name="connsiteY7" fmla="*/ 48175 h 48175"/>
                <a:gd name="connsiteX8" fmla="*/ 44418 w 78535"/>
                <a:gd name="connsiteY8" fmla="*/ 35475 h 48175"/>
                <a:gd name="connsiteX9" fmla="*/ 25368 w 78535"/>
                <a:gd name="connsiteY9" fmla="*/ 19600 h 48175"/>
                <a:gd name="connsiteX10" fmla="*/ 3143 w 78535"/>
                <a:gd name="connsiteY10" fmla="*/ 6900 h 4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535" h="48175">
                  <a:moveTo>
                    <a:pt x="3143" y="6900"/>
                  </a:moveTo>
                  <a:cubicBezTo>
                    <a:pt x="2614" y="4254"/>
                    <a:pt x="15909" y="5122"/>
                    <a:pt x="22193" y="3725"/>
                  </a:cubicBezTo>
                  <a:cubicBezTo>
                    <a:pt x="25460" y="2999"/>
                    <a:pt x="28417" y="0"/>
                    <a:pt x="31718" y="550"/>
                  </a:cubicBezTo>
                  <a:cubicBezTo>
                    <a:pt x="35482" y="1177"/>
                    <a:pt x="38068" y="4783"/>
                    <a:pt x="41243" y="6900"/>
                  </a:cubicBezTo>
                  <a:cubicBezTo>
                    <a:pt x="44226" y="15850"/>
                    <a:pt x="44214" y="20545"/>
                    <a:pt x="53943" y="25950"/>
                  </a:cubicBezTo>
                  <a:cubicBezTo>
                    <a:pt x="59794" y="29201"/>
                    <a:pt x="72993" y="32300"/>
                    <a:pt x="72993" y="32300"/>
                  </a:cubicBezTo>
                  <a:cubicBezTo>
                    <a:pt x="74051" y="35475"/>
                    <a:pt x="78535" y="39458"/>
                    <a:pt x="76168" y="41825"/>
                  </a:cubicBezTo>
                  <a:cubicBezTo>
                    <a:pt x="71435" y="46558"/>
                    <a:pt x="57118" y="48175"/>
                    <a:pt x="57118" y="48175"/>
                  </a:cubicBezTo>
                  <a:cubicBezTo>
                    <a:pt x="51070" y="30032"/>
                    <a:pt x="58932" y="45151"/>
                    <a:pt x="44418" y="35475"/>
                  </a:cubicBezTo>
                  <a:cubicBezTo>
                    <a:pt x="36687" y="30321"/>
                    <a:pt x="34811" y="22433"/>
                    <a:pt x="25368" y="19600"/>
                  </a:cubicBezTo>
                  <a:cubicBezTo>
                    <a:pt x="0" y="11990"/>
                    <a:pt x="3672" y="9546"/>
                    <a:pt x="3143" y="6900"/>
                  </a:cubicBezTo>
                  <a:close/>
                </a:path>
              </a:pathLst>
            </a:custGeom>
            <a:grp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rtl="0" eaLnBrk="0" fontAlgn="base" hangingPunct="0">
                <a:spcBef>
                  <a:spcPct val="50000"/>
                </a:spcBef>
                <a:spcAft>
                  <a:spcPct val="0"/>
                </a:spcAft>
              </a:pPr>
              <a:endParaRPr lang="en-US" sz="900">
                <a:solidFill>
                  <a:srgbClr val="000000"/>
                </a:solidFill>
                <a:latin typeface="Arial" charset="0"/>
              </a:endParaRPr>
            </a:p>
          </p:txBody>
        </p:sp>
        <p:sp>
          <p:nvSpPr>
            <p:cNvPr id="53" name="Freeform 53">
              <a:extLst>
                <a:ext uri="{FF2B5EF4-FFF2-40B4-BE49-F238E27FC236}">
                  <a16:creationId xmlns:a16="http://schemas.microsoft.com/office/drawing/2014/main" id="{E39473D5-B4A2-48BB-8320-A1A535D61FD4}"/>
                </a:ext>
              </a:extLst>
            </p:cNvPr>
            <p:cNvSpPr/>
            <p:nvPr>
              <p:custDataLst>
                <p:tags r:id="rId8"/>
              </p:custDataLst>
            </p:nvPr>
          </p:nvSpPr>
          <p:spPr bwMode="gray">
            <a:xfrm>
              <a:off x="3827385" y="1099212"/>
              <a:ext cx="1048488" cy="1100441"/>
            </a:xfrm>
            <a:custGeom>
              <a:avLst/>
              <a:gdLst>
                <a:gd name="connsiteX0" fmla="*/ 178064 w 1048488"/>
                <a:gd name="connsiteY0" fmla="*/ 724826 h 1100441"/>
                <a:gd name="connsiteX1" fmla="*/ 154252 w 1048488"/>
                <a:gd name="connsiteY1" fmla="*/ 705776 h 1100441"/>
                <a:gd name="connsiteX2" fmla="*/ 125677 w 1048488"/>
                <a:gd name="connsiteY2" fmla="*/ 686726 h 1100441"/>
                <a:gd name="connsiteX3" fmla="*/ 116152 w 1048488"/>
                <a:gd name="connsiteY3" fmla="*/ 672438 h 1100441"/>
                <a:gd name="connsiteX4" fmla="*/ 116152 w 1048488"/>
                <a:gd name="connsiteY4" fmla="*/ 620051 h 1100441"/>
                <a:gd name="connsiteX5" fmla="*/ 130439 w 1048488"/>
                <a:gd name="connsiteY5" fmla="*/ 615288 h 1100441"/>
                <a:gd name="connsiteX6" fmla="*/ 159014 w 1048488"/>
                <a:gd name="connsiteY6" fmla="*/ 620051 h 1100441"/>
                <a:gd name="connsiteX7" fmla="*/ 168539 w 1048488"/>
                <a:gd name="connsiteY7" fmla="*/ 596238 h 1100441"/>
                <a:gd name="connsiteX8" fmla="*/ 154252 w 1048488"/>
                <a:gd name="connsiteY8" fmla="*/ 581951 h 1100441"/>
                <a:gd name="connsiteX9" fmla="*/ 135202 w 1048488"/>
                <a:gd name="connsiteY9" fmla="*/ 558138 h 1100441"/>
                <a:gd name="connsiteX10" fmla="*/ 106627 w 1048488"/>
                <a:gd name="connsiteY10" fmla="*/ 548613 h 1100441"/>
                <a:gd name="connsiteX11" fmla="*/ 111389 w 1048488"/>
                <a:gd name="connsiteY11" fmla="*/ 486701 h 1100441"/>
                <a:gd name="connsiteX12" fmla="*/ 111389 w 1048488"/>
                <a:gd name="connsiteY12" fmla="*/ 453363 h 1100441"/>
                <a:gd name="connsiteX13" fmla="*/ 97102 w 1048488"/>
                <a:gd name="connsiteY13" fmla="*/ 443838 h 1100441"/>
                <a:gd name="connsiteX14" fmla="*/ 63764 w 1048488"/>
                <a:gd name="connsiteY14" fmla="*/ 448601 h 1100441"/>
                <a:gd name="connsiteX15" fmla="*/ 35189 w 1048488"/>
                <a:gd name="connsiteY15" fmla="*/ 458126 h 1100441"/>
                <a:gd name="connsiteX16" fmla="*/ 20902 w 1048488"/>
                <a:gd name="connsiteY16" fmla="*/ 448601 h 1100441"/>
                <a:gd name="connsiteX17" fmla="*/ 16139 w 1048488"/>
                <a:gd name="connsiteY17" fmla="*/ 396213 h 1100441"/>
                <a:gd name="connsiteX18" fmla="*/ 59002 w 1048488"/>
                <a:gd name="connsiteY18" fmla="*/ 391451 h 1100441"/>
                <a:gd name="connsiteX19" fmla="*/ 54239 w 1048488"/>
                <a:gd name="connsiteY19" fmla="*/ 372401 h 1100441"/>
                <a:gd name="connsiteX20" fmla="*/ 68527 w 1048488"/>
                <a:gd name="connsiteY20" fmla="*/ 362876 h 1100441"/>
                <a:gd name="connsiteX21" fmla="*/ 144727 w 1048488"/>
                <a:gd name="connsiteY21" fmla="*/ 358113 h 1100441"/>
                <a:gd name="connsiteX22" fmla="*/ 168539 w 1048488"/>
                <a:gd name="connsiteY22" fmla="*/ 329538 h 1100441"/>
                <a:gd name="connsiteX23" fmla="*/ 178064 w 1048488"/>
                <a:gd name="connsiteY23" fmla="*/ 300963 h 1100441"/>
                <a:gd name="connsiteX24" fmla="*/ 173302 w 1048488"/>
                <a:gd name="connsiteY24" fmla="*/ 267626 h 1100441"/>
                <a:gd name="connsiteX25" fmla="*/ 149489 w 1048488"/>
                <a:gd name="connsiteY25" fmla="*/ 239051 h 1100441"/>
                <a:gd name="connsiteX26" fmla="*/ 125677 w 1048488"/>
                <a:gd name="connsiteY26" fmla="*/ 215238 h 1100441"/>
                <a:gd name="connsiteX27" fmla="*/ 116152 w 1048488"/>
                <a:gd name="connsiteY27" fmla="*/ 200951 h 1100441"/>
                <a:gd name="connsiteX28" fmla="*/ 101864 w 1048488"/>
                <a:gd name="connsiteY28" fmla="*/ 186663 h 1100441"/>
                <a:gd name="connsiteX29" fmla="*/ 97102 w 1048488"/>
                <a:gd name="connsiteY29" fmla="*/ 172376 h 1100441"/>
                <a:gd name="connsiteX30" fmla="*/ 73289 w 1048488"/>
                <a:gd name="connsiteY30" fmla="*/ 148563 h 1100441"/>
                <a:gd name="connsiteX31" fmla="*/ 63764 w 1048488"/>
                <a:gd name="connsiteY31" fmla="*/ 119988 h 1100441"/>
                <a:gd name="connsiteX32" fmla="*/ 54239 w 1048488"/>
                <a:gd name="connsiteY32" fmla="*/ 81888 h 1100441"/>
                <a:gd name="connsiteX33" fmla="*/ 39952 w 1048488"/>
                <a:gd name="connsiteY33" fmla="*/ 67601 h 1100441"/>
                <a:gd name="connsiteX34" fmla="*/ 30427 w 1048488"/>
                <a:gd name="connsiteY34" fmla="*/ 53313 h 1100441"/>
                <a:gd name="connsiteX35" fmla="*/ 49477 w 1048488"/>
                <a:gd name="connsiteY35" fmla="*/ 926 h 1100441"/>
                <a:gd name="connsiteX36" fmla="*/ 68527 w 1048488"/>
                <a:gd name="connsiteY36" fmla="*/ 5688 h 1100441"/>
                <a:gd name="connsiteX37" fmla="*/ 120914 w 1048488"/>
                <a:gd name="connsiteY37" fmla="*/ 10451 h 1100441"/>
                <a:gd name="connsiteX38" fmla="*/ 159014 w 1048488"/>
                <a:gd name="connsiteY38" fmla="*/ 15213 h 1100441"/>
                <a:gd name="connsiteX39" fmla="*/ 187589 w 1048488"/>
                <a:gd name="connsiteY39" fmla="*/ 24738 h 1100441"/>
                <a:gd name="connsiteX40" fmla="*/ 201877 w 1048488"/>
                <a:gd name="connsiteY40" fmla="*/ 34263 h 1100441"/>
                <a:gd name="connsiteX41" fmla="*/ 268552 w 1048488"/>
                <a:gd name="connsiteY41" fmla="*/ 43788 h 1100441"/>
                <a:gd name="connsiteX42" fmla="*/ 282839 w 1048488"/>
                <a:gd name="connsiteY42" fmla="*/ 53313 h 1100441"/>
                <a:gd name="connsiteX43" fmla="*/ 287602 w 1048488"/>
                <a:gd name="connsiteY43" fmla="*/ 67601 h 1100441"/>
                <a:gd name="connsiteX44" fmla="*/ 297127 w 1048488"/>
                <a:gd name="connsiteY44" fmla="*/ 81888 h 1100441"/>
                <a:gd name="connsiteX45" fmla="*/ 330464 w 1048488"/>
                <a:gd name="connsiteY45" fmla="*/ 77126 h 1100441"/>
                <a:gd name="connsiteX46" fmla="*/ 339989 w 1048488"/>
                <a:gd name="connsiteY46" fmla="*/ 62838 h 1100441"/>
                <a:gd name="connsiteX47" fmla="*/ 373327 w 1048488"/>
                <a:gd name="connsiteY47" fmla="*/ 58076 h 1100441"/>
                <a:gd name="connsiteX48" fmla="*/ 387614 w 1048488"/>
                <a:gd name="connsiteY48" fmla="*/ 48551 h 1100441"/>
                <a:gd name="connsiteX49" fmla="*/ 401902 w 1048488"/>
                <a:gd name="connsiteY49" fmla="*/ 34263 h 1100441"/>
                <a:gd name="connsiteX50" fmla="*/ 430477 w 1048488"/>
                <a:gd name="connsiteY50" fmla="*/ 24738 h 1100441"/>
                <a:gd name="connsiteX51" fmla="*/ 440002 w 1048488"/>
                <a:gd name="connsiteY51" fmla="*/ 39026 h 1100441"/>
                <a:gd name="connsiteX52" fmla="*/ 444764 w 1048488"/>
                <a:gd name="connsiteY52" fmla="*/ 58076 h 1100441"/>
                <a:gd name="connsiteX53" fmla="*/ 459052 w 1048488"/>
                <a:gd name="connsiteY53" fmla="*/ 62838 h 1100441"/>
                <a:gd name="connsiteX54" fmla="*/ 468577 w 1048488"/>
                <a:gd name="connsiteY54" fmla="*/ 77126 h 1100441"/>
                <a:gd name="connsiteX55" fmla="*/ 482864 w 1048488"/>
                <a:gd name="connsiteY55" fmla="*/ 81888 h 1100441"/>
                <a:gd name="connsiteX56" fmla="*/ 511439 w 1048488"/>
                <a:gd name="connsiteY56" fmla="*/ 96176 h 1100441"/>
                <a:gd name="connsiteX57" fmla="*/ 535252 w 1048488"/>
                <a:gd name="connsiteY57" fmla="*/ 119988 h 1100441"/>
                <a:gd name="connsiteX58" fmla="*/ 544777 w 1048488"/>
                <a:gd name="connsiteY58" fmla="*/ 105701 h 1100441"/>
                <a:gd name="connsiteX59" fmla="*/ 559064 w 1048488"/>
                <a:gd name="connsiteY59" fmla="*/ 96176 h 1100441"/>
                <a:gd name="connsiteX60" fmla="*/ 573352 w 1048488"/>
                <a:gd name="connsiteY60" fmla="*/ 100938 h 1100441"/>
                <a:gd name="connsiteX61" fmla="*/ 582877 w 1048488"/>
                <a:gd name="connsiteY61" fmla="*/ 115226 h 1100441"/>
                <a:gd name="connsiteX62" fmla="*/ 592402 w 1048488"/>
                <a:gd name="connsiteY62" fmla="*/ 148563 h 1100441"/>
                <a:gd name="connsiteX63" fmla="*/ 597164 w 1048488"/>
                <a:gd name="connsiteY63" fmla="*/ 162851 h 1100441"/>
                <a:gd name="connsiteX64" fmla="*/ 606689 w 1048488"/>
                <a:gd name="connsiteY64" fmla="*/ 220001 h 1100441"/>
                <a:gd name="connsiteX65" fmla="*/ 601927 w 1048488"/>
                <a:gd name="connsiteY65" fmla="*/ 253338 h 1100441"/>
                <a:gd name="connsiteX66" fmla="*/ 582877 w 1048488"/>
                <a:gd name="connsiteY66" fmla="*/ 281913 h 1100441"/>
                <a:gd name="connsiteX67" fmla="*/ 573352 w 1048488"/>
                <a:gd name="connsiteY67" fmla="*/ 296201 h 1100441"/>
                <a:gd name="connsiteX68" fmla="*/ 544777 w 1048488"/>
                <a:gd name="connsiteY68" fmla="*/ 305726 h 1100441"/>
                <a:gd name="connsiteX69" fmla="*/ 530489 w 1048488"/>
                <a:gd name="connsiteY69" fmla="*/ 315251 h 1100441"/>
                <a:gd name="connsiteX70" fmla="*/ 525727 w 1048488"/>
                <a:gd name="connsiteY70" fmla="*/ 329538 h 1100441"/>
                <a:gd name="connsiteX71" fmla="*/ 563827 w 1048488"/>
                <a:gd name="connsiteY71" fmla="*/ 329538 h 1100441"/>
                <a:gd name="connsiteX72" fmla="*/ 578114 w 1048488"/>
                <a:gd name="connsiteY72" fmla="*/ 320013 h 1100441"/>
                <a:gd name="connsiteX73" fmla="*/ 606689 w 1048488"/>
                <a:gd name="connsiteY73" fmla="*/ 310488 h 1100441"/>
                <a:gd name="connsiteX74" fmla="*/ 649552 w 1048488"/>
                <a:gd name="connsiteY74" fmla="*/ 315251 h 1100441"/>
                <a:gd name="connsiteX75" fmla="*/ 659077 w 1048488"/>
                <a:gd name="connsiteY75" fmla="*/ 329538 h 1100441"/>
                <a:gd name="connsiteX76" fmla="*/ 668602 w 1048488"/>
                <a:gd name="connsiteY76" fmla="*/ 367638 h 1100441"/>
                <a:gd name="connsiteX77" fmla="*/ 682889 w 1048488"/>
                <a:gd name="connsiteY77" fmla="*/ 358113 h 1100441"/>
                <a:gd name="connsiteX78" fmla="*/ 711464 w 1048488"/>
                <a:gd name="connsiteY78" fmla="*/ 343826 h 1100441"/>
                <a:gd name="connsiteX79" fmla="*/ 749564 w 1048488"/>
                <a:gd name="connsiteY79" fmla="*/ 348588 h 1100441"/>
                <a:gd name="connsiteX80" fmla="*/ 778139 w 1048488"/>
                <a:gd name="connsiteY80" fmla="*/ 367638 h 1100441"/>
                <a:gd name="connsiteX81" fmla="*/ 792427 w 1048488"/>
                <a:gd name="connsiteY81" fmla="*/ 377163 h 1100441"/>
                <a:gd name="connsiteX82" fmla="*/ 806714 w 1048488"/>
                <a:gd name="connsiteY82" fmla="*/ 391451 h 1100441"/>
                <a:gd name="connsiteX83" fmla="*/ 840052 w 1048488"/>
                <a:gd name="connsiteY83" fmla="*/ 405738 h 1100441"/>
                <a:gd name="connsiteX84" fmla="*/ 868627 w 1048488"/>
                <a:gd name="connsiteY84" fmla="*/ 424788 h 1100441"/>
                <a:gd name="connsiteX85" fmla="*/ 882914 w 1048488"/>
                <a:gd name="connsiteY85" fmla="*/ 434313 h 1100441"/>
                <a:gd name="connsiteX86" fmla="*/ 897202 w 1048488"/>
                <a:gd name="connsiteY86" fmla="*/ 439076 h 1100441"/>
                <a:gd name="connsiteX87" fmla="*/ 925777 w 1048488"/>
                <a:gd name="connsiteY87" fmla="*/ 424788 h 1100441"/>
                <a:gd name="connsiteX88" fmla="*/ 935302 w 1048488"/>
                <a:gd name="connsiteY88" fmla="*/ 410501 h 1100441"/>
                <a:gd name="connsiteX89" fmla="*/ 963877 w 1048488"/>
                <a:gd name="connsiteY89" fmla="*/ 391451 h 1100441"/>
                <a:gd name="connsiteX90" fmla="*/ 992452 w 1048488"/>
                <a:gd name="connsiteY90" fmla="*/ 377163 h 1100441"/>
                <a:gd name="connsiteX91" fmla="*/ 1016264 w 1048488"/>
                <a:gd name="connsiteY91" fmla="*/ 381926 h 1100441"/>
                <a:gd name="connsiteX92" fmla="*/ 1030552 w 1048488"/>
                <a:gd name="connsiteY92" fmla="*/ 386688 h 1100441"/>
                <a:gd name="connsiteX93" fmla="*/ 1035314 w 1048488"/>
                <a:gd name="connsiteY93" fmla="*/ 400976 h 1100441"/>
                <a:gd name="connsiteX94" fmla="*/ 1040077 w 1048488"/>
                <a:gd name="connsiteY94" fmla="*/ 448601 h 1100441"/>
                <a:gd name="connsiteX95" fmla="*/ 1040077 w 1048488"/>
                <a:gd name="connsiteY95" fmla="*/ 515276 h 1100441"/>
                <a:gd name="connsiteX96" fmla="*/ 1035314 w 1048488"/>
                <a:gd name="connsiteY96" fmla="*/ 529563 h 1100441"/>
                <a:gd name="connsiteX97" fmla="*/ 1006739 w 1048488"/>
                <a:gd name="connsiteY97" fmla="*/ 553376 h 1100441"/>
                <a:gd name="connsiteX98" fmla="*/ 997214 w 1048488"/>
                <a:gd name="connsiteY98" fmla="*/ 567663 h 1100441"/>
                <a:gd name="connsiteX99" fmla="*/ 954352 w 1048488"/>
                <a:gd name="connsiteY99" fmla="*/ 591476 h 1100441"/>
                <a:gd name="connsiteX100" fmla="*/ 925777 w 1048488"/>
                <a:gd name="connsiteY100" fmla="*/ 572426 h 1100441"/>
                <a:gd name="connsiteX101" fmla="*/ 916252 w 1048488"/>
                <a:gd name="connsiteY101" fmla="*/ 601001 h 1100441"/>
                <a:gd name="connsiteX102" fmla="*/ 921014 w 1048488"/>
                <a:gd name="connsiteY102" fmla="*/ 639101 h 1100441"/>
                <a:gd name="connsiteX103" fmla="*/ 935302 w 1048488"/>
                <a:gd name="connsiteY103" fmla="*/ 643863 h 1100441"/>
                <a:gd name="connsiteX104" fmla="*/ 963877 w 1048488"/>
                <a:gd name="connsiteY104" fmla="*/ 667676 h 1100441"/>
                <a:gd name="connsiteX105" fmla="*/ 949589 w 1048488"/>
                <a:gd name="connsiteY105" fmla="*/ 710538 h 1100441"/>
                <a:gd name="connsiteX106" fmla="*/ 921014 w 1048488"/>
                <a:gd name="connsiteY106" fmla="*/ 729588 h 1100441"/>
                <a:gd name="connsiteX107" fmla="*/ 916252 w 1048488"/>
                <a:gd name="connsiteY107" fmla="*/ 743876 h 1100441"/>
                <a:gd name="connsiteX108" fmla="*/ 901964 w 1048488"/>
                <a:gd name="connsiteY108" fmla="*/ 772451 h 1100441"/>
                <a:gd name="connsiteX109" fmla="*/ 906727 w 1048488"/>
                <a:gd name="connsiteY109" fmla="*/ 801026 h 1100441"/>
                <a:gd name="connsiteX110" fmla="*/ 911489 w 1048488"/>
                <a:gd name="connsiteY110" fmla="*/ 820076 h 1100441"/>
                <a:gd name="connsiteX111" fmla="*/ 916252 w 1048488"/>
                <a:gd name="connsiteY111" fmla="*/ 848651 h 1100441"/>
                <a:gd name="connsiteX112" fmla="*/ 968639 w 1048488"/>
                <a:gd name="connsiteY112" fmla="*/ 862938 h 1100441"/>
                <a:gd name="connsiteX113" fmla="*/ 982927 w 1048488"/>
                <a:gd name="connsiteY113" fmla="*/ 872463 h 1100441"/>
                <a:gd name="connsiteX114" fmla="*/ 978164 w 1048488"/>
                <a:gd name="connsiteY114" fmla="*/ 915326 h 1100441"/>
                <a:gd name="connsiteX115" fmla="*/ 968639 w 1048488"/>
                <a:gd name="connsiteY115" fmla="*/ 943901 h 1100441"/>
                <a:gd name="connsiteX116" fmla="*/ 954352 w 1048488"/>
                <a:gd name="connsiteY116" fmla="*/ 953426 h 1100441"/>
                <a:gd name="connsiteX117" fmla="*/ 935302 w 1048488"/>
                <a:gd name="connsiteY117" fmla="*/ 977238 h 1100441"/>
                <a:gd name="connsiteX118" fmla="*/ 906727 w 1048488"/>
                <a:gd name="connsiteY118" fmla="*/ 1005813 h 1100441"/>
                <a:gd name="connsiteX119" fmla="*/ 897202 w 1048488"/>
                <a:gd name="connsiteY119" fmla="*/ 1020101 h 1100441"/>
                <a:gd name="connsiteX120" fmla="*/ 868627 w 1048488"/>
                <a:gd name="connsiteY120" fmla="*/ 1043913 h 1100441"/>
                <a:gd name="connsiteX121" fmla="*/ 849577 w 1048488"/>
                <a:gd name="connsiteY121" fmla="*/ 1072488 h 1100441"/>
                <a:gd name="connsiteX122" fmla="*/ 844814 w 1048488"/>
                <a:gd name="connsiteY122" fmla="*/ 1086776 h 1100441"/>
                <a:gd name="connsiteX123" fmla="*/ 830527 w 1048488"/>
                <a:gd name="connsiteY123" fmla="*/ 1096301 h 1100441"/>
                <a:gd name="connsiteX124" fmla="*/ 797189 w 1048488"/>
                <a:gd name="connsiteY124" fmla="*/ 1086776 h 1100441"/>
                <a:gd name="connsiteX125" fmla="*/ 754327 w 1048488"/>
                <a:gd name="connsiteY125" fmla="*/ 1077251 h 1100441"/>
                <a:gd name="connsiteX126" fmla="*/ 725752 w 1048488"/>
                <a:gd name="connsiteY126" fmla="*/ 1053438 h 1100441"/>
                <a:gd name="connsiteX127" fmla="*/ 711464 w 1048488"/>
                <a:gd name="connsiteY127" fmla="*/ 1048676 h 1100441"/>
                <a:gd name="connsiteX128" fmla="*/ 701939 w 1048488"/>
                <a:gd name="connsiteY128" fmla="*/ 1034388 h 1100441"/>
                <a:gd name="connsiteX129" fmla="*/ 697177 w 1048488"/>
                <a:gd name="connsiteY129" fmla="*/ 1020101 h 1100441"/>
                <a:gd name="connsiteX130" fmla="*/ 678127 w 1048488"/>
                <a:gd name="connsiteY130" fmla="*/ 991526 h 1100441"/>
                <a:gd name="connsiteX131" fmla="*/ 668602 w 1048488"/>
                <a:gd name="connsiteY131" fmla="*/ 977238 h 1100441"/>
                <a:gd name="connsiteX132" fmla="*/ 659077 w 1048488"/>
                <a:gd name="connsiteY132" fmla="*/ 962951 h 1100441"/>
                <a:gd name="connsiteX133" fmla="*/ 682889 w 1048488"/>
                <a:gd name="connsiteY133" fmla="*/ 920088 h 1100441"/>
                <a:gd name="connsiteX134" fmla="*/ 678127 w 1048488"/>
                <a:gd name="connsiteY134" fmla="*/ 896276 h 1100441"/>
                <a:gd name="connsiteX135" fmla="*/ 673364 w 1048488"/>
                <a:gd name="connsiteY135" fmla="*/ 881988 h 1100441"/>
                <a:gd name="connsiteX136" fmla="*/ 668602 w 1048488"/>
                <a:gd name="connsiteY136" fmla="*/ 839126 h 1100441"/>
                <a:gd name="connsiteX137" fmla="*/ 654314 w 1048488"/>
                <a:gd name="connsiteY137" fmla="*/ 834363 h 1100441"/>
                <a:gd name="connsiteX138" fmla="*/ 625739 w 1048488"/>
                <a:gd name="connsiteY138" fmla="*/ 848651 h 1100441"/>
                <a:gd name="connsiteX139" fmla="*/ 616214 w 1048488"/>
                <a:gd name="connsiteY139" fmla="*/ 862938 h 1100441"/>
                <a:gd name="connsiteX140" fmla="*/ 611452 w 1048488"/>
                <a:gd name="connsiteY140" fmla="*/ 877226 h 1100441"/>
                <a:gd name="connsiteX141" fmla="*/ 597164 w 1048488"/>
                <a:gd name="connsiteY141" fmla="*/ 886751 h 1100441"/>
                <a:gd name="connsiteX142" fmla="*/ 549539 w 1048488"/>
                <a:gd name="connsiteY142" fmla="*/ 896276 h 1100441"/>
                <a:gd name="connsiteX143" fmla="*/ 544777 w 1048488"/>
                <a:gd name="connsiteY143" fmla="*/ 910563 h 1100441"/>
                <a:gd name="connsiteX144" fmla="*/ 540014 w 1048488"/>
                <a:gd name="connsiteY144" fmla="*/ 929613 h 1100441"/>
                <a:gd name="connsiteX145" fmla="*/ 525727 w 1048488"/>
                <a:gd name="connsiteY145" fmla="*/ 939138 h 1100441"/>
                <a:gd name="connsiteX146" fmla="*/ 506677 w 1048488"/>
                <a:gd name="connsiteY146" fmla="*/ 920088 h 1100441"/>
                <a:gd name="connsiteX147" fmla="*/ 492389 w 1048488"/>
                <a:gd name="connsiteY147" fmla="*/ 915326 h 1100441"/>
                <a:gd name="connsiteX148" fmla="*/ 478102 w 1048488"/>
                <a:gd name="connsiteY148" fmla="*/ 929613 h 1100441"/>
                <a:gd name="connsiteX149" fmla="*/ 473339 w 1048488"/>
                <a:gd name="connsiteY149" fmla="*/ 943901 h 1100441"/>
                <a:gd name="connsiteX150" fmla="*/ 459052 w 1048488"/>
                <a:gd name="connsiteY150" fmla="*/ 948663 h 1100441"/>
                <a:gd name="connsiteX151" fmla="*/ 416189 w 1048488"/>
                <a:gd name="connsiteY151" fmla="*/ 929613 h 1100441"/>
                <a:gd name="connsiteX152" fmla="*/ 401902 w 1048488"/>
                <a:gd name="connsiteY152" fmla="*/ 920088 h 1100441"/>
                <a:gd name="connsiteX153" fmla="*/ 387614 w 1048488"/>
                <a:gd name="connsiteY153" fmla="*/ 891513 h 1100441"/>
                <a:gd name="connsiteX154" fmla="*/ 382852 w 1048488"/>
                <a:gd name="connsiteY154" fmla="*/ 877226 h 1100441"/>
                <a:gd name="connsiteX155" fmla="*/ 359039 w 1048488"/>
                <a:gd name="connsiteY155" fmla="*/ 815313 h 1100441"/>
                <a:gd name="connsiteX156" fmla="*/ 349514 w 1048488"/>
                <a:gd name="connsiteY156" fmla="*/ 801026 h 1100441"/>
                <a:gd name="connsiteX157" fmla="*/ 330464 w 1048488"/>
                <a:gd name="connsiteY157" fmla="*/ 758163 h 1100441"/>
                <a:gd name="connsiteX158" fmla="*/ 273314 w 1048488"/>
                <a:gd name="connsiteY158" fmla="*/ 729588 h 1100441"/>
                <a:gd name="connsiteX159" fmla="*/ 259027 w 1048488"/>
                <a:gd name="connsiteY159" fmla="*/ 724826 h 1100441"/>
                <a:gd name="connsiteX160" fmla="*/ 244739 w 1048488"/>
                <a:gd name="connsiteY160" fmla="*/ 720063 h 1100441"/>
                <a:gd name="connsiteX161" fmla="*/ 178064 w 1048488"/>
                <a:gd name="connsiteY161" fmla="*/ 724826 h 110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1048488" h="1100441">
                  <a:moveTo>
                    <a:pt x="178064" y="724826"/>
                  </a:moveTo>
                  <a:cubicBezTo>
                    <a:pt x="156761" y="692871"/>
                    <a:pt x="181856" y="724179"/>
                    <a:pt x="154252" y="705776"/>
                  </a:cubicBezTo>
                  <a:cubicBezTo>
                    <a:pt x="118578" y="681993"/>
                    <a:pt x="159647" y="698049"/>
                    <a:pt x="125677" y="686726"/>
                  </a:cubicBezTo>
                  <a:cubicBezTo>
                    <a:pt x="122502" y="681963"/>
                    <a:pt x="118712" y="677558"/>
                    <a:pt x="116152" y="672438"/>
                  </a:cubicBezTo>
                  <a:cubicBezTo>
                    <a:pt x="108126" y="656387"/>
                    <a:pt x="108765" y="636673"/>
                    <a:pt x="116152" y="620051"/>
                  </a:cubicBezTo>
                  <a:cubicBezTo>
                    <a:pt x="118191" y="615464"/>
                    <a:pt x="125677" y="616876"/>
                    <a:pt x="130439" y="615288"/>
                  </a:cubicBezTo>
                  <a:cubicBezTo>
                    <a:pt x="139964" y="616876"/>
                    <a:pt x="149417" y="621117"/>
                    <a:pt x="159014" y="620051"/>
                  </a:cubicBezTo>
                  <a:cubicBezTo>
                    <a:pt x="176870" y="618067"/>
                    <a:pt x="175647" y="606900"/>
                    <a:pt x="168539" y="596238"/>
                  </a:cubicBezTo>
                  <a:cubicBezTo>
                    <a:pt x="164803" y="590634"/>
                    <a:pt x="159014" y="586713"/>
                    <a:pt x="154252" y="581951"/>
                  </a:cubicBezTo>
                  <a:cubicBezTo>
                    <a:pt x="149087" y="566458"/>
                    <a:pt x="152060" y="565631"/>
                    <a:pt x="135202" y="558138"/>
                  </a:cubicBezTo>
                  <a:cubicBezTo>
                    <a:pt x="126027" y="554060"/>
                    <a:pt x="106627" y="548613"/>
                    <a:pt x="106627" y="548613"/>
                  </a:cubicBezTo>
                  <a:cubicBezTo>
                    <a:pt x="108214" y="527976"/>
                    <a:pt x="108971" y="507258"/>
                    <a:pt x="111389" y="486701"/>
                  </a:cubicBezTo>
                  <a:cubicBezTo>
                    <a:pt x="113010" y="472920"/>
                    <a:pt x="121566" y="466084"/>
                    <a:pt x="111389" y="453363"/>
                  </a:cubicBezTo>
                  <a:cubicBezTo>
                    <a:pt x="107813" y="448894"/>
                    <a:pt x="101864" y="447013"/>
                    <a:pt x="97102" y="443838"/>
                  </a:cubicBezTo>
                  <a:cubicBezTo>
                    <a:pt x="85989" y="445426"/>
                    <a:pt x="74702" y="446077"/>
                    <a:pt x="63764" y="448601"/>
                  </a:cubicBezTo>
                  <a:cubicBezTo>
                    <a:pt x="53981" y="450859"/>
                    <a:pt x="35189" y="458126"/>
                    <a:pt x="35189" y="458126"/>
                  </a:cubicBezTo>
                  <a:cubicBezTo>
                    <a:pt x="30427" y="454951"/>
                    <a:pt x="24949" y="452648"/>
                    <a:pt x="20902" y="448601"/>
                  </a:cubicBezTo>
                  <a:cubicBezTo>
                    <a:pt x="9048" y="436747"/>
                    <a:pt x="0" y="410738"/>
                    <a:pt x="16139" y="396213"/>
                  </a:cubicBezTo>
                  <a:cubicBezTo>
                    <a:pt x="26824" y="386596"/>
                    <a:pt x="44714" y="393038"/>
                    <a:pt x="59002" y="391451"/>
                  </a:cubicBezTo>
                  <a:cubicBezTo>
                    <a:pt x="57414" y="385101"/>
                    <a:pt x="52169" y="378611"/>
                    <a:pt x="54239" y="372401"/>
                  </a:cubicBezTo>
                  <a:cubicBezTo>
                    <a:pt x="56049" y="366971"/>
                    <a:pt x="62873" y="363769"/>
                    <a:pt x="68527" y="362876"/>
                  </a:cubicBezTo>
                  <a:cubicBezTo>
                    <a:pt x="93665" y="358907"/>
                    <a:pt x="119327" y="359701"/>
                    <a:pt x="144727" y="358113"/>
                  </a:cubicBezTo>
                  <a:cubicBezTo>
                    <a:pt x="153700" y="349140"/>
                    <a:pt x="163234" y="341474"/>
                    <a:pt x="168539" y="329538"/>
                  </a:cubicBezTo>
                  <a:cubicBezTo>
                    <a:pt x="172617" y="320363"/>
                    <a:pt x="178064" y="300963"/>
                    <a:pt x="178064" y="300963"/>
                  </a:cubicBezTo>
                  <a:cubicBezTo>
                    <a:pt x="176477" y="289851"/>
                    <a:pt x="176527" y="278378"/>
                    <a:pt x="173302" y="267626"/>
                  </a:cubicBezTo>
                  <a:cubicBezTo>
                    <a:pt x="169976" y="256538"/>
                    <a:pt x="156135" y="247026"/>
                    <a:pt x="149489" y="239051"/>
                  </a:cubicBezTo>
                  <a:cubicBezTo>
                    <a:pt x="129643" y="215236"/>
                    <a:pt x="151872" y="232702"/>
                    <a:pt x="125677" y="215238"/>
                  </a:cubicBezTo>
                  <a:cubicBezTo>
                    <a:pt x="122502" y="210476"/>
                    <a:pt x="119816" y="205348"/>
                    <a:pt x="116152" y="200951"/>
                  </a:cubicBezTo>
                  <a:cubicBezTo>
                    <a:pt x="111840" y="195777"/>
                    <a:pt x="105600" y="192267"/>
                    <a:pt x="101864" y="186663"/>
                  </a:cubicBezTo>
                  <a:cubicBezTo>
                    <a:pt x="99079" y="182486"/>
                    <a:pt x="99347" y="176866"/>
                    <a:pt x="97102" y="172376"/>
                  </a:cubicBezTo>
                  <a:cubicBezTo>
                    <a:pt x="89164" y="156500"/>
                    <a:pt x="87577" y="158088"/>
                    <a:pt x="73289" y="148563"/>
                  </a:cubicBezTo>
                  <a:lnTo>
                    <a:pt x="63764" y="119988"/>
                  </a:lnTo>
                  <a:cubicBezTo>
                    <a:pt x="62159" y="115174"/>
                    <a:pt x="58993" y="89019"/>
                    <a:pt x="54239" y="81888"/>
                  </a:cubicBezTo>
                  <a:cubicBezTo>
                    <a:pt x="50503" y="76284"/>
                    <a:pt x="44264" y="72775"/>
                    <a:pt x="39952" y="67601"/>
                  </a:cubicBezTo>
                  <a:cubicBezTo>
                    <a:pt x="36288" y="63204"/>
                    <a:pt x="33602" y="58076"/>
                    <a:pt x="30427" y="53313"/>
                  </a:cubicBezTo>
                  <a:cubicBezTo>
                    <a:pt x="31923" y="39847"/>
                    <a:pt x="24780" y="4454"/>
                    <a:pt x="49477" y="926"/>
                  </a:cubicBezTo>
                  <a:cubicBezTo>
                    <a:pt x="55957" y="0"/>
                    <a:pt x="62177" y="4101"/>
                    <a:pt x="68527" y="5688"/>
                  </a:cubicBezTo>
                  <a:cubicBezTo>
                    <a:pt x="97134" y="24760"/>
                    <a:pt x="68927" y="10451"/>
                    <a:pt x="120914" y="10451"/>
                  </a:cubicBezTo>
                  <a:cubicBezTo>
                    <a:pt x="133713" y="10451"/>
                    <a:pt x="146314" y="13626"/>
                    <a:pt x="159014" y="15213"/>
                  </a:cubicBezTo>
                  <a:cubicBezTo>
                    <a:pt x="168539" y="18388"/>
                    <a:pt x="179235" y="19169"/>
                    <a:pt x="187589" y="24738"/>
                  </a:cubicBezTo>
                  <a:cubicBezTo>
                    <a:pt x="192352" y="27913"/>
                    <a:pt x="196616" y="32008"/>
                    <a:pt x="201877" y="34263"/>
                  </a:cubicBezTo>
                  <a:cubicBezTo>
                    <a:pt x="217643" y="41020"/>
                    <a:pt x="260145" y="42947"/>
                    <a:pt x="268552" y="43788"/>
                  </a:cubicBezTo>
                  <a:cubicBezTo>
                    <a:pt x="273314" y="46963"/>
                    <a:pt x="279263" y="48844"/>
                    <a:pt x="282839" y="53313"/>
                  </a:cubicBezTo>
                  <a:cubicBezTo>
                    <a:pt x="285975" y="57233"/>
                    <a:pt x="285357" y="63111"/>
                    <a:pt x="287602" y="67601"/>
                  </a:cubicBezTo>
                  <a:cubicBezTo>
                    <a:pt x="290162" y="72720"/>
                    <a:pt x="293952" y="77126"/>
                    <a:pt x="297127" y="81888"/>
                  </a:cubicBezTo>
                  <a:cubicBezTo>
                    <a:pt x="308239" y="80301"/>
                    <a:pt x="320206" y="81685"/>
                    <a:pt x="330464" y="77126"/>
                  </a:cubicBezTo>
                  <a:cubicBezTo>
                    <a:pt x="335695" y="74801"/>
                    <a:pt x="334758" y="65163"/>
                    <a:pt x="339989" y="62838"/>
                  </a:cubicBezTo>
                  <a:cubicBezTo>
                    <a:pt x="350247" y="58279"/>
                    <a:pt x="362214" y="59663"/>
                    <a:pt x="373327" y="58076"/>
                  </a:cubicBezTo>
                  <a:cubicBezTo>
                    <a:pt x="378089" y="54901"/>
                    <a:pt x="383217" y="52215"/>
                    <a:pt x="387614" y="48551"/>
                  </a:cubicBezTo>
                  <a:cubicBezTo>
                    <a:pt x="392788" y="44239"/>
                    <a:pt x="396014" y="37534"/>
                    <a:pt x="401902" y="34263"/>
                  </a:cubicBezTo>
                  <a:cubicBezTo>
                    <a:pt x="410679" y="29387"/>
                    <a:pt x="430477" y="24738"/>
                    <a:pt x="430477" y="24738"/>
                  </a:cubicBezTo>
                  <a:cubicBezTo>
                    <a:pt x="433652" y="29501"/>
                    <a:pt x="437747" y="33765"/>
                    <a:pt x="440002" y="39026"/>
                  </a:cubicBezTo>
                  <a:cubicBezTo>
                    <a:pt x="442580" y="45042"/>
                    <a:pt x="440675" y="52965"/>
                    <a:pt x="444764" y="58076"/>
                  </a:cubicBezTo>
                  <a:cubicBezTo>
                    <a:pt x="447900" y="61996"/>
                    <a:pt x="454289" y="61251"/>
                    <a:pt x="459052" y="62838"/>
                  </a:cubicBezTo>
                  <a:cubicBezTo>
                    <a:pt x="462227" y="67601"/>
                    <a:pt x="464107" y="73550"/>
                    <a:pt x="468577" y="77126"/>
                  </a:cubicBezTo>
                  <a:cubicBezTo>
                    <a:pt x="472497" y="80262"/>
                    <a:pt x="478374" y="79643"/>
                    <a:pt x="482864" y="81888"/>
                  </a:cubicBezTo>
                  <a:cubicBezTo>
                    <a:pt x="519800" y="100356"/>
                    <a:pt x="475522" y="84202"/>
                    <a:pt x="511439" y="96176"/>
                  </a:cubicBezTo>
                  <a:cubicBezTo>
                    <a:pt x="514428" y="100659"/>
                    <a:pt x="525913" y="121855"/>
                    <a:pt x="535252" y="119988"/>
                  </a:cubicBezTo>
                  <a:cubicBezTo>
                    <a:pt x="540865" y="118866"/>
                    <a:pt x="540730" y="109748"/>
                    <a:pt x="544777" y="105701"/>
                  </a:cubicBezTo>
                  <a:cubicBezTo>
                    <a:pt x="548824" y="101654"/>
                    <a:pt x="554302" y="99351"/>
                    <a:pt x="559064" y="96176"/>
                  </a:cubicBezTo>
                  <a:cubicBezTo>
                    <a:pt x="563827" y="97763"/>
                    <a:pt x="569432" y="97802"/>
                    <a:pt x="573352" y="100938"/>
                  </a:cubicBezTo>
                  <a:cubicBezTo>
                    <a:pt x="577822" y="104514"/>
                    <a:pt x="580317" y="110106"/>
                    <a:pt x="582877" y="115226"/>
                  </a:cubicBezTo>
                  <a:cubicBezTo>
                    <a:pt x="586681" y="122834"/>
                    <a:pt x="590369" y="141448"/>
                    <a:pt x="592402" y="148563"/>
                  </a:cubicBezTo>
                  <a:cubicBezTo>
                    <a:pt x="593781" y="153390"/>
                    <a:pt x="595946" y="157981"/>
                    <a:pt x="597164" y="162851"/>
                  </a:cubicBezTo>
                  <a:cubicBezTo>
                    <a:pt x="601809" y="181432"/>
                    <a:pt x="603999" y="201169"/>
                    <a:pt x="606689" y="220001"/>
                  </a:cubicBezTo>
                  <a:cubicBezTo>
                    <a:pt x="605102" y="231113"/>
                    <a:pt x="605957" y="242861"/>
                    <a:pt x="601927" y="253338"/>
                  </a:cubicBezTo>
                  <a:cubicBezTo>
                    <a:pt x="597818" y="264023"/>
                    <a:pt x="589227" y="272388"/>
                    <a:pt x="582877" y="281913"/>
                  </a:cubicBezTo>
                  <a:lnTo>
                    <a:pt x="573352" y="296201"/>
                  </a:lnTo>
                  <a:cubicBezTo>
                    <a:pt x="567783" y="304555"/>
                    <a:pt x="553131" y="300157"/>
                    <a:pt x="544777" y="305726"/>
                  </a:cubicBezTo>
                  <a:lnTo>
                    <a:pt x="530489" y="315251"/>
                  </a:lnTo>
                  <a:cubicBezTo>
                    <a:pt x="528902" y="320013"/>
                    <a:pt x="522715" y="325522"/>
                    <a:pt x="525727" y="329538"/>
                  </a:cubicBezTo>
                  <a:cubicBezTo>
                    <a:pt x="533749" y="340234"/>
                    <a:pt x="555805" y="331544"/>
                    <a:pt x="563827" y="329538"/>
                  </a:cubicBezTo>
                  <a:cubicBezTo>
                    <a:pt x="568589" y="326363"/>
                    <a:pt x="572884" y="322338"/>
                    <a:pt x="578114" y="320013"/>
                  </a:cubicBezTo>
                  <a:cubicBezTo>
                    <a:pt x="587289" y="315935"/>
                    <a:pt x="606689" y="310488"/>
                    <a:pt x="606689" y="310488"/>
                  </a:cubicBezTo>
                  <a:cubicBezTo>
                    <a:pt x="620977" y="312076"/>
                    <a:pt x="636042" y="310338"/>
                    <a:pt x="649552" y="315251"/>
                  </a:cubicBezTo>
                  <a:cubicBezTo>
                    <a:pt x="654931" y="317207"/>
                    <a:pt x="657121" y="324159"/>
                    <a:pt x="659077" y="329538"/>
                  </a:cubicBezTo>
                  <a:cubicBezTo>
                    <a:pt x="663551" y="341841"/>
                    <a:pt x="668602" y="367638"/>
                    <a:pt x="668602" y="367638"/>
                  </a:cubicBezTo>
                  <a:cubicBezTo>
                    <a:pt x="673364" y="364463"/>
                    <a:pt x="677770" y="360673"/>
                    <a:pt x="682889" y="358113"/>
                  </a:cubicBezTo>
                  <a:cubicBezTo>
                    <a:pt x="722324" y="338396"/>
                    <a:pt x="670521" y="371123"/>
                    <a:pt x="711464" y="343826"/>
                  </a:cubicBezTo>
                  <a:cubicBezTo>
                    <a:pt x="724164" y="345413"/>
                    <a:pt x="737511" y="344283"/>
                    <a:pt x="749564" y="348588"/>
                  </a:cubicBezTo>
                  <a:cubicBezTo>
                    <a:pt x="760345" y="352438"/>
                    <a:pt x="768614" y="361288"/>
                    <a:pt x="778139" y="367638"/>
                  </a:cubicBezTo>
                  <a:lnTo>
                    <a:pt x="792427" y="377163"/>
                  </a:lnTo>
                  <a:cubicBezTo>
                    <a:pt x="798031" y="380899"/>
                    <a:pt x="801233" y="387536"/>
                    <a:pt x="806714" y="391451"/>
                  </a:cubicBezTo>
                  <a:cubicBezTo>
                    <a:pt x="817014" y="398808"/>
                    <a:pt x="828391" y="401852"/>
                    <a:pt x="840052" y="405738"/>
                  </a:cubicBezTo>
                  <a:lnTo>
                    <a:pt x="868627" y="424788"/>
                  </a:lnTo>
                  <a:cubicBezTo>
                    <a:pt x="873389" y="427963"/>
                    <a:pt x="877484" y="432503"/>
                    <a:pt x="882914" y="434313"/>
                  </a:cubicBezTo>
                  <a:lnTo>
                    <a:pt x="897202" y="439076"/>
                  </a:lnTo>
                  <a:cubicBezTo>
                    <a:pt x="908821" y="435202"/>
                    <a:pt x="916545" y="434019"/>
                    <a:pt x="925777" y="424788"/>
                  </a:cubicBezTo>
                  <a:cubicBezTo>
                    <a:pt x="929824" y="420741"/>
                    <a:pt x="930994" y="414270"/>
                    <a:pt x="935302" y="410501"/>
                  </a:cubicBezTo>
                  <a:cubicBezTo>
                    <a:pt x="943917" y="402963"/>
                    <a:pt x="954352" y="397801"/>
                    <a:pt x="963877" y="391451"/>
                  </a:cubicBezTo>
                  <a:cubicBezTo>
                    <a:pt x="982342" y="379141"/>
                    <a:pt x="972733" y="383736"/>
                    <a:pt x="992452" y="377163"/>
                  </a:cubicBezTo>
                  <a:cubicBezTo>
                    <a:pt x="1000389" y="378751"/>
                    <a:pt x="1008411" y="379963"/>
                    <a:pt x="1016264" y="381926"/>
                  </a:cubicBezTo>
                  <a:cubicBezTo>
                    <a:pt x="1021134" y="383144"/>
                    <a:pt x="1027002" y="383138"/>
                    <a:pt x="1030552" y="386688"/>
                  </a:cubicBezTo>
                  <a:cubicBezTo>
                    <a:pt x="1034102" y="390238"/>
                    <a:pt x="1033727" y="396213"/>
                    <a:pt x="1035314" y="400976"/>
                  </a:cubicBezTo>
                  <a:cubicBezTo>
                    <a:pt x="1036902" y="416851"/>
                    <a:pt x="1038098" y="432770"/>
                    <a:pt x="1040077" y="448601"/>
                  </a:cubicBezTo>
                  <a:cubicBezTo>
                    <a:pt x="1045093" y="488730"/>
                    <a:pt x="1048488" y="469014"/>
                    <a:pt x="1040077" y="515276"/>
                  </a:cubicBezTo>
                  <a:cubicBezTo>
                    <a:pt x="1039179" y="520215"/>
                    <a:pt x="1038099" y="525386"/>
                    <a:pt x="1035314" y="529563"/>
                  </a:cubicBezTo>
                  <a:cubicBezTo>
                    <a:pt x="1027978" y="540566"/>
                    <a:pt x="1017284" y="546346"/>
                    <a:pt x="1006739" y="553376"/>
                  </a:cubicBezTo>
                  <a:cubicBezTo>
                    <a:pt x="1003564" y="558138"/>
                    <a:pt x="1001522" y="563894"/>
                    <a:pt x="997214" y="567663"/>
                  </a:cubicBezTo>
                  <a:cubicBezTo>
                    <a:pt x="977060" y="585298"/>
                    <a:pt x="973975" y="584934"/>
                    <a:pt x="954352" y="591476"/>
                  </a:cubicBezTo>
                  <a:lnTo>
                    <a:pt x="925777" y="572426"/>
                  </a:lnTo>
                  <a:cubicBezTo>
                    <a:pt x="917423" y="566857"/>
                    <a:pt x="916252" y="601001"/>
                    <a:pt x="916252" y="601001"/>
                  </a:cubicBezTo>
                  <a:cubicBezTo>
                    <a:pt x="917839" y="613701"/>
                    <a:pt x="915816" y="627405"/>
                    <a:pt x="921014" y="639101"/>
                  </a:cubicBezTo>
                  <a:cubicBezTo>
                    <a:pt x="923053" y="643689"/>
                    <a:pt x="930812" y="641618"/>
                    <a:pt x="935302" y="643863"/>
                  </a:cubicBezTo>
                  <a:cubicBezTo>
                    <a:pt x="948561" y="650492"/>
                    <a:pt x="953346" y="657145"/>
                    <a:pt x="963877" y="667676"/>
                  </a:cubicBezTo>
                  <a:cubicBezTo>
                    <a:pt x="970083" y="686295"/>
                    <a:pt x="976386" y="692674"/>
                    <a:pt x="949589" y="710538"/>
                  </a:cubicBezTo>
                  <a:lnTo>
                    <a:pt x="921014" y="729588"/>
                  </a:lnTo>
                  <a:cubicBezTo>
                    <a:pt x="919427" y="734351"/>
                    <a:pt x="918497" y="739386"/>
                    <a:pt x="916252" y="743876"/>
                  </a:cubicBezTo>
                  <a:cubicBezTo>
                    <a:pt x="897784" y="780813"/>
                    <a:pt x="913939" y="736530"/>
                    <a:pt x="901964" y="772451"/>
                  </a:cubicBezTo>
                  <a:cubicBezTo>
                    <a:pt x="903552" y="781976"/>
                    <a:pt x="904833" y="791557"/>
                    <a:pt x="906727" y="801026"/>
                  </a:cubicBezTo>
                  <a:cubicBezTo>
                    <a:pt x="908011" y="807444"/>
                    <a:pt x="910205" y="813658"/>
                    <a:pt x="911489" y="820076"/>
                  </a:cubicBezTo>
                  <a:cubicBezTo>
                    <a:pt x="913383" y="829545"/>
                    <a:pt x="909893" y="841384"/>
                    <a:pt x="916252" y="848651"/>
                  </a:cubicBezTo>
                  <a:cubicBezTo>
                    <a:pt x="921379" y="854511"/>
                    <a:pt x="960076" y="861226"/>
                    <a:pt x="968639" y="862938"/>
                  </a:cubicBezTo>
                  <a:cubicBezTo>
                    <a:pt x="973402" y="866113"/>
                    <a:pt x="979351" y="867993"/>
                    <a:pt x="982927" y="872463"/>
                  </a:cubicBezTo>
                  <a:cubicBezTo>
                    <a:pt x="994132" y="886470"/>
                    <a:pt x="982739" y="901600"/>
                    <a:pt x="978164" y="915326"/>
                  </a:cubicBezTo>
                  <a:lnTo>
                    <a:pt x="968639" y="943901"/>
                  </a:lnTo>
                  <a:cubicBezTo>
                    <a:pt x="966829" y="949331"/>
                    <a:pt x="959114" y="950251"/>
                    <a:pt x="954352" y="953426"/>
                  </a:cubicBezTo>
                  <a:cubicBezTo>
                    <a:pt x="946074" y="978257"/>
                    <a:pt x="955710" y="959098"/>
                    <a:pt x="935302" y="977238"/>
                  </a:cubicBezTo>
                  <a:cubicBezTo>
                    <a:pt x="925234" y="986187"/>
                    <a:pt x="914199" y="994605"/>
                    <a:pt x="906727" y="1005813"/>
                  </a:cubicBezTo>
                  <a:cubicBezTo>
                    <a:pt x="903552" y="1010576"/>
                    <a:pt x="901249" y="1016054"/>
                    <a:pt x="897202" y="1020101"/>
                  </a:cubicBezTo>
                  <a:cubicBezTo>
                    <a:pt x="869684" y="1047619"/>
                    <a:pt x="895935" y="1008803"/>
                    <a:pt x="868627" y="1043913"/>
                  </a:cubicBezTo>
                  <a:cubicBezTo>
                    <a:pt x="861599" y="1052949"/>
                    <a:pt x="855927" y="1062963"/>
                    <a:pt x="849577" y="1072488"/>
                  </a:cubicBezTo>
                  <a:cubicBezTo>
                    <a:pt x="846792" y="1076665"/>
                    <a:pt x="847950" y="1082856"/>
                    <a:pt x="844814" y="1086776"/>
                  </a:cubicBezTo>
                  <a:cubicBezTo>
                    <a:pt x="841238" y="1091245"/>
                    <a:pt x="835289" y="1093126"/>
                    <a:pt x="830527" y="1096301"/>
                  </a:cubicBezTo>
                  <a:cubicBezTo>
                    <a:pt x="770974" y="1081411"/>
                    <a:pt x="845016" y="1100441"/>
                    <a:pt x="797189" y="1086776"/>
                  </a:cubicBezTo>
                  <a:cubicBezTo>
                    <a:pt x="781485" y="1082289"/>
                    <a:pt x="770709" y="1080527"/>
                    <a:pt x="754327" y="1077251"/>
                  </a:cubicBezTo>
                  <a:cubicBezTo>
                    <a:pt x="743796" y="1066720"/>
                    <a:pt x="739011" y="1060067"/>
                    <a:pt x="725752" y="1053438"/>
                  </a:cubicBezTo>
                  <a:cubicBezTo>
                    <a:pt x="721262" y="1051193"/>
                    <a:pt x="716227" y="1050263"/>
                    <a:pt x="711464" y="1048676"/>
                  </a:cubicBezTo>
                  <a:cubicBezTo>
                    <a:pt x="708289" y="1043913"/>
                    <a:pt x="704499" y="1039508"/>
                    <a:pt x="701939" y="1034388"/>
                  </a:cubicBezTo>
                  <a:cubicBezTo>
                    <a:pt x="699694" y="1029898"/>
                    <a:pt x="699615" y="1024489"/>
                    <a:pt x="697177" y="1020101"/>
                  </a:cubicBezTo>
                  <a:cubicBezTo>
                    <a:pt x="691618" y="1010094"/>
                    <a:pt x="684477" y="1001051"/>
                    <a:pt x="678127" y="991526"/>
                  </a:cubicBezTo>
                  <a:lnTo>
                    <a:pt x="668602" y="977238"/>
                  </a:lnTo>
                  <a:lnTo>
                    <a:pt x="659077" y="962951"/>
                  </a:lnTo>
                  <a:cubicBezTo>
                    <a:pt x="680912" y="930199"/>
                    <a:pt x="674507" y="945236"/>
                    <a:pt x="682889" y="920088"/>
                  </a:cubicBezTo>
                  <a:cubicBezTo>
                    <a:pt x="681302" y="912151"/>
                    <a:pt x="680090" y="904129"/>
                    <a:pt x="678127" y="896276"/>
                  </a:cubicBezTo>
                  <a:cubicBezTo>
                    <a:pt x="676909" y="891406"/>
                    <a:pt x="674189" y="886940"/>
                    <a:pt x="673364" y="881988"/>
                  </a:cubicBezTo>
                  <a:cubicBezTo>
                    <a:pt x="671001" y="867808"/>
                    <a:pt x="673941" y="852473"/>
                    <a:pt x="668602" y="839126"/>
                  </a:cubicBezTo>
                  <a:cubicBezTo>
                    <a:pt x="666737" y="834465"/>
                    <a:pt x="659077" y="835951"/>
                    <a:pt x="654314" y="834363"/>
                  </a:cubicBezTo>
                  <a:cubicBezTo>
                    <a:pt x="642695" y="838237"/>
                    <a:pt x="634971" y="839420"/>
                    <a:pt x="625739" y="848651"/>
                  </a:cubicBezTo>
                  <a:cubicBezTo>
                    <a:pt x="621692" y="852698"/>
                    <a:pt x="619389" y="858176"/>
                    <a:pt x="616214" y="862938"/>
                  </a:cubicBezTo>
                  <a:cubicBezTo>
                    <a:pt x="614627" y="867701"/>
                    <a:pt x="614588" y="873306"/>
                    <a:pt x="611452" y="877226"/>
                  </a:cubicBezTo>
                  <a:cubicBezTo>
                    <a:pt x="607876" y="881696"/>
                    <a:pt x="602284" y="884191"/>
                    <a:pt x="597164" y="886751"/>
                  </a:cubicBezTo>
                  <a:cubicBezTo>
                    <a:pt x="583866" y="893400"/>
                    <a:pt x="561821" y="894521"/>
                    <a:pt x="549539" y="896276"/>
                  </a:cubicBezTo>
                  <a:cubicBezTo>
                    <a:pt x="547952" y="901038"/>
                    <a:pt x="546156" y="905736"/>
                    <a:pt x="544777" y="910563"/>
                  </a:cubicBezTo>
                  <a:cubicBezTo>
                    <a:pt x="542979" y="916857"/>
                    <a:pt x="543645" y="924167"/>
                    <a:pt x="540014" y="929613"/>
                  </a:cubicBezTo>
                  <a:cubicBezTo>
                    <a:pt x="536839" y="934375"/>
                    <a:pt x="530489" y="935963"/>
                    <a:pt x="525727" y="939138"/>
                  </a:cubicBezTo>
                  <a:cubicBezTo>
                    <a:pt x="487626" y="926439"/>
                    <a:pt x="532077" y="945488"/>
                    <a:pt x="506677" y="920088"/>
                  </a:cubicBezTo>
                  <a:cubicBezTo>
                    <a:pt x="503127" y="916538"/>
                    <a:pt x="497152" y="916913"/>
                    <a:pt x="492389" y="915326"/>
                  </a:cubicBezTo>
                  <a:cubicBezTo>
                    <a:pt x="487627" y="920088"/>
                    <a:pt x="481838" y="924009"/>
                    <a:pt x="478102" y="929613"/>
                  </a:cubicBezTo>
                  <a:cubicBezTo>
                    <a:pt x="475317" y="933790"/>
                    <a:pt x="476889" y="940351"/>
                    <a:pt x="473339" y="943901"/>
                  </a:cubicBezTo>
                  <a:cubicBezTo>
                    <a:pt x="469789" y="947451"/>
                    <a:pt x="463814" y="947076"/>
                    <a:pt x="459052" y="948663"/>
                  </a:cubicBezTo>
                  <a:cubicBezTo>
                    <a:pt x="436410" y="933569"/>
                    <a:pt x="450194" y="940948"/>
                    <a:pt x="416189" y="929613"/>
                  </a:cubicBezTo>
                  <a:cubicBezTo>
                    <a:pt x="410759" y="927803"/>
                    <a:pt x="406664" y="923263"/>
                    <a:pt x="401902" y="920088"/>
                  </a:cubicBezTo>
                  <a:cubicBezTo>
                    <a:pt x="389928" y="884171"/>
                    <a:pt x="406082" y="928449"/>
                    <a:pt x="387614" y="891513"/>
                  </a:cubicBezTo>
                  <a:cubicBezTo>
                    <a:pt x="385369" y="887023"/>
                    <a:pt x="384439" y="881988"/>
                    <a:pt x="382852" y="877226"/>
                  </a:cubicBezTo>
                  <a:cubicBezTo>
                    <a:pt x="376470" y="832556"/>
                    <a:pt x="384316" y="853228"/>
                    <a:pt x="359039" y="815313"/>
                  </a:cubicBezTo>
                  <a:lnTo>
                    <a:pt x="349514" y="801026"/>
                  </a:lnTo>
                  <a:cubicBezTo>
                    <a:pt x="345967" y="790384"/>
                    <a:pt x="341118" y="767486"/>
                    <a:pt x="330464" y="758163"/>
                  </a:cubicBezTo>
                  <a:cubicBezTo>
                    <a:pt x="307739" y="738279"/>
                    <a:pt x="300291" y="738580"/>
                    <a:pt x="273314" y="729588"/>
                  </a:cubicBezTo>
                  <a:lnTo>
                    <a:pt x="259027" y="724826"/>
                  </a:lnTo>
                  <a:cubicBezTo>
                    <a:pt x="254264" y="723238"/>
                    <a:pt x="249759" y="720063"/>
                    <a:pt x="244739" y="720063"/>
                  </a:cubicBezTo>
                  <a:lnTo>
                    <a:pt x="178064" y="724826"/>
                  </a:lnTo>
                  <a:close/>
                </a:path>
              </a:pathLst>
            </a:custGeom>
            <a:grp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rtl="0" eaLnBrk="0" fontAlgn="base" hangingPunct="0">
                <a:spcBef>
                  <a:spcPct val="50000"/>
                </a:spcBef>
                <a:spcAft>
                  <a:spcPct val="0"/>
                </a:spcAft>
              </a:pPr>
              <a:endParaRPr lang="en-US" sz="900">
                <a:solidFill>
                  <a:srgbClr val="000000"/>
                </a:solidFill>
                <a:latin typeface="Arial" charset="0"/>
              </a:endParaRPr>
            </a:p>
          </p:txBody>
        </p:sp>
        <p:sp>
          <p:nvSpPr>
            <p:cNvPr id="54" name="Freeform 54">
              <a:extLst>
                <a:ext uri="{FF2B5EF4-FFF2-40B4-BE49-F238E27FC236}">
                  <a16:creationId xmlns:a16="http://schemas.microsoft.com/office/drawing/2014/main" id="{1E85DD97-8F21-4217-A72B-2DBF27917F51}"/>
                </a:ext>
              </a:extLst>
            </p:cNvPr>
            <p:cNvSpPr/>
            <p:nvPr>
              <p:custDataLst>
                <p:tags r:id="rId9"/>
              </p:custDataLst>
            </p:nvPr>
          </p:nvSpPr>
          <p:spPr bwMode="gray">
            <a:xfrm>
              <a:off x="4292827" y="1912938"/>
              <a:ext cx="238878" cy="235743"/>
            </a:xfrm>
            <a:custGeom>
              <a:avLst/>
              <a:gdLst>
                <a:gd name="connsiteX0" fmla="*/ 10278 w 238878"/>
                <a:gd name="connsiteY0" fmla="*/ 111918 h 235743"/>
                <a:gd name="connsiteX1" fmla="*/ 15041 w 238878"/>
                <a:gd name="connsiteY1" fmla="*/ 104775 h 235743"/>
                <a:gd name="connsiteX2" fmla="*/ 17422 w 238878"/>
                <a:gd name="connsiteY2" fmla="*/ 95250 h 235743"/>
                <a:gd name="connsiteX3" fmla="*/ 31710 w 238878"/>
                <a:gd name="connsiteY3" fmla="*/ 88106 h 235743"/>
                <a:gd name="connsiteX4" fmla="*/ 41235 w 238878"/>
                <a:gd name="connsiteY4" fmla="*/ 90487 h 235743"/>
                <a:gd name="connsiteX5" fmla="*/ 43616 w 238878"/>
                <a:gd name="connsiteY5" fmla="*/ 100012 h 235743"/>
                <a:gd name="connsiteX6" fmla="*/ 57903 w 238878"/>
                <a:gd name="connsiteY6" fmla="*/ 104775 h 235743"/>
                <a:gd name="connsiteX7" fmla="*/ 74572 w 238878"/>
                <a:gd name="connsiteY7" fmla="*/ 102393 h 235743"/>
                <a:gd name="connsiteX8" fmla="*/ 81716 w 238878"/>
                <a:gd name="connsiteY8" fmla="*/ 95250 h 235743"/>
                <a:gd name="connsiteX9" fmla="*/ 86478 w 238878"/>
                <a:gd name="connsiteY9" fmla="*/ 73818 h 235743"/>
                <a:gd name="connsiteX10" fmla="*/ 88860 w 238878"/>
                <a:gd name="connsiteY10" fmla="*/ 66675 h 235743"/>
                <a:gd name="connsiteX11" fmla="*/ 98385 w 238878"/>
                <a:gd name="connsiteY11" fmla="*/ 64293 h 235743"/>
                <a:gd name="connsiteX12" fmla="*/ 115053 w 238878"/>
                <a:gd name="connsiteY12" fmla="*/ 61912 h 235743"/>
                <a:gd name="connsiteX13" fmla="*/ 131722 w 238878"/>
                <a:gd name="connsiteY13" fmla="*/ 57150 h 235743"/>
                <a:gd name="connsiteX14" fmla="*/ 146010 w 238878"/>
                <a:gd name="connsiteY14" fmla="*/ 47625 h 235743"/>
                <a:gd name="connsiteX15" fmla="*/ 153153 w 238878"/>
                <a:gd name="connsiteY15" fmla="*/ 42862 h 235743"/>
                <a:gd name="connsiteX16" fmla="*/ 160297 w 238878"/>
                <a:gd name="connsiteY16" fmla="*/ 21431 h 235743"/>
                <a:gd name="connsiteX17" fmla="*/ 181728 w 238878"/>
                <a:gd name="connsiteY17" fmla="*/ 4762 h 235743"/>
                <a:gd name="connsiteX18" fmla="*/ 188872 w 238878"/>
                <a:gd name="connsiteY18" fmla="*/ 0 h 235743"/>
                <a:gd name="connsiteX19" fmla="*/ 198397 w 238878"/>
                <a:gd name="connsiteY19" fmla="*/ 2381 h 235743"/>
                <a:gd name="connsiteX20" fmla="*/ 207922 w 238878"/>
                <a:gd name="connsiteY20" fmla="*/ 40481 h 235743"/>
                <a:gd name="connsiteX21" fmla="*/ 212685 w 238878"/>
                <a:gd name="connsiteY21" fmla="*/ 54768 h 235743"/>
                <a:gd name="connsiteX22" fmla="*/ 212685 w 238878"/>
                <a:gd name="connsiteY22" fmla="*/ 95250 h 235743"/>
                <a:gd name="connsiteX23" fmla="*/ 203160 w 238878"/>
                <a:gd name="connsiteY23" fmla="*/ 109537 h 235743"/>
                <a:gd name="connsiteX24" fmla="*/ 198397 w 238878"/>
                <a:gd name="connsiteY24" fmla="*/ 123825 h 235743"/>
                <a:gd name="connsiteX25" fmla="*/ 210303 w 238878"/>
                <a:gd name="connsiteY25" fmla="*/ 145256 h 235743"/>
                <a:gd name="connsiteX26" fmla="*/ 215066 w 238878"/>
                <a:gd name="connsiteY26" fmla="*/ 159543 h 235743"/>
                <a:gd name="connsiteX27" fmla="*/ 222210 w 238878"/>
                <a:gd name="connsiteY27" fmla="*/ 173831 h 235743"/>
                <a:gd name="connsiteX28" fmla="*/ 231735 w 238878"/>
                <a:gd name="connsiteY28" fmla="*/ 195262 h 235743"/>
                <a:gd name="connsiteX29" fmla="*/ 236497 w 238878"/>
                <a:gd name="connsiteY29" fmla="*/ 209550 h 235743"/>
                <a:gd name="connsiteX30" fmla="*/ 238878 w 238878"/>
                <a:gd name="connsiteY30" fmla="*/ 216693 h 235743"/>
                <a:gd name="connsiteX31" fmla="*/ 231735 w 238878"/>
                <a:gd name="connsiteY31" fmla="*/ 223837 h 235743"/>
                <a:gd name="connsiteX32" fmla="*/ 226972 w 238878"/>
                <a:gd name="connsiteY32" fmla="*/ 230981 h 235743"/>
                <a:gd name="connsiteX33" fmla="*/ 219828 w 238878"/>
                <a:gd name="connsiteY33" fmla="*/ 235743 h 235743"/>
                <a:gd name="connsiteX34" fmla="*/ 196016 w 238878"/>
                <a:gd name="connsiteY34" fmla="*/ 230981 h 235743"/>
                <a:gd name="connsiteX35" fmla="*/ 174585 w 238878"/>
                <a:gd name="connsiteY35" fmla="*/ 214312 h 235743"/>
                <a:gd name="connsiteX36" fmla="*/ 169822 w 238878"/>
                <a:gd name="connsiteY36" fmla="*/ 207168 h 235743"/>
                <a:gd name="connsiteX37" fmla="*/ 153153 w 238878"/>
                <a:gd name="connsiteY37" fmla="*/ 202406 h 235743"/>
                <a:gd name="connsiteX38" fmla="*/ 141247 w 238878"/>
                <a:gd name="connsiteY38" fmla="*/ 204787 h 235743"/>
                <a:gd name="connsiteX39" fmla="*/ 134103 w 238878"/>
                <a:gd name="connsiteY39" fmla="*/ 207168 h 235743"/>
                <a:gd name="connsiteX40" fmla="*/ 131722 w 238878"/>
                <a:gd name="connsiteY40" fmla="*/ 214312 h 235743"/>
                <a:gd name="connsiteX41" fmla="*/ 117435 w 238878"/>
                <a:gd name="connsiteY41" fmla="*/ 219075 h 235743"/>
                <a:gd name="connsiteX42" fmla="*/ 110291 w 238878"/>
                <a:gd name="connsiteY42" fmla="*/ 221456 h 235743"/>
                <a:gd name="connsiteX43" fmla="*/ 103147 w 238878"/>
                <a:gd name="connsiteY43" fmla="*/ 216693 h 235743"/>
                <a:gd name="connsiteX44" fmla="*/ 79335 w 238878"/>
                <a:gd name="connsiteY44" fmla="*/ 211931 h 235743"/>
                <a:gd name="connsiteX45" fmla="*/ 57903 w 238878"/>
                <a:gd name="connsiteY45" fmla="*/ 200025 h 235743"/>
                <a:gd name="connsiteX46" fmla="*/ 48378 w 238878"/>
                <a:gd name="connsiteY46" fmla="*/ 185737 h 235743"/>
                <a:gd name="connsiteX47" fmla="*/ 43616 w 238878"/>
                <a:gd name="connsiteY47" fmla="*/ 178593 h 235743"/>
                <a:gd name="connsiteX48" fmla="*/ 36472 w 238878"/>
                <a:gd name="connsiteY48" fmla="*/ 150018 h 235743"/>
                <a:gd name="connsiteX49" fmla="*/ 34091 w 238878"/>
                <a:gd name="connsiteY49" fmla="*/ 142875 h 235743"/>
                <a:gd name="connsiteX50" fmla="*/ 31710 w 238878"/>
                <a:gd name="connsiteY50" fmla="*/ 135731 h 235743"/>
                <a:gd name="connsiteX51" fmla="*/ 24566 w 238878"/>
                <a:gd name="connsiteY51" fmla="*/ 128587 h 235743"/>
                <a:gd name="connsiteX52" fmla="*/ 10278 w 238878"/>
                <a:gd name="connsiteY52" fmla="*/ 121443 h 235743"/>
                <a:gd name="connsiteX53" fmla="*/ 3135 w 238878"/>
                <a:gd name="connsiteY53" fmla="*/ 116681 h 235743"/>
                <a:gd name="connsiteX54" fmla="*/ 10278 w 238878"/>
                <a:gd name="connsiteY54" fmla="*/ 111918 h 235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38878" h="235743">
                  <a:moveTo>
                    <a:pt x="10278" y="111918"/>
                  </a:moveTo>
                  <a:cubicBezTo>
                    <a:pt x="12262" y="109934"/>
                    <a:pt x="13914" y="107405"/>
                    <a:pt x="15041" y="104775"/>
                  </a:cubicBezTo>
                  <a:cubicBezTo>
                    <a:pt x="16330" y="101767"/>
                    <a:pt x="15607" y="97973"/>
                    <a:pt x="17422" y="95250"/>
                  </a:cubicBezTo>
                  <a:cubicBezTo>
                    <a:pt x="20060" y="91292"/>
                    <a:pt x="27634" y="89464"/>
                    <a:pt x="31710" y="88106"/>
                  </a:cubicBezTo>
                  <a:cubicBezTo>
                    <a:pt x="34885" y="88900"/>
                    <a:pt x="38921" y="88173"/>
                    <a:pt x="41235" y="90487"/>
                  </a:cubicBezTo>
                  <a:cubicBezTo>
                    <a:pt x="43549" y="92801"/>
                    <a:pt x="41131" y="97882"/>
                    <a:pt x="43616" y="100012"/>
                  </a:cubicBezTo>
                  <a:cubicBezTo>
                    <a:pt x="47427" y="103279"/>
                    <a:pt x="57903" y="104775"/>
                    <a:pt x="57903" y="104775"/>
                  </a:cubicBezTo>
                  <a:cubicBezTo>
                    <a:pt x="63459" y="103981"/>
                    <a:pt x="69361" y="104477"/>
                    <a:pt x="74572" y="102393"/>
                  </a:cubicBezTo>
                  <a:cubicBezTo>
                    <a:pt x="77699" y="101142"/>
                    <a:pt x="79848" y="98052"/>
                    <a:pt x="81716" y="95250"/>
                  </a:cubicBezTo>
                  <a:cubicBezTo>
                    <a:pt x="84396" y="91230"/>
                    <a:pt x="86046" y="75761"/>
                    <a:pt x="86478" y="73818"/>
                  </a:cubicBezTo>
                  <a:cubicBezTo>
                    <a:pt x="87023" y="71368"/>
                    <a:pt x="86900" y="68243"/>
                    <a:pt x="88860" y="66675"/>
                  </a:cubicBezTo>
                  <a:cubicBezTo>
                    <a:pt x="91416" y="64631"/>
                    <a:pt x="95165" y="64879"/>
                    <a:pt x="98385" y="64293"/>
                  </a:cubicBezTo>
                  <a:cubicBezTo>
                    <a:pt x="103907" y="63289"/>
                    <a:pt x="109531" y="62916"/>
                    <a:pt x="115053" y="61912"/>
                  </a:cubicBezTo>
                  <a:cubicBezTo>
                    <a:pt x="121631" y="60716"/>
                    <a:pt x="125601" y="59190"/>
                    <a:pt x="131722" y="57150"/>
                  </a:cubicBezTo>
                  <a:lnTo>
                    <a:pt x="146010" y="47625"/>
                  </a:lnTo>
                  <a:lnTo>
                    <a:pt x="153153" y="42862"/>
                  </a:lnTo>
                  <a:lnTo>
                    <a:pt x="160297" y="21431"/>
                  </a:lnTo>
                  <a:cubicBezTo>
                    <a:pt x="165929" y="4531"/>
                    <a:pt x="172082" y="9585"/>
                    <a:pt x="181728" y="4762"/>
                  </a:cubicBezTo>
                  <a:cubicBezTo>
                    <a:pt x="184288" y="3482"/>
                    <a:pt x="186491" y="1587"/>
                    <a:pt x="188872" y="0"/>
                  </a:cubicBezTo>
                  <a:cubicBezTo>
                    <a:pt x="192047" y="794"/>
                    <a:pt x="195555" y="757"/>
                    <a:pt x="198397" y="2381"/>
                  </a:cubicBezTo>
                  <a:cubicBezTo>
                    <a:pt x="212777" y="10598"/>
                    <a:pt x="205534" y="25358"/>
                    <a:pt x="207922" y="40481"/>
                  </a:cubicBezTo>
                  <a:cubicBezTo>
                    <a:pt x="208705" y="45440"/>
                    <a:pt x="212685" y="54768"/>
                    <a:pt x="212685" y="54768"/>
                  </a:cubicBezTo>
                  <a:cubicBezTo>
                    <a:pt x="215252" y="70174"/>
                    <a:pt x="217782" y="77921"/>
                    <a:pt x="212685" y="95250"/>
                  </a:cubicBezTo>
                  <a:cubicBezTo>
                    <a:pt x="211070" y="100741"/>
                    <a:pt x="206335" y="104775"/>
                    <a:pt x="203160" y="109537"/>
                  </a:cubicBezTo>
                  <a:cubicBezTo>
                    <a:pt x="200375" y="113714"/>
                    <a:pt x="198397" y="123825"/>
                    <a:pt x="198397" y="123825"/>
                  </a:cubicBezTo>
                  <a:cubicBezTo>
                    <a:pt x="202588" y="136398"/>
                    <a:pt x="199386" y="128880"/>
                    <a:pt x="210303" y="145256"/>
                  </a:cubicBezTo>
                  <a:cubicBezTo>
                    <a:pt x="213088" y="149433"/>
                    <a:pt x="213478" y="154781"/>
                    <a:pt x="215066" y="159543"/>
                  </a:cubicBezTo>
                  <a:cubicBezTo>
                    <a:pt x="218353" y="169404"/>
                    <a:pt x="216053" y="164596"/>
                    <a:pt x="222210" y="173831"/>
                  </a:cubicBezTo>
                  <a:cubicBezTo>
                    <a:pt x="227877" y="190833"/>
                    <a:pt x="224187" y="183941"/>
                    <a:pt x="231735" y="195262"/>
                  </a:cubicBezTo>
                  <a:lnTo>
                    <a:pt x="236497" y="209550"/>
                  </a:lnTo>
                  <a:lnTo>
                    <a:pt x="238878" y="216693"/>
                  </a:lnTo>
                  <a:cubicBezTo>
                    <a:pt x="236497" y="219074"/>
                    <a:pt x="233891" y="221250"/>
                    <a:pt x="231735" y="223837"/>
                  </a:cubicBezTo>
                  <a:cubicBezTo>
                    <a:pt x="229903" y="226036"/>
                    <a:pt x="228996" y="228957"/>
                    <a:pt x="226972" y="230981"/>
                  </a:cubicBezTo>
                  <a:cubicBezTo>
                    <a:pt x="224948" y="233005"/>
                    <a:pt x="222209" y="234156"/>
                    <a:pt x="219828" y="235743"/>
                  </a:cubicBezTo>
                  <a:cubicBezTo>
                    <a:pt x="215688" y="235152"/>
                    <a:pt x="201770" y="234177"/>
                    <a:pt x="196016" y="230981"/>
                  </a:cubicBezTo>
                  <a:cubicBezTo>
                    <a:pt x="187772" y="226401"/>
                    <a:pt x="180571" y="221495"/>
                    <a:pt x="174585" y="214312"/>
                  </a:cubicBezTo>
                  <a:cubicBezTo>
                    <a:pt x="172753" y="212113"/>
                    <a:pt x="172057" y="208956"/>
                    <a:pt x="169822" y="207168"/>
                  </a:cubicBezTo>
                  <a:cubicBezTo>
                    <a:pt x="168269" y="205926"/>
                    <a:pt x="153775" y="202561"/>
                    <a:pt x="153153" y="202406"/>
                  </a:cubicBezTo>
                  <a:cubicBezTo>
                    <a:pt x="149184" y="203200"/>
                    <a:pt x="145173" y="203805"/>
                    <a:pt x="141247" y="204787"/>
                  </a:cubicBezTo>
                  <a:cubicBezTo>
                    <a:pt x="138812" y="205396"/>
                    <a:pt x="135878" y="205393"/>
                    <a:pt x="134103" y="207168"/>
                  </a:cubicBezTo>
                  <a:cubicBezTo>
                    <a:pt x="132328" y="208943"/>
                    <a:pt x="133764" y="212853"/>
                    <a:pt x="131722" y="214312"/>
                  </a:cubicBezTo>
                  <a:cubicBezTo>
                    <a:pt x="127637" y="217230"/>
                    <a:pt x="122197" y="217487"/>
                    <a:pt x="117435" y="219075"/>
                  </a:cubicBezTo>
                  <a:lnTo>
                    <a:pt x="110291" y="221456"/>
                  </a:lnTo>
                  <a:cubicBezTo>
                    <a:pt x="107910" y="219868"/>
                    <a:pt x="105707" y="217973"/>
                    <a:pt x="103147" y="216693"/>
                  </a:cubicBezTo>
                  <a:cubicBezTo>
                    <a:pt x="96499" y="213369"/>
                    <a:pt x="85475" y="212808"/>
                    <a:pt x="79335" y="211931"/>
                  </a:cubicBezTo>
                  <a:cubicBezTo>
                    <a:pt x="66637" y="207698"/>
                    <a:pt x="65388" y="209648"/>
                    <a:pt x="57903" y="200025"/>
                  </a:cubicBezTo>
                  <a:cubicBezTo>
                    <a:pt x="54389" y="195507"/>
                    <a:pt x="51553" y="190500"/>
                    <a:pt x="48378" y="185737"/>
                  </a:cubicBezTo>
                  <a:lnTo>
                    <a:pt x="43616" y="178593"/>
                  </a:lnTo>
                  <a:cubicBezTo>
                    <a:pt x="40410" y="159353"/>
                    <a:pt x="42762" y="168887"/>
                    <a:pt x="36472" y="150018"/>
                  </a:cubicBezTo>
                  <a:lnTo>
                    <a:pt x="34091" y="142875"/>
                  </a:lnTo>
                  <a:cubicBezTo>
                    <a:pt x="33297" y="140494"/>
                    <a:pt x="33485" y="137506"/>
                    <a:pt x="31710" y="135731"/>
                  </a:cubicBezTo>
                  <a:cubicBezTo>
                    <a:pt x="29329" y="133350"/>
                    <a:pt x="27153" y="130743"/>
                    <a:pt x="24566" y="128587"/>
                  </a:cubicBezTo>
                  <a:cubicBezTo>
                    <a:pt x="14333" y="120060"/>
                    <a:pt x="21015" y="126812"/>
                    <a:pt x="10278" y="121443"/>
                  </a:cubicBezTo>
                  <a:cubicBezTo>
                    <a:pt x="7719" y="120163"/>
                    <a:pt x="5516" y="118268"/>
                    <a:pt x="3135" y="116681"/>
                  </a:cubicBezTo>
                  <a:cubicBezTo>
                    <a:pt x="0" y="107278"/>
                    <a:pt x="8294" y="113902"/>
                    <a:pt x="10278" y="111918"/>
                  </a:cubicBezTo>
                  <a:close/>
                </a:path>
              </a:pathLst>
            </a:custGeom>
            <a:grp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rtl="0" eaLnBrk="0" fontAlgn="base" hangingPunct="0">
                <a:spcBef>
                  <a:spcPct val="50000"/>
                </a:spcBef>
                <a:spcAft>
                  <a:spcPct val="0"/>
                </a:spcAft>
              </a:pPr>
              <a:endParaRPr lang="en-US" sz="900">
                <a:solidFill>
                  <a:srgbClr val="000000"/>
                </a:solidFill>
                <a:latin typeface="Arial" charset="0"/>
              </a:endParaRPr>
            </a:p>
          </p:txBody>
        </p:sp>
        <p:sp>
          <p:nvSpPr>
            <p:cNvPr id="55" name="Freeform 55">
              <a:extLst>
                <a:ext uri="{FF2B5EF4-FFF2-40B4-BE49-F238E27FC236}">
                  <a16:creationId xmlns:a16="http://schemas.microsoft.com/office/drawing/2014/main" id="{75A00CEB-789A-4FAD-8A21-895A7C44F41F}"/>
                </a:ext>
              </a:extLst>
            </p:cNvPr>
            <p:cNvSpPr/>
            <p:nvPr>
              <p:custDataLst>
                <p:tags r:id="rId10"/>
              </p:custDataLst>
            </p:nvPr>
          </p:nvSpPr>
          <p:spPr bwMode="gray">
            <a:xfrm>
              <a:off x="4669414" y="2374900"/>
              <a:ext cx="1123560" cy="1476375"/>
            </a:xfrm>
            <a:custGeom>
              <a:avLst/>
              <a:gdLst>
                <a:gd name="connsiteX0" fmla="*/ 374260 w 1123560"/>
                <a:gd name="connsiteY0" fmla="*/ 3175 h 1476375"/>
                <a:gd name="connsiteX1" fmla="*/ 412360 w 1123560"/>
                <a:gd name="connsiteY1" fmla="*/ 0 h 1476375"/>
                <a:gd name="connsiteX2" fmla="*/ 437760 w 1123560"/>
                <a:gd name="connsiteY2" fmla="*/ 3175 h 1476375"/>
                <a:gd name="connsiteX3" fmla="*/ 444110 w 1123560"/>
                <a:gd name="connsiteY3" fmla="*/ 12700 h 1476375"/>
                <a:gd name="connsiteX4" fmla="*/ 447285 w 1123560"/>
                <a:gd name="connsiteY4" fmla="*/ 22225 h 1476375"/>
                <a:gd name="connsiteX5" fmla="*/ 450460 w 1123560"/>
                <a:gd name="connsiteY5" fmla="*/ 38100 h 1476375"/>
                <a:gd name="connsiteX6" fmla="*/ 469510 w 1123560"/>
                <a:gd name="connsiteY6" fmla="*/ 53975 h 1476375"/>
                <a:gd name="connsiteX7" fmla="*/ 488560 w 1123560"/>
                <a:gd name="connsiteY7" fmla="*/ 47625 h 1476375"/>
                <a:gd name="connsiteX8" fmla="*/ 498085 w 1123560"/>
                <a:gd name="connsiteY8" fmla="*/ 44450 h 1476375"/>
                <a:gd name="connsiteX9" fmla="*/ 507610 w 1123560"/>
                <a:gd name="connsiteY9" fmla="*/ 53975 h 1476375"/>
                <a:gd name="connsiteX10" fmla="*/ 517135 w 1123560"/>
                <a:gd name="connsiteY10" fmla="*/ 60325 h 1476375"/>
                <a:gd name="connsiteX11" fmla="*/ 529835 w 1123560"/>
                <a:gd name="connsiteY11" fmla="*/ 79375 h 1476375"/>
                <a:gd name="connsiteX12" fmla="*/ 545710 w 1123560"/>
                <a:gd name="connsiteY12" fmla="*/ 104775 h 1476375"/>
                <a:gd name="connsiteX13" fmla="*/ 564760 w 1123560"/>
                <a:gd name="connsiteY13" fmla="*/ 111125 h 1476375"/>
                <a:gd name="connsiteX14" fmla="*/ 583810 w 1123560"/>
                <a:gd name="connsiteY14" fmla="*/ 117475 h 1476375"/>
                <a:gd name="connsiteX15" fmla="*/ 593335 w 1123560"/>
                <a:gd name="connsiteY15" fmla="*/ 120650 h 1476375"/>
                <a:gd name="connsiteX16" fmla="*/ 602860 w 1123560"/>
                <a:gd name="connsiteY16" fmla="*/ 123825 h 1476375"/>
                <a:gd name="connsiteX17" fmla="*/ 618735 w 1123560"/>
                <a:gd name="connsiteY17" fmla="*/ 120650 h 1476375"/>
                <a:gd name="connsiteX18" fmla="*/ 637785 w 1123560"/>
                <a:gd name="connsiteY18" fmla="*/ 114300 h 1476375"/>
                <a:gd name="connsiteX19" fmla="*/ 656835 w 1123560"/>
                <a:gd name="connsiteY19" fmla="*/ 111125 h 1476375"/>
                <a:gd name="connsiteX20" fmla="*/ 660010 w 1123560"/>
                <a:gd name="connsiteY20" fmla="*/ 120650 h 1476375"/>
                <a:gd name="connsiteX21" fmla="*/ 666360 w 1123560"/>
                <a:gd name="connsiteY21" fmla="*/ 142875 h 1476375"/>
                <a:gd name="connsiteX22" fmla="*/ 682235 w 1123560"/>
                <a:gd name="connsiteY22" fmla="*/ 123825 h 1476375"/>
                <a:gd name="connsiteX23" fmla="*/ 691760 w 1123560"/>
                <a:gd name="connsiteY23" fmla="*/ 120650 h 1476375"/>
                <a:gd name="connsiteX24" fmla="*/ 701285 w 1123560"/>
                <a:gd name="connsiteY24" fmla="*/ 123825 h 1476375"/>
                <a:gd name="connsiteX25" fmla="*/ 707635 w 1123560"/>
                <a:gd name="connsiteY25" fmla="*/ 146050 h 1476375"/>
                <a:gd name="connsiteX26" fmla="*/ 704460 w 1123560"/>
                <a:gd name="connsiteY26" fmla="*/ 184150 h 1476375"/>
                <a:gd name="connsiteX27" fmla="*/ 691760 w 1123560"/>
                <a:gd name="connsiteY27" fmla="*/ 212725 h 1476375"/>
                <a:gd name="connsiteX28" fmla="*/ 688585 w 1123560"/>
                <a:gd name="connsiteY28" fmla="*/ 222250 h 1476375"/>
                <a:gd name="connsiteX29" fmla="*/ 691760 w 1123560"/>
                <a:gd name="connsiteY29" fmla="*/ 241300 h 1476375"/>
                <a:gd name="connsiteX30" fmla="*/ 704460 w 1123560"/>
                <a:gd name="connsiteY30" fmla="*/ 260350 h 1476375"/>
                <a:gd name="connsiteX31" fmla="*/ 698110 w 1123560"/>
                <a:gd name="connsiteY31" fmla="*/ 282575 h 1476375"/>
                <a:gd name="connsiteX32" fmla="*/ 679060 w 1123560"/>
                <a:gd name="connsiteY32" fmla="*/ 301625 h 1476375"/>
                <a:gd name="connsiteX33" fmla="*/ 675885 w 1123560"/>
                <a:gd name="connsiteY33" fmla="*/ 311150 h 1476375"/>
                <a:gd name="connsiteX34" fmla="*/ 675885 w 1123560"/>
                <a:gd name="connsiteY34" fmla="*/ 368300 h 1476375"/>
                <a:gd name="connsiteX35" fmla="*/ 685410 w 1123560"/>
                <a:gd name="connsiteY35" fmla="*/ 371475 h 1476375"/>
                <a:gd name="connsiteX36" fmla="*/ 698110 w 1123560"/>
                <a:gd name="connsiteY36" fmla="*/ 374650 h 1476375"/>
                <a:gd name="connsiteX37" fmla="*/ 717160 w 1123560"/>
                <a:gd name="connsiteY37" fmla="*/ 381000 h 1476375"/>
                <a:gd name="connsiteX38" fmla="*/ 726685 w 1123560"/>
                <a:gd name="connsiteY38" fmla="*/ 387350 h 1476375"/>
                <a:gd name="connsiteX39" fmla="*/ 736210 w 1123560"/>
                <a:gd name="connsiteY39" fmla="*/ 390525 h 1476375"/>
                <a:gd name="connsiteX40" fmla="*/ 742560 w 1123560"/>
                <a:gd name="connsiteY40" fmla="*/ 400050 h 1476375"/>
                <a:gd name="connsiteX41" fmla="*/ 733035 w 1123560"/>
                <a:gd name="connsiteY41" fmla="*/ 434975 h 1476375"/>
                <a:gd name="connsiteX42" fmla="*/ 729860 w 1123560"/>
                <a:gd name="connsiteY42" fmla="*/ 444500 h 1476375"/>
                <a:gd name="connsiteX43" fmla="*/ 733035 w 1123560"/>
                <a:gd name="connsiteY43" fmla="*/ 463550 h 1476375"/>
                <a:gd name="connsiteX44" fmla="*/ 726685 w 1123560"/>
                <a:gd name="connsiteY44" fmla="*/ 517525 h 1476375"/>
                <a:gd name="connsiteX45" fmla="*/ 720335 w 1123560"/>
                <a:gd name="connsiteY45" fmla="*/ 536575 h 1476375"/>
                <a:gd name="connsiteX46" fmla="*/ 713985 w 1123560"/>
                <a:gd name="connsiteY46" fmla="*/ 546100 h 1476375"/>
                <a:gd name="connsiteX47" fmla="*/ 717160 w 1123560"/>
                <a:gd name="connsiteY47" fmla="*/ 612775 h 1476375"/>
                <a:gd name="connsiteX48" fmla="*/ 720335 w 1123560"/>
                <a:gd name="connsiteY48" fmla="*/ 622300 h 1476375"/>
                <a:gd name="connsiteX49" fmla="*/ 726685 w 1123560"/>
                <a:gd name="connsiteY49" fmla="*/ 631825 h 1476375"/>
                <a:gd name="connsiteX50" fmla="*/ 733035 w 1123560"/>
                <a:gd name="connsiteY50" fmla="*/ 650875 h 1476375"/>
                <a:gd name="connsiteX51" fmla="*/ 739385 w 1123560"/>
                <a:gd name="connsiteY51" fmla="*/ 660400 h 1476375"/>
                <a:gd name="connsiteX52" fmla="*/ 742560 w 1123560"/>
                <a:gd name="connsiteY52" fmla="*/ 669925 h 1476375"/>
                <a:gd name="connsiteX53" fmla="*/ 752085 w 1123560"/>
                <a:gd name="connsiteY53" fmla="*/ 676275 h 1476375"/>
                <a:gd name="connsiteX54" fmla="*/ 767960 w 1123560"/>
                <a:gd name="connsiteY54" fmla="*/ 698500 h 1476375"/>
                <a:gd name="connsiteX55" fmla="*/ 787010 w 1123560"/>
                <a:gd name="connsiteY55" fmla="*/ 708025 h 1476375"/>
                <a:gd name="connsiteX56" fmla="*/ 806060 w 1123560"/>
                <a:gd name="connsiteY56" fmla="*/ 723900 h 1476375"/>
                <a:gd name="connsiteX57" fmla="*/ 828285 w 1123560"/>
                <a:gd name="connsiteY57" fmla="*/ 730250 h 1476375"/>
                <a:gd name="connsiteX58" fmla="*/ 856860 w 1123560"/>
                <a:gd name="connsiteY58" fmla="*/ 739775 h 1476375"/>
                <a:gd name="connsiteX59" fmla="*/ 866385 w 1123560"/>
                <a:gd name="connsiteY59" fmla="*/ 742950 h 1476375"/>
                <a:gd name="connsiteX60" fmla="*/ 882260 w 1123560"/>
                <a:gd name="connsiteY60" fmla="*/ 739775 h 1476375"/>
                <a:gd name="connsiteX61" fmla="*/ 901310 w 1123560"/>
                <a:gd name="connsiteY61" fmla="*/ 733425 h 1476375"/>
                <a:gd name="connsiteX62" fmla="*/ 917185 w 1123560"/>
                <a:gd name="connsiteY62" fmla="*/ 720725 h 1476375"/>
                <a:gd name="connsiteX63" fmla="*/ 926710 w 1123560"/>
                <a:gd name="connsiteY63" fmla="*/ 723900 h 1476375"/>
                <a:gd name="connsiteX64" fmla="*/ 942585 w 1123560"/>
                <a:gd name="connsiteY64" fmla="*/ 742950 h 1476375"/>
                <a:gd name="connsiteX65" fmla="*/ 948935 w 1123560"/>
                <a:gd name="connsiteY65" fmla="*/ 752475 h 1476375"/>
                <a:gd name="connsiteX66" fmla="*/ 967985 w 1123560"/>
                <a:gd name="connsiteY66" fmla="*/ 768350 h 1476375"/>
                <a:gd name="connsiteX67" fmla="*/ 987035 w 1123560"/>
                <a:gd name="connsiteY67" fmla="*/ 774700 h 1476375"/>
                <a:gd name="connsiteX68" fmla="*/ 996560 w 1123560"/>
                <a:gd name="connsiteY68" fmla="*/ 777875 h 1476375"/>
                <a:gd name="connsiteX69" fmla="*/ 1009260 w 1123560"/>
                <a:gd name="connsiteY69" fmla="*/ 774700 h 1476375"/>
                <a:gd name="connsiteX70" fmla="*/ 1018785 w 1123560"/>
                <a:gd name="connsiteY70" fmla="*/ 771525 h 1476375"/>
                <a:gd name="connsiteX71" fmla="*/ 1041010 w 1123560"/>
                <a:gd name="connsiteY71" fmla="*/ 774700 h 1476375"/>
                <a:gd name="connsiteX72" fmla="*/ 1050535 w 1123560"/>
                <a:gd name="connsiteY72" fmla="*/ 777875 h 1476375"/>
                <a:gd name="connsiteX73" fmla="*/ 1053710 w 1123560"/>
                <a:gd name="connsiteY73" fmla="*/ 787400 h 1476375"/>
                <a:gd name="connsiteX74" fmla="*/ 1060060 w 1123560"/>
                <a:gd name="connsiteY74" fmla="*/ 796925 h 1476375"/>
                <a:gd name="connsiteX75" fmla="*/ 1079110 w 1123560"/>
                <a:gd name="connsiteY75" fmla="*/ 809625 h 1476375"/>
                <a:gd name="connsiteX76" fmla="*/ 1098160 w 1123560"/>
                <a:gd name="connsiteY76" fmla="*/ 815975 h 1476375"/>
                <a:gd name="connsiteX77" fmla="*/ 1107685 w 1123560"/>
                <a:gd name="connsiteY77" fmla="*/ 822325 h 1476375"/>
                <a:gd name="connsiteX78" fmla="*/ 1120385 w 1123560"/>
                <a:gd name="connsiteY78" fmla="*/ 841375 h 1476375"/>
                <a:gd name="connsiteX79" fmla="*/ 1117210 w 1123560"/>
                <a:gd name="connsiteY79" fmla="*/ 882650 h 1476375"/>
                <a:gd name="connsiteX80" fmla="*/ 1123560 w 1123560"/>
                <a:gd name="connsiteY80" fmla="*/ 914400 h 1476375"/>
                <a:gd name="connsiteX81" fmla="*/ 1120385 w 1123560"/>
                <a:gd name="connsiteY81" fmla="*/ 933450 h 1476375"/>
                <a:gd name="connsiteX82" fmla="*/ 1117210 w 1123560"/>
                <a:gd name="connsiteY82" fmla="*/ 942975 h 1476375"/>
                <a:gd name="connsiteX83" fmla="*/ 1098160 w 1123560"/>
                <a:gd name="connsiteY83" fmla="*/ 955675 h 1476375"/>
                <a:gd name="connsiteX84" fmla="*/ 1069585 w 1123560"/>
                <a:gd name="connsiteY84" fmla="*/ 977900 h 1476375"/>
                <a:gd name="connsiteX85" fmla="*/ 1060060 w 1123560"/>
                <a:gd name="connsiteY85" fmla="*/ 981075 h 1476375"/>
                <a:gd name="connsiteX86" fmla="*/ 983860 w 1123560"/>
                <a:gd name="connsiteY86" fmla="*/ 977900 h 1476375"/>
                <a:gd name="connsiteX87" fmla="*/ 967985 w 1123560"/>
                <a:gd name="connsiteY87" fmla="*/ 974725 h 1476375"/>
                <a:gd name="connsiteX88" fmla="*/ 948935 w 1123560"/>
                <a:gd name="connsiteY88" fmla="*/ 968375 h 1476375"/>
                <a:gd name="connsiteX89" fmla="*/ 923535 w 1123560"/>
                <a:gd name="connsiteY89" fmla="*/ 971550 h 1476375"/>
                <a:gd name="connsiteX90" fmla="*/ 904485 w 1123560"/>
                <a:gd name="connsiteY90" fmla="*/ 984250 h 1476375"/>
                <a:gd name="connsiteX91" fmla="*/ 885435 w 1123560"/>
                <a:gd name="connsiteY91" fmla="*/ 996950 h 1476375"/>
                <a:gd name="connsiteX92" fmla="*/ 866385 w 1123560"/>
                <a:gd name="connsiteY92" fmla="*/ 1003300 h 1476375"/>
                <a:gd name="connsiteX93" fmla="*/ 844160 w 1123560"/>
                <a:gd name="connsiteY93" fmla="*/ 1009650 h 1476375"/>
                <a:gd name="connsiteX94" fmla="*/ 796535 w 1123560"/>
                <a:gd name="connsiteY94" fmla="*/ 1016000 h 1476375"/>
                <a:gd name="connsiteX95" fmla="*/ 777485 w 1123560"/>
                <a:gd name="connsiteY95" fmla="*/ 1022350 h 1476375"/>
                <a:gd name="connsiteX96" fmla="*/ 755260 w 1123560"/>
                <a:gd name="connsiteY96" fmla="*/ 1031875 h 1476375"/>
                <a:gd name="connsiteX97" fmla="*/ 736210 w 1123560"/>
                <a:gd name="connsiteY97" fmla="*/ 1044575 h 1476375"/>
                <a:gd name="connsiteX98" fmla="*/ 710810 w 1123560"/>
                <a:gd name="connsiteY98" fmla="*/ 1073150 h 1476375"/>
                <a:gd name="connsiteX99" fmla="*/ 701285 w 1123560"/>
                <a:gd name="connsiteY99" fmla="*/ 1082675 h 1476375"/>
                <a:gd name="connsiteX100" fmla="*/ 694935 w 1123560"/>
                <a:gd name="connsiteY100" fmla="*/ 1101725 h 1476375"/>
                <a:gd name="connsiteX101" fmla="*/ 698110 w 1123560"/>
                <a:gd name="connsiteY101" fmla="*/ 1114425 h 1476375"/>
                <a:gd name="connsiteX102" fmla="*/ 704460 w 1123560"/>
                <a:gd name="connsiteY102" fmla="*/ 1143000 h 1476375"/>
                <a:gd name="connsiteX103" fmla="*/ 701285 w 1123560"/>
                <a:gd name="connsiteY103" fmla="*/ 1181100 h 1476375"/>
                <a:gd name="connsiteX104" fmla="*/ 698110 w 1123560"/>
                <a:gd name="connsiteY104" fmla="*/ 1196975 h 1476375"/>
                <a:gd name="connsiteX105" fmla="*/ 694935 w 1123560"/>
                <a:gd name="connsiteY105" fmla="*/ 1219200 h 1476375"/>
                <a:gd name="connsiteX106" fmla="*/ 707635 w 1123560"/>
                <a:gd name="connsiteY106" fmla="*/ 1235075 h 1476375"/>
                <a:gd name="connsiteX107" fmla="*/ 710810 w 1123560"/>
                <a:gd name="connsiteY107" fmla="*/ 1244600 h 1476375"/>
                <a:gd name="connsiteX108" fmla="*/ 720335 w 1123560"/>
                <a:gd name="connsiteY108" fmla="*/ 1263650 h 1476375"/>
                <a:gd name="connsiteX109" fmla="*/ 717160 w 1123560"/>
                <a:gd name="connsiteY109" fmla="*/ 1292225 h 1476375"/>
                <a:gd name="connsiteX110" fmla="*/ 713985 w 1123560"/>
                <a:gd name="connsiteY110" fmla="*/ 1301750 h 1476375"/>
                <a:gd name="connsiteX111" fmla="*/ 720335 w 1123560"/>
                <a:gd name="connsiteY111" fmla="*/ 1330325 h 1476375"/>
                <a:gd name="connsiteX112" fmla="*/ 726685 w 1123560"/>
                <a:gd name="connsiteY112" fmla="*/ 1339850 h 1476375"/>
                <a:gd name="connsiteX113" fmla="*/ 729860 w 1123560"/>
                <a:gd name="connsiteY113" fmla="*/ 1349375 h 1476375"/>
                <a:gd name="connsiteX114" fmla="*/ 739385 w 1123560"/>
                <a:gd name="connsiteY114" fmla="*/ 1355725 h 1476375"/>
                <a:gd name="connsiteX115" fmla="*/ 755260 w 1123560"/>
                <a:gd name="connsiteY115" fmla="*/ 1374775 h 1476375"/>
                <a:gd name="connsiteX116" fmla="*/ 752085 w 1123560"/>
                <a:gd name="connsiteY116" fmla="*/ 1384300 h 1476375"/>
                <a:gd name="connsiteX117" fmla="*/ 761610 w 1123560"/>
                <a:gd name="connsiteY117" fmla="*/ 1403350 h 1476375"/>
                <a:gd name="connsiteX118" fmla="*/ 764785 w 1123560"/>
                <a:gd name="connsiteY118" fmla="*/ 1412875 h 1476375"/>
                <a:gd name="connsiteX119" fmla="*/ 755260 w 1123560"/>
                <a:gd name="connsiteY119" fmla="*/ 1463675 h 1476375"/>
                <a:gd name="connsiteX120" fmla="*/ 745735 w 1123560"/>
                <a:gd name="connsiteY120" fmla="*/ 1473200 h 1476375"/>
                <a:gd name="connsiteX121" fmla="*/ 729860 w 1123560"/>
                <a:gd name="connsiteY121" fmla="*/ 1476375 h 1476375"/>
                <a:gd name="connsiteX122" fmla="*/ 723510 w 1123560"/>
                <a:gd name="connsiteY122" fmla="*/ 1466850 h 1476375"/>
                <a:gd name="connsiteX123" fmla="*/ 682235 w 1123560"/>
                <a:gd name="connsiteY123" fmla="*/ 1463675 h 1476375"/>
                <a:gd name="connsiteX124" fmla="*/ 672710 w 1123560"/>
                <a:gd name="connsiteY124" fmla="*/ 1466850 h 1476375"/>
                <a:gd name="connsiteX125" fmla="*/ 637785 w 1123560"/>
                <a:gd name="connsiteY125" fmla="*/ 1457325 h 1476375"/>
                <a:gd name="connsiteX126" fmla="*/ 628260 w 1123560"/>
                <a:gd name="connsiteY126" fmla="*/ 1447800 h 1476375"/>
                <a:gd name="connsiteX127" fmla="*/ 625085 w 1123560"/>
                <a:gd name="connsiteY127" fmla="*/ 1438275 h 1476375"/>
                <a:gd name="connsiteX128" fmla="*/ 602860 w 1123560"/>
                <a:gd name="connsiteY128" fmla="*/ 1409700 h 1476375"/>
                <a:gd name="connsiteX129" fmla="*/ 593335 w 1123560"/>
                <a:gd name="connsiteY129" fmla="*/ 1403350 h 1476375"/>
                <a:gd name="connsiteX130" fmla="*/ 520310 w 1123560"/>
                <a:gd name="connsiteY130" fmla="*/ 1400175 h 1476375"/>
                <a:gd name="connsiteX131" fmla="*/ 501260 w 1123560"/>
                <a:gd name="connsiteY131" fmla="*/ 1387475 h 1476375"/>
                <a:gd name="connsiteX132" fmla="*/ 482210 w 1123560"/>
                <a:gd name="connsiteY132" fmla="*/ 1371600 h 1476375"/>
                <a:gd name="connsiteX133" fmla="*/ 463160 w 1123560"/>
                <a:gd name="connsiteY133" fmla="*/ 1365250 h 1476375"/>
                <a:gd name="connsiteX134" fmla="*/ 396485 w 1123560"/>
                <a:gd name="connsiteY134" fmla="*/ 1358900 h 1476375"/>
                <a:gd name="connsiteX135" fmla="*/ 390135 w 1123560"/>
                <a:gd name="connsiteY135" fmla="*/ 1349375 h 1476375"/>
                <a:gd name="connsiteX136" fmla="*/ 390135 w 1123560"/>
                <a:gd name="connsiteY136" fmla="*/ 1304925 h 1476375"/>
                <a:gd name="connsiteX137" fmla="*/ 383785 w 1123560"/>
                <a:gd name="connsiteY137" fmla="*/ 1295400 h 1476375"/>
                <a:gd name="connsiteX138" fmla="*/ 358385 w 1123560"/>
                <a:gd name="connsiteY138" fmla="*/ 1289050 h 1476375"/>
                <a:gd name="connsiteX139" fmla="*/ 361560 w 1123560"/>
                <a:gd name="connsiteY139" fmla="*/ 1270000 h 1476375"/>
                <a:gd name="connsiteX140" fmla="*/ 380610 w 1123560"/>
                <a:gd name="connsiteY140" fmla="*/ 1257300 h 1476375"/>
                <a:gd name="connsiteX141" fmla="*/ 380610 w 1123560"/>
                <a:gd name="connsiteY141" fmla="*/ 1219200 h 1476375"/>
                <a:gd name="connsiteX142" fmla="*/ 364735 w 1123560"/>
                <a:gd name="connsiteY142" fmla="*/ 1190625 h 1476375"/>
                <a:gd name="connsiteX143" fmla="*/ 348860 w 1123560"/>
                <a:gd name="connsiteY143" fmla="*/ 1171575 h 1476375"/>
                <a:gd name="connsiteX144" fmla="*/ 329810 w 1123560"/>
                <a:gd name="connsiteY144" fmla="*/ 1165225 h 1476375"/>
                <a:gd name="connsiteX145" fmla="*/ 310760 w 1123560"/>
                <a:gd name="connsiteY145" fmla="*/ 1158875 h 1476375"/>
                <a:gd name="connsiteX146" fmla="*/ 244085 w 1123560"/>
                <a:gd name="connsiteY146" fmla="*/ 1152525 h 1476375"/>
                <a:gd name="connsiteX147" fmla="*/ 221860 w 1123560"/>
                <a:gd name="connsiteY147" fmla="*/ 1149350 h 1476375"/>
                <a:gd name="connsiteX148" fmla="*/ 177410 w 1123560"/>
                <a:gd name="connsiteY148" fmla="*/ 1143000 h 1476375"/>
                <a:gd name="connsiteX149" fmla="*/ 171060 w 1123560"/>
                <a:gd name="connsiteY149" fmla="*/ 1133475 h 1476375"/>
                <a:gd name="connsiteX150" fmla="*/ 161535 w 1123560"/>
                <a:gd name="connsiteY150" fmla="*/ 1101725 h 1476375"/>
                <a:gd name="connsiteX151" fmla="*/ 155185 w 1123560"/>
                <a:gd name="connsiteY151" fmla="*/ 1082675 h 1476375"/>
                <a:gd name="connsiteX152" fmla="*/ 145660 w 1123560"/>
                <a:gd name="connsiteY152" fmla="*/ 1076325 h 1476375"/>
                <a:gd name="connsiteX153" fmla="*/ 139310 w 1123560"/>
                <a:gd name="connsiteY153" fmla="*/ 1066800 h 1476375"/>
                <a:gd name="connsiteX154" fmla="*/ 139310 w 1123560"/>
                <a:gd name="connsiteY154" fmla="*/ 1022350 h 1476375"/>
                <a:gd name="connsiteX155" fmla="*/ 129785 w 1123560"/>
                <a:gd name="connsiteY155" fmla="*/ 1003300 h 1476375"/>
                <a:gd name="connsiteX156" fmla="*/ 120260 w 1123560"/>
                <a:gd name="connsiteY156" fmla="*/ 1000125 h 1476375"/>
                <a:gd name="connsiteX157" fmla="*/ 91685 w 1123560"/>
                <a:gd name="connsiteY157" fmla="*/ 990600 h 1476375"/>
                <a:gd name="connsiteX158" fmla="*/ 44060 w 1123560"/>
                <a:gd name="connsiteY158" fmla="*/ 984250 h 1476375"/>
                <a:gd name="connsiteX159" fmla="*/ 37710 w 1123560"/>
                <a:gd name="connsiteY159" fmla="*/ 962025 h 1476375"/>
                <a:gd name="connsiteX160" fmla="*/ 31360 w 1123560"/>
                <a:gd name="connsiteY160" fmla="*/ 942975 h 1476375"/>
                <a:gd name="connsiteX161" fmla="*/ 25010 w 1123560"/>
                <a:gd name="connsiteY161" fmla="*/ 933450 h 1476375"/>
                <a:gd name="connsiteX162" fmla="*/ 18660 w 1123560"/>
                <a:gd name="connsiteY162" fmla="*/ 914400 h 1476375"/>
                <a:gd name="connsiteX163" fmla="*/ 12310 w 1123560"/>
                <a:gd name="connsiteY163" fmla="*/ 892175 h 1476375"/>
                <a:gd name="connsiteX164" fmla="*/ 2785 w 1123560"/>
                <a:gd name="connsiteY164" fmla="*/ 873125 h 1476375"/>
                <a:gd name="connsiteX165" fmla="*/ 5960 w 1123560"/>
                <a:gd name="connsiteY165" fmla="*/ 857250 h 1476375"/>
                <a:gd name="connsiteX166" fmla="*/ 25010 w 1123560"/>
                <a:gd name="connsiteY166" fmla="*/ 847725 h 1476375"/>
                <a:gd name="connsiteX167" fmla="*/ 28185 w 1123560"/>
                <a:gd name="connsiteY167" fmla="*/ 838200 h 1476375"/>
                <a:gd name="connsiteX168" fmla="*/ 34535 w 1123560"/>
                <a:gd name="connsiteY168" fmla="*/ 828675 h 1476375"/>
                <a:gd name="connsiteX169" fmla="*/ 40885 w 1123560"/>
                <a:gd name="connsiteY169" fmla="*/ 809625 h 1476375"/>
                <a:gd name="connsiteX170" fmla="*/ 31360 w 1123560"/>
                <a:gd name="connsiteY170" fmla="*/ 790575 h 1476375"/>
                <a:gd name="connsiteX171" fmla="*/ 18660 w 1123560"/>
                <a:gd name="connsiteY171" fmla="*/ 771525 h 1476375"/>
                <a:gd name="connsiteX172" fmla="*/ 15485 w 1123560"/>
                <a:gd name="connsiteY172" fmla="*/ 762000 h 1476375"/>
                <a:gd name="connsiteX173" fmla="*/ 18660 w 1123560"/>
                <a:gd name="connsiteY173" fmla="*/ 749300 h 1476375"/>
                <a:gd name="connsiteX174" fmla="*/ 37710 w 1123560"/>
                <a:gd name="connsiteY174" fmla="*/ 739775 h 1476375"/>
                <a:gd name="connsiteX175" fmla="*/ 66285 w 1123560"/>
                <a:gd name="connsiteY175" fmla="*/ 730250 h 1476375"/>
                <a:gd name="connsiteX176" fmla="*/ 85335 w 1123560"/>
                <a:gd name="connsiteY176" fmla="*/ 723900 h 1476375"/>
                <a:gd name="connsiteX177" fmla="*/ 113910 w 1123560"/>
                <a:gd name="connsiteY177" fmla="*/ 717550 h 1476375"/>
                <a:gd name="connsiteX178" fmla="*/ 155185 w 1123560"/>
                <a:gd name="connsiteY178" fmla="*/ 714375 h 1476375"/>
                <a:gd name="connsiteX179" fmla="*/ 164710 w 1123560"/>
                <a:gd name="connsiteY179" fmla="*/ 708025 h 1476375"/>
                <a:gd name="connsiteX180" fmla="*/ 177410 w 1123560"/>
                <a:gd name="connsiteY180" fmla="*/ 688975 h 1476375"/>
                <a:gd name="connsiteX181" fmla="*/ 183760 w 1123560"/>
                <a:gd name="connsiteY181" fmla="*/ 679450 h 1476375"/>
                <a:gd name="connsiteX182" fmla="*/ 193285 w 1123560"/>
                <a:gd name="connsiteY182" fmla="*/ 669925 h 1476375"/>
                <a:gd name="connsiteX183" fmla="*/ 196460 w 1123560"/>
                <a:gd name="connsiteY183" fmla="*/ 660400 h 1476375"/>
                <a:gd name="connsiteX184" fmla="*/ 205985 w 1123560"/>
                <a:gd name="connsiteY184" fmla="*/ 654050 h 1476375"/>
                <a:gd name="connsiteX185" fmla="*/ 212335 w 1123560"/>
                <a:gd name="connsiteY185" fmla="*/ 635000 h 1476375"/>
                <a:gd name="connsiteX186" fmla="*/ 209160 w 1123560"/>
                <a:gd name="connsiteY186" fmla="*/ 619125 h 1476375"/>
                <a:gd name="connsiteX187" fmla="*/ 199635 w 1123560"/>
                <a:gd name="connsiteY187" fmla="*/ 612775 h 1476375"/>
                <a:gd name="connsiteX188" fmla="*/ 202810 w 1123560"/>
                <a:gd name="connsiteY188" fmla="*/ 603250 h 1476375"/>
                <a:gd name="connsiteX189" fmla="*/ 212335 w 1123560"/>
                <a:gd name="connsiteY189" fmla="*/ 593725 h 1476375"/>
                <a:gd name="connsiteX190" fmla="*/ 218685 w 1123560"/>
                <a:gd name="connsiteY190" fmla="*/ 584200 h 1476375"/>
                <a:gd name="connsiteX191" fmla="*/ 209160 w 1123560"/>
                <a:gd name="connsiteY191" fmla="*/ 558800 h 1476375"/>
                <a:gd name="connsiteX192" fmla="*/ 199635 w 1123560"/>
                <a:gd name="connsiteY192" fmla="*/ 552450 h 1476375"/>
                <a:gd name="connsiteX193" fmla="*/ 186935 w 1123560"/>
                <a:gd name="connsiteY193" fmla="*/ 533400 h 1476375"/>
                <a:gd name="connsiteX194" fmla="*/ 190110 w 1123560"/>
                <a:gd name="connsiteY194" fmla="*/ 517525 h 1476375"/>
                <a:gd name="connsiteX195" fmla="*/ 205985 w 1123560"/>
                <a:gd name="connsiteY195" fmla="*/ 501650 h 1476375"/>
                <a:gd name="connsiteX196" fmla="*/ 212335 w 1123560"/>
                <a:gd name="connsiteY196" fmla="*/ 492125 h 1476375"/>
                <a:gd name="connsiteX197" fmla="*/ 215510 w 1123560"/>
                <a:gd name="connsiteY197" fmla="*/ 482600 h 1476375"/>
                <a:gd name="connsiteX198" fmla="*/ 199635 w 1123560"/>
                <a:gd name="connsiteY198" fmla="*/ 457200 h 1476375"/>
                <a:gd name="connsiteX199" fmla="*/ 190110 w 1123560"/>
                <a:gd name="connsiteY199" fmla="*/ 447675 h 1476375"/>
                <a:gd name="connsiteX200" fmla="*/ 177410 w 1123560"/>
                <a:gd name="connsiteY200" fmla="*/ 428625 h 1476375"/>
                <a:gd name="connsiteX201" fmla="*/ 171060 w 1123560"/>
                <a:gd name="connsiteY201" fmla="*/ 419100 h 1476375"/>
                <a:gd name="connsiteX202" fmla="*/ 167885 w 1123560"/>
                <a:gd name="connsiteY202" fmla="*/ 409575 h 1476375"/>
                <a:gd name="connsiteX203" fmla="*/ 174235 w 1123560"/>
                <a:gd name="connsiteY203" fmla="*/ 400050 h 1476375"/>
                <a:gd name="connsiteX204" fmla="*/ 180585 w 1123560"/>
                <a:gd name="connsiteY204" fmla="*/ 381000 h 1476375"/>
                <a:gd name="connsiteX205" fmla="*/ 167885 w 1123560"/>
                <a:gd name="connsiteY205" fmla="*/ 352425 h 1476375"/>
                <a:gd name="connsiteX206" fmla="*/ 161535 w 1123560"/>
                <a:gd name="connsiteY206" fmla="*/ 342900 h 1476375"/>
                <a:gd name="connsiteX207" fmla="*/ 155185 w 1123560"/>
                <a:gd name="connsiteY207" fmla="*/ 323850 h 1476375"/>
                <a:gd name="connsiteX208" fmla="*/ 142485 w 1123560"/>
                <a:gd name="connsiteY208" fmla="*/ 304800 h 1476375"/>
                <a:gd name="connsiteX209" fmla="*/ 110735 w 1123560"/>
                <a:gd name="connsiteY209" fmla="*/ 257175 h 1476375"/>
                <a:gd name="connsiteX210" fmla="*/ 107560 w 1123560"/>
                <a:gd name="connsiteY210" fmla="*/ 247650 h 1476375"/>
                <a:gd name="connsiteX211" fmla="*/ 94860 w 1123560"/>
                <a:gd name="connsiteY211" fmla="*/ 228600 h 1476375"/>
                <a:gd name="connsiteX212" fmla="*/ 88510 w 1123560"/>
                <a:gd name="connsiteY212" fmla="*/ 209550 h 1476375"/>
                <a:gd name="connsiteX213" fmla="*/ 85335 w 1123560"/>
                <a:gd name="connsiteY213" fmla="*/ 200025 h 1476375"/>
                <a:gd name="connsiteX214" fmla="*/ 82160 w 1123560"/>
                <a:gd name="connsiteY214" fmla="*/ 190500 h 1476375"/>
                <a:gd name="connsiteX215" fmla="*/ 78985 w 1123560"/>
                <a:gd name="connsiteY215" fmla="*/ 171450 h 1476375"/>
                <a:gd name="connsiteX216" fmla="*/ 82160 w 1123560"/>
                <a:gd name="connsiteY216" fmla="*/ 161925 h 1476375"/>
                <a:gd name="connsiteX217" fmla="*/ 139310 w 1123560"/>
                <a:gd name="connsiteY217" fmla="*/ 152400 h 1476375"/>
                <a:gd name="connsiteX218" fmla="*/ 158360 w 1123560"/>
                <a:gd name="connsiteY218" fmla="*/ 146050 h 1476375"/>
                <a:gd name="connsiteX219" fmla="*/ 164710 w 1123560"/>
                <a:gd name="connsiteY219" fmla="*/ 136525 h 1476375"/>
                <a:gd name="connsiteX220" fmla="*/ 174235 w 1123560"/>
                <a:gd name="connsiteY220" fmla="*/ 130175 h 1476375"/>
                <a:gd name="connsiteX221" fmla="*/ 193285 w 1123560"/>
                <a:gd name="connsiteY221" fmla="*/ 123825 h 1476375"/>
                <a:gd name="connsiteX222" fmla="*/ 221860 w 1123560"/>
                <a:gd name="connsiteY222" fmla="*/ 117475 h 1476375"/>
                <a:gd name="connsiteX223" fmla="*/ 259960 w 1123560"/>
                <a:gd name="connsiteY223" fmla="*/ 120650 h 1476375"/>
                <a:gd name="connsiteX224" fmla="*/ 279010 w 1123560"/>
                <a:gd name="connsiteY224" fmla="*/ 127000 h 1476375"/>
                <a:gd name="connsiteX225" fmla="*/ 288535 w 1123560"/>
                <a:gd name="connsiteY225" fmla="*/ 133350 h 1476375"/>
                <a:gd name="connsiteX226" fmla="*/ 317110 w 1123560"/>
                <a:gd name="connsiteY226" fmla="*/ 127000 h 1476375"/>
                <a:gd name="connsiteX227" fmla="*/ 342510 w 1123560"/>
                <a:gd name="connsiteY227" fmla="*/ 120650 h 1476375"/>
                <a:gd name="connsiteX228" fmla="*/ 345685 w 1123560"/>
                <a:gd name="connsiteY228" fmla="*/ 111125 h 1476375"/>
                <a:gd name="connsiteX229" fmla="*/ 364735 w 1123560"/>
                <a:gd name="connsiteY229" fmla="*/ 98425 h 1476375"/>
                <a:gd name="connsiteX230" fmla="*/ 383785 w 1123560"/>
                <a:gd name="connsiteY230" fmla="*/ 82550 h 1476375"/>
                <a:gd name="connsiteX231" fmla="*/ 386960 w 1123560"/>
                <a:gd name="connsiteY231" fmla="*/ 53975 h 1476375"/>
                <a:gd name="connsiteX232" fmla="*/ 406010 w 1123560"/>
                <a:gd name="connsiteY232" fmla="*/ 47625 h 1476375"/>
                <a:gd name="connsiteX233" fmla="*/ 415535 w 1123560"/>
                <a:gd name="connsiteY233" fmla="*/ 41275 h 1476375"/>
                <a:gd name="connsiteX234" fmla="*/ 415535 w 1123560"/>
                <a:gd name="connsiteY234" fmla="*/ 22225 h 1476375"/>
                <a:gd name="connsiteX235" fmla="*/ 406010 w 1123560"/>
                <a:gd name="connsiteY235" fmla="*/ 19050 h 1476375"/>
                <a:gd name="connsiteX236" fmla="*/ 402835 w 1123560"/>
                <a:gd name="connsiteY236" fmla="*/ 9525 h 1476375"/>
                <a:gd name="connsiteX237" fmla="*/ 374260 w 1123560"/>
                <a:gd name="connsiteY237" fmla="*/ 3175 h 14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Lst>
              <a:rect l="l" t="t" r="r" b="b"/>
              <a:pathLst>
                <a:path w="1123560" h="1476375">
                  <a:moveTo>
                    <a:pt x="374260" y="3175"/>
                  </a:moveTo>
                  <a:cubicBezTo>
                    <a:pt x="375847" y="1588"/>
                    <a:pt x="399616" y="0"/>
                    <a:pt x="412360" y="0"/>
                  </a:cubicBezTo>
                  <a:cubicBezTo>
                    <a:pt x="420893" y="0"/>
                    <a:pt x="429838" y="6"/>
                    <a:pt x="437760" y="3175"/>
                  </a:cubicBezTo>
                  <a:cubicBezTo>
                    <a:pt x="441303" y="4592"/>
                    <a:pt x="442403" y="9287"/>
                    <a:pt x="444110" y="12700"/>
                  </a:cubicBezTo>
                  <a:cubicBezTo>
                    <a:pt x="445607" y="15693"/>
                    <a:pt x="446473" y="18978"/>
                    <a:pt x="447285" y="22225"/>
                  </a:cubicBezTo>
                  <a:cubicBezTo>
                    <a:pt x="448594" y="27460"/>
                    <a:pt x="448047" y="33273"/>
                    <a:pt x="450460" y="38100"/>
                  </a:cubicBezTo>
                  <a:cubicBezTo>
                    <a:pt x="453516" y="44212"/>
                    <a:pt x="464040" y="50328"/>
                    <a:pt x="469510" y="53975"/>
                  </a:cubicBezTo>
                  <a:lnTo>
                    <a:pt x="488560" y="47625"/>
                  </a:lnTo>
                  <a:lnTo>
                    <a:pt x="498085" y="44450"/>
                  </a:lnTo>
                  <a:cubicBezTo>
                    <a:pt x="501260" y="47625"/>
                    <a:pt x="504161" y="51100"/>
                    <a:pt x="507610" y="53975"/>
                  </a:cubicBezTo>
                  <a:cubicBezTo>
                    <a:pt x="510541" y="56418"/>
                    <a:pt x="514622" y="57453"/>
                    <a:pt x="517135" y="60325"/>
                  </a:cubicBezTo>
                  <a:cubicBezTo>
                    <a:pt x="522161" y="66068"/>
                    <a:pt x="525602" y="73025"/>
                    <a:pt x="529835" y="79375"/>
                  </a:cubicBezTo>
                  <a:cubicBezTo>
                    <a:pt x="542556" y="98456"/>
                    <a:pt x="527672" y="96758"/>
                    <a:pt x="545710" y="104775"/>
                  </a:cubicBezTo>
                  <a:cubicBezTo>
                    <a:pt x="551827" y="107493"/>
                    <a:pt x="558410" y="109008"/>
                    <a:pt x="564760" y="111125"/>
                  </a:cubicBezTo>
                  <a:lnTo>
                    <a:pt x="583810" y="117475"/>
                  </a:lnTo>
                  <a:lnTo>
                    <a:pt x="593335" y="120650"/>
                  </a:lnTo>
                  <a:lnTo>
                    <a:pt x="602860" y="123825"/>
                  </a:lnTo>
                  <a:cubicBezTo>
                    <a:pt x="608152" y="122767"/>
                    <a:pt x="613529" y="122070"/>
                    <a:pt x="618735" y="120650"/>
                  </a:cubicBezTo>
                  <a:cubicBezTo>
                    <a:pt x="625193" y="118889"/>
                    <a:pt x="637785" y="114300"/>
                    <a:pt x="637785" y="114300"/>
                  </a:cubicBezTo>
                  <a:cubicBezTo>
                    <a:pt x="644100" y="110090"/>
                    <a:pt x="648948" y="103238"/>
                    <a:pt x="656835" y="111125"/>
                  </a:cubicBezTo>
                  <a:cubicBezTo>
                    <a:pt x="659202" y="113492"/>
                    <a:pt x="658952" y="117475"/>
                    <a:pt x="660010" y="120650"/>
                  </a:cubicBezTo>
                  <a:cubicBezTo>
                    <a:pt x="652280" y="143840"/>
                    <a:pt x="647166" y="138077"/>
                    <a:pt x="666360" y="142875"/>
                  </a:cubicBezTo>
                  <a:cubicBezTo>
                    <a:pt x="671046" y="135847"/>
                    <a:pt x="674901" y="128714"/>
                    <a:pt x="682235" y="123825"/>
                  </a:cubicBezTo>
                  <a:cubicBezTo>
                    <a:pt x="685020" y="121969"/>
                    <a:pt x="688585" y="121708"/>
                    <a:pt x="691760" y="120650"/>
                  </a:cubicBezTo>
                  <a:cubicBezTo>
                    <a:pt x="694935" y="121708"/>
                    <a:pt x="698918" y="121458"/>
                    <a:pt x="701285" y="123825"/>
                  </a:cubicBezTo>
                  <a:cubicBezTo>
                    <a:pt x="702803" y="125343"/>
                    <a:pt x="707608" y="145940"/>
                    <a:pt x="707635" y="146050"/>
                  </a:cubicBezTo>
                  <a:cubicBezTo>
                    <a:pt x="706577" y="158750"/>
                    <a:pt x="706555" y="171579"/>
                    <a:pt x="704460" y="184150"/>
                  </a:cubicBezTo>
                  <a:cubicBezTo>
                    <a:pt x="700364" y="208724"/>
                    <a:pt x="699850" y="196545"/>
                    <a:pt x="691760" y="212725"/>
                  </a:cubicBezTo>
                  <a:cubicBezTo>
                    <a:pt x="690263" y="215718"/>
                    <a:pt x="689643" y="219075"/>
                    <a:pt x="688585" y="222250"/>
                  </a:cubicBezTo>
                  <a:cubicBezTo>
                    <a:pt x="689643" y="228600"/>
                    <a:pt x="689284" y="235358"/>
                    <a:pt x="691760" y="241300"/>
                  </a:cubicBezTo>
                  <a:cubicBezTo>
                    <a:pt x="694695" y="248345"/>
                    <a:pt x="704460" y="260350"/>
                    <a:pt x="704460" y="260350"/>
                  </a:cubicBezTo>
                  <a:cubicBezTo>
                    <a:pt x="704224" y="261293"/>
                    <a:pt x="699788" y="280417"/>
                    <a:pt x="698110" y="282575"/>
                  </a:cubicBezTo>
                  <a:cubicBezTo>
                    <a:pt x="692597" y="289664"/>
                    <a:pt x="679060" y="301625"/>
                    <a:pt x="679060" y="301625"/>
                  </a:cubicBezTo>
                  <a:cubicBezTo>
                    <a:pt x="678002" y="304800"/>
                    <a:pt x="676611" y="307883"/>
                    <a:pt x="675885" y="311150"/>
                  </a:cubicBezTo>
                  <a:cubicBezTo>
                    <a:pt x="671711" y="329935"/>
                    <a:pt x="670006" y="349194"/>
                    <a:pt x="675885" y="368300"/>
                  </a:cubicBezTo>
                  <a:cubicBezTo>
                    <a:pt x="676869" y="371499"/>
                    <a:pt x="682192" y="370556"/>
                    <a:pt x="685410" y="371475"/>
                  </a:cubicBezTo>
                  <a:cubicBezTo>
                    <a:pt x="689606" y="372674"/>
                    <a:pt x="693930" y="373396"/>
                    <a:pt x="698110" y="374650"/>
                  </a:cubicBezTo>
                  <a:cubicBezTo>
                    <a:pt x="704521" y="376573"/>
                    <a:pt x="717160" y="381000"/>
                    <a:pt x="717160" y="381000"/>
                  </a:cubicBezTo>
                  <a:cubicBezTo>
                    <a:pt x="720335" y="383117"/>
                    <a:pt x="723272" y="385643"/>
                    <a:pt x="726685" y="387350"/>
                  </a:cubicBezTo>
                  <a:cubicBezTo>
                    <a:pt x="729678" y="388847"/>
                    <a:pt x="733597" y="388434"/>
                    <a:pt x="736210" y="390525"/>
                  </a:cubicBezTo>
                  <a:cubicBezTo>
                    <a:pt x="739190" y="392909"/>
                    <a:pt x="740443" y="396875"/>
                    <a:pt x="742560" y="400050"/>
                  </a:cubicBezTo>
                  <a:cubicBezTo>
                    <a:pt x="738072" y="422489"/>
                    <a:pt x="741092" y="410805"/>
                    <a:pt x="733035" y="434975"/>
                  </a:cubicBezTo>
                  <a:lnTo>
                    <a:pt x="729860" y="444500"/>
                  </a:lnTo>
                  <a:cubicBezTo>
                    <a:pt x="730918" y="450850"/>
                    <a:pt x="733035" y="457112"/>
                    <a:pt x="733035" y="463550"/>
                  </a:cubicBezTo>
                  <a:cubicBezTo>
                    <a:pt x="733035" y="483728"/>
                    <a:pt x="732097" y="499485"/>
                    <a:pt x="726685" y="517525"/>
                  </a:cubicBezTo>
                  <a:cubicBezTo>
                    <a:pt x="724762" y="523936"/>
                    <a:pt x="724048" y="531006"/>
                    <a:pt x="720335" y="536575"/>
                  </a:cubicBezTo>
                  <a:lnTo>
                    <a:pt x="713985" y="546100"/>
                  </a:lnTo>
                  <a:cubicBezTo>
                    <a:pt x="715043" y="568325"/>
                    <a:pt x="715312" y="590602"/>
                    <a:pt x="717160" y="612775"/>
                  </a:cubicBezTo>
                  <a:cubicBezTo>
                    <a:pt x="717438" y="616110"/>
                    <a:pt x="718838" y="619307"/>
                    <a:pt x="720335" y="622300"/>
                  </a:cubicBezTo>
                  <a:cubicBezTo>
                    <a:pt x="722042" y="625713"/>
                    <a:pt x="725135" y="628338"/>
                    <a:pt x="726685" y="631825"/>
                  </a:cubicBezTo>
                  <a:cubicBezTo>
                    <a:pt x="729403" y="637942"/>
                    <a:pt x="729322" y="645306"/>
                    <a:pt x="733035" y="650875"/>
                  </a:cubicBezTo>
                  <a:cubicBezTo>
                    <a:pt x="735152" y="654050"/>
                    <a:pt x="737678" y="656987"/>
                    <a:pt x="739385" y="660400"/>
                  </a:cubicBezTo>
                  <a:cubicBezTo>
                    <a:pt x="740882" y="663393"/>
                    <a:pt x="740469" y="667312"/>
                    <a:pt x="742560" y="669925"/>
                  </a:cubicBezTo>
                  <a:cubicBezTo>
                    <a:pt x="744944" y="672905"/>
                    <a:pt x="748910" y="674158"/>
                    <a:pt x="752085" y="676275"/>
                  </a:cubicBezTo>
                  <a:cubicBezTo>
                    <a:pt x="759493" y="698500"/>
                    <a:pt x="752085" y="693208"/>
                    <a:pt x="767960" y="698500"/>
                  </a:cubicBezTo>
                  <a:cubicBezTo>
                    <a:pt x="795257" y="716698"/>
                    <a:pt x="760720" y="694880"/>
                    <a:pt x="787010" y="708025"/>
                  </a:cubicBezTo>
                  <a:cubicBezTo>
                    <a:pt x="807785" y="718413"/>
                    <a:pt x="784994" y="709856"/>
                    <a:pt x="806060" y="723900"/>
                  </a:cubicBezTo>
                  <a:cubicBezTo>
                    <a:pt x="808970" y="725840"/>
                    <a:pt x="826361" y="729673"/>
                    <a:pt x="828285" y="730250"/>
                  </a:cubicBezTo>
                  <a:lnTo>
                    <a:pt x="856860" y="739775"/>
                  </a:lnTo>
                  <a:lnTo>
                    <a:pt x="866385" y="742950"/>
                  </a:lnTo>
                  <a:cubicBezTo>
                    <a:pt x="871677" y="741892"/>
                    <a:pt x="877054" y="741195"/>
                    <a:pt x="882260" y="739775"/>
                  </a:cubicBezTo>
                  <a:cubicBezTo>
                    <a:pt x="888718" y="738014"/>
                    <a:pt x="901310" y="733425"/>
                    <a:pt x="901310" y="733425"/>
                  </a:cubicBezTo>
                  <a:cubicBezTo>
                    <a:pt x="906186" y="726111"/>
                    <a:pt x="906961" y="720725"/>
                    <a:pt x="917185" y="720725"/>
                  </a:cubicBezTo>
                  <a:cubicBezTo>
                    <a:pt x="920532" y="720725"/>
                    <a:pt x="923535" y="722842"/>
                    <a:pt x="926710" y="723900"/>
                  </a:cubicBezTo>
                  <a:cubicBezTo>
                    <a:pt x="942476" y="747549"/>
                    <a:pt x="922213" y="718504"/>
                    <a:pt x="942585" y="742950"/>
                  </a:cubicBezTo>
                  <a:cubicBezTo>
                    <a:pt x="945028" y="745881"/>
                    <a:pt x="946492" y="749544"/>
                    <a:pt x="948935" y="752475"/>
                  </a:cubicBezTo>
                  <a:cubicBezTo>
                    <a:pt x="953333" y="757753"/>
                    <a:pt x="961374" y="765412"/>
                    <a:pt x="967985" y="768350"/>
                  </a:cubicBezTo>
                  <a:cubicBezTo>
                    <a:pt x="974102" y="771068"/>
                    <a:pt x="980685" y="772583"/>
                    <a:pt x="987035" y="774700"/>
                  </a:cubicBezTo>
                  <a:lnTo>
                    <a:pt x="996560" y="777875"/>
                  </a:lnTo>
                  <a:cubicBezTo>
                    <a:pt x="1000793" y="776817"/>
                    <a:pt x="1005064" y="775899"/>
                    <a:pt x="1009260" y="774700"/>
                  </a:cubicBezTo>
                  <a:cubicBezTo>
                    <a:pt x="1012478" y="773781"/>
                    <a:pt x="1015438" y="771525"/>
                    <a:pt x="1018785" y="771525"/>
                  </a:cubicBezTo>
                  <a:cubicBezTo>
                    <a:pt x="1026269" y="771525"/>
                    <a:pt x="1033602" y="773642"/>
                    <a:pt x="1041010" y="774700"/>
                  </a:cubicBezTo>
                  <a:cubicBezTo>
                    <a:pt x="1044185" y="775758"/>
                    <a:pt x="1048168" y="775508"/>
                    <a:pt x="1050535" y="777875"/>
                  </a:cubicBezTo>
                  <a:cubicBezTo>
                    <a:pt x="1052902" y="780242"/>
                    <a:pt x="1052213" y="784407"/>
                    <a:pt x="1053710" y="787400"/>
                  </a:cubicBezTo>
                  <a:cubicBezTo>
                    <a:pt x="1055417" y="790813"/>
                    <a:pt x="1057188" y="794412"/>
                    <a:pt x="1060060" y="796925"/>
                  </a:cubicBezTo>
                  <a:cubicBezTo>
                    <a:pt x="1065803" y="801951"/>
                    <a:pt x="1072760" y="805392"/>
                    <a:pt x="1079110" y="809625"/>
                  </a:cubicBezTo>
                  <a:cubicBezTo>
                    <a:pt x="1084679" y="813338"/>
                    <a:pt x="1098160" y="815975"/>
                    <a:pt x="1098160" y="815975"/>
                  </a:cubicBezTo>
                  <a:cubicBezTo>
                    <a:pt x="1101335" y="818092"/>
                    <a:pt x="1105172" y="819453"/>
                    <a:pt x="1107685" y="822325"/>
                  </a:cubicBezTo>
                  <a:cubicBezTo>
                    <a:pt x="1112711" y="828068"/>
                    <a:pt x="1120385" y="841375"/>
                    <a:pt x="1120385" y="841375"/>
                  </a:cubicBezTo>
                  <a:cubicBezTo>
                    <a:pt x="1119327" y="855133"/>
                    <a:pt x="1117210" y="868851"/>
                    <a:pt x="1117210" y="882650"/>
                  </a:cubicBezTo>
                  <a:cubicBezTo>
                    <a:pt x="1117210" y="890435"/>
                    <a:pt x="1121462" y="906008"/>
                    <a:pt x="1123560" y="914400"/>
                  </a:cubicBezTo>
                  <a:cubicBezTo>
                    <a:pt x="1122502" y="920750"/>
                    <a:pt x="1121782" y="927166"/>
                    <a:pt x="1120385" y="933450"/>
                  </a:cubicBezTo>
                  <a:cubicBezTo>
                    <a:pt x="1119659" y="936717"/>
                    <a:pt x="1119577" y="940608"/>
                    <a:pt x="1117210" y="942975"/>
                  </a:cubicBezTo>
                  <a:cubicBezTo>
                    <a:pt x="1111814" y="948371"/>
                    <a:pt x="1103556" y="950279"/>
                    <a:pt x="1098160" y="955675"/>
                  </a:cubicBezTo>
                  <a:cubicBezTo>
                    <a:pt x="1083239" y="970596"/>
                    <a:pt x="1092371" y="962709"/>
                    <a:pt x="1069585" y="977900"/>
                  </a:cubicBezTo>
                  <a:cubicBezTo>
                    <a:pt x="1066800" y="979756"/>
                    <a:pt x="1063235" y="980017"/>
                    <a:pt x="1060060" y="981075"/>
                  </a:cubicBezTo>
                  <a:cubicBezTo>
                    <a:pt x="1034660" y="980017"/>
                    <a:pt x="1009222" y="979649"/>
                    <a:pt x="983860" y="977900"/>
                  </a:cubicBezTo>
                  <a:cubicBezTo>
                    <a:pt x="978476" y="977529"/>
                    <a:pt x="973191" y="976145"/>
                    <a:pt x="967985" y="974725"/>
                  </a:cubicBezTo>
                  <a:cubicBezTo>
                    <a:pt x="961527" y="972964"/>
                    <a:pt x="948935" y="968375"/>
                    <a:pt x="948935" y="968375"/>
                  </a:cubicBezTo>
                  <a:cubicBezTo>
                    <a:pt x="940468" y="969433"/>
                    <a:pt x="931570" y="968680"/>
                    <a:pt x="923535" y="971550"/>
                  </a:cubicBezTo>
                  <a:cubicBezTo>
                    <a:pt x="916348" y="974117"/>
                    <a:pt x="910835" y="980017"/>
                    <a:pt x="904485" y="984250"/>
                  </a:cubicBezTo>
                  <a:lnTo>
                    <a:pt x="885435" y="996950"/>
                  </a:lnTo>
                  <a:cubicBezTo>
                    <a:pt x="879866" y="1000663"/>
                    <a:pt x="872735" y="1001183"/>
                    <a:pt x="866385" y="1003300"/>
                  </a:cubicBezTo>
                  <a:cubicBezTo>
                    <a:pt x="858224" y="1006020"/>
                    <a:pt x="852931" y="1008055"/>
                    <a:pt x="844160" y="1009650"/>
                  </a:cubicBezTo>
                  <a:cubicBezTo>
                    <a:pt x="834520" y="1011403"/>
                    <a:pt x="805380" y="1014894"/>
                    <a:pt x="796535" y="1016000"/>
                  </a:cubicBezTo>
                  <a:cubicBezTo>
                    <a:pt x="790185" y="1018117"/>
                    <a:pt x="783472" y="1019357"/>
                    <a:pt x="777485" y="1022350"/>
                  </a:cubicBezTo>
                  <a:cubicBezTo>
                    <a:pt x="761792" y="1030197"/>
                    <a:pt x="769275" y="1027203"/>
                    <a:pt x="755260" y="1031875"/>
                  </a:cubicBezTo>
                  <a:cubicBezTo>
                    <a:pt x="748910" y="1036108"/>
                    <a:pt x="740443" y="1038225"/>
                    <a:pt x="736210" y="1044575"/>
                  </a:cubicBezTo>
                  <a:cubicBezTo>
                    <a:pt x="724879" y="1061572"/>
                    <a:pt x="732558" y="1051402"/>
                    <a:pt x="710810" y="1073150"/>
                  </a:cubicBezTo>
                  <a:lnTo>
                    <a:pt x="701285" y="1082675"/>
                  </a:lnTo>
                  <a:lnTo>
                    <a:pt x="694935" y="1101725"/>
                  </a:lnTo>
                  <a:cubicBezTo>
                    <a:pt x="693555" y="1105865"/>
                    <a:pt x="696911" y="1110229"/>
                    <a:pt x="698110" y="1114425"/>
                  </a:cubicBezTo>
                  <a:cubicBezTo>
                    <a:pt x="704363" y="1136310"/>
                    <a:pt x="698730" y="1108621"/>
                    <a:pt x="704460" y="1143000"/>
                  </a:cubicBezTo>
                  <a:cubicBezTo>
                    <a:pt x="703402" y="1155700"/>
                    <a:pt x="702774" y="1168443"/>
                    <a:pt x="701285" y="1181100"/>
                  </a:cubicBezTo>
                  <a:cubicBezTo>
                    <a:pt x="700654" y="1186459"/>
                    <a:pt x="698997" y="1191652"/>
                    <a:pt x="698110" y="1196975"/>
                  </a:cubicBezTo>
                  <a:cubicBezTo>
                    <a:pt x="696880" y="1204357"/>
                    <a:pt x="695993" y="1211792"/>
                    <a:pt x="694935" y="1219200"/>
                  </a:cubicBezTo>
                  <a:cubicBezTo>
                    <a:pt x="702915" y="1243141"/>
                    <a:pt x="691222" y="1214559"/>
                    <a:pt x="707635" y="1235075"/>
                  </a:cubicBezTo>
                  <a:cubicBezTo>
                    <a:pt x="709726" y="1237688"/>
                    <a:pt x="709313" y="1241607"/>
                    <a:pt x="710810" y="1244600"/>
                  </a:cubicBezTo>
                  <a:cubicBezTo>
                    <a:pt x="723120" y="1269219"/>
                    <a:pt x="712355" y="1239709"/>
                    <a:pt x="720335" y="1263650"/>
                  </a:cubicBezTo>
                  <a:cubicBezTo>
                    <a:pt x="719277" y="1273175"/>
                    <a:pt x="718736" y="1282772"/>
                    <a:pt x="717160" y="1292225"/>
                  </a:cubicBezTo>
                  <a:cubicBezTo>
                    <a:pt x="716610" y="1295526"/>
                    <a:pt x="713985" y="1298403"/>
                    <a:pt x="713985" y="1301750"/>
                  </a:cubicBezTo>
                  <a:cubicBezTo>
                    <a:pt x="713985" y="1306628"/>
                    <a:pt x="717061" y="1323777"/>
                    <a:pt x="720335" y="1330325"/>
                  </a:cubicBezTo>
                  <a:cubicBezTo>
                    <a:pt x="722042" y="1333738"/>
                    <a:pt x="724978" y="1336437"/>
                    <a:pt x="726685" y="1339850"/>
                  </a:cubicBezTo>
                  <a:cubicBezTo>
                    <a:pt x="728182" y="1342843"/>
                    <a:pt x="727769" y="1346762"/>
                    <a:pt x="729860" y="1349375"/>
                  </a:cubicBezTo>
                  <a:cubicBezTo>
                    <a:pt x="732244" y="1352355"/>
                    <a:pt x="736454" y="1353282"/>
                    <a:pt x="739385" y="1355725"/>
                  </a:cubicBezTo>
                  <a:cubicBezTo>
                    <a:pt x="748552" y="1363365"/>
                    <a:pt x="749016" y="1365409"/>
                    <a:pt x="755260" y="1374775"/>
                  </a:cubicBezTo>
                  <a:cubicBezTo>
                    <a:pt x="754202" y="1377950"/>
                    <a:pt x="752085" y="1380953"/>
                    <a:pt x="752085" y="1384300"/>
                  </a:cubicBezTo>
                  <a:cubicBezTo>
                    <a:pt x="752085" y="1392280"/>
                    <a:pt x="758399" y="1396929"/>
                    <a:pt x="761610" y="1403350"/>
                  </a:cubicBezTo>
                  <a:cubicBezTo>
                    <a:pt x="763107" y="1406343"/>
                    <a:pt x="763727" y="1409700"/>
                    <a:pt x="764785" y="1412875"/>
                  </a:cubicBezTo>
                  <a:cubicBezTo>
                    <a:pt x="764374" y="1416986"/>
                    <a:pt x="762815" y="1456120"/>
                    <a:pt x="755260" y="1463675"/>
                  </a:cubicBezTo>
                  <a:cubicBezTo>
                    <a:pt x="752085" y="1466850"/>
                    <a:pt x="749751" y="1471192"/>
                    <a:pt x="745735" y="1473200"/>
                  </a:cubicBezTo>
                  <a:cubicBezTo>
                    <a:pt x="740908" y="1475613"/>
                    <a:pt x="735152" y="1475317"/>
                    <a:pt x="729860" y="1476375"/>
                  </a:cubicBezTo>
                  <a:cubicBezTo>
                    <a:pt x="727743" y="1473200"/>
                    <a:pt x="726208" y="1469548"/>
                    <a:pt x="723510" y="1466850"/>
                  </a:cubicBezTo>
                  <a:cubicBezTo>
                    <a:pt x="710703" y="1454043"/>
                    <a:pt x="702262" y="1461672"/>
                    <a:pt x="682235" y="1463675"/>
                  </a:cubicBezTo>
                  <a:cubicBezTo>
                    <a:pt x="679060" y="1464733"/>
                    <a:pt x="676057" y="1466850"/>
                    <a:pt x="672710" y="1466850"/>
                  </a:cubicBezTo>
                  <a:cubicBezTo>
                    <a:pt x="660381" y="1466850"/>
                    <a:pt x="647957" y="1464590"/>
                    <a:pt x="637785" y="1457325"/>
                  </a:cubicBezTo>
                  <a:cubicBezTo>
                    <a:pt x="634131" y="1454715"/>
                    <a:pt x="631435" y="1450975"/>
                    <a:pt x="628260" y="1447800"/>
                  </a:cubicBezTo>
                  <a:cubicBezTo>
                    <a:pt x="627202" y="1444625"/>
                    <a:pt x="626710" y="1441201"/>
                    <a:pt x="625085" y="1438275"/>
                  </a:cubicBezTo>
                  <a:cubicBezTo>
                    <a:pt x="618981" y="1427288"/>
                    <a:pt x="612435" y="1417679"/>
                    <a:pt x="602860" y="1409700"/>
                  </a:cubicBezTo>
                  <a:cubicBezTo>
                    <a:pt x="599929" y="1407257"/>
                    <a:pt x="597126" y="1403787"/>
                    <a:pt x="593335" y="1403350"/>
                  </a:cubicBezTo>
                  <a:cubicBezTo>
                    <a:pt x="569131" y="1400557"/>
                    <a:pt x="544652" y="1401233"/>
                    <a:pt x="520310" y="1400175"/>
                  </a:cubicBezTo>
                  <a:cubicBezTo>
                    <a:pt x="513960" y="1395942"/>
                    <a:pt x="506656" y="1392871"/>
                    <a:pt x="501260" y="1387475"/>
                  </a:cubicBezTo>
                  <a:cubicBezTo>
                    <a:pt x="495278" y="1381493"/>
                    <a:pt x="490167" y="1375136"/>
                    <a:pt x="482210" y="1371600"/>
                  </a:cubicBezTo>
                  <a:cubicBezTo>
                    <a:pt x="476093" y="1368882"/>
                    <a:pt x="469510" y="1367367"/>
                    <a:pt x="463160" y="1365250"/>
                  </a:cubicBezTo>
                  <a:cubicBezTo>
                    <a:pt x="435535" y="1356042"/>
                    <a:pt x="456977" y="1362261"/>
                    <a:pt x="396485" y="1358900"/>
                  </a:cubicBezTo>
                  <a:cubicBezTo>
                    <a:pt x="394368" y="1355725"/>
                    <a:pt x="391842" y="1352788"/>
                    <a:pt x="390135" y="1349375"/>
                  </a:cubicBezTo>
                  <a:cubicBezTo>
                    <a:pt x="382735" y="1334575"/>
                    <a:pt x="388503" y="1322874"/>
                    <a:pt x="390135" y="1304925"/>
                  </a:cubicBezTo>
                  <a:cubicBezTo>
                    <a:pt x="388018" y="1301750"/>
                    <a:pt x="387198" y="1297107"/>
                    <a:pt x="383785" y="1295400"/>
                  </a:cubicBezTo>
                  <a:cubicBezTo>
                    <a:pt x="375979" y="1291497"/>
                    <a:pt x="358385" y="1289050"/>
                    <a:pt x="358385" y="1289050"/>
                  </a:cubicBezTo>
                  <a:cubicBezTo>
                    <a:pt x="355164" y="1279388"/>
                    <a:pt x="352030" y="1278339"/>
                    <a:pt x="361560" y="1270000"/>
                  </a:cubicBezTo>
                  <a:cubicBezTo>
                    <a:pt x="367303" y="1264974"/>
                    <a:pt x="380610" y="1257300"/>
                    <a:pt x="380610" y="1257300"/>
                  </a:cubicBezTo>
                  <a:cubicBezTo>
                    <a:pt x="386197" y="1240540"/>
                    <a:pt x="385927" y="1245784"/>
                    <a:pt x="380610" y="1219200"/>
                  </a:cubicBezTo>
                  <a:cubicBezTo>
                    <a:pt x="375811" y="1195204"/>
                    <a:pt x="377000" y="1205343"/>
                    <a:pt x="364735" y="1190625"/>
                  </a:cubicBezTo>
                  <a:cubicBezTo>
                    <a:pt x="358943" y="1183674"/>
                    <a:pt x="357496" y="1176373"/>
                    <a:pt x="348860" y="1171575"/>
                  </a:cubicBezTo>
                  <a:cubicBezTo>
                    <a:pt x="343009" y="1168324"/>
                    <a:pt x="336160" y="1167342"/>
                    <a:pt x="329810" y="1165225"/>
                  </a:cubicBezTo>
                  <a:lnTo>
                    <a:pt x="310760" y="1158875"/>
                  </a:lnTo>
                  <a:cubicBezTo>
                    <a:pt x="289580" y="1151815"/>
                    <a:pt x="266186" y="1155682"/>
                    <a:pt x="244085" y="1152525"/>
                  </a:cubicBezTo>
                  <a:lnTo>
                    <a:pt x="221860" y="1149350"/>
                  </a:lnTo>
                  <a:cubicBezTo>
                    <a:pt x="181637" y="1144322"/>
                    <a:pt x="206221" y="1148762"/>
                    <a:pt x="177410" y="1143000"/>
                  </a:cubicBezTo>
                  <a:cubicBezTo>
                    <a:pt x="175293" y="1139825"/>
                    <a:pt x="172610" y="1136962"/>
                    <a:pt x="171060" y="1133475"/>
                  </a:cubicBezTo>
                  <a:cubicBezTo>
                    <a:pt x="164152" y="1117932"/>
                    <a:pt x="165798" y="1115933"/>
                    <a:pt x="161535" y="1101725"/>
                  </a:cubicBezTo>
                  <a:cubicBezTo>
                    <a:pt x="159612" y="1095314"/>
                    <a:pt x="160754" y="1086388"/>
                    <a:pt x="155185" y="1082675"/>
                  </a:cubicBezTo>
                  <a:lnTo>
                    <a:pt x="145660" y="1076325"/>
                  </a:lnTo>
                  <a:cubicBezTo>
                    <a:pt x="143543" y="1073150"/>
                    <a:pt x="141017" y="1070213"/>
                    <a:pt x="139310" y="1066800"/>
                  </a:cubicBezTo>
                  <a:cubicBezTo>
                    <a:pt x="131910" y="1052000"/>
                    <a:pt x="137678" y="1040299"/>
                    <a:pt x="139310" y="1022350"/>
                  </a:cubicBezTo>
                  <a:cubicBezTo>
                    <a:pt x="137218" y="1016075"/>
                    <a:pt x="135380" y="1007776"/>
                    <a:pt x="129785" y="1003300"/>
                  </a:cubicBezTo>
                  <a:cubicBezTo>
                    <a:pt x="127172" y="1001209"/>
                    <a:pt x="123435" y="1001183"/>
                    <a:pt x="120260" y="1000125"/>
                  </a:cubicBezTo>
                  <a:cubicBezTo>
                    <a:pt x="104413" y="989560"/>
                    <a:pt x="116129" y="995489"/>
                    <a:pt x="91685" y="990600"/>
                  </a:cubicBezTo>
                  <a:cubicBezTo>
                    <a:pt x="56626" y="983588"/>
                    <a:pt x="112848" y="990503"/>
                    <a:pt x="44060" y="984250"/>
                  </a:cubicBezTo>
                  <a:cubicBezTo>
                    <a:pt x="33390" y="952239"/>
                    <a:pt x="49670" y="1001892"/>
                    <a:pt x="37710" y="962025"/>
                  </a:cubicBezTo>
                  <a:cubicBezTo>
                    <a:pt x="35787" y="955614"/>
                    <a:pt x="35073" y="948544"/>
                    <a:pt x="31360" y="942975"/>
                  </a:cubicBezTo>
                  <a:cubicBezTo>
                    <a:pt x="29243" y="939800"/>
                    <a:pt x="26560" y="936937"/>
                    <a:pt x="25010" y="933450"/>
                  </a:cubicBezTo>
                  <a:cubicBezTo>
                    <a:pt x="22292" y="927333"/>
                    <a:pt x="20283" y="920894"/>
                    <a:pt x="18660" y="914400"/>
                  </a:cubicBezTo>
                  <a:cubicBezTo>
                    <a:pt x="17643" y="910331"/>
                    <a:pt x="14587" y="896730"/>
                    <a:pt x="12310" y="892175"/>
                  </a:cubicBezTo>
                  <a:cubicBezTo>
                    <a:pt x="0" y="867556"/>
                    <a:pt x="10765" y="897066"/>
                    <a:pt x="2785" y="873125"/>
                  </a:cubicBezTo>
                  <a:cubicBezTo>
                    <a:pt x="3843" y="867833"/>
                    <a:pt x="3283" y="861935"/>
                    <a:pt x="5960" y="857250"/>
                  </a:cubicBezTo>
                  <a:cubicBezTo>
                    <a:pt x="8856" y="852181"/>
                    <a:pt x="20121" y="849355"/>
                    <a:pt x="25010" y="847725"/>
                  </a:cubicBezTo>
                  <a:cubicBezTo>
                    <a:pt x="26068" y="844550"/>
                    <a:pt x="26688" y="841193"/>
                    <a:pt x="28185" y="838200"/>
                  </a:cubicBezTo>
                  <a:cubicBezTo>
                    <a:pt x="29892" y="834787"/>
                    <a:pt x="32985" y="832162"/>
                    <a:pt x="34535" y="828675"/>
                  </a:cubicBezTo>
                  <a:cubicBezTo>
                    <a:pt x="37253" y="822558"/>
                    <a:pt x="40885" y="809625"/>
                    <a:pt x="40885" y="809625"/>
                  </a:cubicBezTo>
                  <a:cubicBezTo>
                    <a:pt x="32905" y="785684"/>
                    <a:pt x="43670" y="815194"/>
                    <a:pt x="31360" y="790575"/>
                  </a:cubicBezTo>
                  <a:cubicBezTo>
                    <a:pt x="22170" y="772195"/>
                    <a:pt x="36716" y="789581"/>
                    <a:pt x="18660" y="771525"/>
                  </a:cubicBezTo>
                  <a:cubicBezTo>
                    <a:pt x="17602" y="768350"/>
                    <a:pt x="15485" y="765347"/>
                    <a:pt x="15485" y="762000"/>
                  </a:cubicBezTo>
                  <a:cubicBezTo>
                    <a:pt x="15485" y="757636"/>
                    <a:pt x="16239" y="752931"/>
                    <a:pt x="18660" y="749300"/>
                  </a:cubicBezTo>
                  <a:cubicBezTo>
                    <a:pt x="22177" y="744024"/>
                    <a:pt x="32277" y="741586"/>
                    <a:pt x="37710" y="739775"/>
                  </a:cubicBezTo>
                  <a:cubicBezTo>
                    <a:pt x="55296" y="728051"/>
                    <a:pt x="38908" y="737094"/>
                    <a:pt x="66285" y="730250"/>
                  </a:cubicBezTo>
                  <a:cubicBezTo>
                    <a:pt x="72779" y="728627"/>
                    <a:pt x="78841" y="725523"/>
                    <a:pt x="85335" y="723900"/>
                  </a:cubicBezTo>
                  <a:cubicBezTo>
                    <a:pt x="92841" y="722024"/>
                    <a:pt x="106655" y="718356"/>
                    <a:pt x="113910" y="717550"/>
                  </a:cubicBezTo>
                  <a:cubicBezTo>
                    <a:pt x="127625" y="716026"/>
                    <a:pt x="141427" y="715433"/>
                    <a:pt x="155185" y="714375"/>
                  </a:cubicBezTo>
                  <a:cubicBezTo>
                    <a:pt x="158360" y="712258"/>
                    <a:pt x="162197" y="710897"/>
                    <a:pt x="164710" y="708025"/>
                  </a:cubicBezTo>
                  <a:cubicBezTo>
                    <a:pt x="169736" y="702282"/>
                    <a:pt x="173177" y="695325"/>
                    <a:pt x="177410" y="688975"/>
                  </a:cubicBezTo>
                  <a:cubicBezTo>
                    <a:pt x="179527" y="685800"/>
                    <a:pt x="181062" y="682148"/>
                    <a:pt x="183760" y="679450"/>
                  </a:cubicBezTo>
                  <a:lnTo>
                    <a:pt x="193285" y="669925"/>
                  </a:lnTo>
                  <a:cubicBezTo>
                    <a:pt x="194343" y="666750"/>
                    <a:pt x="194369" y="663013"/>
                    <a:pt x="196460" y="660400"/>
                  </a:cubicBezTo>
                  <a:cubicBezTo>
                    <a:pt x="198844" y="657420"/>
                    <a:pt x="203963" y="657286"/>
                    <a:pt x="205985" y="654050"/>
                  </a:cubicBezTo>
                  <a:cubicBezTo>
                    <a:pt x="209533" y="648374"/>
                    <a:pt x="212335" y="635000"/>
                    <a:pt x="212335" y="635000"/>
                  </a:cubicBezTo>
                  <a:cubicBezTo>
                    <a:pt x="211277" y="629708"/>
                    <a:pt x="211837" y="623810"/>
                    <a:pt x="209160" y="619125"/>
                  </a:cubicBezTo>
                  <a:cubicBezTo>
                    <a:pt x="207267" y="615812"/>
                    <a:pt x="201052" y="616318"/>
                    <a:pt x="199635" y="612775"/>
                  </a:cubicBezTo>
                  <a:cubicBezTo>
                    <a:pt x="198392" y="609668"/>
                    <a:pt x="200954" y="606035"/>
                    <a:pt x="202810" y="603250"/>
                  </a:cubicBezTo>
                  <a:cubicBezTo>
                    <a:pt x="205301" y="599514"/>
                    <a:pt x="209460" y="597174"/>
                    <a:pt x="212335" y="593725"/>
                  </a:cubicBezTo>
                  <a:cubicBezTo>
                    <a:pt x="214778" y="590794"/>
                    <a:pt x="216568" y="587375"/>
                    <a:pt x="218685" y="584200"/>
                  </a:cubicBezTo>
                  <a:cubicBezTo>
                    <a:pt x="216413" y="572842"/>
                    <a:pt x="217335" y="566975"/>
                    <a:pt x="209160" y="558800"/>
                  </a:cubicBezTo>
                  <a:cubicBezTo>
                    <a:pt x="206462" y="556102"/>
                    <a:pt x="202810" y="554567"/>
                    <a:pt x="199635" y="552450"/>
                  </a:cubicBezTo>
                  <a:lnTo>
                    <a:pt x="186935" y="533400"/>
                  </a:lnTo>
                  <a:cubicBezTo>
                    <a:pt x="183942" y="528910"/>
                    <a:pt x="188215" y="522578"/>
                    <a:pt x="190110" y="517525"/>
                  </a:cubicBezTo>
                  <a:cubicBezTo>
                    <a:pt x="193638" y="508118"/>
                    <a:pt x="198224" y="506824"/>
                    <a:pt x="205985" y="501650"/>
                  </a:cubicBezTo>
                  <a:cubicBezTo>
                    <a:pt x="208102" y="498475"/>
                    <a:pt x="210628" y="495538"/>
                    <a:pt x="212335" y="492125"/>
                  </a:cubicBezTo>
                  <a:cubicBezTo>
                    <a:pt x="213832" y="489132"/>
                    <a:pt x="215880" y="485926"/>
                    <a:pt x="215510" y="482600"/>
                  </a:cubicBezTo>
                  <a:cubicBezTo>
                    <a:pt x="212965" y="459693"/>
                    <a:pt x="211872" y="467398"/>
                    <a:pt x="199635" y="457200"/>
                  </a:cubicBezTo>
                  <a:cubicBezTo>
                    <a:pt x="196186" y="454325"/>
                    <a:pt x="192867" y="451219"/>
                    <a:pt x="190110" y="447675"/>
                  </a:cubicBezTo>
                  <a:cubicBezTo>
                    <a:pt x="185425" y="441651"/>
                    <a:pt x="181643" y="434975"/>
                    <a:pt x="177410" y="428625"/>
                  </a:cubicBezTo>
                  <a:cubicBezTo>
                    <a:pt x="175293" y="425450"/>
                    <a:pt x="172267" y="422720"/>
                    <a:pt x="171060" y="419100"/>
                  </a:cubicBezTo>
                  <a:lnTo>
                    <a:pt x="167885" y="409575"/>
                  </a:lnTo>
                  <a:cubicBezTo>
                    <a:pt x="170002" y="406400"/>
                    <a:pt x="172685" y="403537"/>
                    <a:pt x="174235" y="400050"/>
                  </a:cubicBezTo>
                  <a:cubicBezTo>
                    <a:pt x="176953" y="393933"/>
                    <a:pt x="180585" y="381000"/>
                    <a:pt x="180585" y="381000"/>
                  </a:cubicBezTo>
                  <a:cubicBezTo>
                    <a:pt x="170522" y="365906"/>
                    <a:pt x="175442" y="375095"/>
                    <a:pt x="167885" y="352425"/>
                  </a:cubicBezTo>
                  <a:cubicBezTo>
                    <a:pt x="166678" y="348805"/>
                    <a:pt x="163085" y="346387"/>
                    <a:pt x="161535" y="342900"/>
                  </a:cubicBezTo>
                  <a:cubicBezTo>
                    <a:pt x="158817" y="336783"/>
                    <a:pt x="157302" y="330200"/>
                    <a:pt x="155185" y="323850"/>
                  </a:cubicBezTo>
                  <a:cubicBezTo>
                    <a:pt x="152772" y="316610"/>
                    <a:pt x="146718" y="311150"/>
                    <a:pt x="142485" y="304800"/>
                  </a:cubicBezTo>
                  <a:lnTo>
                    <a:pt x="110735" y="257175"/>
                  </a:lnTo>
                  <a:cubicBezTo>
                    <a:pt x="108879" y="254390"/>
                    <a:pt x="109185" y="250576"/>
                    <a:pt x="107560" y="247650"/>
                  </a:cubicBezTo>
                  <a:cubicBezTo>
                    <a:pt x="103854" y="240979"/>
                    <a:pt x="99093" y="234950"/>
                    <a:pt x="94860" y="228600"/>
                  </a:cubicBezTo>
                  <a:cubicBezTo>
                    <a:pt x="91147" y="223031"/>
                    <a:pt x="90627" y="215900"/>
                    <a:pt x="88510" y="209550"/>
                  </a:cubicBezTo>
                  <a:lnTo>
                    <a:pt x="85335" y="200025"/>
                  </a:lnTo>
                  <a:cubicBezTo>
                    <a:pt x="84277" y="196850"/>
                    <a:pt x="82710" y="193801"/>
                    <a:pt x="82160" y="190500"/>
                  </a:cubicBezTo>
                  <a:lnTo>
                    <a:pt x="78985" y="171450"/>
                  </a:lnTo>
                  <a:cubicBezTo>
                    <a:pt x="80043" y="168275"/>
                    <a:pt x="79437" y="163870"/>
                    <a:pt x="82160" y="161925"/>
                  </a:cubicBezTo>
                  <a:cubicBezTo>
                    <a:pt x="94499" y="153112"/>
                    <a:pt x="130337" y="153148"/>
                    <a:pt x="139310" y="152400"/>
                  </a:cubicBezTo>
                  <a:lnTo>
                    <a:pt x="158360" y="146050"/>
                  </a:lnTo>
                  <a:cubicBezTo>
                    <a:pt x="161980" y="144843"/>
                    <a:pt x="162012" y="139223"/>
                    <a:pt x="164710" y="136525"/>
                  </a:cubicBezTo>
                  <a:cubicBezTo>
                    <a:pt x="167408" y="133827"/>
                    <a:pt x="170748" y="131725"/>
                    <a:pt x="174235" y="130175"/>
                  </a:cubicBezTo>
                  <a:cubicBezTo>
                    <a:pt x="180352" y="127457"/>
                    <a:pt x="186935" y="125942"/>
                    <a:pt x="193285" y="123825"/>
                  </a:cubicBezTo>
                  <a:cubicBezTo>
                    <a:pt x="208917" y="118614"/>
                    <a:pt x="199509" y="121200"/>
                    <a:pt x="221860" y="117475"/>
                  </a:cubicBezTo>
                  <a:cubicBezTo>
                    <a:pt x="234560" y="118533"/>
                    <a:pt x="247389" y="118555"/>
                    <a:pt x="259960" y="120650"/>
                  </a:cubicBezTo>
                  <a:cubicBezTo>
                    <a:pt x="266562" y="121750"/>
                    <a:pt x="279010" y="127000"/>
                    <a:pt x="279010" y="127000"/>
                  </a:cubicBezTo>
                  <a:cubicBezTo>
                    <a:pt x="282185" y="129117"/>
                    <a:pt x="284742" y="132929"/>
                    <a:pt x="288535" y="133350"/>
                  </a:cubicBezTo>
                  <a:cubicBezTo>
                    <a:pt x="300632" y="134694"/>
                    <a:pt x="306809" y="129575"/>
                    <a:pt x="317110" y="127000"/>
                  </a:cubicBezTo>
                  <a:lnTo>
                    <a:pt x="342510" y="120650"/>
                  </a:lnTo>
                  <a:cubicBezTo>
                    <a:pt x="343568" y="117475"/>
                    <a:pt x="343318" y="113492"/>
                    <a:pt x="345685" y="111125"/>
                  </a:cubicBezTo>
                  <a:cubicBezTo>
                    <a:pt x="351081" y="105729"/>
                    <a:pt x="358385" y="102658"/>
                    <a:pt x="364735" y="98425"/>
                  </a:cubicBezTo>
                  <a:cubicBezTo>
                    <a:pt x="377996" y="89584"/>
                    <a:pt x="371562" y="94773"/>
                    <a:pt x="383785" y="82550"/>
                  </a:cubicBezTo>
                  <a:cubicBezTo>
                    <a:pt x="382193" y="72999"/>
                    <a:pt x="375729" y="60995"/>
                    <a:pt x="386960" y="53975"/>
                  </a:cubicBezTo>
                  <a:cubicBezTo>
                    <a:pt x="392636" y="50427"/>
                    <a:pt x="406010" y="47625"/>
                    <a:pt x="406010" y="47625"/>
                  </a:cubicBezTo>
                  <a:cubicBezTo>
                    <a:pt x="409185" y="45508"/>
                    <a:pt x="413151" y="44255"/>
                    <a:pt x="415535" y="41275"/>
                  </a:cubicBezTo>
                  <a:cubicBezTo>
                    <a:pt x="419298" y="36571"/>
                    <a:pt x="420239" y="26929"/>
                    <a:pt x="415535" y="22225"/>
                  </a:cubicBezTo>
                  <a:cubicBezTo>
                    <a:pt x="413168" y="19858"/>
                    <a:pt x="409185" y="20108"/>
                    <a:pt x="406010" y="19050"/>
                  </a:cubicBezTo>
                  <a:cubicBezTo>
                    <a:pt x="404952" y="15875"/>
                    <a:pt x="401592" y="12632"/>
                    <a:pt x="402835" y="9525"/>
                  </a:cubicBezTo>
                  <a:cubicBezTo>
                    <a:pt x="404252" y="5982"/>
                    <a:pt x="372673" y="4762"/>
                    <a:pt x="374260" y="3175"/>
                  </a:cubicBezTo>
                  <a:close/>
                </a:path>
              </a:pathLst>
            </a:custGeom>
            <a:grp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rtl="0" eaLnBrk="0" fontAlgn="base" hangingPunct="0">
                <a:spcBef>
                  <a:spcPct val="50000"/>
                </a:spcBef>
                <a:spcAft>
                  <a:spcPct val="0"/>
                </a:spcAft>
              </a:pPr>
              <a:endParaRPr lang="en-US" sz="900">
                <a:solidFill>
                  <a:srgbClr val="000000"/>
                </a:solidFill>
                <a:latin typeface="Arial" charset="0"/>
              </a:endParaRPr>
            </a:p>
          </p:txBody>
        </p:sp>
        <p:sp>
          <p:nvSpPr>
            <p:cNvPr id="56" name="Freeform 56">
              <a:extLst>
                <a:ext uri="{FF2B5EF4-FFF2-40B4-BE49-F238E27FC236}">
                  <a16:creationId xmlns:a16="http://schemas.microsoft.com/office/drawing/2014/main" id="{20EACD34-6119-4B23-B282-47866B132E8A}"/>
                </a:ext>
              </a:extLst>
            </p:cNvPr>
            <p:cNvSpPr/>
            <p:nvPr>
              <p:custDataLst>
                <p:tags r:id="rId11"/>
              </p:custDataLst>
            </p:nvPr>
          </p:nvSpPr>
          <p:spPr bwMode="gray">
            <a:xfrm>
              <a:off x="3418074" y="3368675"/>
              <a:ext cx="1098550" cy="1524000"/>
            </a:xfrm>
            <a:custGeom>
              <a:avLst/>
              <a:gdLst>
                <a:gd name="connsiteX0" fmla="*/ 161925 w 1098550"/>
                <a:gd name="connsiteY0" fmla="*/ 644525 h 1524000"/>
                <a:gd name="connsiteX1" fmla="*/ 158750 w 1098550"/>
                <a:gd name="connsiteY1" fmla="*/ 704850 h 1524000"/>
                <a:gd name="connsiteX2" fmla="*/ 165100 w 1098550"/>
                <a:gd name="connsiteY2" fmla="*/ 714375 h 1524000"/>
                <a:gd name="connsiteX3" fmla="*/ 171450 w 1098550"/>
                <a:gd name="connsiteY3" fmla="*/ 733425 h 1524000"/>
                <a:gd name="connsiteX4" fmla="*/ 161925 w 1098550"/>
                <a:gd name="connsiteY4" fmla="*/ 762000 h 1524000"/>
                <a:gd name="connsiteX5" fmla="*/ 152400 w 1098550"/>
                <a:gd name="connsiteY5" fmla="*/ 768350 h 1524000"/>
                <a:gd name="connsiteX6" fmla="*/ 133350 w 1098550"/>
                <a:gd name="connsiteY6" fmla="*/ 774700 h 1524000"/>
                <a:gd name="connsiteX7" fmla="*/ 123825 w 1098550"/>
                <a:gd name="connsiteY7" fmla="*/ 771525 h 1524000"/>
                <a:gd name="connsiteX8" fmla="*/ 101600 w 1098550"/>
                <a:gd name="connsiteY8" fmla="*/ 777875 h 1524000"/>
                <a:gd name="connsiteX9" fmla="*/ 95250 w 1098550"/>
                <a:gd name="connsiteY9" fmla="*/ 796925 h 1524000"/>
                <a:gd name="connsiteX10" fmla="*/ 104775 w 1098550"/>
                <a:gd name="connsiteY10" fmla="*/ 866775 h 1524000"/>
                <a:gd name="connsiteX11" fmla="*/ 111125 w 1098550"/>
                <a:gd name="connsiteY11" fmla="*/ 876300 h 1524000"/>
                <a:gd name="connsiteX12" fmla="*/ 130175 w 1098550"/>
                <a:gd name="connsiteY12" fmla="*/ 895350 h 1524000"/>
                <a:gd name="connsiteX13" fmla="*/ 136525 w 1098550"/>
                <a:gd name="connsiteY13" fmla="*/ 904875 h 1524000"/>
                <a:gd name="connsiteX14" fmla="*/ 149225 w 1098550"/>
                <a:gd name="connsiteY14" fmla="*/ 936625 h 1524000"/>
                <a:gd name="connsiteX15" fmla="*/ 152400 w 1098550"/>
                <a:gd name="connsiteY15" fmla="*/ 946150 h 1524000"/>
                <a:gd name="connsiteX16" fmla="*/ 149225 w 1098550"/>
                <a:gd name="connsiteY16" fmla="*/ 962025 h 1524000"/>
                <a:gd name="connsiteX17" fmla="*/ 136525 w 1098550"/>
                <a:gd name="connsiteY17" fmla="*/ 965200 h 1524000"/>
                <a:gd name="connsiteX18" fmla="*/ 117475 w 1098550"/>
                <a:gd name="connsiteY18" fmla="*/ 971550 h 1524000"/>
                <a:gd name="connsiteX19" fmla="*/ 120650 w 1098550"/>
                <a:gd name="connsiteY19" fmla="*/ 990600 h 1524000"/>
                <a:gd name="connsiteX20" fmla="*/ 114300 w 1098550"/>
                <a:gd name="connsiteY20" fmla="*/ 1000125 h 1524000"/>
                <a:gd name="connsiteX21" fmla="*/ 104775 w 1098550"/>
                <a:gd name="connsiteY21" fmla="*/ 1003300 h 1524000"/>
                <a:gd name="connsiteX22" fmla="*/ 82550 w 1098550"/>
                <a:gd name="connsiteY22" fmla="*/ 1009650 h 1524000"/>
                <a:gd name="connsiteX23" fmla="*/ 63500 w 1098550"/>
                <a:gd name="connsiteY23" fmla="*/ 1000125 h 1524000"/>
                <a:gd name="connsiteX24" fmla="*/ 47625 w 1098550"/>
                <a:gd name="connsiteY24" fmla="*/ 1003300 h 1524000"/>
                <a:gd name="connsiteX25" fmla="*/ 38100 w 1098550"/>
                <a:gd name="connsiteY25" fmla="*/ 1022350 h 1524000"/>
                <a:gd name="connsiteX26" fmla="*/ 41275 w 1098550"/>
                <a:gd name="connsiteY26" fmla="*/ 1035050 h 1524000"/>
                <a:gd name="connsiteX27" fmla="*/ 50800 w 1098550"/>
                <a:gd name="connsiteY27" fmla="*/ 1044575 h 1524000"/>
                <a:gd name="connsiteX28" fmla="*/ 53975 w 1098550"/>
                <a:gd name="connsiteY28" fmla="*/ 1054100 h 1524000"/>
                <a:gd name="connsiteX29" fmla="*/ 47625 w 1098550"/>
                <a:gd name="connsiteY29" fmla="*/ 1063625 h 1524000"/>
                <a:gd name="connsiteX30" fmla="*/ 28575 w 1098550"/>
                <a:gd name="connsiteY30" fmla="*/ 1073150 h 1524000"/>
                <a:gd name="connsiteX31" fmla="*/ 19050 w 1098550"/>
                <a:gd name="connsiteY31" fmla="*/ 1079500 h 1524000"/>
                <a:gd name="connsiteX32" fmla="*/ 3175 w 1098550"/>
                <a:gd name="connsiteY32" fmla="*/ 1098550 h 1524000"/>
                <a:gd name="connsiteX33" fmla="*/ 0 w 1098550"/>
                <a:gd name="connsiteY33" fmla="*/ 1108075 h 1524000"/>
                <a:gd name="connsiteX34" fmla="*/ 3175 w 1098550"/>
                <a:gd name="connsiteY34" fmla="*/ 1127125 h 1524000"/>
                <a:gd name="connsiteX35" fmla="*/ 12700 w 1098550"/>
                <a:gd name="connsiteY35" fmla="*/ 1133475 h 1524000"/>
                <a:gd name="connsiteX36" fmla="*/ 34925 w 1098550"/>
                <a:gd name="connsiteY36" fmla="*/ 1158875 h 1524000"/>
                <a:gd name="connsiteX37" fmla="*/ 41275 w 1098550"/>
                <a:gd name="connsiteY37" fmla="*/ 1168400 h 1524000"/>
                <a:gd name="connsiteX38" fmla="*/ 60325 w 1098550"/>
                <a:gd name="connsiteY38" fmla="*/ 1177925 h 1524000"/>
                <a:gd name="connsiteX39" fmla="*/ 111125 w 1098550"/>
                <a:gd name="connsiteY39" fmla="*/ 1171575 h 1524000"/>
                <a:gd name="connsiteX40" fmla="*/ 130175 w 1098550"/>
                <a:gd name="connsiteY40" fmla="*/ 1165225 h 1524000"/>
                <a:gd name="connsiteX41" fmla="*/ 136525 w 1098550"/>
                <a:gd name="connsiteY41" fmla="*/ 1155700 h 1524000"/>
                <a:gd name="connsiteX42" fmla="*/ 171450 w 1098550"/>
                <a:gd name="connsiteY42" fmla="*/ 1139825 h 1524000"/>
                <a:gd name="connsiteX43" fmla="*/ 206375 w 1098550"/>
                <a:gd name="connsiteY43" fmla="*/ 1143000 h 1524000"/>
                <a:gd name="connsiteX44" fmla="*/ 215900 w 1098550"/>
                <a:gd name="connsiteY44" fmla="*/ 1146175 h 1524000"/>
                <a:gd name="connsiteX45" fmla="*/ 228600 w 1098550"/>
                <a:gd name="connsiteY45" fmla="*/ 1165225 h 1524000"/>
                <a:gd name="connsiteX46" fmla="*/ 234950 w 1098550"/>
                <a:gd name="connsiteY46" fmla="*/ 1174750 h 1524000"/>
                <a:gd name="connsiteX47" fmla="*/ 247650 w 1098550"/>
                <a:gd name="connsiteY47" fmla="*/ 1203325 h 1524000"/>
                <a:gd name="connsiteX48" fmla="*/ 250825 w 1098550"/>
                <a:gd name="connsiteY48" fmla="*/ 1212850 h 1524000"/>
                <a:gd name="connsiteX49" fmla="*/ 247650 w 1098550"/>
                <a:gd name="connsiteY49" fmla="*/ 1235075 h 1524000"/>
                <a:gd name="connsiteX50" fmla="*/ 244475 w 1098550"/>
                <a:gd name="connsiteY50" fmla="*/ 1244600 h 1524000"/>
                <a:gd name="connsiteX51" fmla="*/ 254000 w 1098550"/>
                <a:gd name="connsiteY51" fmla="*/ 1257300 h 1524000"/>
                <a:gd name="connsiteX52" fmla="*/ 269875 w 1098550"/>
                <a:gd name="connsiteY52" fmla="*/ 1276350 h 1524000"/>
                <a:gd name="connsiteX53" fmla="*/ 276225 w 1098550"/>
                <a:gd name="connsiteY53" fmla="*/ 1295400 h 1524000"/>
                <a:gd name="connsiteX54" fmla="*/ 279400 w 1098550"/>
                <a:gd name="connsiteY54" fmla="*/ 1308100 h 1524000"/>
                <a:gd name="connsiteX55" fmla="*/ 288925 w 1098550"/>
                <a:gd name="connsiteY55" fmla="*/ 1317625 h 1524000"/>
                <a:gd name="connsiteX56" fmla="*/ 295275 w 1098550"/>
                <a:gd name="connsiteY56" fmla="*/ 1327150 h 1524000"/>
                <a:gd name="connsiteX57" fmla="*/ 292100 w 1098550"/>
                <a:gd name="connsiteY57" fmla="*/ 1343025 h 1524000"/>
                <a:gd name="connsiteX58" fmla="*/ 273050 w 1098550"/>
                <a:gd name="connsiteY58" fmla="*/ 1352550 h 1524000"/>
                <a:gd name="connsiteX59" fmla="*/ 244475 w 1098550"/>
                <a:gd name="connsiteY59" fmla="*/ 1374775 h 1524000"/>
                <a:gd name="connsiteX60" fmla="*/ 250825 w 1098550"/>
                <a:gd name="connsiteY60" fmla="*/ 1397000 h 1524000"/>
                <a:gd name="connsiteX61" fmla="*/ 260350 w 1098550"/>
                <a:gd name="connsiteY61" fmla="*/ 1403350 h 1524000"/>
                <a:gd name="connsiteX62" fmla="*/ 263525 w 1098550"/>
                <a:gd name="connsiteY62" fmla="*/ 1412875 h 1524000"/>
                <a:gd name="connsiteX63" fmla="*/ 269875 w 1098550"/>
                <a:gd name="connsiteY63" fmla="*/ 1422400 h 1524000"/>
                <a:gd name="connsiteX64" fmla="*/ 282575 w 1098550"/>
                <a:gd name="connsiteY64" fmla="*/ 1447800 h 1524000"/>
                <a:gd name="connsiteX65" fmla="*/ 314325 w 1098550"/>
                <a:gd name="connsiteY65" fmla="*/ 1450975 h 1524000"/>
                <a:gd name="connsiteX66" fmla="*/ 330200 w 1098550"/>
                <a:gd name="connsiteY66" fmla="*/ 1466850 h 1524000"/>
                <a:gd name="connsiteX67" fmla="*/ 346075 w 1098550"/>
                <a:gd name="connsiteY67" fmla="*/ 1492250 h 1524000"/>
                <a:gd name="connsiteX68" fmla="*/ 365125 w 1098550"/>
                <a:gd name="connsiteY68" fmla="*/ 1482725 h 1524000"/>
                <a:gd name="connsiteX69" fmla="*/ 371475 w 1098550"/>
                <a:gd name="connsiteY69" fmla="*/ 1463675 h 1524000"/>
                <a:gd name="connsiteX70" fmla="*/ 365125 w 1098550"/>
                <a:gd name="connsiteY70" fmla="*/ 1454150 h 1524000"/>
                <a:gd name="connsiteX71" fmla="*/ 346075 w 1098550"/>
                <a:gd name="connsiteY71" fmla="*/ 1444625 h 1524000"/>
                <a:gd name="connsiteX72" fmla="*/ 349250 w 1098550"/>
                <a:gd name="connsiteY72" fmla="*/ 1431925 h 1524000"/>
                <a:gd name="connsiteX73" fmla="*/ 368300 w 1098550"/>
                <a:gd name="connsiteY73" fmla="*/ 1419225 h 1524000"/>
                <a:gd name="connsiteX74" fmla="*/ 403225 w 1098550"/>
                <a:gd name="connsiteY74" fmla="*/ 1431925 h 1524000"/>
                <a:gd name="connsiteX75" fmla="*/ 400050 w 1098550"/>
                <a:gd name="connsiteY75" fmla="*/ 1447800 h 1524000"/>
                <a:gd name="connsiteX76" fmla="*/ 403225 w 1098550"/>
                <a:gd name="connsiteY76" fmla="*/ 1470025 h 1524000"/>
                <a:gd name="connsiteX77" fmla="*/ 425450 w 1098550"/>
                <a:gd name="connsiteY77" fmla="*/ 1492250 h 1524000"/>
                <a:gd name="connsiteX78" fmla="*/ 438150 w 1098550"/>
                <a:gd name="connsiteY78" fmla="*/ 1495425 h 1524000"/>
                <a:gd name="connsiteX79" fmla="*/ 460375 w 1098550"/>
                <a:gd name="connsiteY79" fmla="*/ 1501775 h 1524000"/>
                <a:gd name="connsiteX80" fmla="*/ 485775 w 1098550"/>
                <a:gd name="connsiteY80" fmla="*/ 1508125 h 1524000"/>
                <a:gd name="connsiteX81" fmla="*/ 495300 w 1098550"/>
                <a:gd name="connsiteY81" fmla="*/ 1514475 h 1524000"/>
                <a:gd name="connsiteX82" fmla="*/ 527050 w 1098550"/>
                <a:gd name="connsiteY82" fmla="*/ 1524000 h 1524000"/>
                <a:gd name="connsiteX83" fmla="*/ 542925 w 1098550"/>
                <a:gd name="connsiteY83" fmla="*/ 1511300 h 1524000"/>
                <a:gd name="connsiteX84" fmla="*/ 552450 w 1098550"/>
                <a:gd name="connsiteY84" fmla="*/ 1504950 h 1524000"/>
                <a:gd name="connsiteX85" fmla="*/ 590550 w 1098550"/>
                <a:gd name="connsiteY85" fmla="*/ 1495425 h 1524000"/>
                <a:gd name="connsiteX86" fmla="*/ 587375 w 1098550"/>
                <a:gd name="connsiteY86" fmla="*/ 1479550 h 1524000"/>
                <a:gd name="connsiteX87" fmla="*/ 581025 w 1098550"/>
                <a:gd name="connsiteY87" fmla="*/ 1470025 h 1524000"/>
                <a:gd name="connsiteX88" fmla="*/ 577850 w 1098550"/>
                <a:gd name="connsiteY88" fmla="*/ 1460500 h 1524000"/>
                <a:gd name="connsiteX89" fmla="*/ 581025 w 1098550"/>
                <a:gd name="connsiteY89" fmla="*/ 1438275 h 1524000"/>
                <a:gd name="connsiteX90" fmla="*/ 587375 w 1098550"/>
                <a:gd name="connsiteY90" fmla="*/ 1419225 h 1524000"/>
                <a:gd name="connsiteX91" fmla="*/ 590550 w 1098550"/>
                <a:gd name="connsiteY91" fmla="*/ 1406525 h 1524000"/>
                <a:gd name="connsiteX92" fmla="*/ 596900 w 1098550"/>
                <a:gd name="connsiteY92" fmla="*/ 1387475 h 1524000"/>
                <a:gd name="connsiteX93" fmla="*/ 600075 w 1098550"/>
                <a:gd name="connsiteY93" fmla="*/ 1377950 h 1524000"/>
                <a:gd name="connsiteX94" fmla="*/ 609600 w 1098550"/>
                <a:gd name="connsiteY94" fmla="*/ 1343025 h 1524000"/>
                <a:gd name="connsiteX95" fmla="*/ 606425 w 1098550"/>
                <a:gd name="connsiteY95" fmla="*/ 1320800 h 1524000"/>
                <a:gd name="connsiteX96" fmla="*/ 590550 w 1098550"/>
                <a:gd name="connsiteY96" fmla="*/ 1292225 h 1524000"/>
                <a:gd name="connsiteX97" fmla="*/ 581025 w 1098550"/>
                <a:gd name="connsiteY97" fmla="*/ 1285875 h 1524000"/>
                <a:gd name="connsiteX98" fmla="*/ 568325 w 1098550"/>
                <a:gd name="connsiteY98" fmla="*/ 1266825 h 1524000"/>
                <a:gd name="connsiteX99" fmla="*/ 561975 w 1098550"/>
                <a:gd name="connsiteY99" fmla="*/ 1257300 h 1524000"/>
                <a:gd name="connsiteX100" fmla="*/ 555625 w 1098550"/>
                <a:gd name="connsiteY100" fmla="*/ 1238250 h 1524000"/>
                <a:gd name="connsiteX101" fmla="*/ 552450 w 1098550"/>
                <a:gd name="connsiteY101" fmla="*/ 1228725 h 1524000"/>
                <a:gd name="connsiteX102" fmla="*/ 552450 w 1098550"/>
                <a:gd name="connsiteY102" fmla="*/ 1139825 h 1524000"/>
                <a:gd name="connsiteX103" fmla="*/ 555625 w 1098550"/>
                <a:gd name="connsiteY103" fmla="*/ 1130300 h 1524000"/>
                <a:gd name="connsiteX104" fmla="*/ 536575 w 1098550"/>
                <a:gd name="connsiteY104" fmla="*/ 1114425 h 1524000"/>
                <a:gd name="connsiteX105" fmla="*/ 533400 w 1098550"/>
                <a:gd name="connsiteY105" fmla="*/ 1104900 h 1524000"/>
                <a:gd name="connsiteX106" fmla="*/ 536575 w 1098550"/>
                <a:gd name="connsiteY106" fmla="*/ 1095375 h 1524000"/>
                <a:gd name="connsiteX107" fmla="*/ 546100 w 1098550"/>
                <a:gd name="connsiteY107" fmla="*/ 1089025 h 1524000"/>
                <a:gd name="connsiteX108" fmla="*/ 565150 w 1098550"/>
                <a:gd name="connsiteY108" fmla="*/ 1076325 h 1524000"/>
                <a:gd name="connsiteX109" fmla="*/ 584200 w 1098550"/>
                <a:gd name="connsiteY109" fmla="*/ 1066800 h 1524000"/>
                <a:gd name="connsiteX110" fmla="*/ 593725 w 1098550"/>
                <a:gd name="connsiteY110" fmla="*/ 1060450 h 1524000"/>
                <a:gd name="connsiteX111" fmla="*/ 644525 w 1098550"/>
                <a:gd name="connsiteY111" fmla="*/ 1054100 h 1524000"/>
                <a:gd name="connsiteX112" fmla="*/ 685800 w 1098550"/>
                <a:gd name="connsiteY112" fmla="*/ 1057275 h 1524000"/>
                <a:gd name="connsiteX113" fmla="*/ 704850 w 1098550"/>
                <a:gd name="connsiteY113" fmla="*/ 1063625 h 1524000"/>
                <a:gd name="connsiteX114" fmla="*/ 723900 w 1098550"/>
                <a:gd name="connsiteY114" fmla="*/ 1076325 h 1524000"/>
                <a:gd name="connsiteX115" fmla="*/ 733425 w 1098550"/>
                <a:gd name="connsiteY115" fmla="*/ 1095375 h 1524000"/>
                <a:gd name="connsiteX116" fmla="*/ 742950 w 1098550"/>
                <a:gd name="connsiteY116" fmla="*/ 1098550 h 1524000"/>
                <a:gd name="connsiteX117" fmla="*/ 752475 w 1098550"/>
                <a:gd name="connsiteY117" fmla="*/ 1104900 h 1524000"/>
                <a:gd name="connsiteX118" fmla="*/ 777875 w 1098550"/>
                <a:gd name="connsiteY118" fmla="*/ 1092200 h 1524000"/>
                <a:gd name="connsiteX119" fmla="*/ 777875 w 1098550"/>
                <a:gd name="connsiteY119" fmla="*/ 1035050 h 1524000"/>
                <a:gd name="connsiteX120" fmla="*/ 771525 w 1098550"/>
                <a:gd name="connsiteY120" fmla="*/ 1016000 h 1524000"/>
                <a:gd name="connsiteX121" fmla="*/ 774700 w 1098550"/>
                <a:gd name="connsiteY121" fmla="*/ 1006475 h 1524000"/>
                <a:gd name="connsiteX122" fmla="*/ 793750 w 1098550"/>
                <a:gd name="connsiteY122" fmla="*/ 996950 h 1524000"/>
                <a:gd name="connsiteX123" fmla="*/ 825500 w 1098550"/>
                <a:gd name="connsiteY123" fmla="*/ 996950 h 1524000"/>
                <a:gd name="connsiteX124" fmla="*/ 841375 w 1098550"/>
                <a:gd name="connsiteY124" fmla="*/ 977900 h 1524000"/>
                <a:gd name="connsiteX125" fmla="*/ 844550 w 1098550"/>
                <a:gd name="connsiteY125" fmla="*/ 968375 h 1524000"/>
                <a:gd name="connsiteX126" fmla="*/ 854075 w 1098550"/>
                <a:gd name="connsiteY126" fmla="*/ 965200 h 1524000"/>
                <a:gd name="connsiteX127" fmla="*/ 863600 w 1098550"/>
                <a:gd name="connsiteY127" fmla="*/ 958850 h 1524000"/>
                <a:gd name="connsiteX128" fmla="*/ 873125 w 1098550"/>
                <a:gd name="connsiteY128" fmla="*/ 955675 h 1524000"/>
                <a:gd name="connsiteX129" fmla="*/ 882650 w 1098550"/>
                <a:gd name="connsiteY129" fmla="*/ 946150 h 1524000"/>
                <a:gd name="connsiteX130" fmla="*/ 882650 w 1098550"/>
                <a:gd name="connsiteY130" fmla="*/ 917575 h 1524000"/>
                <a:gd name="connsiteX131" fmla="*/ 885825 w 1098550"/>
                <a:gd name="connsiteY131" fmla="*/ 892175 h 1524000"/>
                <a:gd name="connsiteX132" fmla="*/ 889000 w 1098550"/>
                <a:gd name="connsiteY132" fmla="*/ 882650 h 1524000"/>
                <a:gd name="connsiteX133" fmla="*/ 911225 w 1098550"/>
                <a:gd name="connsiteY133" fmla="*/ 873125 h 1524000"/>
                <a:gd name="connsiteX134" fmla="*/ 962025 w 1098550"/>
                <a:gd name="connsiteY134" fmla="*/ 869950 h 1524000"/>
                <a:gd name="connsiteX135" fmla="*/ 981075 w 1098550"/>
                <a:gd name="connsiteY135" fmla="*/ 854075 h 1524000"/>
                <a:gd name="connsiteX136" fmla="*/ 996950 w 1098550"/>
                <a:gd name="connsiteY136" fmla="*/ 838200 h 1524000"/>
                <a:gd name="connsiteX137" fmla="*/ 1009650 w 1098550"/>
                <a:gd name="connsiteY137" fmla="*/ 819150 h 1524000"/>
                <a:gd name="connsiteX138" fmla="*/ 1016000 w 1098550"/>
                <a:gd name="connsiteY138" fmla="*/ 800100 h 1524000"/>
                <a:gd name="connsiteX139" fmla="*/ 1012825 w 1098550"/>
                <a:gd name="connsiteY139" fmla="*/ 787400 h 1524000"/>
                <a:gd name="connsiteX140" fmla="*/ 1009650 w 1098550"/>
                <a:gd name="connsiteY140" fmla="*/ 777875 h 1524000"/>
                <a:gd name="connsiteX141" fmla="*/ 1012825 w 1098550"/>
                <a:gd name="connsiteY141" fmla="*/ 730250 h 1524000"/>
                <a:gd name="connsiteX142" fmla="*/ 1016000 w 1098550"/>
                <a:gd name="connsiteY142" fmla="*/ 714375 h 1524000"/>
                <a:gd name="connsiteX143" fmla="*/ 1022350 w 1098550"/>
                <a:gd name="connsiteY143" fmla="*/ 695325 h 1524000"/>
                <a:gd name="connsiteX144" fmla="*/ 1012825 w 1098550"/>
                <a:gd name="connsiteY144" fmla="*/ 688975 h 1524000"/>
                <a:gd name="connsiteX145" fmla="*/ 974725 w 1098550"/>
                <a:gd name="connsiteY145" fmla="*/ 695325 h 1524000"/>
                <a:gd name="connsiteX146" fmla="*/ 968375 w 1098550"/>
                <a:gd name="connsiteY146" fmla="*/ 704850 h 1524000"/>
                <a:gd name="connsiteX147" fmla="*/ 946150 w 1098550"/>
                <a:gd name="connsiteY147" fmla="*/ 692150 h 1524000"/>
                <a:gd name="connsiteX148" fmla="*/ 952500 w 1098550"/>
                <a:gd name="connsiteY148" fmla="*/ 669925 h 1524000"/>
                <a:gd name="connsiteX149" fmla="*/ 962025 w 1098550"/>
                <a:gd name="connsiteY149" fmla="*/ 663575 h 1524000"/>
                <a:gd name="connsiteX150" fmla="*/ 965200 w 1098550"/>
                <a:gd name="connsiteY150" fmla="*/ 654050 h 1524000"/>
                <a:gd name="connsiteX151" fmla="*/ 974725 w 1098550"/>
                <a:gd name="connsiteY151" fmla="*/ 644525 h 1524000"/>
                <a:gd name="connsiteX152" fmla="*/ 971550 w 1098550"/>
                <a:gd name="connsiteY152" fmla="*/ 625475 h 1524000"/>
                <a:gd name="connsiteX153" fmla="*/ 965200 w 1098550"/>
                <a:gd name="connsiteY153" fmla="*/ 606425 h 1524000"/>
                <a:gd name="connsiteX154" fmla="*/ 968375 w 1098550"/>
                <a:gd name="connsiteY154" fmla="*/ 584200 h 1524000"/>
                <a:gd name="connsiteX155" fmla="*/ 990600 w 1098550"/>
                <a:gd name="connsiteY155" fmla="*/ 571500 h 1524000"/>
                <a:gd name="connsiteX156" fmla="*/ 1012825 w 1098550"/>
                <a:gd name="connsiteY156" fmla="*/ 565150 h 1524000"/>
                <a:gd name="connsiteX157" fmla="*/ 1022350 w 1098550"/>
                <a:gd name="connsiteY157" fmla="*/ 555625 h 1524000"/>
                <a:gd name="connsiteX158" fmla="*/ 1028700 w 1098550"/>
                <a:gd name="connsiteY158" fmla="*/ 536575 h 1524000"/>
                <a:gd name="connsiteX159" fmla="*/ 1022350 w 1098550"/>
                <a:gd name="connsiteY159" fmla="*/ 517525 h 1524000"/>
                <a:gd name="connsiteX160" fmla="*/ 1019175 w 1098550"/>
                <a:gd name="connsiteY160" fmla="*/ 504825 h 1524000"/>
                <a:gd name="connsiteX161" fmla="*/ 1012825 w 1098550"/>
                <a:gd name="connsiteY161" fmla="*/ 495300 h 1524000"/>
                <a:gd name="connsiteX162" fmla="*/ 1009650 w 1098550"/>
                <a:gd name="connsiteY162" fmla="*/ 485775 h 1524000"/>
                <a:gd name="connsiteX163" fmla="*/ 1012825 w 1098550"/>
                <a:gd name="connsiteY163" fmla="*/ 457200 h 1524000"/>
                <a:gd name="connsiteX164" fmla="*/ 1031875 w 1098550"/>
                <a:gd name="connsiteY164" fmla="*/ 444500 h 1524000"/>
                <a:gd name="connsiteX165" fmla="*/ 1079500 w 1098550"/>
                <a:gd name="connsiteY165" fmla="*/ 450850 h 1524000"/>
                <a:gd name="connsiteX166" fmla="*/ 1098550 w 1098550"/>
                <a:gd name="connsiteY166" fmla="*/ 447675 h 1524000"/>
                <a:gd name="connsiteX167" fmla="*/ 1089025 w 1098550"/>
                <a:gd name="connsiteY167" fmla="*/ 438150 h 1524000"/>
                <a:gd name="connsiteX168" fmla="*/ 1082675 w 1098550"/>
                <a:gd name="connsiteY168" fmla="*/ 428625 h 1524000"/>
                <a:gd name="connsiteX169" fmla="*/ 1063625 w 1098550"/>
                <a:gd name="connsiteY169" fmla="*/ 415925 h 1524000"/>
                <a:gd name="connsiteX170" fmla="*/ 1066800 w 1098550"/>
                <a:gd name="connsiteY170" fmla="*/ 393700 h 1524000"/>
                <a:gd name="connsiteX171" fmla="*/ 1069975 w 1098550"/>
                <a:gd name="connsiteY171" fmla="*/ 384175 h 1524000"/>
                <a:gd name="connsiteX172" fmla="*/ 1079500 w 1098550"/>
                <a:gd name="connsiteY172" fmla="*/ 381000 h 1524000"/>
                <a:gd name="connsiteX173" fmla="*/ 1089025 w 1098550"/>
                <a:gd name="connsiteY173" fmla="*/ 371475 h 1524000"/>
                <a:gd name="connsiteX174" fmla="*/ 1089025 w 1098550"/>
                <a:gd name="connsiteY174" fmla="*/ 320675 h 1524000"/>
                <a:gd name="connsiteX175" fmla="*/ 1069975 w 1098550"/>
                <a:gd name="connsiteY175" fmla="*/ 314325 h 1524000"/>
                <a:gd name="connsiteX176" fmla="*/ 1060450 w 1098550"/>
                <a:gd name="connsiteY176" fmla="*/ 307975 h 1524000"/>
                <a:gd name="connsiteX177" fmla="*/ 1047750 w 1098550"/>
                <a:gd name="connsiteY177" fmla="*/ 304800 h 1524000"/>
                <a:gd name="connsiteX178" fmla="*/ 1038225 w 1098550"/>
                <a:gd name="connsiteY178" fmla="*/ 301625 h 1524000"/>
                <a:gd name="connsiteX179" fmla="*/ 1022350 w 1098550"/>
                <a:gd name="connsiteY179" fmla="*/ 282575 h 1524000"/>
                <a:gd name="connsiteX180" fmla="*/ 1019175 w 1098550"/>
                <a:gd name="connsiteY180" fmla="*/ 273050 h 1524000"/>
                <a:gd name="connsiteX181" fmla="*/ 1003300 w 1098550"/>
                <a:gd name="connsiteY181" fmla="*/ 254000 h 1524000"/>
                <a:gd name="connsiteX182" fmla="*/ 993775 w 1098550"/>
                <a:gd name="connsiteY182" fmla="*/ 250825 h 1524000"/>
                <a:gd name="connsiteX183" fmla="*/ 984250 w 1098550"/>
                <a:gd name="connsiteY183" fmla="*/ 244475 h 1524000"/>
                <a:gd name="connsiteX184" fmla="*/ 977900 w 1098550"/>
                <a:gd name="connsiteY184" fmla="*/ 225425 h 1524000"/>
                <a:gd name="connsiteX185" fmla="*/ 971550 w 1098550"/>
                <a:gd name="connsiteY185" fmla="*/ 200025 h 1524000"/>
                <a:gd name="connsiteX186" fmla="*/ 968375 w 1098550"/>
                <a:gd name="connsiteY186" fmla="*/ 187325 h 1524000"/>
                <a:gd name="connsiteX187" fmla="*/ 958850 w 1098550"/>
                <a:gd name="connsiteY187" fmla="*/ 177800 h 1524000"/>
                <a:gd name="connsiteX188" fmla="*/ 939800 w 1098550"/>
                <a:gd name="connsiteY188" fmla="*/ 171450 h 1524000"/>
                <a:gd name="connsiteX189" fmla="*/ 904875 w 1098550"/>
                <a:gd name="connsiteY189" fmla="*/ 174625 h 1524000"/>
                <a:gd name="connsiteX190" fmla="*/ 895350 w 1098550"/>
                <a:gd name="connsiteY190" fmla="*/ 177800 h 1524000"/>
                <a:gd name="connsiteX191" fmla="*/ 889000 w 1098550"/>
                <a:gd name="connsiteY191" fmla="*/ 196850 h 1524000"/>
                <a:gd name="connsiteX192" fmla="*/ 892175 w 1098550"/>
                <a:gd name="connsiteY192" fmla="*/ 206375 h 1524000"/>
                <a:gd name="connsiteX193" fmla="*/ 898525 w 1098550"/>
                <a:gd name="connsiteY193" fmla="*/ 215900 h 1524000"/>
                <a:gd name="connsiteX194" fmla="*/ 904875 w 1098550"/>
                <a:gd name="connsiteY194" fmla="*/ 234950 h 1524000"/>
                <a:gd name="connsiteX195" fmla="*/ 901700 w 1098550"/>
                <a:gd name="connsiteY195" fmla="*/ 244475 h 1524000"/>
                <a:gd name="connsiteX196" fmla="*/ 879475 w 1098550"/>
                <a:gd name="connsiteY196" fmla="*/ 254000 h 1524000"/>
                <a:gd name="connsiteX197" fmla="*/ 869950 w 1098550"/>
                <a:gd name="connsiteY197" fmla="*/ 257175 h 1524000"/>
                <a:gd name="connsiteX198" fmla="*/ 841375 w 1098550"/>
                <a:gd name="connsiteY198" fmla="*/ 247650 h 1524000"/>
                <a:gd name="connsiteX199" fmla="*/ 831850 w 1098550"/>
                <a:gd name="connsiteY199" fmla="*/ 244475 h 1524000"/>
                <a:gd name="connsiteX200" fmla="*/ 803275 w 1098550"/>
                <a:gd name="connsiteY200" fmla="*/ 222250 h 1524000"/>
                <a:gd name="connsiteX201" fmla="*/ 796925 w 1098550"/>
                <a:gd name="connsiteY201" fmla="*/ 212725 h 1524000"/>
                <a:gd name="connsiteX202" fmla="*/ 793750 w 1098550"/>
                <a:gd name="connsiteY202" fmla="*/ 203200 h 1524000"/>
                <a:gd name="connsiteX203" fmla="*/ 796925 w 1098550"/>
                <a:gd name="connsiteY203" fmla="*/ 184150 h 1524000"/>
                <a:gd name="connsiteX204" fmla="*/ 800100 w 1098550"/>
                <a:gd name="connsiteY204" fmla="*/ 174625 h 1524000"/>
                <a:gd name="connsiteX205" fmla="*/ 819150 w 1098550"/>
                <a:gd name="connsiteY205" fmla="*/ 168275 h 1524000"/>
                <a:gd name="connsiteX206" fmla="*/ 835025 w 1098550"/>
                <a:gd name="connsiteY206" fmla="*/ 149225 h 1524000"/>
                <a:gd name="connsiteX207" fmla="*/ 828675 w 1098550"/>
                <a:gd name="connsiteY207" fmla="*/ 130175 h 1524000"/>
                <a:gd name="connsiteX208" fmla="*/ 822325 w 1098550"/>
                <a:gd name="connsiteY208" fmla="*/ 104775 h 1524000"/>
                <a:gd name="connsiteX209" fmla="*/ 815975 w 1098550"/>
                <a:gd name="connsiteY209" fmla="*/ 82550 h 1524000"/>
                <a:gd name="connsiteX210" fmla="*/ 822325 w 1098550"/>
                <a:gd name="connsiteY210" fmla="*/ 73025 h 1524000"/>
                <a:gd name="connsiteX211" fmla="*/ 835025 w 1098550"/>
                <a:gd name="connsiteY211" fmla="*/ 69850 h 1524000"/>
                <a:gd name="connsiteX212" fmla="*/ 844550 w 1098550"/>
                <a:gd name="connsiteY212" fmla="*/ 66675 h 1524000"/>
                <a:gd name="connsiteX213" fmla="*/ 854075 w 1098550"/>
                <a:gd name="connsiteY213" fmla="*/ 47625 h 1524000"/>
                <a:gd name="connsiteX214" fmla="*/ 838200 w 1098550"/>
                <a:gd name="connsiteY214" fmla="*/ 31750 h 1524000"/>
                <a:gd name="connsiteX215" fmla="*/ 812800 w 1098550"/>
                <a:gd name="connsiteY215" fmla="*/ 25400 h 1524000"/>
                <a:gd name="connsiteX216" fmla="*/ 793750 w 1098550"/>
                <a:gd name="connsiteY216" fmla="*/ 19050 h 1524000"/>
                <a:gd name="connsiteX217" fmla="*/ 774700 w 1098550"/>
                <a:gd name="connsiteY217" fmla="*/ 6350 h 1524000"/>
                <a:gd name="connsiteX218" fmla="*/ 765175 w 1098550"/>
                <a:gd name="connsiteY218" fmla="*/ 0 h 1524000"/>
                <a:gd name="connsiteX219" fmla="*/ 736600 w 1098550"/>
                <a:gd name="connsiteY219" fmla="*/ 3175 h 1524000"/>
                <a:gd name="connsiteX220" fmla="*/ 727075 w 1098550"/>
                <a:gd name="connsiteY220" fmla="*/ 9525 h 1524000"/>
                <a:gd name="connsiteX221" fmla="*/ 730250 w 1098550"/>
                <a:gd name="connsiteY221" fmla="*/ 31750 h 1524000"/>
                <a:gd name="connsiteX222" fmla="*/ 723900 w 1098550"/>
                <a:gd name="connsiteY222" fmla="*/ 60325 h 1524000"/>
                <a:gd name="connsiteX223" fmla="*/ 717550 w 1098550"/>
                <a:gd name="connsiteY223" fmla="*/ 69850 h 1524000"/>
                <a:gd name="connsiteX224" fmla="*/ 708025 w 1098550"/>
                <a:gd name="connsiteY224" fmla="*/ 79375 h 1524000"/>
                <a:gd name="connsiteX225" fmla="*/ 698500 w 1098550"/>
                <a:gd name="connsiteY225" fmla="*/ 82550 h 1524000"/>
                <a:gd name="connsiteX226" fmla="*/ 688975 w 1098550"/>
                <a:gd name="connsiteY226" fmla="*/ 92075 h 1524000"/>
                <a:gd name="connsiteX227" fmla="*/ 669925 w 1098550"/>
                <a:gd name="connsiteY227" fmla="*/ 104775 h 1524000"/>
                <a:gd name="connsiteX228" fmla="*/ 660400 w 1098550"/>
                <a:gd name="connsiteY228" fmla="*/ 114300 h 1524000"/>
                <a:gd name="connsiteX229" fmla="*/ 647700 w 1098550"/>
                <a:gd name="connsiteY229" fmla="*/ 123825 h 1524000"/>
                <a:gd name="connsiteX230" fmla="*/ 641350 w 1098550"/>
                <a:gd name="connsiteY230" fmla="*/ 133350 h 1524000"/>
                <a:gd name="connsiteX231" fmla="*/ 609600 w 1098550"/>
                <a:gd name="connsiteY231" fmla="*/ 149225 h 1524000"/>
                <a:gd name="connsiteX232" fmla="*/ 587375 w 1098550"/>
                <a:gd name="connsiteY232" fmla="*/ 142875 h 1524000"/>
                <a:gd name="connsiteX233" fmla="*/ 581025 w 1098550"/>
                <a:gd name="connsiteY233" fmla="*/ 133350 h 1524000"/>
                <a:gd name="connsiteX234" fmla="*/ 571500 w 1098550"/>
                <a:gd name="connsiteY234" fmla="*/ 127000 h 1524000"/>
                <a:gd name="connsiteX235" fmla="*/ 568325 w 1098550"/>
                <a:gd name="connsiteY235" fmla="*/ 117475 h 1524000"/>
                <a:gd name="connsiteX236" fmla="*/ 571500 w 1098550"/>
                <a:gd name="connsiteY236" fmla="*/ 101600 h 1524000"/>
                <a:gd name="connsiteX237" fmla="*/ 561975 w 1098550"/>
                <a:gd name="connsiteY237" fmla="*/ 95250 h 1524000"/>
                <a:gd name="connsiteX238" fmla="*/ 527050 w 1098550"/>
                <a:gd name="connsiteY238" fmla="*/ 107950 h 1524000"/>
                <a:gd name="connsiteX239" fmla="*/ 530225 w 1098550"/>
                <a:gd name="connsiteY239" fmla="*/ 139700 h 1524000"/>
                <a:gd name="connsiteX240" fmla="*/ 536575 w 1098550"/>
                <a:gd name="connsiteY240" fmla="*/ 158750 h 1524000"/>
                <a:gd name="connsiteX241" fmla="*/ 533400 w 1098550"/>
                <a:gd name="connsiteY241" fmla="*/ 174625 h 1524000"/>
                <a:gd name="connsiteX242" fmla="*/ 511175 w 1098550"/>
                <a:gd name="connsiteY242" fmla="*/ 190500 h 1524000"/>
                <a:gd name="connsiteX243" fmla="*/ 492125 w 1098550"/>
                <a:gd name="connsiteY243" fmla="*/ 196850 h 1524000"/>
                <a:gd name="connsiteX244" fmla="*/ 463550 w 1098550"/>
                <a:gd name="connsiteY244" fmla="*/ 193675 h 1524000"/>
                <a:gd name="connsiteX245" fmla="*/ 412750 w 1098550"/>
                <a:gd name="connsiteY245" fmla="*/ 200025 h 1524000"/>
                <a:gd name="connsiteX246" fmla="*/ 403225 w 1098550"/>
                <a:gd name="connsiteY246" fmla="*/ 206375 h 1524000"/>
                <a:gd name="connsiteX247" fmla="*/ 393700 w 1098550"/>
                <a:gd name="connsiteY247" fmla="*/ 209550 h 1524000"/>
                <a:gd name="connsiteX248" fmla="*/ 381000 w 1098550"/>
                <a:gd name="connsiteY248" fmla="*/ 228600 h 1524000"/>
                <a:gd name="connsiteX249" fmla="*/ 374650 w 1098550"/>
                <a:gd name="connsiteY249" fmla="*/ 247650 h 1524000"/>
                <a:gd name="connsiteX250" fmla="*/ 377825 w 1098550"/>
                <a:gd name="connsiteY250" fmla="*/ 273050 h 1524000"/>
                <a:gd name="connsiteX251" fmla="*/ 409575 w 1098550"/>
                <a:gd name="connsiteY251" fmla="*/ 266700 h 1524000"/>
                <a:gd name="connsiteX252" fmla="*/ 447675 w 1098550"/>
                <a:gd name="connsiteY252" fmla="*/ 269875 h 1524000"/>
                <a:gd name="connsiteX253" fmla="*/ 450850 w 1098550"/>
                <a:gd name="connsiteY253" fmla="*/ 298450 h 1524000"/>
                <a:gd name="connsiteX254" fmla="*/ 441325 w 1098550"/>
                <a:gd name="connsiteY254" fmla="*/ 327025 h 1524000"/>
                <a:gd name="connsiteX255" fmla="*/ 434975 w 1098550"/>
                <a:gd name="connsiteY255" fmla="*/ 336550 h 1524000"/>
                <a:gd name="connsiteX256" fmla="*/ 431800 w 1098550"/>
                <a:gd name="connsiteY256" fmla="*/ 349250 h 1524000"/>
                <a:gd name="connsiteX257" fmla="*/ 422275 w 1098550"/>
                <a:gd name="connsiteY257" fmla="*/ 384175 h 1524000"/>
                <a:gd name="connsiteX258" fmla="*/ 403225 w 1098550"/>
                <a:gd name="connsiteY258" fmla="*/ 390525 h 1524000"/>
                <a:gd name="connsiteX259" fmla="*/ 393700 w 1098550"/>
                <a:gd name="connsiteY259" fmla="*/ 393700 h 1524000"/>
                <a:gd name="connsiteX260" fmla="*/ 377825 w 1098550"/>
                <a:gd name="connsiteY260" fmla="*/ 390525 h 1524000"/>
                <a:gd name="connsiteX261" fmla="*/ 358775 w 1098550"/>
                <a:gd name="connsiteY261" fmla="*/ 384175 h 1524000"/>
                <a:gd name="connsiteX262" fmla="*/ 346075 w 1098550"/>
                <a:gd name="connsiteY262" fmla="*/ 387350 h 1524000"/>
                <a:gd name="connsiteX263" fmla="*/ 346075 w 1098550"/>
                <a:gd name="connsiteY263" fmla="*/ 457200 h 1524000"/>
                <a:gd name="connsiteX264" fmla="*/ 336550 w 1098550"/>
                <a:gd name="connsiteY264" fmla="*/ 460375 h 1524000"/>
                <a:gd name="connsiteX265" fmla="*/ 317500 w 1098550"/>
                <a:gd name="connsiteY265" fmla="*/ 473075 h 1524000"/>
                <a:gd name="connsiteX266" fmla="*/ 301625 w 1098550"/>
                <a:gd name="connsiteY266" fmla="*/ 501650 h 1524000"/>
                <a:gd name="connsiteX267" fmla="*/ 288925 w 1098550"/>
                <a:gd name="connsiteY267" fmla="*/ 520700 h 1524000"/>
                <a:gd name="connsiteX268" fmla="*/ 285750 w 1098550"/>
                <a:gd name="connsiteY268" fmla="*/ 533400 h 1524000"/>
                <a:gd name="connsiteX269" fmla="*/ 282575 w 1098550"/>
                <a:gd name="connsiteY269" fmla="*/ 549275 h 1524000"/>
                <a:gd name="connsiteX270" fmla="*/ 260350 w 1098550"/>
                <a:gd name="connsiteY270" fmla="*/ 558800 h 1524000"/>
                <a:gd name="connsiteX271" fmla="*/ 250825 w 1098550"/>
                <a:gd name="connsiteY271" fmla="*/ 552450 h 1524000"/>
                <a:gd name="connsiteX272" fmla="*/ 231775 w 1098550"/>
                <a:gd name="connsiteY272" fmla="*/ 546100 h 1524000"/>
                <a:gd name="connsiteX273" fmla="*/ 209550 w 1098550"/>
                <a:gd name="connsiteY273" fmla="*/ 549275 h 1524000"/>
                <a:gd name="connsiteX274" fmla="*/ 200025 w 1098550"/>
                <a:gd name="connsiteY274" fmla="*/ 555625 h 1524000"/>
                <a:gd name="connsiteX275" fmla="*/ 177800 w 1098550"/>
                <a:gd name="connsiteY275" fmla="*/ 584200 h 1524000"/>
                <a:gd name="connsiteX276" fmla="*/ 174625 w 1098550"/>
                <a:gd name="connsiteY276" fmla="*/ 593725 h 1524000"/>
                <a:gd name="connsiteX277" fmla="*/ 165100 w 1098550"/>
                <a:gd name="connsiteY277" fmla="*/ 600075 h 1524000"/>
                <a:gd name="connsiteX278" fmla="*/ 158750 w 1098550"/>
                <a:gd name="connsiteY278" fmla="*/ 609600 h 1524000"/>
                <a:gd name="connsiteX279" fmla="*/ 168275 w 1098550"/>
                <a:gd name="connsiteY279" fmla="*/ 628650 h 1524000"/>
                <a:gd name="connsiteX280" fmla="*/ 158750 w 1098550"/>
                <a:gd name="connsiteY280" fmla="*/ 650875 h 1524000"/>
                <a:gd name="connsiteX281" fmla="*/ 149225 w 1098550"/>
                <a:gd name="connsiteY281" fmla="*/ 657225 h 1524000"/>
                <a:gd name="connsiteX282" fmla="*/ 161925 w 1098550"/>
                <a:gd name="connsiteY282" fmla="*/ 644525 h 152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Lst>
              <a:rect l="l" t="t" r="r" b="b"/>
              <a:pathLst>
                <a:path w="1098550" h="1524000">
                  <a:moveTo>
                    <a:pt x="161925" y="644525"/>
                  </a:moveTo>
                  <a:cubicBezTo>
                    <a:pt x="152857" y="671728"/>
                    <a:pt x="151668" y="667081"/>
                    <a:pt x="158750" y="704850"/>
                  </a:cubicBezTo>
                  <a:cubicBezTo>
                    <a:pt x="159453" y="708601"/>
                    <a:pt x="163550" y="710888"/>
                    <a:pt x="165100" y="714375"/>
                  </a:cubicBezTo>
                  <a:cubicBezTo>
                    <a:pt x="167818" y="720492"/>
                    <a:pt x="171450" y="733425"/>
                    <a:pt x="171450" y="733425"/>
                  </a:cubicBezTo>
                  <a:cubicBezTo>
                    <a:pt x="169321" y="746197"/>
                    <a:pt x="170854" y="753071"/>
                    <a:pt x="161925" y="762000"/>
                  </a:cubicBezTo>
                  <a:cubicBezTo>
                    <a:pt x="159227" y="764698"/>
                    <a:pt x="155887" y="766800"/>
                    <a:pt x="152400" y="768350"/>
                  </a:cubicBezTo>
                  <a:cubicBezTo>
                    <a:pt x="146283" y="771068"/>
                    <a:pt x="133350" y="774700"/>
                    <a:pt x="133350" y="774700"/>
                  </a:cubicBezTo>
                  <a:cubicBezTo>
                    <a:pt x="130175" y="773642"/>
                    <a:pt x="127172" y="771525"/>
                    <a:pt x="123825" y="771525"/>
                  </a:cubicBezTo>
                  <a:cubicBezTo>
                    <a:pt x="119838" y="771525"/>
                    <a:pt x="106092" y="776378"/>
                    <a:pt x="101600" y="777875"/>
                  </a:cubicBezTo>
                  <a:cubicBezTo>
                    <a:pt x="99483" y="784225"/>
                    <a:pt x="94773" y="790249"/>
                    <a:pt x="95250" y="796925"/>
                  </a:cubicBezTo>
                  <a:cubicBezTo>
                    <a:pt x="99047" y="850080"/>
                    <a:pt x="94822" y="826964"/>
                    <a:pt x="104775" y="866775"/>
                  </a:cubicBezTo>
                  <a:cubicBezTo>
                    <a:pt x="105700" y="870477"/>
                    <a:pt x="108590" y="873448"/>
                    <a:pt x="111125" y="876300"/>
                  </a:cubicBezTo>
                  <a:cubicBezTo>
                    <a:pt x="117091" y="883012"/>
                    <a:pt x="123825" y="889000"/>
                    <a:pt x="130175" y="895350"/>
                  </a:cubicBezTo>
                  <a:cubicBezTo>
                    <a:pt x="132873" y="898048"/>
                    <a:pt x="134632" y="901562"/>
                    <a:pt x="136525" y="904875"/>
                  </a:cubicBezTo>
                  <a:cubicBezTo>
                    <a:pt x="144000" y="917956"/>
                    <a:pt x="144021" y="921013"/>
                    <a:pt x="149225" y="936625"/>
                  </a:cubicBezTo>
                  <a:lnTo>
                    <a:pt x="152400" y="946150"/>
                  </a:lnTo>
                  <a:cubicBezTo>
                    <a:pt x="151342" y="951442"/>
                    <a:pt x="152680" y="957879"/>
                    <a:pt x="149225" y="962025"/>
                  </a:cubicBezTo>
                  <a:cubicBezTo>
                    <a:pt x="146431" y="965377"/>
                    <a:pt x="140705" y="963946"/>
                    <a:pt x="136525" y="965200"/>
                  </a:cubicBezTo>
                  <a:cubicBezTo>
                    <a:pt x="130114" y="967123"/>
                    <a:pt x="123825" y="969433"/>
                    <a:pt x="117475" y="971550"/>
                  </a:cubicBezTo>
                  <a:cubicBezTo>
                    <a:pt x="105896" y="1006288"/>
                    <a:pt x="120650" y="953671"/>
                    <a:pt x="120650" y="990600"/>
                  </a:cubicBezTo>
                  <a:cubicBezTo>
                    <a:pt x="120650" y="994416"/>
                    <a:pt x="117280" y="997741"/>
                    <a:pt x="114300" y="1000125"/>
                  </a:cubicBezTo>
                  <a:cubicBezTo>
                    <a:pt x="111687" y="1002216"/>
                    <a:pt x="107993" y="1002381"/>
                    <a:pt x="104775" y="1003300"/>
                  </a:cubicBezTo>
                  <a:cubicBezTo>
                    <a:pt x="76868" y="1011273"/>
                    <a:pt x="105388" y="1002037"/>
                    <a:pt x="82550" y="1009650"/>
                  </a:cubicBezTo>
                  <a:cubicBezTo>
                    <a:pt x="77734" y="1006439"/>
                    <a:pt x="70073" y="1000125"/>
                    <a:pt x="63500" y="1000125"/>
                  </a:cubicBezTo>
                  <a:cubicBezTo>
                    <a:pt x="58104" y="1000125"/>
                    <a:pt x="52917" y="1002242"/>
                    <a:pt x="47625" y="1003300"/>
                  </a:cubicBezTo>
                  <a:cubicBezTo>
                    <a:pt x="44414" y="1008116"/>
                    <a:pt x="38100" y="1015777"/>
                    <a:pt x="38100" y="1022350"/>
                  </a:cubicBezTo>
                  <a:cubicBezTo>
                    <a:pt x="38100" y="1026714"/>
                    <a:pt x="39110" y="1031261"/>
                    <a:pt x="41275" y="1035050"/>
                  </a:cubicBezTo>
                  <a:cubicBezTo>
                    <a:pt x="43503" y="1038949"/>
                    <a:pt x="47625" y="1041400"/>
                    <a:pt x="50800" y="1044575"/>
                  </a:cubicBezTo>
                  <a:cubicBezTo>
                    <a:pt x="51858" y="1047750"/>
                    <a:pt x="54525" y="1050799"/>
                    <a:pt x="53975" y="1054100"/>
                  </a:cubicBezTo>
                  <a:cubicBezTo>
                    <a:pt x="53348" y="1057864"/>
                    <a:pt x="50323" y="1060927"/>
                    <a:pt x="47625" y="1063625"/>
                  </a:cubicBezTo>
                  <a:cubicBezTo>
                    <a:pt x="41470" y="1069780"/>
                    <a:pt x="36322" y="1070568"/>
                    <a:pt x="28575" y="1073150"/>
                  </a:cubicBezTo>
                  <a:cubicBezTo>
                    <a:pt x="25400" y="1075267"/>
                    <a:pt x="21981" y="1077057"/>
                    <a:pt x="19050" y="1079500"/>
                  </a:cubicBezTo>
                  <a:cubicBezTo>
                    <a:pt x="13031" y="1084516"/>
                    <a:pt x="6743" y="1091414"/>
                    <a:pt x="3175" y="1098550"/>
                  </a:cubicBezTo>
                  <a:cubicBezTo>
                    <a:pt x="1678" y="1101543"/>
                    <a:pt x="1058" y="1104900"/>
                    <a:pt x="0" y="1108075"/>
                  </a:cubicBezTo>
                  <a:cubicBezTo>
                    <a:pt x="1058" y="1114425"/>
                    <a:pt x="296" y="1121367"/>
                    <a:pt x="3175" y="1127125"/>
                  </a:cubicBezTo>
                  <a:cubicBezTo>
                    <a:pt x="4882" y="1130538"/>
                    <a:pt x="10187" y="1130603"/>
                    <a:pt x="12700" y="1133475"/>
                  </a:cubicBezTo>
                  <a:cubicBezTo>
                    <a:pt x="38629" y="1163108"/>
                    <a:pt x="13494" y="1144587"/>
                    <a:pt x="34925" y="1158875"/>
                  </a:cubicBezTo>
                  <a:cubicBezTo>
                    <a:pt x="37042" y="1162050"/>
                    <a:pt x="38577" y="1165702"/>
                    <a:pt x="41275" y="1168400"/>
                  </a:cubicBezTo>
                  <a:cubicBezTo>
                    <a:pt x="47430" y="1174555"/>
                    <a:pt x="52578" y="1175343"/>
                    <a:pt x="60325" y="1177925"/>
                  </a:cubicBezTo>
                  <a:cubicBezTo>
                    <a:pt x="76937" y="1176415"/>
                    <a:pt x="94722" y="1176048"/>
                    <a:pt x="111125" y="1171575"/>
                  </a:cubicBezTo>
                  <a:cubicBezTo>
                    <a:pt x="117583" y="1169814"/>
                    <a:pt x="130175" y="1165225"/>
                    <a:pt x="130175" y="1165225"/>
                  </a:cubicBezTo>
                  <a:cubicBezTo>
                    <a:pt x="132292" y="1162050"/>
                    <a:pt x="133653" y="1158213"/>
                    <a:pt x="136525" y="1155700"/>
                  </a:cubicBezTo>
                  <a:cubicBezTo>
                    <a:pt x="152800" y="1141460"/>
                    <a:pt x="153229" y="1143469"/>
                    <a:pt x="171450" y="1139825"/>
                  </a:cubicBezTo>
                  <a:cubicBezTo>
                    <a:pt x="183092" y="1140883"/>
                    <a:pt x="194803" y="1141347"/>
                    <a:pt x="206375" y="1143000"/>
                  </a:cubicBezTo>
                  <a:cubicBezTo>
                    <a:pt x="209688" y="1143473"/>
                    <a:pt x="213533" y="1143808"/>
                    <a:pt x="215900" y="1146175"/>
                  </a:cubicBezTo>
                  <a:cubicBezTo>
                    <a:pt x="221296" y="1151571"/>
                    <a:pt x="224367" y="1158875"/>
                    <a:pt x="228600" y="1165225"/>
                  </a:cubicBezTo>
                  <a:lnTo>
                    <a:pt x="234950" y="1174750"/>
                  </a:lnTo>
                  <a:cubicBezTo>
                    <a:pt x="245013" y="1189844"/>
                    <a:pt x="240093" y="1180655"/>
                    <a:pt x="247650" y="1203325"/>
                  </a:cubicBezTo>
                  <a:lnTo>
                    <a:pt x="250825" y="1212850"/>
                  </a:lnTo>
                  <a:cubicBezTo>
                    <a:pt x="249767" y="1220258"/>
                    <a:pt x="249118" y="1227737"/>
                    <a:pt x="247650" y="1235075"/>
                  </a:cubicBezTo>
                  <a:cubicBezTo>
                    <a:pt x="246994" y="1238357"/>
                    <a:pt x="243556" y="1241382"/>
                    <a:pt x="244475" y="1244600"/>
                  </a:cubicBezTo>
                  <a:cubicBezTo>
                    <a:pt x="245929" y="1249688"/>
                    <a:pt x="250556" y="1253282"/>
                    <a:pt x="254000" y="1257300"/>
                  </a:cubicBezTo>
                  <a:cubicBezTo>
                    <a:pt x="260902" y="1265352"/>
                    <a:pt x="265557" y="1266634"/>
                    <a:pt x="269875" y="1276350"/>
                  </a:cubicBezTo>
                  <a:cubicBezTo>
                    <a:pt x="272593" y="1282467"/>
                    <a:pt x="274602" y="1288906"/>
                    <a:pt x="276225" y="1295400"/>
                  </a:cubicBezTo>
                  <a:cubicBezTo>
                    <a:pt x="277283" y="1299633"/>
                    <a:pt x="277235" y="1304311"/>
                    <a:pt x="279400" y="1308100"/>
                  </a:cubicBezTo>
                  <a:cubicBezTo>
                    <a:pt x="281628" y="1311999"/>
                    <a:pt x="286050" y="1314176"/>
                    <a:pt x="288925" y="1317625"/>
                  </a:cubicBezTo>
                  <a:cubicBezTo>
                    <a:pt x="291368" y="1320556"/>
                    <a:pt x="293158" y="1323975"/>
                    <a:pt x="295275" y="1327150"/>
                  </a:cubicBezTo>
                  <a:cubicBezTo>
                    <a:pt x="294217" y="1332442"/>
                    <a:pt x="294777" y="1338340"/>
                    <a:pt x="292100" y="1343025"/>
                  </a:cubicBezTo>
                  <a:cubicBezTo>
                    <a:pt x="289204" y="1348094"/>
                    <a:pt x="277939" y="1350920"/>
                    <a:pt x="273050" y="1352550"/>
                  </a:cubicBezTo>
                  <a:cubicBezTo>
                    <a:pt x="250264" y="1367741"/>
                    <a:pt x="259396" y="1359854"/>
                    <a:pt x="244475" y="1374775"/>
                  </a:cubicBezTo>
                  <a:cubicBezTo>
                    <a:pt x="244682" y="1375605"/>
                    <a:pt x="249169" y="1394930"/>
                    <a:pt x="250825" y="1397000"/>
                  </a:cubicBezTo>
                  <a:cubicBezTo>
                    <a:pt x="253209" y="1399980"/>
                    <a:pt x="257175" y="1401233"/>
                    <a:pt x="260350" y="1403350"/>
                  </a:cubicBezTo>
                  <a:cubicBezTo>
                    <a:pt x="261408" y="1406525"/>
                    <a:pt x="262028" y="1409882"/>
                    <a:pt x="263525" y="1412875"/>
                  </a:cubicBezTo>
                  <a:cubicBezTo>
                    <a:pt x="265232" y="1416288"/>
                    <a:pt x="268668" y="1418780"/>
                    <a:pt x="269875" y="1422400"/>
                  </a:cubicBezTo>
                  <a:cubicBezTo>
                    <a:pt x="273845" y="1434309"/>
                    <a:pt x="267594" y="1444343"/>
                    <a:pt x="282575" y="1447800"/>
                  </a:cubicBezTo>
                  <a:cubicBezTo>
                    <a:pt x="292939" y="1450192"/>
                    <a:pt x="303742" y="1449917"/>
                    <a:pt x="314325" y="1450975"/>
                  </a:cubicBezTo>
                  <a:cubicBezTo>
                    <a:pt x="323014" y="1456768"/>
                    <a:pt x="325744" y="1456824"/>
                    <a:pt x="330200" y="1466850"/>
                  </a:cubicBezTo>
                  <a:cubicBezTo>
                    <a:pt x="341336" y="1491906"/>
                    <a:pt x="328940" y="1480827"/>
                    <a:pt x="346075" y="1492250"/>
                  </a:cubicBezTo>
                  <a:cubicBezTo>
                    <a:pt x="351265" y="1490520"/>
                    <a:pt x="361886" y="1487908"/>
                    <a:pt x="365125" y="1482725"/>
                  </a:cubicBezTo>
                  <a:cubicBezTo>
                    <a:pt x="368673" y="1477049"/>
                    <a:pt x="371475" y="1463675"/>
                    <a:pt x="371475" y="1463675"/>
                  </a:cubicBezTo>
                  <a:cubicBezTo>
                    <a:pt x="369358" y="1460500"/>
                    <a:pt x="367823" y="1456848"/>
                    <a:pt x="365125" y="1454150"/>
                  </a:cubicBezTo>
                  <a:cubicBezTo>
                    <a:pt x="358970" y="1447995"/>
                    <a:pt x="353822" y="1447207"/>
                    <a:pt x="346075" y="1444625"/>
                  </a:cubicBezTo>
                  <a:cubicBezTo>
                    <a:pt x="347133" y="1440392"/>
                    <a:pt x="347085" y="1435714"/>
                    <a:pt x="349250" y="1431925"/>
                  </a:cubicBezTo>
                  <a:cubicBezTo>
                    <a:pt x="354846" y="1422132"/>
                    <a:pt x="359208" y="1422256"/>
                    <a:pt x="368300" y="1419225"/>
                  </a:cubicBezTo>
                  <a:cubicBezTo>
                    <a:pt x="382601" y="1420655"/>
                    <a:pt x="403225" y="1412964"/>
                    <a:pt x="403225" y="1431925"/>
                  </a:cubicBezTo>
                  <a:cubicBezTo>
                    <a:pt x="403225" y="1437321"/>
                    <a:pt x="401108" y="1442508"/>
                    <a:pt x="400050" y="1447800"/>
                  </a:cubicBezTo>
                  <a:cubicBezTo>
                    <a:pt x="401108" y="1455208"/>
                    <a:pt x="400539" y="1463040"/>
                    <a:pt x="403225" y="1470025"/>
                  </a:cubicBezTo>
                  <a:cubicBezTo>
                    <a:pt x="410076" y="1487838"/>
                    <a:pt x="412064" y="1488425"/>
                    <a:pt x="425450" y="1492250"/>
                  </a:cubicBezTo>
                  <a:cubicBezTo>
                    <a:pt x="429646" y="1493449"/>
                    <a:pt x="433954" y="1494226"/>
                    <a:pt x="438150" y="1495425"/>
                  </a:cubicBezTo>
                  <a:cubicBezTo>
                    <a:pt x="456712" y="1500729"/>
                    <a:pt x="438042" y="1496812"/>
                    <a:pt x="460375" y="1501775"/>
                  </a:cubicBezTo>
                  <a:cubicBezTo>
                    <a:pt x="483363" y="1506883"/>
                    <a:pt x="468754" y="1502451"/>
                    <a:pt x="485775" y="1508125"/>
                  </a:cubicBezTo>
                  <a:cubicBezTo>
                    <a:pt x="488950" y="1510242"/>
                    <a:pt x="491813" y="1512925"/>
                    <a:pt x="495300" y="1514475"/>
                  </a:cubicBezTo>
                  <a:cubicBezTo>
                    <a:pt x="505238" y="1518892"/>
                    <a:pt x="516495" y="1521361"/>
                    <a:pt x="527050" y="1524000"/>
                  </a:cubicBezTo>
                  <a:cubicBezTo>
                    <a:pt x="537754" y="1507943"/>
                    <a:pt x="527589" y="1518968"/>
                    <a:pt x="542925" y="1511300"/>
                  </a:cubicBezTo>
                  <a:cubicBezTo>
                    <a:pt x="546338" y="1509593"/>
                    <a:pt x="548963" y="1506500"/>
                    <a:pt x="552450" y="1504950"/>
                  </a:cubicBezTo>
                  <a:cubicBezTo>
                    <a:pt x="567544" y="1498241"/>
                    <a:pt x="574576" y="1498087"/>
                    <a:pt x="590550" y="1495425"/>
                  </a:cubicBezTo>
                  <a:cubicBezTo>
                    <a:pt x="589492" y="1490133"/>
                    <a:pt x="589270" y="1484603"/>
                    <a:pt x="587375" y="1479550"/>
                  </a:cubicBezTo>
                  <a:cubicBezTo>
                    <a:pt x="586035" y="1475977"/>
                    <a:pt x="582732" y="1473438"/>
                    <a:pt x="581025" y="1470025"/>
                  </a:cubicBezTo>
                  <a:cubicBezTo>
                    <a:pt x="579528" y="1467032"/>
                    <a:pt x="578908" y="1463675"/>
                    <a:pt x="577850" y="1460500"/>
                  </a:cubicBezTo>
                  <a:cubicBezTo>
                    <a:pt x="578908" y="1453092"/>
                    <a:pt x="579342" y="1445567"/>
                    <a:pt x="581025" y="1438275"/>
                  </a:cubicBezTo>
                  <a:cubicBezTo>
                    <a:pt x="582530" y="1431753"/>
                    <a:pt x="585752" y="1425719"/>
                    <a:pt x="587375" y="1419225"/>
                  </a:cubicBezTo>
                  <a:cubicBezTo>
                    <a:pt x="588433" y="1414992"/>
                    <a:pt x="589296" y="1410705"/>
                    <a:pt x="590550" y="1406525"/>
                  </a:cubicBezTo>
                  <a:cubicBezTo>
                    <a:pt x="592473" y="1400114"/>
                    <a:pt x="594783" y="1393825"/>
                    <a:pt x="596900" y="1387475"/>
                  </a:cubicBezTo>
                  <a:cubicBezTo>
                    <a:pt x="597958" y="1384300"/>
                    <a:pt x="599263" y="1381197"/>
                    <a:pt x="600075" y="1377950"/>
                  </a:cubicBezTo>
                  <a:cubicBezTo>
                    <a:pt x="607237" y="1349303"/>
                    <a:pt x="603665" y="1360829"/>
                    <a:pt x="609600" y="1343025"/>
                  </a:cubicBezTo>
                  <a:cubicBezTo>
                    <a:pt x="608542" y="1335617"/>
                    <a:pt x="608108" y="1328092"/>
                    <a:pt x="606425" y="1320800"/>
                  </a:cubicBezTo>
                  <a:cubicBezTo>
                    <a:pt x="602627" y="1304343"/>
                    <a:pt x="602143" y="1301886"/>
                    <a:pt x="590550" y="1292225"/>
                  </a:cubicBezTo>
                  <a:cubicBezTo>
                    <a:pt x="587619" y="1289782"/>
                    <a:pt x="584200" y="1287992"/>
                    <a:pt x="581025" y="1285875"/>
                  </a:cubicBezTo>
                  <a:lnTo>
                    <a:pt x="568325" y="1266825"/>
                  </a:lnTo>
                  <a:cubicBezTo>
                    <a:pt x="566208" y="1263650"/>
                    <a:pt x="563182" y="1260920"/>
                    <a:pt x="561975" y="1257300"/>
                  </a:cubicBezTo>
                  <a:lnTo>
                    <a:pt x="555625" y="1238250"/>
                  </a:lnTo>
                  <a:lnTo>
                    <a:pt x="552450" y="1228725"/>
                  </a:lnTo>
                  <a:cubicBezTo>
                    <a:pt x="547278" y="1187351"/>
                    <a:pt x="547279" y="1199289"/>
                    <a:pt x="552450" y="1139825"/>
                  </a:cubicBezTo>
                  <a:cubicBezTo>
                    <a:pt x="552740" y="1136491"/>
                    <a:pt x="554567" y="1133475"/>
                    <a:pt x="555625" y="1130300"/>
                  </a:cubicBezTo>
                  <a:cubicBezTo>
                    <a:pt x="548597" y="1125614"/>
                    <a:pt x="541464" y="1121759"/>
                    <a:pt x="536575" y="1114425"/>
                  </a:cubicBezTo>
                  <a:cubicBezTo>
                    <a:pt x="534719" y="1111640"/>
                    <a:pt x="534458" y="1108075"/>
                    <a:pt x="533400" y="1104900"/>
                  </a:cubicBezTo>
                  <a:cubicBezTo>
                    <a:pt x="534458" y="1101725"/>
                    <a:pt x="534484" y="1097988"/>
                    <a:pt x="536575" y="1095375"/>
                  </a:cubicBezTo>
                  <a:cubicBezTo>
                    <a:pt x="538959" y="1092395"/>
                    <a:pt x="543169" y="1091468"/>
                    <a:pt x="546100" y="1089025"/>
                  </a:cubicBezTo>
                  <a:cubicBezTo>
                    <a:pt x="561955" y="1075812"/>
                    <a:pt x="548411" y="1081905"/>
                    <a:pt x="565150" y="1076325"/>
                  </a:cubicBezTo>
                  <a:cubicBezTo>
                    <a:pt x="592447" y="1058127"/>
                    <a:pt x="557910" y="1079945"/>
                    <a:pt x="584200" y="1066800"/>
                  </a:cubicBezTo>
                  <a:cubicBezTo>
                    <a:pt x="587613" y="1065093"/>
                    <a:pt x="590152" y="1061790"/>
                    <a:pt x="593725" y="1060450"/>
                  </a:cubicBezTo>
                  <a:cubicBezTo>
                    <a:pt x="604223" y="1056513"/>
                    <a:pt x="640704" y="1054447"/>
                    <a:pt x="644525" y="1054100"/>
                  </a:cubicBezTo>
                  <a:cubicBezTo>
                    <a:pt x="658283" y="1055158"/>
                    <a:pt x="672170" y="1055123"/>
                    <a:pt x="685800" y="1057275"/>
                  </a:cubicBezTo>
                  <a:cubicBezTo>
                    <a:pt x="692412" y="1058319"/>
                    <a:pt x="704850" y="1063625"/>
                    <a:pt x="704850" y="1063625"/>
                  </a:cubicBezTo>
                  <a:lnTo>
                    <a:pt x="723900" y="1076325"/>
                  </a:lnTo>
                  <a:cubicBezTo>
                    <a:pt x="741566" y="1088102"/>
                    <a:pt x="720747" y="1082697"/>
                    <a:pt x="733425" y="1095375"/>
                  </a:cubicBezTo>
                  <a:cubicBezTo>
                    <a:pt x="735792" y="1097742"/>
                    <a:pt x="739775" y="1097492"/>
                    <a:pt x="742950" y="1098550"/>
                  </a:cubicBezTo>
                  <a:cubicBezTo>
                    <a:pt x="746125" y="1100667"/>
                    <a:pt x="748689" y="1104427"/>
                    <a:pt x="752475" y="1104900"/>
                  </a:cubicBezTo>
                  <a:cubicBezTo>
                    <a:pt x="766895" y="1106702"/>
                    <a:pt x="769408" y="1100667"/>
                    <a:pt x="777875" y="1092200"/>
                  </a:cubicBezTo>
                  <a:cubicBezTo>
                    <a:pt x="783949" y="1067905"/>
                    <a:pt x="783757" y="1074266"/>
                    <a:pt x="777875" y="1035050"/>
                  </a:cubicBezTo>
                  <a:cubicBezTo>
                    <a:pt x="776882" y="1028431"/>
                    <a:pt x="771525" y="1016000"/>
                    <a:pt x="771525" y="1016000"/>
                  </a:cubicBezTo>
                  <a:cubicBezTo>
                    <a:pt x="772583" y="1012825"/>
                    <a:pt x="772609" y="1009088"/>
                    <a:pt x="774700" y="1006475"/>
                  </a:cubicBezTo>
                  <a:cubicBezTo>
                    <a:pt x="779176" y="1000880"/>
                    <a:pt x="787475" y="999042"/>
                    <a:pt x="793750" y="996950"/>
                  </a:cubicBezTo>
                  <a:cubicBezTo>
                    <a:pt x="805845" y="999369"/>
                    <a:pt x="813405" y="1002998"/>
                    <a:pt x="825500" y="996950"/>
                  </a:cubicBezTo>
                  <a:cubicBezTo>
                    <a:pt x="830181" y="994609"/>
                    <a:pt x="838944" y="982762"/>
                    <a:pt x="841375" y="977900"/>
                  </a:cubicBezTo>
                  <a:cubicBezTo>
                    <a:pt x="842872" y="974907"/>
                    <a:pt x="842183" y="970742"/>
                    <a:pt x="844550" y="968375"/>
                  </a:cubicBezTo>
                  <a:cubicBezTo>
                    <a:pt x="846917" y="966008"/>
                    <a:pt x="850900" y="966258"/>
                    <a:pt x="854075" y="965200"/>
                  </a:cubicBezTo>
                  <a:cubicBezTo>
                    <a:pt x="857250" y="963083"/>
                    <a:pt x="860187" y="960557"/>
                    <a:pt x="863600" y="958850"/>
                  </a:cubicBezTo>
                  <a:cubicBezTo>
                    <a:pt x="866593" y="957353"/>
                    <a:pt x="870340" y="957531"/>
                    <a:pt x="873125" y="955675"/>
                  </a:cubicBezTo>
                  <a:cubicBezTo>
                    <a:pt x="876861" y="953184"/>
                    <a:pt x="879475" y="949325"/>
                    <a:pt x="882650" y="946150"/>
                  </a:cubicBezTo>
                  <a:cubicBezTo>
                    <a:pt x="889797" y="924708"/>
                    <a:pt x="882650" y="951102"/>
                    <a:pt x="882650" y="917575"/>
                  </a:cubicBezTo>
                  <a:cubicBezTo>
                    <a:pt x="882650" y="909042"/>
                    <a:pt x="884299" y="900570"/>
                    <a:pt x="885825" y="892175"/>
                  </a:cubicBezTo>
                  <a:cubicBezTo>
                    <a:pt x="886424" y="888882"/>
                    <a:pt x="886909" y="885263"/>
                    <a:pt x="889000" y="882650"/>
                  </a:cubicBezTo>
                  <a:cubicBezTo>
                    <a:pt x="893612" y="876885"/>
                    <a:pt x="904594" y="873788"/>
                    <a:pt x="911225" y="873125"/>
                  </a:cubicBezTo>
                  <a:cubicBezTo>
                    <a:pt x="928107" y="871437"/>
                    <a:pt x="945092" y="871008"/>
                    <a:pt x="962025" y="869950"/>
                  </a:cubicBezTo>
                  <a:cubicBezTo>
                    <a:pt x="971391" y="863706"/>
                    <a:pt x="973435" y="863242"/>
                    <a:pt x="981075" y="854075"/>
                  </a:cubicBezTo>
                  <a:cubicBezTo>
                    <a:pt x="994304" y="838200"/>
                    <a:pt x="979487" y="849842"/>
                    <a:pt x="996950" y="838200"/>
                  </a:cubicBezTo>
                  <a:cubicBezTo>
                    <a:pt x="1001183" y="831850"/>
                    <a:pt x="1007237" y="826390"/>
                    <a:pt x="1009650" y="819150"/>
                  </a:cubicBezTo>
                  <a:lnTo>
                    <a:pt x="1016000" y="800100"/>
                  </a:lnTo>
                  <a:cubicBezTo>
                    <a:pt x="1014942" y="795867"/>
                    <a:pt x="1014024" y="791596"/>
                    <a:pt x="1012825" y="787400"/>
                  </a:cubicBezTo>
                  <a:cubicBezTo>
                    <a:pt x="1011906" y="784182"/>
                    <a:pt x="1009650" y="781222"/>
                    <a:pt x="1009650" y="777875"/>
                  </a:cubicBezTo>
                  <a:cubicBezTo>
                    <a:pt x="1009650" y="761965"/>
                    <a:pt x="1011242" y="746081"/>
                    <a:pt x="1012825" y="730250"/>
                  </a:cubicBezTo>
                  <a:cubicBezTo>
                    <a:pt x="1013362" y="724880"/>
                    <a:pt x="1014580" y="719581"/>
                    <a:pt x="1016000" y="714375"/>
                  </a:cubicBezTo>
                  <a:cubicBezTo>
                    <a:pt x="1017761" y="707917"/>
                    <a:pt x="1022350" y="695325"/>
                    <a:pt x="1022350" y="695325"/>
                  </a:cubicBezTo>
                  <a:cubicBezTo>
                    <a:pt x="1019175" y="693208"/>
                    <a:pt x="1016628" y="689292"/>
                    <a:pt x="1012825" y="688975"/>
                  </a:cubicBezTo>
                  <a:cubicBezTo>
                    <a:pt x="995811" y="687557"/>
                    <a:pt x="988143" y="690852"/>
                    <a:pt x="974725" y="695325"/>
                  </a:cubicBezTo>
                  <a:cubicBezTo>
                    <a:pt x="972608" y="698500"/>
                    <a:pt x="972044" y="703802"/>
                    <a:pt x="968375" y="704850"/>
                  </a:cubicBezTo>
                  <a:cubicBezTo>
                    <a:pt x="954094" y="708930"/>
                    <a:pt x="951720" y="700506"/>
                    <a:pt x="946150" y="692150"/>
                  </a:cubicBezTo>
                  <a:cubicBezTo>
                    <a:pt x="946357" y="691320"/>
                    <a:pt x="950844" y="671995"/>
                    <a:pt x="952500" y="669925"/>
                  </a:cubicBezTo>
                  <a:cubicBezTo>
                    <a:pt x="954884" y="666945"/>
                    <a:pt x="958850" y="665692"/>
                    <a:pt x="962025" y="663575"/>
                  </a:cubicBezTo>
                  <a:cubicBezTo>
                    <a:pt x="963083" y="660400"/>
                    <a:pt x="963344" y="656835"/>
                    <a:pt x="965200" y="654050"/>
                  </a:cubicBezTo>
                  <a:cubicBezTo>
                    <a:pt x="967691" y="650314"/>
                    <a:pt x="973751" y="648908"/>
                    <a:pt x="974725" y="644525"/>
                  </a:cubicBezTo>
                  <a:cubicBezTo>
                    <a:pt x="976122" y="638241"/>
                    <a:pt x="973111" y="631720"/>
                    <a:pt x="971550" y="625475"/>
                  </a:cubicBezTo>
                  <a:cubicBezTo>
                    <a:pt x="969927" y="618981"/>
                    <a:pt x="965200" y="606425"/>
                    <a:pt x="965200" y="606425"/>
                  </a:cubicBezTo>
                  <a:cubicBezTo>
                    <a:pt x="966258" y="599017"/>
                    <a:pt x="965596" y="591148"/>
                    <a:pt x="968375" y="584200"/>
                  </a:cubicBezTo>
                  <a:cubicBezTo>
                    <a:pt x="972726" y="573323"/>
                    <a:pt x="981571" y="574080"/>
                    <a:pt x="990600" y="571500"/>
                  </a:cubicBezTo>
                  <a:cubicBezTo>
                    <a:pt x="1022484" y="562390"/>
                    <a:pt x="973123" y="575076"/>
                    <a:pt x="1012825" y="565150"/>
                  </a:cubicBezTo>
                  <a:cubicBezTo>
                    <a:pt x="1016000" y="561975"/>
                    <a:pt x="1020169" y="559550"/>
                    <a:pt x="1022350" y="555625"/>
                  </a:cubicBezTo>
                  <a:cubicBezTo>
                    <a:pt x="1025601" y="549774"/>
                    <a:pt x="1028700" y="536575"/>
                    <a:pt x="1028700" y="536575"/>
                  </a:cubicBezTo>
                  <a:lnTo>
                    <a:pt x="1022350" y="517525"/>
                  </a:lnTo>
                  <a:cubicBezTo>
                    <a:pt x="1020970" y="513385"/>
                    <a:pt x="1020894" y="508836"/>
                    <a:pt x="1019175" y="504825"/>
                  </a:cubicBezTo>
                  <a:cubicBezTo>
                    <a:pt x="1017672" y="501318"/>
                    <a:pt x="1014532" y="498713"/>
                    <a:pt x="1012825" y="495300"/>
                  </a:cubicBezTo>
                  <a:cubicBezTo>
                    <a:pt x="1011328" y="492307"/>
                    <a:pt x="1010708" y="488950"/>
                    <a:pt x="1009650" y="485775"/>
                  </a:cubicBezTo>
                  <a:cubicBezTo>
                    <a:pt x="1010708" y="476250"/>
                    <a:pt x="1008281" y="465638"/>
                    <a:pt x="1012825" y="457200"/>
                  </a:cubicBezTo>
                  <a:cubicBezTo>
                    <a:pt x="1016443" y="450480"/>
                    <a:pt x="1031875" y="444500"/>
                    <a:pt x="1031875" y="444500"/>
                  </a:cubicBezTo>
                  <a:cubicBezTo>
                    <a:pt x="1044717" y="446640"/>
                    <a:pt x="1067842" y="450850"/>
                    <a:pt x="1079500" y="450850"/>
                  </a:cubicBezTo>
                  <a:cubicBezTo>
                    <a:pt x="1085938" y="450850"/>
                    <a:pt x="1092200" y="448733"/>
                    <a:pt x="1098550" y="447675"/>
                  </a:cubicBezTo>
                  <a:cubicBezTo>
                    <a:pt x="1095375" y="444500"/>
                    <a:pt x="1091900" y="441599"/>
                    <a:pt x="1089025" y="438150"/>
                  </a:cubicBezTo>
                  <a:cubicBezTo>
                    <a:pt x="1086582" y="435219"/>
                    <a:pt x="1085547" y="431138"/>
                    <a:pt x="1082675" y="428625"/>
                  </a:cubicBezTo>
                  <a:cubicBezTo>
                    <a:pt x="1076932" y="423599"/>
                    <a:pt x="1063625" y="415925"/>
                    <a:pt x="1063625" y="415925"/>
                  </a:cubicBezTo>
                  <a:cubicBezTo>
                    <a:pt x="1064683" y="408517"/>
                    <a:pt x="1065332" y="401038"/>
                    <a:pt x="1066800" y="393700"/>
                  </a:cubicBezTo>
                  <a:cubicBezTo>
                    <a:pt x="1067456" y="390418"/>
                    <a:pt x="1067608" y="386542"/>
                    <a:pt x="1069975" y="384175"/>
                  </a:cubicBezTo>
                  <a:cubicBezTo>
                    <a:pt x="1072342" y="381808"/>
                    <a:pt x="1076325" y="382058"/>
                    <a:pt x="1079500" y="381000"/>
                  </a:cubicBezTo>
                  <a:cubicBezTo>
                    <a:pt x="1082675" y="377825"/>
                    <a:pt x="1086534" y="375211"/>
                    <a:pt x="1089025" y="371475"/>
                  </a:cubicBezTo>
                  <a:cubicBezTo>
                    <a:pt x="1097187" y="359232"/>
                    <a:pt x="1089886" y="322519"/>
                    <a:pt x="1089025" y="320675"/>
                  </a:cubicBezTo>
                  <a:cubicBezTo>
                    <a:pt x="1086194" y="314609"/>
                    <a:pt x="1069975" y="314325"/>
                    <a:pt x="1069975" y="314325"/>
                  </a:cubicBezTo>
                  <a:cubicBezTo>
                    <a:pt x="1066800" y="312208"/>
                    <a:pt x="1063957" y="309478"/>
                    <a:pt x="1060450" y="307975"/>
                  </a:cubicBezTo>
                  <a:cubicBezTo>
                    <a:pt x="1056439" y="306256"/>
                    <a:pt x="1051946" y="305999"/>
                    <a:pt x="1047750" y="304800"/>
                  </a:cubicBezTo>
                  <a:cubicBezTo>
                    <a:pt x="1044532" y="303881"/>
                    <a:pt x="1041400" y="302683"/>
                    <a:pt x="1038225" y="301625"/>
                  </a:cubicBezTo>
                  <a:cubicBezTo>
                    <a:pt x="1031203" y="294603"/>
                    <a:pt x="1026770" y="291416"/>
                    <a:pt x="1022350" y="282575"/>
                  </a:cubicBezTo>
                  <a:cubicBezTo>
                    <a:pt x="1020853" y="279582"/>
                    <a:pt x="1020672" y="276043"/>
                    <a:pt x="1019175" y="273050"/>
                  </a:cubicBezTo>
                  <a:cubicBezTo>
                    <a:pt x="1016247" y="267193"/>
                    <a:pt x="1008566" y="257511"/>
                    <a:pt x="1003300" y="254000"/>
                  </a:cubicBezTo>
                  <a:cubicBezTo>
                    <a:pt x="1000515" y="252144"/>
                    <a:pt x="996950" y="251883"/>
                    <a:pt x="993775" y="250825"/>
                  </a:cubicBezTo>
                  <a:cubicBezTo>
                    <a:pt x="990600" y="248708"/>
                    <a:pt x="986272" y="247711"/>
                    <a:pt x="984250" y="244475"/>
                  </a:cubicBezTo>
                  <a:cubicBezTo>
                    <a:pt x="980702" y="238799"/>
                    <a:pt x="980017" y="231775"/>
                    <a:pt x="977900" y="225425"/>
                  </a:cubicBezTo>
                  <a:cubicBezTo>
                    <a:pt x="972226" y="208404"/>
                    <a:pt x="976658" y="223013"/>
                    <a:pt x="971550" y="200025"/>
                  </a:cubicBezTo>
                  <a:cubicBezTo>
                    <a:pt x="970603" y="195765"/>
                    <a:pt x="970540" y="191114"/>
                    <a:pt x="968375" y="187325"/>
                  </a:cubicBezTo>
                  <a:cubicBezTo>
                    <a:pt x="966147" y="183426"/>
                    <a:pt x="962775" y="179981"/>
                    <a:pt x="958850" y="177800"/>
                  </a:cubicBezTo>
                  <a:cubicBezTo>
                    <a:pt x="952999" y="174549"/>
                    <a:pt x="939800" y="171450"/>
                    <a:pt x="939800" y="171450"/>
                  </a:cubicBezTo>
                  <a:cubicBezTo>
                    <a:pt x="928158" y="172508"/>
                    <a:pt x="916447" y="172972"/>
                    <a:pt x="904875" y="174625"/>
                  </a:cubicBezTo>
                  <a:cubicBezTo>
                    <a:pt x="901562" y="175098"/>
                    <a:pt x="897295" y="175077"/>
                    <a:pt x="895350" y="177800"/>
                  </a:cubicBezTo>
                  <a:cubicBezTo>
                    <a:pt x="891459" y="183247"/>
                    <a:pt x="889000" y="196850"/>
                    <a:pt x="889000" y="196850"/>
                  </a:cubicBezTo>
                  <a:cubicBezTo>
                    <a:pt x="890058" y="200025"/>
                    <a:pt x="890678" y="203382"/>
                    <a:pt x="892175" y="206375"/>
                  </a:cubicBezTo>
                  <a:cubicBezTo>
                    <a:pt x="893882" y="209788"/>
                    <a:pt x="896975" y="212413"/>
                    <a:pt x="898525" y="215900"/>
                  </a:cubicBezTo>
                  <a:cubicBezTo>
                    <a:pt x="901243" y="222017"/>
                    <a:pt x="904875" y="234950"/>
                    <a:pt x="904875" y="234950"/>
                  </a:cubicBezTo>
                  <a:cubicBezTo>
                    <a:pt x="903817" y="238125"/>
                    <a:pt x="903791" y="241862"/>
                    <a:pt x="901700" y="244475"/>
                  </a:cubicBezTo>
                  <a:cubicBezTo>
                    <a:pt x="895971" y="251636"/>
                    <a:pt x="887384" y="251740"/>
                    <a:pt x="879475" y="254000"/>
                  </a:cubicBezTo>
                  <a:cubicBezTo>
                    <a:pt x="876257" y="254919"/>
                    <a:pt x="873125" y="256117"/>
                    <a:pt x="869950" y="257175"/>
                  </a:cubicBezTo>
                  <a:lnTo>
                    <a:pt x="841375" y="247650"/>
                  </a:lnTo>
                  <a:lnTo>
                    <a:pt x="831850" y="244475"/>
                  </a:lnTo>
                  <a:cubicBezTo>
                    <a:pt x="818575" y="235625"/>
                    <a:pt x="812601" y="233441"/>
                    <a:pt x="803275" y="222250"/>
                  </a:cubicBezTo>
                  <a:cubicBezTo>
                    <a:pt x="800832" y="219319"/>
                    <a:pt x="798632" y="216138"/>
                    <a:pt x="796925" y="212725"/>
                  </a:cubicBezTo>
                  <a:cubicBezTo>
                    <a:pt x="795428" y="209732"/>
                    <a:pt x="794808" y="206375"/>
                    <a:pt x="793750" y="203200"/>
                  </a:cubicBezTo>
                  <a:cubicBezTo>
                    <a:pt x="794808" y="196850"/>
                    <a:pt x="795528" y="190434"/>
                    <a:pt x="796925" y="184150"/>
                  </a:cubicBezTo>
                  <a:cubicBezTo>
                    <a:pt x="797651" y="180883"/>
                    <a:pt x="797377" y="176570"/>
                    <a:pt x="800100" y="174625"/>
                  </a:cubicBezTo>
                  <a:cubicBezTo>
                    <a:pt x="805547" y="170734"/>
                    <a:pt x="819150" y="168275"/>
                    <a:pt x="819150" y="168275"/>
                  </a:cubicBezTo>
                  <a:cubicBezTo>
                    <a:pt x="826118" y="163630"/>
                    <a:pt x="835025" y="159967"/>
                    <a:pt x="835025" y="149225"/>
                  </a:cubicBezTo>
                  <a:cubicBezTo>
                    <a:pt x="835025" y="142532"/>
                    <a:pt x="830792" y="136525"/>
                    <a:pt x="828675" y="130175"/>
                  </a:cubicBezTo>
                  <a:cubicBezTo>
                    <a:pt x="823001" y="113154"/>
                    <a:pt x="827433" y="127763"/>
                    <a:pt x="822325" y="104775"/>
                  </a:cubicBezTo>
                  <a:cubicBezTo>
                    <a:pt x="819667" y="92815"/>
                    <a:pt x="819511" y="93157"/>
                    <a:pt x="815975" y="82550"/>
                  </a:cubicBezTo>
                  <a:cubicBezTo>
                    <a:pt x="818092" y="79375"/>
                    <a:pt x="819150" y="75142"/>
                    <a:pt x="822325" y="73025"/>
                  </a:cubicBezTo>
                  <a:cubicBezTo>
                    <a:pt x="825956" y="70604"/>
                    <a:pt x="830829" y="71049"/>
                    <a:pt x="835025" y="69850"/>
                  </a:cubicBezTo>
                  <a:cubicBezTo>
                    <a:pt x="838243" y="68931"/>
                    <a:pt x="841375" y="67733"/>
                    <a:pt x="844550" y="66675"/>
                  </a:cubicBezTo>
                  <a:cubicBezTo>
                    <a:pt x="846761" y="63358"/>
                    <a:pt x="854951" y="52883"/>
                    <a:pt x="854075" y="47625"/>
                  </a:cubicBezTo>
                  <a:cubicBezTo>
                    <a:pt x="852920" y="40698"/>
                    <a:pt x="843588" y="34444"/>
                    <a:pt x="838200" y="31750"/>
                  </a:cubicBezTo>
                  <a:cubicBezTo>
                    <a:pt x="830493" y="27897"/>
                    <a:pt x="820770" y="27574"/>
                    <a:pt x="812800" y="25400"/>
                  </a:cubicBezTo>
                  <a:cubicBezTo>
                    <a:pt x="806342" y="23639"/>
                    <a:pt x="793750" y="19050"/>
                    <a:pt x="793750" y="19050"/>
                  </a:cubicBezTo>
                  <a:lnTo>
                    <a:pt x="774700" y="6350"/>
                  </a:lnTo>
                  <a:lnTo>
                    <a:pt x="765175" y="0"/>
                  </a:lnTo>
                  <a:cubicBezTo>
                    <a:pt x="755650" y="1058"/>
                    <a:pt x="745897" y="851"/>
                    <a:pt x="736600" y="3175"/>
                  </a:cubicBezTo>
                  <a:cubicBezTo>
                    <a:pt x="732898" y="4100"/>
                    <a:pt x="727903" y="5800"/>
                    <a:pt x="727075" y="9525"/>
                  </a:cubicBezTo>
                  <a:cubicBezTo>
                    <a:pt x="725452" y="16830"/>
                    <a:pt x="729192" y="24342"/>
                    <a:pt x="730250" y="31750"/>
                  </a:cubicBezTo>
                  <a:cubicBezTo>
                    <a:pt x="729031" y="39067"/>
                    <a:pt x="727808" y="52509"/>
                    <a:pt x="723900" y="60325"/>
                  </a:cubicBezTo>
                  <a:cubicBezTo>
                    <a:pt x="722193" y="63738"/>
                    <a:pt x="719993" y="66919"/>
                    <a:pt x="717550" y="69850"/>
                  </a:cubicBezTo>
                  <a:cubicBezTo>
                    <a:pt x="714675" y="73299"/>
                    <a:pt x="711761" y="76884"/>
                    <a:pt x="708025" y="79375"/>
                  </a:cubicBezTo>
                  <a:cubicBezTo>
                    <a:pt x="705240" y="81231"/>
                    <a:pt x="701675" y="81492"/>
                    <a:pt x="698500" y="82550"/>
                  </a:cubicBezTo>
                  <a:cubicBezTo>
                    <a:pt x="695325" y="85725"/>
                    <a:pt x="692519" y="89318"/>
                    <a:pt x="688975" y="92075"/>
                  </a:cubicBezTo>
                  <a:cubicBezTo>
                    <a:pt x="682951" y="96760"/>
                    <a:pt x="675321" y="99379"/>
                    <a:pt x="669925" y="104775"/>
                  </a:cubicBezTo>
                  <a:cubicBezTo>
                    <a:pt x="666750" y="107950"/>
                    <a:pt x="663809" y="111378"/>
                    <a:pt x="660400" y="114300"/>
                  </a:cubicBezTo>
                  <a:cubicBezTo>
                    <a:pt x="656382" y="117744"/>
                    <a:pt x="651442" y="120083"/>
                    <a:pt x="647700" y="123825"/>
                  </a:cubicBezTo>
                  <a:cubicBezTo>
                    <a:pt x="645002" y="126523"/>
                    <a:pt x="644222" y="130837"/>
                    <a:pt x="641350" y="133350"/>
                  </a:cubicBezTo>
                  <a:cubicBezTo>
                    <a:pt x="626229" y="146580"/>
                    <a:pt x="625381" y="145280"/>
                    <a:pt x="609600" y="149225"/>
                  </a:cubicBezTo>
                  <a:cubicBezTo>
                    <a:pt x="608770" y="149018"/>
                    <a:pt x="589445" y="144531"/>
                    <a:pt x="587375" y="142875"/>
                  </a:cubicBezTo>
                  <a:cubicBezTo>
                    <a:pt x="584395" y="140491"/>
                    <a:pt x="583723" y="136048"/>
                    <a:pt x="581025" y="133350"/>
                  </a:cubicBezTo>
                  <a:cubicBezTo>
                    <a:pt x="578327" y="130652"/>
                    <a:pt x="574675" y="129117"/>
                    <a:pt x="571500" y="127000"/>
                  </a:cubicBezTo>
                  <a:cubicBezTo>
                    <a:pt x="570442" y="123825"/>
                    <a:pt x="568325" y="120822"/>
                    <a:pt x="568325" y="117475"/>
                  </a:cubicBezTo>
                  <a:cubicBezTo>
                    <a:pt x="568325" y="112079"/>
                    <a:pt x="572983" y="106789"/>
                    <a:pt x="571500" y="101600"/>
                  </a:cubicBezTo>
                  <a:cubicBezTo>
                    <a:pt x="570452" y="97931"/>
                    <a:pt x="565150" y="97367"/>
                    <a:pt x="561975" y="95250"/>
                  </a:cubicBezTo>
                  <a:cubicBezTo>
                    <a:pt x="532873" y="102525"/>
                    <a:pt x="543837" y="96759"/>
                    <a:pt x="527050" y="107950"/>
                  </a:cubicBezTo>
                  <a:cubicBezTo>
                    <a:pt x="528108" y="118533"/>
                    <a:pt x="528265" y="129246"/>
                    <a:pt x="530225" y="139700"/>
                  </a:cubicBezTo>
                  <a:cubicBezTo>
                    <a:pt x="531459" y="146279"/>
                    <a:pt x="536575" y="158750"/>
                    <a:pt x="536575" y="158750"/>
                  </a:cubicBezTo>
                  <a:cubicBezTo>
                    <a:pt x="535517" y="164042"/>
                    <a:pt x="535813" y="169798"/>
                    <a:pt x="533400" y="174625"/>
                  </a:cubicBezTo>
                  <a:cubicBezTo>
                    <a:pt x="529564" y="182297"/>
                    <a:pt x="518366" y="187623"/>
                    <a:pt x="511175" y="190500"/>
                  </a:cubicBezTo>
                  <a:cubicBezTo>
                    <a:pt x="504960" y="192986"/>
                    <a:pt x="492125" y="196850"/>
                    <a:pt x="492125" y="196850"/>
                  </a:cubicBezTo>
                  <a:cubicBezTo>
                    <a:pt x="482600" y="195792"/>
                    <a:pt x="473134" y="193675"/>
                    <a:pt x="463550" y="193675"/>
                  </a:cubicBezTo>
                  <a:cubicBezTo>
                    <a:pt x="441569" y="193675"/>
                    <a:pt x="431631" y="196249"/>
                    <a:pt x="412750" y="200025"/>
                  </a:cubicBezTo>
                  <a:cubicBezTo>
                    <a:pt x="409575" y="202142"/>
                    <a:pt x="406638" y="204668"/>
                    <a:pt x="403225" y="206375"/>
                  </a:cubicBezTo>
                  <a:cubicBezTo>
                    <a:pt x="400232" y="207872"/>
                    <a:pt x="396067" y="207183"/>
                    <a:pt x="393700" y="209550"/>
                  </a:cubicBezTo>
                  <a:cubicBezTo>
                    <a:pt x="388304" y="214946"/>
                    <a:pt x="385233" y="222250"/>
                    <a:pt x="381000" y="228600"/>
                  </a:cubicBezTo>
                  <a:cubicBezTo>
                    <a:pt x="377287" y="234169"/>
                    <a:pt x="374650" y="247650"/>
                    <a:pt x="374650" y="247650"/>
                  </a:cubicBezTo>
                  <a:cubicBezTo>
                    <a:pt x="375708" y="256117"/>
                    <a:pt x="371404" y="267431"/>
                    <a:pt x="377825" y="273050"/>
                  </a:cubicBezTo>
                  <a:cubicBezTo>
                    <a:pt x="381851" y="276572"/>
                    <a:pt x="402571" y="269035"/>
                    <a:pt x="409575" y="266700"/>
                  </a:cubicBezTo>
                  <a:cubicBezTo>
                    <a:pt x="422275" y="267758"/>
                    <a:pt x="435421" y="266374"/>
                    <a:pt x="447675" y="269875"/>
                  </a:cubicBezTo>
                  <a:cubicBezTo>
                    <a:pt x="459355" y="273212"/>
                    <a:pt x="451685" y="295112"/>
                    <a:pt x="450850" y="298450"/>
                  </a:cubicBezTo>
                  <a:lnTo>
                    <a:pt x="441325" y="327025"/>
                  </a:lnTo>
                  <a:cubicBezTo>
                    <a:pt x="440118" y="330645"/>
                    <a:pt x="437092" y="333375"/>
                    <a:pt x="434975" y="336550"/>
                  </a:cubicBezTo>
                  <a:cubicBezTo>
                    <a:pt x="433917" y="340783"/>
                    <a:pt x="432517" y="344946"/>
                    <a:pt x="431800" y="349250"/>
                  </a:cubicBezTo>
                  <a:cubicBezTo>
                    <a:pt x="430829" y="355079"/>
                    <a:pt x="432161" y="377996"/>
                    <a:pt x="422275" y="384175"/>
                  </a:cubicBezTo>
                  <a:cubicBezTo>
                    <a:pt x="416599" y="387723"/>
                    <a:pt x="409575" y="388408"/>
                    <a:pt x="403225" y="390525"/>
                  </a:cubicBezTo>
                  <a:lnTo>
                    <a:pt x="393700" y="393700"/>
                  </a:lnTo>
                  <a:cubicBezTo>
                    <a:pt x="388408" y="392642"/>
                    <a:pt x="383031" y="391945"/>
                    <a:pt x="377825" y="390525"/>
                  </a:cubicBezTo>
                  <a:cubicBezTo>
                    <a:pt x="371367" y="388764"/>
                    <a:pt x="358775" y="384175"/>
                    <a:pt x="358775" y="384175"/>
                  </a:cubicBezTo>
                  <a:cubicBezTo>
                    <a:pt x="354542" y="385233"/>
                    <a:pt x="346931" y="383071"/>
                    <a:pt x="346075" y="387350"/>
                  </a:cubicBezTo>
                  <a:cubicBezTo>
                    <a:pt x="341985" y="407798"/>
                    <a:pt x="355615" y="435736"/>
                    <a:pt x="346075" y="457200"/>
                  </a:cubicBezTo>
                  <a:cubicBezTo>
                    <a:pt x="344716" y="460258"/>
                    <a:pt x="339725" y="459317"/>
                    <a:pt x="336550" y="460375"/>
                  </a:cubicBezTo>
                  <a:lnTo>
                    <a:pt x="317500" y="473075"/>
                  </a:lnTo>
                  <a:cubicBezTo>
                    <a:pt x="300154" y="484639"/>
                    <a:pt x="308437" y="489389"/>
                    <a:pt x="301625" y="501650"/>
                  </a:cubicBezTo>
                  <a:cubicBezTo>
                    <a:pt x="297919" y="508321"/>
                    <a:pt x="288925" y="520700"/>
                    <a:pt x="288925" y="520700"/>
                  </a:cubicBezTo>
                  <a:cubicBezTo>
                    <a:pt x="287867" y="524933"/>
                    <a:pt x="286697" y="529140"/>
                    <a:pt x="285750" y="533400"/>
                  </a:cubicBezTo>
                  <a:cubicBezTo>
                    <a:pt x="284579" y="538668"/>
                    <a:pt x="285252" y="544590"/>
                    <a:pt x="282575" y="549275"/>
                  </a:cubicBezTo>
                  <a:cubicBezTo>
                    <a:pt x="278921" y="555670"/>
                    <a:pt x="265887" y="557416"/>
                    <a:pt x="260350" y="558800"/>
                  </a:cubicBezTo>
                  <a:cubicBezTo>
                    <a:pt x="257175" y="556683"/>
                    <a:pt x="254312" y="554000"/>
                    <a:pt x="250825" y="552450"/>
                  </a:cubicBezTo>
                  <a:cubicBezTo>
                    <a:pt x="244708" y="549732"/>
                    <a:pt x="231775" y="546100"/>
                    <a:pt x="231775" y="546100"/>
                  </a:cubicBezTo>
                  <a:cubicBezTo>
                    <a:pt x="224367" y="547158"/>
                    <a:pt x="216718" y="547125"/>
                    <a:pt x="209550" y="549275"/>
                  </a:cubicBezTo>
                  <a:cubicBezTo>
                    <a:pt x="205895" y="550371"/>
                    <a:pt x="202956" y="553182"/>
                    <a:pt x="200025" y="555625"/>
                  </a:cubicBezTo>
                  <a:cubicBezTo>
                    <a:pt x="188834" y="564951"/>
                    <a:pt x="186650" y="570925"/>
                    <a:pt x="177800" y="584200"/>
                  </a:cubicBezTo>
                  <a:cubicBezTo>
                    <a:pt x="175944" y="586985"/>
                    <a:pt x="176716" y="591112"/>
                    <a:pt x="174625" y="593725"/>
                  </a:cubicBezTo>
                  <a:cubicBezTo>
                    <a:pt x="172241" y="596705"/>
                    <a:pt x="168275" y="597958"/>
                    <a:pt x="165100" y="600075"/>
                  </a:cubicBezTo>
                  <a:cubicBezTo>
                    <a:pt x="162983" y="603250"/>
                    <a:pt x="159377" y="605836"/>
                    <a:pt x="158750" y="609600"/>
                  </a:cubicBezTo>
                  <a:cubicBezTo>
                    <a:pt x="157874" y="614858"/>
                    <a:pt x="166064" y="625333"/>
                    <a:pt x="168275" y="628650"/>
                  </a:cubicBezTo>
                  <a:cubicBezTo>
                    <a:pt x="165846" y="638366"/>
                    <a:pt x="166059" y="643566"/>
                    <a:pt x="158750" y="650875"/>
                  </a:cubicBezTo>
                  <a:cubicBezTo>
                    <a:pt x="156052" y="653573"/>
                    <a:pt x="152400" y="655108"/>
                    <a:pt x="149225" y="657225"/>
                  </a:cubicBezTo>
                  <a:lnTo>
                    <a:pt x="161925" y="644525"/>
                  </a:lnTo>
                  <a:close/>
                </a:path>
              </a:pathLst>
            </a:custGeom>
            <a:grp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rtl="0" eaLnBrk="0" fontAlgn="base" hangingPunct="0">
                <a:spcBef>
                  <a:spcPct val="50000"/>
                </a:spcBef>
                <a:spcAft>
                  <a:spcPct val="0"/>
                </a:spcAft>
              </a:pPr>
              <a:endParaRPr lang="en-US" sz="900">
                <a:solidFill>
                  <a:srgbClr val="000000"/>
                </a:solidFill>
                <a:latin typeface="Arial" charset="0"/>
              </a:endParaRPr>
            </a:p>
          </p:txBody>
        </p:sp>
        <p:sp>
          <p:nvSpPr>
            <p:cNvPr id="57" name="Freeform 57">
              <a:extLst>
                <a:ext uri="{FF2B5EF4-FFF2-40B4-BE49-F238E27FC236}">
                  <a16:creationId xmlns:a16="http://schemas.microsoft.com/office/drawing/2014/main" id="{F5A6414E-0D8C-4F73-B6F5-46DE24DAF0E0}"/>
                </a:ext>
              </a:extLst>
            </p:cNvPr>
            <p:cNvSpPr/>
            <p:nvPr>
              <p:custDataLst>
                <p:tags r:id="rId12"/>
              </p:custDataLst>
            </p:nvPr>
          </p:nvSpPr>
          <p:spPr bwMode="gray">
            <a:xfrm>
              <a:off x="4370574" y="3355446"/>
              <a:ext cx="1219200" cy="1030293"/>
            </a:xfrm>
            <a:custGeom>
              <a:avLst/>
              <a:gdLst>
                <a:gd name="connsiteX0" fmla="*/ 342900 w 1219200"/>
                <a:gd name="connsiteY0" fmla="*/ 6879 h 1030293"/>
                <a:gd name="connsiteX1" fmla="*/ 333375 w 1219200"/>
                <a:gd name="connsiteY1" fmla="*/ 60854 h 1030293"/>
                <a:gd name="connsiteX2" fmla="*/ 323850 w 1219200"/>
                <a:gd name="connsiteY2" fmla="*/ 64029 h 1030293"/>
                <a:gd name="connsiteX3" fmla="*/ 311150 w 1219200"/>
                <a:gd name="connsiteY3" fmla="*/ 67204 h 1030293"/>
                <a:gd name="connsiteX4" fmla="*/ 276225 w 1219200"/>
                <a:gd name="connsiteY4" fmla="*/ 67204 h 1030293"/>
                <a:gd name="connsiteX5" fmla="*/ 257175 w 1219200"/>
                <a:gd name="connsiteY5" fmla="*/ 73554 h 1030293"/>
                <a:gd name="connsiteX6" fmla="*/ 244475 w 1219200"/>
                <a:gd name="connsiteY6" fmla="*/ 70379 h 1030293"/>
                <a:gd name="connsiteX7" fmla="*/ 234950 w 1219200"/>
                <a:gd name="connsiteY7" fmla="*/ 64029 h 1030293"/>
                <a:gd name="connsiteX8" fmla="*/ 222250 w 1219200"/>
                <a:gd name="connsiteY8" fmla="*/ 67204 h 1030293"/>
                <a:gd name="connsiteX9" fmla="*/ 200025 w 1219200"/>
                <a:gd name="connsiteY9" fmla="*/ 79904 h 1030293"/>
                <a:gd name="connsiteX10" fmla="*/ 196850 w 1219200"/>
                <a:gd name="connsiteY10" fmla="*/ 89429 h 1030293"/>
                <a:gd name="connsiteX11" fmla="*/ 180975 w 1219200"/>
                <a:gd name="connsiteY11" fmla="*/ 124354 h 1030293"/>
                <a:gd name="connsiteX12" fmla="*/ 171450 w 1219200"/>
                <a:gd name="connsiteY12" fmla="*/ 127529 h 1030293"/>
                <a:gd name="connsiteX13" fmla="*/ 161925 w 1219200"/>
                <a:gd name="connsiteY13" fmla="*/ 133879 h 1030293"/>
                <a:gd name="connsiteX14" fmla="*/ 142875 w 1219200"/>
                <a:gd name="connsiteY14" fmla="*/ 143404 h 1030293"/>
                <a:gd name="connsiteX15" fmla="*/ 133350 w 1219200"/>
                <a:gd name="connsiteY15" fmla="*/ 152929 h 1030293"/>
                <a:gd name="connsiteX16" fmla="*/ 114300 w 1219200"/>
                <a:gd name="connsiteY16" fmla="*/ 159279 h 1030293"/>
                <a:gd name="connsiteX17" fmla="*/ 104775 w 1219200"/>
                <a:gd name="connsiteY17" fmla="*/ 162454 h 1030293"/>
                <a:gd name="connsiteX18" fmla="*/ 76200 w 1219200"/>
                <a:gd name="connsiteY18" fmla="*/ 175154 h 1030293"/>
                <a:gd name="connsiteX19" fmla="*/ 66675 w 1219200"/>
                <a:gd name="connsiteY19" fmla="*/ 178329 h 1030293"/>
                <a:gd name="connsiteX20" fmla="*/ 57150 w 1219200"/>
                <a:gd name="connsiteY20" fmla="*/ 181504 h 1030293"/>
                <a:gd name="connsiteX21" fmla="*/ 41275 w 1219200"/>
                <a:gd name="connsiteY21" fmla="*/ 197379 h 1030293"/>
                <a:gd name="connsiteX22" fmla="*/ 31750 w 1219200"/>
                <a:gd name="connsiteY22" fmla="*/ 203729 h 1030293"/>
                <a:gd name="connsiteX23" fmla="*/ 25400 w 1219200"/>
                <a:gd name="connsiteY23" fmla="*/ 213254 h 1030293"/>
                <a:gd name="connsiteX24" fmla="*/ 28575 w 1219200"/>
                <a:gd name="connsiteY24" fmla="*/ 251354 h 1030293"/>
                <a:gd name="connsiteX25" fmla="*/ 50800 w 1219200"/>
                <a:gd name="connsiteY25" fmla="*/ 276754 h 1030293"/>
                <a:gd name="connsiteX26" fmla="*/ 60325 w 1219200"/>
                <a:gd name="connsiteY26" fmla="*/ 279929 h 1030293"/>
                <a:gd name="connsiteX27" fmla="*/ 69850 w 1219200"/>
                <a:gd name="connsiteY27" fmla="*/ 289454 h 1030293"/>
                <a:gd name="connsiteX28" fmla="*/ 73025 w 1219200"/>
                <a:gd name="connsiteY28" fmla="*/ 302154 h 1030293"/>
                <a:gd name="connsiteX29" fmla="*/ 98425 w 1219200"/>
                <a:gd name="connsiteY29" fmla="*/ 324379 h 1030293"/>
                <a:gd name="connsiteX30" fmla="*/ 120650 w 1219200"/>
                <a:gd name="connsiteY30" fmla="*/ 333904 h 1030293"/>
                <a:gd name="connsiteX31" fmla="*/ 139700 w 1219200"/>
                <a:gd name="connsiteY31" fmla="*/ 340254 h 1030293"/>
                <a:gd name="connsiteX32" fmla="*/ 142875 w 1219200"/>
                <a:gd name="connsiteY32" fmla="*/ 387879 h 1030293"/>
                <a:gd name="connsiteX33" fmla="*/ 136525 w 1219200"/>
                <a:gd name="connsiteY33" fmla="*/ 397404 h 1030293"/>
                <a:gd name="connsiteX34" fmla="*/ 127000 w 1219200"/>
                <a:gd name="connsiteY34" fmla="*/ 403754 h 1030293"/>
                <a:gd name="connsiteX35" fmla="*/ 127000 w 1219200"/>
                <a:gd name="connsiteY35" fmla="*/ 429154 h 1030293"/>
                <a:gd name="connsiteX36" fmla="*/ 130175 w 1219200"/>
                <a:gd name="connsiteY36" fmla="*/ 441854 h 1030293"/>
                <a:gd name="connsiteX37" fmla="*/ 139700 w 1219200"/>
                <a:gd name="connsiteY37" fmla="*/ 445029 h 1030293"/>
                <a:gd name="connsiteX38" fmla="*/ 146050 w 1219200"/>
                <a:gd name="connsiteY38" fmla="*/ 454554 h 1030293"/>
                <a:gd name="connsiteX39" fmla="*/ 130175 w 1219200"/>
                <a:gd name="connsiteY39" fmla="*/ 470429 h 1030293"/>
                <a:gd name="connsiteX40" fmla="*/ 76200 w 1219200"/>
                <a:gd name="connsiteY40" fmla="*/ 473604 h 1030293"/>
                <a:gd name="connsiteX41" fmla="*/ 66675 w 1219200"/>
                <a:gd name="connsiteY41" fmla="*/ 492654 h 1030293"/>
                <a:gd name="connsiteX42" fmla="*/ 73025 w 1219200"/>
                <a:gd name="connsiteY42" fmla="*/ 518054 h 1030293"/>
                <a:gd name="connsiteX43" fmla="*/ 76200 w 1219200"/>
                <a:gd name="connsiteY43" fmla="*/ 540279 h 1030293"/>
                <a:gd name="connsiteX44" fmla="*/ 79375 w 1219200"/>
                <a:gd name="connsiteY44" fmla="*/ 559329 h 1030293"/>
                <a:gd name="connsiteX45" fmla="*/ 47625 w 1219200"/>
                <a:gd name="connsiteY45" fmla="*/ 591079 h 1030293"/>
                <a:gd name="connsiteX46" fmla="*/ 38100 w 1219200"/>
                <a:gd name="connsiteY46" fmla="*/ 597429 h 1030293"/>
                <a:gd name="connsiteX47" fmla="*/ 28575 w 1219200"/>
                <a:gd name="connsiteY47" fmla="*/ 603779 h 1030293"/>
                <a:gd name="connsiteX48" fmla="*/ 19050 w 1219200"/>
                <a:gd name="connsiteY48" fmla="*/ 613304 h 1030293"/>
                <a:gd name="connsiteX49" fmla="*/ 19050 w 1219200"/>
                <a:gd name="connsiteY49" fmla="*/ 670454 h 1030293"/>
                <a:gd name="connsiteX50" fmla="*/ 9525 w 1219200"/>
                <a:gd name="connsiteY50" fmla="*/ 676804 h 1030293"/>
                <a:gd name="connsiteX51" fmla="*/ 3175 w 1219200"/>
                <a:gd name="connsiteY51" fmla="*/ 695854 h 1030293"/>
                <a:gd name="connsiteX52" fmla="*/ 0 w 1219200"/>
                <a:gd name="connsiteY52" fmla="*/ 705379 h 1030293"/>
                <a:gd name="connsiteX53" fmla="*/ 12700 w 1219200"/>
                <a:gd name="connsiteY53" fmla="*/ 718079 h 1030293"/>
                <a:gd name="connsiteX54" fmla="*/ 22225 w 1219200"/>
                <a:gd name="connsiteY54" fmla="*/ 708554 h 1030293"/>
                <a:gd name="connsiteX55" fmla="*/ 31750 w 1219200"/>
                <a:gd name="connsiteY55" fmla="*/ 705379 h 1030293"/>
                <a:gd name="connsiteX56" fmla="*/ 53975 w 1219200"/>
                <a:gd name="connsiteY56" fmla="*/ 699029 h 1030293"/>
                <a:gd name="connsiteX57" fmla="*/ 79375 w 1219200"/>
                <a:gd name="connsiteY57" fmla="*/ 711729 h 1030293"/>
                <a:gd name="connsiteX58" fmla="*/ 76200 w 1219200"/>
                <a:gd name="connsiteY58" fmla="*/ 724429 h 1030293"/>
                <a:gd name="connsiteX59" fmla="*/ 66675 w 1219200"/>
                <a:gd name="connsiteY59" fmla="*/ 743479 h 1030293"/>
                <a:gd name="connsiteX60" fmla="*/ 60325 w 1219200"/>
                <a:gd name="connsiteY60" fmla="*/ 762529 h 1030293"/>
                <a:gd name="connsiteX61" fmla="*/ 63500 w 1219200"/>
                <a:gd name="connsiteY61" fmla="*/ 810154 h 1030293"/>
                <a:gd name="connsiteX62" fmla="*/ 76200 w 1219200"/>
                <a:gd name="connsiteY62" fmla="*/ 806979 h 1030293"/>
                <a:gd name="connsiteX63" fmla="*/ 85725 w 1219200"/>
                <a:gd name="connsiteY63" fmla="*/ 797454 h 1030293"/>
                <a:gd name="connsiteX64" fmla="*/ 104775 w 1219200"/>
                <a:gd name="connsiteY64" fmla="*/ 787929 h 1030293"/>
                <a:gd name="connsiteX65" fmla="*/ 117475 w 1219200"/>
                <a:gd name="connsiteY65" fmla="*/ 778404 h 1030293"/>
                <a:gd name="connsiteX66" fmla="*/ 139700 w 1219200"/>
                <a:gd name="connsiteY66" fmla="*/ 791104 h 1030293"/>
                <a:gd name="connsiteX67" fmla="*/ 155575 w 1219200"/>
                <a:gd name="connsiteY67" fmla="*/ 819679 h 1030293"/>
                <a:gd name="connsiteX68" fmla="*/ 165100 w 1219200"/>
                <a:gd name="connsiteY68" fmla="*/ 822854 h 1030293"/>
                <a:gd name="connsiteX69" fmla="*/ 180975 w 1219200"/>
                <a:gd name="connsiteY69" fmla="*/ 826029 h 1030293"/>
                <a:gd name="connsiteX70" fmla="*/ 190500 w 1219200"/>
                <a:gd name="connsiteY70" fmla="*/ 838729 h 1030293"/>
                <a:gd name="connsiteX71" fmla="*/ 200025 w 1219200"/>
                <a:gd name="connsiteY71" fmla="*/ 845079 h 1030293"/>
                <a:gd name="connsiteX72" fmla="*/ 203200 w 1219200"/>
                <a:gd name="connsiteY72" fmla="*/ 854604 h 1030293"/>
                <a:gd name="connsiteX73" fmla="*/ 209550 w 1219200"/>
                <a:gd name="connsiteY73" fmla="*/ 864129 h 1030293"/>
                <a:gd name="connsiteX74" fmla="*/ 225425 w 1219200"/>
                <a:gd name="connsiteY74" fmla="*/ 892704 h 1030293"/>
                <a:gd name="connsiteX75" fmla="*/ 244475 w 1219200"/>
                <a:gd name="connsiteY75" fmla="*/ 905404 h 1030293"/>
                <a:gd name="connsiteX76" fmla="*/ 254000 w 1219200"/>
                <a:gd name="connsiteY76" fmla="*/ 911754 h 1030293"/>
                <a:gd name="connsiteX77" fmla="*/ 263525 w 1219200"/>
                <a:gd name="connsiteY77" fmla="*/ 905404 h 1030293"/>
                <a:gd name="connsiteX78" fmla="*/ 260350 w 1219200"/>
                <a:gd name="connsiteY78" fmla="*/ 895879 h 1030293"/>
                <a:gd name="connsiteX79" fmla="*/ 263525 w 1219200"/>
                <a:gd name="connsiteY79" fmla="*/ 908579 h 1030293"/>
                <a:gd name="connsiteX80" fmla="*/ 276225 w 1219200"/>
                <a:gd name="connsiteY80" fmla="*/ 927629 h 1030293"/>
                <a:gd name="connsiteX81" fmla="*/ 298450 w 1219200"/>
                <a:gd name="connsiteY81" fmla="*/ 940329 h 1030293"/>
                <a:gd name="connsiteX82" fmla="*/ 317500 w 1219200"/>
                <a:gd name="connsiteY82" fmla="*/ 946679 h 1030293"/>
                <a:gd name="connsiteX83" fmla="*/ 323850 w 1219200"/>
                <a:gd name="connsiteY83" fmla="*/ 994304 h 1030293"/>
                <a:gd name="connsiteX84" fmla="*/ 330200 w 1219200"/>
                <a:gd name="connsiteY84" fmla="*/ 1013354 h 1030293"/>
                <a:gd name="connsiteX85" fmla="*/ 349250 w 1219200"/>
                <a:gd name="connsiteY85" fmla="*/ 1022879 h 1030293"/>
                <a:gd name="connsiteX86" fmla="*/ 358775 w 1219200"/>
                <a:gd name="connsiteY86" fmla="*/ 1029229 h 1030293"/>
                <a:gd name="connsiteX87" fmla="*/ 377825 w 1219200"/>
                <a:gd name="connsiteY87" fmla="*/ 1026054 h 1030293"/>
                <a:gd name="connsiteX88" fmla="*/ 384175 w 1219200"/>
                <a:gd name="connsiteY88" fmla="*/ 1007004 h 1030293"/>
                <a:gd name="connsiteX89" fmla="*/ 390525 w 1219200"/>
                <a:gd name="connsiteY89" fmla="*/ 997479 h 1030293"/>
                <a:gd name="connsiteX90" fmla="*/ 412750 w 1219200"/>
                <a:gd name="connsiteY90" fmla="*/ 1000654 h 1030293"/>
                <a:gd name="connsiteX91" fmla="*/ 422275 w 1219200"/>
                <a:gd name="connsiteY91" fmla="*/ 1003829 h 1030293"/>
                <a:gd name="connsiteX92" fmla="*/ 428625 w 1219200"/>
                <a:gd name="connsiteY92" fmla="*/ 994304 h 1030293"/>
                <a:gd name="connsiteX93" fmla="*/ 419100 w 1219200"/>
                <a:gd name="connsiteY93" fmla="*/ 984779 h 1030293"/>
                <a:gd name="connsiteX94" fmla="*/ 412750 w 1219200"/>
                <a:gd name="connsiteY94" fmla="*/ 975254 h 1030293"/>
                <a:gd name="connsiteX95" fmla="*/ 393700 w 1219200"/>
                <a:gd name="connsiteY95" fmla="*/ 956204 h 1030293"/>
                <a:gd name="connsiteX96" fmla="*/ 384175 w 1219200"/>
                <a:gd name="connsiteY96" fmla="*/ 946679 h 1030293"/>
                <a:gd name="connsiteX97" fmla="*/ 365125 w 1219200"/>
                <a:gd name="connsiteY97" fmla="*/ 933979 h 1030293"/>
                <a:gd name="connsiteX98" fmla="*/ 361950 w 1219200"/>
                <a:gd name="connsiteY98" fmla="*/ 924454 h 1030293"/>
                <a:gd name="connsiteX99" fmla="*/ 381000 w 1219200"/>
                <a:gd name="connsiteY99" fmla="*/ 911754 h 1030293"/>
                <a:gd name="connsiteX100" fmla="*/ 390525 w 1219200"/>
                <a:gd name="connsiteY100" fmla="*/ 905404 h 1030293"/>
                <a:gd name="connsiteX101" fmla="*/ 425450 w 1219200"/>
                <a:gd name="connsiteY101" fmla="*/ 895879 h 1030293"/>
                <a:gd name="connsiteX102" fmla="*/ 476250 w 1219200"/>
                <a:gd name="connsiteY102" fmla="*/ 899054 h 1030293"/>
                <a:gd name="connsiteX103" fmla="*/ 498475 w 1219200"/>
                <a:gd name="connsiteY103" fmla="*/ 924454 h 1030293"/>
                <a:gd name="connsiteX104" fmla="*/ 508000 w 1219200"/>
                <a:gd name="connsiteY104" fmla="*/ 927629 h 1030293"/>
                <a:gd name="connsiteX105" fmla="*/ 530225 w 1219200"/>
                <a:gd name="connsiteY105" fmla="*/ 924454 h 1030293"/>
                <a:gd name="connsiteX106" fmla="*/ 552450 w 1219200"/>
                <a:gd name="connsiteY106" fmla="*/ 921279 h 1030293"/>
                <a:gd name="connsiteX107" fmla="*/ 555625 w 1219200"/>
                <a:gd name="connsiteY107" fmla="*/ 930804 h 1030293"/>
                <a:gd name="connsiteX108" fmla="*/ 561975 w 1219200"/>
                <a:gd name="connsiteY108" fmla="*/ 940329 h 1030293"/>
                <a:gd name="connsiteX109" fmla="*/ 565150 w 1219200"/>
                <a:gd name="connsiteY109" fmla="*/ 956204 h 1030293"/>
                <a:gd name="connsiteX110" fmla="*/ 568325 w 1219200"/>
                <a:gd name="connsiteY110" fmla="*/ 981604 h 1030293"/>
                <a:gd name="connsiteX111" fmla="*/ 577850 w 1219200"/>
                <a:gd name="connsiteY111" fmla="*/ 984779 h 1030293"/>
                <a:gd name="connsiteX112" fmla="*/ 593725 w 1219200"/>
                <a:gd name="connsiteY112" fmla="*/ 981604 h 1030293"/>
                <a:gd name="connsiteX113" fmla="*/ 612775 w 1219200"/>
                <a:gd name="connsiteY113" fmla="*/ 968904 h 1030293"/>
                <a:gd name="connsiteX114" fmla="*/ 619125 w 1219200"/>
                <a:gd name="connsiteY114" fmla="*/ 959379 h 1030293"/>
                <a:gd name="connsiteX115" fmla="*/ 625475 w 1219200"/>
                <a:gd name="connsiteY115" fmla="*/ 940329 h 1030293"/>
                <a:gd name="connsiteX116" fmla="*/ 619125 w 1219200"/>
                <a:gd name="connsiteY116" fmla="*/ 905404 h 1030293"/>
                <a:gd name="connsiteX117" fmla="*/ 615950 w 1219200"/>
                <a:gd name="connsiteY117" fmla="*/ 867304 h 1030293"/>
                <a:gd name="connsiteX118" fmla="*/ 609600 w 1219200"/>
                <a:gd name="connsiteY118" fmla="*/ 854604 h 1030293"/>
                <a:gd name="connsiteX119" fmla="*/ 596900 w 1219200"/>
                <a:gd name="connsiteY119" fmla="*/ 835554 h 1030293"/>
                <a:gd name="connsiteX120" fmla="*/ 603250 w 1219200"/>
                <a:gd name="connsiteY120" fmla="*/ 826029 h 1030293"/>
                <a:gd name="connsiteX121" fmla="*/ 622300 w 1219200"/>
                <a:gd name="connsiteY121" fmla="*/ 819679 h 1030293"/>
                <a:gd name="connsiteX122" fmla="*/ 631825 w 1219200"/>
                <a:gd name="connsiteY122" fmla="*/ 816504 h 1030293"/>
                <a:gd name="connsiteX123" fmla="*/ 644525 w 1219200"/>
                <a:gd name="connsiteY123" fmla="*/ 813329 h 1030293"/>
                <a:gd name="connsiteX124" fmla="*/ 654050 w 1219200"/>
                <a:gd name="connsiteY124" fmla="*/ 810154 h 1030293"/>
                <a:gd name="connsiteX125" fmla="*/ 685800 w 1219200"/>
                <a:gd name="connsiteY125" fmla="*/ 806979 h 1030293"/>
                <a:gd name="connsiteX126" fmla="*/ 692150 w 1219200"/>
                <a:gd name="connsiteY126" fmla="*/ 816504 h 1030293"/>
                <a:gd name="connsiteX127" fmla="*/ 692150 w 1219200"/>
                <a:gd name="connsiteY127" fmla="*/ 851429 h 1030293"/>
                <a:gd name="connsiteX128" fmla="*/ 701675 w 1219200"/>
                <a:gd name="connsiteY128" fmla="*/ 854604 h 1030293"/>
                <a:gd name="connsiteX129" fmla="*/ 714375 w 1219200"/>
                <a:gd name="connsiteY129" fmla="*/ 864129 h 1030293"/>
                <a:gd name="connsiteX130" fmla="*/ 723900 w 1219200"/>
                <a:gd name="connsiteY130" fmla="*/ 883179 h 1030293"/>
                <a:gd name="connsiteX131" fmla="*/ 739775 w 1219200"/>
                <a:gd name="connsiteY131" fmla="*/ 899054 h 1030293"/>
                <a:gd name="connsiteX132" fmla="*/ 752475 w 1219200"/>
                <a:gd name="connsiteY132" fmla="*/ 895879 h 1030293"/>
                <a:gd name="connsiteX133" fmla="*/ 762000 w 1219200"/>
                <a:gd name="connsiteY133" fmla="*/ 886354 h 1030293"/>
                <a:gd name="connsiteX134" fmla="*/ 831850 w 1219200"/>
                <a:gd name="connsiteY134" fmla="*/ 889529 h 1030293"/>
                <a:gd name="connsiteX135" fmla="*/ 879475 w 1219200"/>
                <a:gd name="connsiteY135" fmla="*/ 886354 h 1030293"/>
                <a:gd name="connsiteX136" fmla="*/ 892175 w 1219200"/>
                <a:gd name="connsiteY136" fmla="*/ 867304 h 1030293"/>
                <a:gd name="connsiteX137" fmla="*/ 911225 w 1219200"/>
                <a:gd name="connsiteY137" fmla="*/ 857779 h 1030293"/>
                <a:gd name="connsiteX138" fmla="*/ 920750 w 1219200"/>
                <a:gd name="connsiteY138" fmla="*/ 851429 h 1030293"/>
                <a:gd name="connsiteX139" fmla="*/ 923925 w 1219200"/>
                <a:gd name="connsiteY139" fmla="*/ 835554 h 1030293"/>
                <a:gd name="connsiteX140" fmla="*/ 914400 w 1219200"/>
                <a:gd name="connsiteY140" fmla="*/ 806979 h 1030293"/>
                <a:gd name="connsiteX141" fmla="*/ 904875 w 1219200"/>
                <a:gd name="connsiteY141" fmla="*/ 797454 h 1030293"/>
                <a:gd name="connsiteX142" fmla="*/ 889000 w 1219200"/>
                <a:gd name="connsiteY142" fmla="*/ 794279 h 1030293"/>
                <a:gd name="connsiteX143" fmla="*/ 879475 w 1219200"/>
                <a:gd name="connsiteY143" fmla="*/ 784754 h 1030293"/>
                <a:gd name="connsiteX144" fmla="*/ 889000 w 1219200"/>
                <a:gd name="connsiteY144" fmla="*/ 759354 h 1030293"/>
                <a:gd name="connsiteX145" fmla="*/ 898525 w 1219200"/>
                <a:gd name="connsiteY145" fmla="*/ 749829 h 1030293"/>
                <a:gd name="connsiteX146" fmla="*/ 904875 w 1219200"/>
                <a:gd name="connsiteY146" fmla="*/ 740304 h 1030293"/>
                <a:gd name="connsiteX147" fmla="*/ 923925 w 1219200"/>
                <a:gd name="connsiteY147" fmla="*/ 727604 h 1030293"/>
                <a:gd name="connsiteX148" fmla="*/ 942975 w 1219200"/>
                <a:gd name="connsiteY148" fmla="*/ 718079 h 1030293"/>
                <a:gd name="connsiteX149" fmla="*/ 952500 w 1219200"/>
                <a:gd name="connsiteY149" fmla="*/ 724429 h 1030293"/>
                <a:gd name="connsiteX150" fmla="*/ 955675 w 1219200"/>
                <a:gd name="connsiteY150" fmla="*/ 733954 h 1030293"/>
                <a:gd name="connsiteX151" fmla="*/ 958850 w 1219200"/>
                <a:gd name="connsiteY151" fmla="*/ 759354 h 1030293"/>
                <a:gd name="connsiteX152" fmla="*/ 977900 w 1219200"/>
                <a:gd name="connsiteY152" fmla="*/ 768879 h 1030293"/>
                <a:gd name="connsiteX153" fmla="*/ 1003300 w 1219200"/>
                <a:gd name="connsiteY153" fmla="*/ 756179 h 1030293"/>
                <a:gd name="connsiteX154" fmla="*/ 1000125 w 1219200"/>
                <a:gd name="connsiteY154" fmla="*/ 746654 h 1030293"/>
                <a:gd name="connsiteX155" fmla="*/ 1003300 w 1219200"/>
                <a:gd name="connsiteY155" fmla="*/ 737129 h 1030293"/>
                <a:gd name="connsiteX156" fmla="*/ 1012825 w 1219200"/>
                <a:gd name="connsiteY156" fmla="*/ 730779 h 1030293"/>
                <a:gd name="connsiteX157" fmla="*/ 1041400 w 1219200"/>
                <a:gd name="connsiteY157" fmla="*/ 721254 h 1030293"/>
                <a:gd name="connsiteX158" fmla="*/ 1050925 w 1219200"/>
                <a:gd name="connsiteY158" fmla="*/ 718079 h 1030293"/>
                <a:gd name="connsiteX159" fmla="*/ 1060450 w 1219200"/>
                <a:gd name="connsiteY159" fmla="*/ 714904 h 1030293"/>
                <a:gd name="connsiteX160" fmla="*/ 1069975 w 1219200"/>
                <a:gd name="connsiteY160" fmla="*/ 708554 h 1030293"/>
                <a:gd name="connsiteX161" fmla="*/ 1079500 w 1219200"/>
                <a:gd name="connsiteY161" fmla="*/ 689504 h 1030293"/>
                <a:gd name="connsiteX162" fmla="*/ 1073150 w 1219200"/>
                <a:gd name="connsiteY162" fmla="*/ 679979 h 1030293"/>
                <a:gd name="connsiteX163" fmla="*/ 1054100 w 1219200"/>
                <a:gd name="connsiteY163" fmla="*/ 664104 h 1030293"/>
                <a:gd name="connsiteX164" fmla="*/ 1047750 w 1219200"/>
                <a:gd name="connsiteY164" fmla="*/ 654579 h 1030293"/>
                <a:gd name="connsiteX165" fmla="*/ 1044575 w 1219200"/>
                <a:gd name="connsiteY165" fmla="*/ 645054 h 1030293"/>
                <a:gd name="connsiteX166" fmla="*/ 1035050 w 1219200"/>
                <a:gd name="connsiteY166" fmla="*/ 632354 h 1030293"/>
                <a:gd name="connsiteX167" fmla="*/ 1041400 w 1219200"/>
                <a:gd name="connsiteY167" fmla="*/ 594254 h 1030293"/>
                <a:gd name="connsiteX168" fmla="*/ 1047750 w 1219200"/>
                <a:gd name="connsiteY168" fmla="*/ 584729 h 1030293"/>
                <a:gd name="connsiteX169" fmla="*/ 1066800 w 1219200"/>
                <a:gd name="connsiteY169" fmla="*/ 578379 h 1030293"/>
                <a:gd name="connsiteX170" fmla="*/ 1098550 w 1219200"/>
                <a:gd name="connsiteY170" fmla="*/ 578379 h 1030293"/>
                <a:gd name="connsiteX171" fmla="*/ 1108075 w 1219200"/>
                <a:gd name="connsiteY171" fmla="*/ 572029 h 1030293"/>
                <a:gd name="connsiteX172" fmla="*/ 1114425 w 1219200"/>
                <a:gd name="connsiteY172" fmla="*/ 562504 h 1030293"/>
                <a:gd name="connsiteX173" fmla="*/ 1143000 w 1219200"/>
                <a:gd name="connsiteY173" fmla="*/ 546629 h 1030293"/>
                <a:gd name="connsiteX174" fmla="*/ 1146175 w 1219200"/>
                <a:gd name="connsiteY174" fmla="*/ 533929 h 1030293"/>
                <a:gd name="connsiteX175" fmla="*/ 1155700 w 1219200"/>
                <a:gd name="connsiteY175" fmla="*/ 530754 h 1030293"/>
                <a:gd name="connsiteX176" fmla="*/ 1203325 w 1219200"/>
                <a:gd name="connsiteY176" fmla="*/ 521229 h 1030293"/>
                <a:gd name="connsiteX177" fmla="*/ 1212850 w 1219200"/>
                <a:gd name="connsiteY177" fmla="*/ 518054 h 1030293"/>
                <a:gd name="connsiteX178" fmla="*/ 1219200 w 1219200"/>
                <a:gd name="connsiteY178" fmla="*/ 495829 h 1030293"/>
                <a:gd name="connsiteX179" fmla="*/ 1203325 w 1219200"/>
                <a:gd name="connsiteY179" fmla="*/ 464079 h 1030293"/>
                <a:gd name="connsiteX180" fmla="*/ 1184275 w 1219200"/>
                <a:gd name="connsiteY180" fmla="*/ 457729 h 1030293"/>
                <a:gd name="connsiteX181" fmla="*/ 1174750 w 1219200"/>
                <a:gd name="connsiteY181" fmla="*/ 454554 h 1030293"/>
                <a:gd name="connsiteX182" fmla="*/ 1165225 w 1219200"/>
                <a:gd name="connsiteY182" fmla="*/ 448204 h 1030293"/>
                <a:gd name="connsiteX183" fmla="*/ 1162050 w 1219200"/>
                <a:gd name="connsiteY183" fmla="*/ 438679 h 1030293"/>
                <a:gd name="connsiteX184" fmla="*/ 1155700 w 1219200"/>
                <a:gd name="connsiteY184" fmla="*/ 429154 h 1030293"/>
                <a:gd name="connsiteX185" fmla="*/ 1152525 w 1219200"/>
                <a:gd name="connsiteY185" fmla="*/ 410104 h 1030293"/>
                <a:gd name="connsiteX186" fmla="*/ 1136650 w 1219200"/>
                <a:gd name="connsiteY186" fmla="*/ 394229 h 1030293"/>
                <a:gd name="connsiteX187" fmla="*/ 1123950 w 1219200"/>
                <a:gd name="connsiteY187" fmla="*/ 391054 h 1030293"/>
                <a:gd name="connsiteX188" fmla="*/ 1101725 w 1219200"/>
                <a:gd name="connsiteY188" fmla="*/ 387879 h 1030293"/>
                <a:gd name="connsiteX189" fmla="*/ 1063625 w 1219200"/>
                <a:gd name="connsiteY189" fmla="*/ 384704 h 1030293"/>
                <a:gd name="connsiteX190" fmla="*/ 1057275 w 1219200"/>
                <a:gd name="connsiteY190" fmla="*/ 416454 h 1030293"/>
                <a:gd name="connsiteX191" fmla="*/ 1063625 w 1219200"/>
                <a:gd name="connsiteY191" fmla="*/ 435504 h 1030293"/>
                <a:gd name="connsiteX192" fmla="*/ 1066800 w 1219200"/>
                <a:gd name="connsiteY192" fmla="*/ 445029 h 1030293"/>
                <a:gd name="connsiteX193" fmla="*/ 1057275 w 1219200"/>
                <a:gd name="connsiteY193" fmla="*/ 479954 h 1030293"/>
                <a:gd name="connsiteX194" fmla="*/ 1057275 w 1219200"/>
                <a:gd name="connsiteY194" fmla="*/ 479954 h 1030293"/>
                <a:gd name="connsiteX195" fmla="*/ 1054100 w 1219200"/>
                <a:gd name="connsiteY195" fmla="*/ 492654 h 1030293"/>
                <a:gd name="connsiteX196" fmla="*/ 1044575 w 1219200"/>
                <a:gd name="connsiteY196" fmla="*/ 499004 h 1030293"/>
                <a:gd name="connsiteX197" fmla="*/ 1028700 w 1219200"/>
                <a:gd name="connsiteY197" fmla="*/ 495829 h 1030293"/>
                <a:gd name="connsiteX198" fmla="*/ 1009650 w 1219200"/>
                <a:gd name="connsiteY198" fmla="*/ 483129 h 1030293"/>
                <a:gd name="connsiteX199" fmla="*/ 965200 w 1219200"/>
                <a:gd name="connsiteY199" fmla="*/ 489479 h 1030293"/>
                <a:gd name="connsiteX200" fmla="*/ 939800 w 1219200"/>
                <a:gd name="connsiteY200" fmla="*/ 486304 h 1030293"/>
                <a:gd name="connsiteX201" fmla="*/ 923925 w 1219200"/>
                <a:gd name="connsiteY201" fmla="*/ 470429 h 1030293"/>
                <a:gd name="connsiteX202" fmla="*/ 914400 w 1219200"/>
                <a:gd name="connsiteY202" fmla="*/ 464079 h 1030293"/>
                <a:gd name="connsiteX203" fmla="*/ 901700 w 1219200"/>
                <a:gd name="connsiteY203" fmla="*/ 435504 h 1030293"/>
                <a:gd name="connsiteX204" fmla="*/ 819150 w 1219200"/>
                <a:gd name="connsiteY204" fmla="*/ 425979 h 1030293"/>
                <a:gd name="connsiteX205" fmla="*/ 809625 w 1219200"/>
                <a:gd name="connsiteY205" fmla="*/ 422804 h 1030293"/>
                <a:gd name="connsiteX206" fmla="*/ 781050 w 1219200"/>
                <a:gd name="connsiteY206" fmla="*/ 406929 h 1030293"/>
                <a:gd name="connsiteX207" fmla="*/ 752475 w 1219200"/>
                <a:gd name="connsiteY207" fmla="*/ 391054 h 1030293"/>
                <a:gd name="connsiteX208" fmla="*/ 704850 w 1219200"/>
                <a:gd name="connsiteY208" fmla="*/ 387879 h 1030293"/>
                <a:gd name="connsiteX209" fmla="*/ 695325 w 1219200"/>
                <a:gd name="connsiteY209" fmla="*/ 384704 h 1030293"/>
                <a:gd name="connsiteX210" fmla="*/ 688975 w 1219200"/>
                <a:gd name="connsiteY210" fmla="*/ 375179 h 1030293"/>
                <a:gd name="connsiteX211" fmla="*/ 679450 w 1219200"/>
                <a:gd name="connsiteY211" fmla="*/ 340254 h 1030293"/>
                <a:gd name="connsiteX212" fmla="*/ 676275 w 1219200"/>
                <a:gd name="connsiteY212" fmla="*/ 311679 h 1030293"/>
                <a:gd name="connsiteX213" fmla="*/ 654050 w 1219200"/>
                <a:gd name="connsiteY213" fmla="*/ 298979 h 1030293"/>
                <a:gd name="connsiteX214" fmla="*/ 673100 w 1219200"/>
                <a:gd name="connsiteY214" fmla="*/ 286279 h 1030293"/>
                <a:gd name="connsiteX215" fmla="*/ 682625 w 1219200"/>
                <a:gd name="connsiteY215" fmla="*/ 251354 h 1030293"/>
                <a:gd name="connsiteX216" fmla="*/ 679450 w 1219200"/>
                <a:gd name="connsiteY216" fmla="*/ 225954 h 1030293"/>
                <a:gd name="connsiteX217" fmla="*/ 663575 w 1219200"/>
                <a:gd name="connsiteY217" fmla="*/ 210079 h 1030293"/>
                <a:gd name="connsiteX218" fmla="*/ 635000 w 1219200"/>
                <a:gd name="connsiteY218" fmla="*/ 187854 h 1030293"/>
                <a:gd name="connsiteX219" fmla="*/ 625475 w 1219200"/>
                <a:gd name="connsiteY219" fmla="*/ 181504 h 1030293"/>
                <a:gd name="connsiteX220" fmla="*/ 615950 w 1219200"/>
                <a:gd name="connsiteY220" fmla="*/ 178329 h 1030293"/>
                <a:gd name="connsiteX221" fmla="*/ 571500 w 1219200"/>
                <a:gd name="connsiteY221" fmla="*/ 175154 h 1030293"/>
                <a:gd name="connsiteX222" fmla="*/ 536575 w 1219200"/>
                <a:gd name="connsiteY222" fmla="*/ 171979 h 1030293"/>
                <a:gd name="connsiteX223" fmla="*/ 485775 w 1219200"/>
                <a:gd name="connsiteY223" fmla="*/ 165629 h 1030293"/>
                <a:gd name="connsiteX224" fmla="*/ 473075 w 1219200"/>
                <a:gd name="connsiteY224" fmla="*/ 162454 h 1030293"/>
                <a:gd name="connsiteX225" fmla="*/ 463550 w 1219200"/>
                <a:gd name="connsiteY225" fmla="*/ 152929 h 1030293"/>
                <a:gd name="connsiteX226" fmla="*/ 460375 w 1219200"/>
                <a:gd name="connsiteY226" fmla="*/ 143404 h 1030293"/>
                <a:gd name="connsiteX227" fmla="*/ 450850 w 1219200"/>
                <a:gd name="connsiteY227" fmla="*/ 105304 h 1030293"/>
                <a:gd name="connsiteX228" fmla="*/ 434975 w 1219200"/>
                <a:gd name="connsiteY228" fmla="*/ 86254 h 1030293"/>
                <a:gd name="connsiteX229" fmla="*/ 428625 w 1219200"/>
                <a:gd name="connsiteY229" fmla="*/ 38629 h 1030293"/>
                <a:gd name="connsiteX230" fmla="*/ 425450 w 1219200"/>
                <a:gd name="connsiteY230" fmla="*/ 29104 h 1030293"/>
                <a:gd name="connsiteX231" fmla="*/ 406400 w 1219200"/>
                <a:gd name="connsiteY231" fmla="*/ 19579 h 1030293"/>
                <a:gd name="connsiteX232" fmla="*/ 384175 w 1219200"/>
                <a:gd name="connsiteY232" fmla="*/ 10054 h 1030293"/>
                <a:gd name="connsiteX233" fmla="*/ 361950 w 1219200"/>
                <a:gd name="connsiteY233" fmla="*/ 6879 h 1030293"/>
                <a:gd name="connsiteX234" fmla="*/ 342900 w 1219200"/>
                <a:gd name="connsiteY234" fmla="*/ 10054 h 1030293"/>
                <a:gd name="connsiteX235" fmla="*/ 339725 w 1219200"/>
                <a:gd name="connsiteY235" fmla="*/ 19579 h 1030293"/>
                <a:gd name="connsiteX236" fmla="*/ 342900 w 1219200"/>
                <a:gd name="connsiteY236" fmla="*/ 6879 h 1030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Lst>
              <a:rect l="l" t="t" r="r" b="b"/>
              <a:pathLst>
                <a:path w="1219200" h="1030293">
                  <a:moveTo>
                    <a:pt x="342900" y="6879"/>
                  </a:moveTo>
                  <a:cubicBezTo>
                    <a:pt x="341842" y="13758"/>
                    <a:pt x="347191" y="49801"/>
                    <a:pt x="333375" y="60854"/>
                  </a:cubicBezTo>
                  <a:cubicBezTo>
                    <a:pt x="330762" y="62945"/>
                    <a:pt x="327068" y="63110"/>
                    <a:pt x="323850" y="64029"/>
                  </a:cubicBezTo>
                  <a:cubicBezTo>
                    <a:pt x="319654" y="65228"/>
                    <a:pt x="315383" y="66146"/>
                    <a:pt x="311150" y="67204"/>
                  </a:cubicBezTo>
                  <a:cubicBezTo>
                    <a:pt x="294020" y="62922"/>
                    <a:pt x="297916" y="62198"/>
                    <a:pt x="276225" y="67204"/>
                  </a:cubicBezTo>
                  <a:cubicBezTo>
                    <a:pt x="269703" y="68709"/>
                    <a:pt x="257175" y="73554"/>
                    <a:pt x="257175" y="73554"/>
                  </a:cubicBezTo>
                  <a:cubicBezTo>
                    <a:pt x="252942" y="72496"/>
                    <a:pt x="248486" y="72098"/>
                    <a:pt x="244475" y="70379"/>
                  </a:cubicBezTo>
                  <a:cubicBezTo>
                    <a:pt x="240968" y="68876"/>
                    <a:pt x="238728" y="64569"/>
                    <a:pt x="234950" y="64029"/>
                  </a:cubicBezTo>
                  <a:cubicBezTo>
                    <a:pt x="230630" y="63412"/>
                    <a:pt x="226336" y="65672"/>
                    <a:pt x="222250" y="67204"/>
                  </a:cubicBezTo>
                  <a:cubicBezTo>
                    <a:pt x="213043" y="70657"/>
                    <a:pt x="207921" y="74640"/>
                    <a:pt x="200025" y="79904"/>
                  </a:cubicBezTo>
                  <a:cubicBezTo>
                    <a:pt x="198967" y="83079"/>
                    <a:pt x="197731" y="86200"/>
                    <a:pt x="196850" y="89429"/>
                  </a:cubicBezTo>
                  <a:cubicBezTo>
                    <a:pt x="191974" y="107307"/>
                    <a:pt x="195352" y="114769"/>
                    <a:pt x="180975" y="124354"/>
                  </a:cubicBezTo>
                  <a:cubicBezTo>
                    <a:pt x="178190" y="126210"/>
                    <a:pt x="174625" y="126471"/>
                    <a:pt x="171450" y="127529"/>
                  </a:cubicBezTo>
                  <a:cubicBezTo>
                    <a:pt x="168275" y="129646"/>
                    <a:pt x="165338" y="132172"/>
                    <a:pt x="161925" y="133879"/>
                  </a:cubicBezTo>
                  <a:cubicBezTo>
                    <a:pt x="147606" y="141039"/>
                    <a:pt x="156524" y="132030"/>
                    <a:pt x="142875" y="143404"/>
                  </a:cubicBezTo>
                  <a:cubicBezTo>
                    <a:pt x="139426" y="146279"/>
                    <a:pt x="137275" y="150748"/>
                    <a:pt x="133350" y="152929"/>
                  </a:cubicBezTo>
                  <a:cubicBezTo>
                    <a:pt x="127499" y="156180"/>
                    <a:pt x="120650" y="157162"/>
                    <a:pt x="114300" y="159279"/>
                  </a:cubicBezTo>
                  <a:lnTo>
                    <a:pt x="104775" y="162454"/>
                  </a:lnTo>
                  <a:cubicBezTo>
                    <a:pt x="89681" y="172517"/>
                    <a:pt x="98870" y="167597"/>
                    <a:pt x="76200" y="175154"/>
                  </a:cubicBezTo>
                  <a:lnTo>
                    <a:pt x="66675" y="178329"/>
                  </a:lnTo>
                  <a:lnTo>
                    <a:pt x="57150" y="181504"/>
                  </a:lnTo>
                  <a:cubicBezTo>
                    <a:pt x="31750" y="198437"/>
                    <a:pt x="62442" y="176212"/>
                    <a:pt x="41275" y="197379"/>
                  </a:cubicBezTo>
                  <a:cubicBezTo>
                    <a:pt x="38577" y="200077"/>
                    <a:pt x="34925" y="201612"/>
                    <a:pt x="31750" y="203729"/>
                  </a:cubicBezTo>
                  <a:cubicBezTo>
                    <a:pt x="29633" y="206904"/>
                    <a:pt x="25654" y="209447"/>
                    <a:pt x="25400" y="213254"/>
                  </a:cubicBezTo>
                  <a:cubicBezTo>
                    <a:pt x="24552" y="225970"/>
                    <a:pt x="25164" y="239075"/>
                    <a:pt x="28575" y="251354"/>
                  </a:cubicBezTo>
                  <a:cubicBezTo>
                    <a:pt x="31648" y="262415"/>
                    <a:pt x="40797" y="271753"/>
                    <a:pt x="50800" y="276754"/>
                  </a:cubicBezTo>
                  <a:cubicBezTo>
                    <a:pt x="53793" y="278251"/>
                    <a:pt x="57150" y="278871"/>
                    <a:pt x="60325" y="279929"/>
                  </a:cubicBezTo>
                  <a:cubicBezTo>
                    <a:pt x="63500" y="283104"/>
                    <a:pt x="67622" y="285555"/>
                    <a:pt x="69850" y="289454"/>
                  </a:cubicBezTo>
                  <a:cubicBezTo>
                    <a:pt x="72015" y="293243"/>
                    <a:pt x="71306" y="298143"/>
                    <a:pt x="73025" y="302154"/>
                  </a:cubicBezTo>
                  <a:cubicBezTo>
                    <a:pt x="77347" y="312238"/>
                    <a:pt x="88724" y="321145"/>
                    <a:pt x="98425" y="324379"/>
                  </a:cubicBezTo>
                  <a:cubicBezTo>
                    <a:pt x="129086" y="334599"/>
                    <a:pt x="81416" y="318211"/>
                    <a:pt x="120650" y="333904"/>
                  </a:cubicBezTo>
                  <a:cubicBezTo>
                    <a:pt x="126865" y="336390"/>
                    <a:pt x="139700" y="340254"/>
                    <a:pt x="139700" y="340254"/>
                  </a:cubicBezTo>
                  <a:cubicBezTo>
                    <a:pt x="147128" y="362538"/>
                    <a:pt x="149585" y="361039"/>
                    <a:pt x="142875" y="387879"/>
                  </a:cubicBezTo>
                  <a:cubicBezTo>
                    <a:pt x="141950" y="391581"/>
                    <a:pt x="139223" y="394706"/>
                    <a:pt x="136525" y="397404"/>
                  </a:cubicBezTo>
                  <a:cubicBezTo>
                    <a:pt x="133827" y="400102"/>
                    <a:pt x="130175" y="401637"/>
                    <a:pt x="127000" y="403754"/>
                  </a:cubicBezTo>
                  <a:cubicBezTo>
                    <a:pt x="122277" y="417923"/>
                    <a:pt x="122913" y="410764"/>
                    <a:pt x="127000" y="429154"/>
                  </a:cubicBezTo>
                  <a:cubicBezTo>
                    <a:pt x="127947" y="433414"/>
                    <a:pt x="127449" y="438447"/>
                    <a:pt x="130175" y="441854"/>
                  </a:cubicBezTo>
                  <a:cubicBezTo>
                    <a:pt x="132266" y="444467"/>
                    <a:pt x="136525" y="443971"/>
                    <a:pt x="139700" y="445029"/>
                  </a:cubicBezTo>
                  <a:cubicBezTo>
                    <a:pt x="141817" y="448204"/>
                    <a:pt x="145510" y="450776"/>
                    <a:pt x="146050" y="454554"/>
                  </a:cubicBezTo>
                  <a:cubicBezTo>
                    <a:pt x="148010" y="468277"/>
                    <a:pt x="140915" y="469406"/>
                    <a:pt x="130175" y="470429"/>
                  </a:cubicBezTo>
                  <a:cubicBezTo>
                    <a:pt x="112233" y="472138"/>
                    <a:pt x="94192" y="472546"/>
                    <a:pt x="76200" y="473604"/>
                  </a:cubicBezTo>
                  <a:cubicBezTo>
                    <a:pt x="72989" y="478420"/>
                    <a:pt x="66675" y="486081"/>
                    <a:pt x="66675" y="492654"/>
                  </a:cubicBezTo>
                  <a:cubicBezTo>
                    <a:pt x="66675" y="500317"/>
                    <a:pt x="70520" y="510538"/>
                    <a:pt x="73025" y="518054"/>
                  </a:cubicBezTo>
                  <a:cubicBezTo>
                    <a:pt x="74083" y="525462"/>
                    <a:pt x="75062" y="532882"/>
                    <a:pt x="76200" y="540279"/>
                  </a:cubicBezTo>
                  <a:cubicBezTo>
                    <a:pt x="77179" y="546642"/>
                    <a:pt x="80936" y="553084"/>
                    <a:pt x="79375" y="559329"/>
                  </a:cubicBezTo>
                  <a:cubicBezTo>
                    <a:pt x="75142" y="576262"/>
                    <a:pt x="60325" y="582612"/>
                    <a:pt x="47625" y="591079"/>
                  </a:cubicBezTo>
                  <a:lnTo>
                    <a:pt x="38100" y="597429"/>
                  </a:lnTo>
                  <a:cubicBezTo>
                    <a:pt x="34925" y="599546"/>
                    <a:pt x="31273" y="601081"/>
                    <a:pt x="28575" y="603779"/>
                  </a:cubicBezTo>
                  <a:lnTo>
                    <a:pt x="19050" y="613304"/>
                  </a:lnTo>
                  <a:cubicBezTo>
                    <a:pt x="22013" y="634048"/>
                    <a:pt x="25815" y="648466"/>
                    <a:pt x="19050" y="670454"/>
                  </a:cubicBezTo>
                  <a:cubicBezTo>
                    <a:pt x="17928" y="674101"/>
                    <a:pt x="12700" y="674687"/>
                    <a:pt x="9525" y="676804"/>
                  </a:cubicBezTo>
                  <a:lnTo>
                    <a:pt x="3175" y="695854"/>
                  </a:lnTo>
                  <a:lnTo>
                    <a:pt x="0" y="705379"/>
                  </a:lnTo>
                  <a:cubicBezTo>
                    <a:pt x="1693" y="710459"/>
                    <a:pt x="2540" y="721466"/>
                    <a:pt x="12700" y="718079"/>
                  </a:cubicBezTo>
                  <a:cubicBezTo>
                    <a:pt x="16960" y="716659"/>
                    <a:pt x="18489" y="711045"/>
                    <a:pt x="22225" y="708554"/>
                  </a:cubicBezTo>
                  <a:cubicBezTo>
                    <a:pt x="25010" y="706698"/>
                    <a:pt x="28532" y="706298"/>
                    <a:pt x="31750" y="705379"/>
                  </a:cubicBezTo>
                  <a:cubicBezTo>
                    <a:pt x="59657" y="697406"/>
                    <a:pt x="31137" y="706642"/>
                    <a:pt x="53975" y="699029"/>
                  </a:cubicBezTo>
                  <a:cubicBezTo>
                    <a:pt x="62106" y="700655"/>
                    <a:pt x="76141" y="700409"/>
                    <a:pt x="79375" y="711729"/>
                  </a:cubicBezTo>
                  <a:cubicBezTo>
                    <a:pt x="80574" y="715925"/>
                    <a:pt x="77399" y="720233"/>
                    <a:pt x="76200" y="724429"/>
                  </a:cubicBezTo>
                  <a:cubicBezTo>
                    <a:pt x="69252" y="748745"/>
                    <a:pt x="77807" y="718432"/>
                    <a:pt x="66675" y="743479"/>
                  </a:cubicBezTo>
                  <a:cubicBezTo>
                    <a:pt x="63957" y="749596"/>
                    <a:pt x="60325" y="762529"/>
                    <a:pt x="60325" y="762529"/>
                  </a:cubicBezTo>
                  <a:lnTo>
                    <a:pt x="63500" y="810154"/>
                  </a:lnTo>
                  <a:cubicBezTo>
                    <a:pt x="64968" y="814263"/>
                    <a:pt x="72411" y="809144"/>
                    <a:pt x="76200" y="806979"/>
                  </a:cubicBezTo>
                  <a:cubicBezTo>
                    <a:pt x="80099" y="804751"/>
                    <a:pt x="82276" y="800329"/>
                    <a:pt x="85725" y="797454"/>
                  </a:cubicBezTo>
                  <a:cubicBezTo>
                    <a:pt x="93931" y="790615"/>
                    <a:pt x="95229" y="791111"/>
                    <a:pt x="104775" y="787929"/>
                  </a:cubicBezTo>
                  <a:cubicBezTo>
                    <a:pt x="109008" y="784754"/>
                    <a:pt x="112341" y="779687"/>
                    <a:pt x="117475" y="778404"/>
                  </a:cubicBezTo>
                  <a:cubicBezTo>
                    <a:pt x="127709" y="775846"/>
                    <a:pt x="134110" y="785514"/>
                    <a:pt x="139700" y="791104"/>
                  </a:cubicBezTo>
                  <a:cubicBezTo>
                    <a:pt x="144434" y="805305"/>
                    <a:pt x="143354" y="811532"/>
                    <a:pt x="155575" y="819679"/>
                  </a:cubicBezTo>
                  <a:cubicBezTo>
                    <a:pt x="158360" y="821535"/>
                    <a:pt x="161853" y="822042"/>
                    <a:pt x="165100" y="822854"/>
                  </a:cubicBezTo>
                  <a:cubicBezTo>
                    <a:pt x="170335" y="824163"/>
                    <a:pt x="175683" y="824971"/>
                    <a:pt x="180975" y="826029"/>
                  </a:cubicBezTo>
                  <a:cubicBezTo>
                    <a:pt x="184150" y="830262"/>
                    <a:pt x="186758" y="834987"/>
                    <a:pt x="190500" y="838729"/>
                  </a:cubicBezTo>
                  <a:cubicBezTo>
                    <a:pt x="193198" y="841427"/>
                    <a:pt x="197641" y="842099"/>
                    <a:pt x="200025" y="845079"/>
                  </a:cubicBezTo>
                  <a:cubicBezTo>
                    <a:pt x="202116" y="847692"/>
                    <a:pt x="201703" y="851611"/>
                    <a:pt x="203200" y="854604"/>
                  </a:cubicBezTo>
                  <a:cubicBezTo>
                    <a:pt x="204907" y="858017"/>
                    <a:pt x="207843" y="860716"/>
                    <a:pt x="209550" y="864129"/>
                  </a:cubicBezTo>
                  <a:cubicBezTo>
                    <a:pt x="215340" y="875709"/>
                    <a:pt x="210409" y="882693"/>
                    <a:pt x="225425" y="892704"/>
                  </a:cubicBezTo>
                  <a:lnTo>
                    <a:pt x="244475" y="905404"/>
                  </a:lnTo>
                  <a:lnTo>
                    <a:pt x="254000" y="911754"/>
                  </a:lnTo>
                  <a:cubicBezTo>
                    <a:pt x="257175" y="909637"/>
                    <a:pt x="262108" y="908947"/>
                    <a:pt x="263525" y="905404"/>
                  </a:cubicBezTo>
                  <a:cubicBezTo>
                    <a:pt x="264768" y="902297"/>
                    <a:pt x="260350" y="892532"/>
                    <a:pt x="260350" y="895879"/>
                  </a:cubicBezTo>
                  <a:cubicBezTo>
                    <a:pt x="260350" y="900243"/>
                    <a:pt x="262326" y="904383"/>
                    <a:pt x="263525" y="908579"/>
                  </a:cubicBezTo>
                  <a:cubicBezTo>
                    <a:pt x="266704" y="919707"/>
                    <a:pt x="266233" y="919302"/>
                    <a:pt x="276225" y="927629"/>
                  </a:cubicBezTo>
                  <a:cubicBezTo>
                    <a:pt x="281512" y="932035"/>
                    <a:pt x="292478" y="937940"/>
                    <a:pt x="298450" y="940329"/>
                  </a:cubicBezTo>
                  <a:cubicBezTo>
                    <a:pt x="304665" y="942815"/>
                    <a:pt x="317500" y="946679"/>
                    <a:pt x="317500" y="946679"/>
                  </a:cubicBezTo>
                  <a:cubicBezTo>
                    <a:pt x="319029" y="961969"/>
                    <a:pt x="319697" y="979075"/>
                    <a:pt x="323850" y="994304"/>
                  </a:cubicBezTo>
                  <a:cubicBezTo>
                    <a:pt x="325611" y="1000762"/>
                    <a:pt x="328083" y="1007004"/>
                    <a:pt x="330200" y="1013354"/>
                  </a:cubicBezTo>
                  <a:cubicBezTo>
                    <a:pt x="331739" y="1017970"/>
                    <a:pt x="345552" y="1021646"/>
                    <a:pt x="349250" y="1022879"/>
                  </a:cubicBezTo>
                  <a:cubicBezTo>
                    <a:pt x="352425" y="1024996"/>
                    <a:pt x="354982" y="1028808"/>
                    <a:pt x="358775" y="1029229"/>
                  </a:cubicBezTo>
                  <a:cubicBezTo>
                    <a:pt x="365173" y="1029940"/>
                    <a:pt x="372980" y="1030293"/>
                    <a:pt x="377825" y="1026054"/>
                  </a:cubicBezTo>
                  <a:cubicBezTo>
                    <a:pt x="382862" y="1021646"/>
                    <a:pt x="380462" y="1012573"/>
                    <a:pt x="384175" y="1007004"/>
                  </a:cubicBezTo>
                  <a:lnTo>
                    <a:pt x="390525" y="997479"/>
                  </a:lnTo>
                  <a:cubicBezTo>
                    <a:pt x="397933" y="998537"/>
                    <a:pt x="405412" y="999186"/>
                    <a:pt x="412750" y="1000654"/>
                  </a:cubicBezTo>
                  <a:cubicBezTo>
                    <a:pt x="416032" y="1001310"/>
                    <a:pt x="419168" y="1005072"/>
                    <a:pt x="422275" y="1003829"/>
                  </a:cubicBezTo>
                  <a:cubicBezTo>
                    <a:pt x="425818" y="1002412"/>
                    <a:pt x="426508" y="997479"/>
                    <a:pt x="428625" y="994304"/>
                  </a:cubicBezTo>
                  <a:cubicBezTo>
                    <a:pt x="425450" y="991129"/>
                    <a:pt x="421975" y="988228"/>
                    <a:pt x="419100" y="984779"/>
                  </a:cubicBezTo>
                  <a:cubicBezTo>
                    <a:pt x="416657" y="981848"/>
                    <a:pt x="415285" y="978106"/>
                    <a:pt x="412750" y="975254"/>
                  </a:cubicBezTo>
                  <a:cubicBezTo>
                    <a:pt x="406784" y="968542"/>
                    <a:pt x="400050" y="962554"/>
                    <a:pt x="393700" y="956204"/>
                  </a:cubicBezTo>
                  <a:cubicBezTo>
                    <a:pt x="390525" y="953029"/>
                    <a:pt x="387911" y="949170"/>
                    <a:pt x="384175" y="946679"/>
                  </a:cubicBezTo>
                  <a:lnTo>
                    <a:pt x="365125" y="933979"/>
                  </a:lnTo>
                  <a:cubicBezTo>
                    <a:pt x="364067" y="930804"/>
                    <a:pt x="360005" y="927177"/>
                    <a:pt x="361950" y="924454"/>
                  </a:cubicBezTo>
                  <a:cubicBezTo>
                    <a:pt x="366386" y="918244"/>
                    <a:pt x="374650" y="915987"/>
                    <a:pt x="381000" y="911754"/>
                  </a:cubicBezTo>
                  <a:lnTo>
                    <a:pt x="390525" y="905404"/>
                  </a:lnTo>
                  <a:cubicBezTo>
                    <a:pt x="397431" y="900800"/>
                    <a:pt x="416930" y="897583"/>
                    <a:pt x="425450" y="895879"/>
                  </a:cubicBezTo>
                  <a:cubicBezTo>
                    <a:pt x="442383" y="896937"/>
                    <a:pt x="459491" y="896408"/>
                    <a:pt x="476250" y="899054"/>
                  </a:cubicBezTo>
                  <a:cubicBezTo>
                    <a:pt x="495353" y="902070"/>
                    <a:pt x="477203" y="917363"/>
                    <a:pt x="498475" y="924454"/>
                  </a:cubicBezTo>
                  <a:lnTo>
                    <a:pt x="508000" y="927629"/>
                  </a:lnTo>
                  <a:cubicBezTo>
                    <a:pt x="515408" y="926571"/>
                    <a:pt x="523057" y="926604"/>
                    <a:pt x="530225" y="924454"/>
                  </a:cubicBezTo>
                  <a:cubicBezTo>
                    <a:pt x="552151" y="917876"/>
                    <a:pt x="526019" y="914671"/>
                    <a:pt x="552450" y="921279"/>
                  </a:cubicBezTo>
                  <a:cubicBezTo>
                    <a:pt x="553508" y="924454"/>
                    <a:pt x="554128" y="927811"/>
                    <a:pt x="555625" y="930804"/>
                  </a:cubicBezTo>
                  <a:cubicBezTo>
                    <a:pt x="557332" y="934217"/>
                    <a:pt x="560635" y="936756"/>
                    <a:pt x="561975" y="940329"/>
                  </a:cubicBezTo>
                  <a:cubicBezTo>
                    <a:pt x="563870" y="945382"/>
                    <a:pt x="564329" y="950870"/>
                    <a:pt x="565150" y="956204"/>
                  </a:cubicBezTo>
                  <a:cubicBezTo>
                    <a:pt x="566447" y="964637"/>
                    <a:pt x="564860" y="973807"/>
                    <a:pt x="568325" y="981604"/>
                  </a:cubicBezTo>
                  <a:cubicBezTo>
                    <a:pt x="569684" y="984662"/>
                    <a:pt x="574675" y="983721"/>
                    <a:pt x="577850" y="984779"/>
                  </a:cubicBezTo>
                  <a:cubicBezTo>
                    <a:pt x="583142" y="983721"/>
                    <a:pt x="588812" y="983837"/>
                    <a:pt x="593725" y="981604"/>
                  </a:cubicBezTo>
                  <a:cubicBezTo>
                    <a:pt x="600673" y="978446"/>
                    <a:pt x="612775" y="968904"/>
                    <a:pt x="612775" y="968904"/>
                  </a:cubicBezTo>
                  <a:cubicBezTo>
                    <a:pt x="614892" y="965729"/>
                    <a:pt x="617575" y="962866"/>
                    <a:pt x="619125" y="959379"/>
                  </a:cubicBezTo>
                  <a:cubicBezTo>
                    <a:pt x="621843" y="953262"/>
                    <a:pt x="625475" y="940329"/>
                    <a:pt x="625475" y="940329"/>
                  </a:cubicBezTo>
                  <a:cubicBezTo>
                    <a:pt x="623591" y="930911"/>
                    <a:pt x="620141" y="914544"/>
                    <a:pt x="619125" y="905404"/>
                  </a:cubicBezTo>
                  <a:cubicBezTo>
                    <a:pt x="617718" y="892738"/>
                    <a:pt x="618299" y="879830"/>
                    <a:pt x="615950" y="867304"/>
                  </a:cubicBezTo>
                  <a:cubicBezTo>
                    <a:pt x="615078" y="862652"/>
                    <a:pt x="612035" y="858663"/>
                    <a:pt x="609600" y="854604"/>
                  </a:cubicBezTo>
                  <a:cubicBezTo>
                    <a:pt x="605673" y="848060"/>
                    <a:pt x="596900" y="835554"/>
                    <a:pt x="596900" y="835554"/>
                  </a:cubicBezTo>
                  <a:cubicBezTo>
                    <a:pt x="599017" y="832379"/>
                    <a:pt x="600014" y="828051"/>
                    <a:pt x="603250" y="826029"/>
                  </a:cubicBezTo>
                  <a:cubicBezTo>
                    <a:pt x="608926" y="822481"/>
                    <a:pt x="615950" y="821796"/>
                    <a:pt x="622300" y="819679"/>
                  </a:cubicBezTo>
                  <a:lnTo>
                    <a:pt x="631825" y="816504"/>
                  </a:lnTo>
                  <a:cubicBezTo>
                    <a:pt x="635965" y="815124"/>
                    <a:pt x="640329" y="814528"/>
                    <a:pt x="644525" y="813329"/>
                  </a:cubicBezTo>
                  <a:cubicBezTo>
                    <a:pt x="647743" y="812410"/>
                    <a:pt x="650875" y="811212"/>
                    <a:pt x="654050" y="810154"/>
                  </a:cubicBezTo>
                  <a:cubicBezTo>
                    <a:pt x="666203" y="802052"/>
                    <a:pt x="666855" y="798559"/>
                    <a:pt x="685800" y="806979"/>
                  </a:cubicBezTo>
                  <a:cubicBezTo>
                    <a:pt x="689287" y="808529"/>
                    <a:pt x="690033" y="813329"/>
                    <a:pt x="692150" y="816504"/>
                  </a:cubicBezTo>
                  <a:cubicBezTo>
                    <a:pt x="691210" y="823081"/>
                    <a:pt x="685497" y="843112"/>
                    <a:pt x="692150" y="851429"/>
                  </a:cubicBezTo>
                  <a:cubicBezTo>
                    <a:pt x="694241" y="854042"/>
                    <a:pt x="698500" y="853546"/>
                    <a:pt x="701675" y="854604"/>
                  </a:cubicBezTo>
                  <a:cubicBezTo>
                    <a:pt x="705908" y="857779"/>
                    <a:pt x="710633" y="860387"/>
                    <a:pt x="714375" y="864129"/>
                  </a:cubicBezTo>
                  <a:cubicBezTo>
                    <a:pt x="723474" y="873228"/>
                    <a:pt x="718735" y="872850"/>
                    <a:pt x="723900" y="883179"/>
                  </a:cubicBezTo>
                  <a:cubicBezTo>
                    <a:pt x="729192" y="893762"/>
                    <a:pt x="730250" y="892704"/>
                    <a:pt x="739775" y="899054"/>
                  </a:cubicBezTo>
                  <a:cubicBezTo>
                    <a:pt x="744008" y="897996"/>
                    <a:pt x="748686" y="898044"/>
                    <a:pt x="752475" y="895879"/>
                  </a:cubicBezTo>
                  <a:cubicBezTo>
                    <a:pt x="756374" y="893651"/>
                    <a:pt x="757524" y="886712"/>
                    <a:pt x="762000" y="886354"/>
                  </a:cubicBezTo>
                  <a:cubicBezTo>
                    <a:pt x="785233" y="884495"/>
                    <a:pt x="808567" y="888471"/>
                    <a:pt x="831850" y="889529"/>
                  </a:cubicBezTo>
                  <a:cubicBezTo>
                    <a:pt x="847725" y="888471"/>
                    <a:pt x="863781" y="888970"/>
                    <a:pt x="879475" y="886354"/>
                  </a:cubicBezTo>
                  <a:cubicBezTo>
                    <a:pt x="894421" y="883863"/>
                    <a:pt x="886028" y="876525"/>
                    <a:pt x="892175" y="867304"/>
                  </a:cubicBezTo>
                  <a:cubicBezTo>
                    <a:pt x="895692" y="862028"/>
                    <a:pt x="905792" y="859590"/>
                    <a:pt x="911225" y="857779"/>
                  </a:cubicBezTo>
                  <a:cubicBezTo>
                    <a:pt x="914400" y="855662"/>
                    <a:pt x="918857" y="854742"/>
                    <a:pt x="920750" y="851429"/>
                  </a:cubicBezTo>
                  <a:cubicBezTo>
                    <a:pt x="923427" y="846744"/>
                    <a:pt x="923925" y="840950"/>
                    <a:pt x="923925" y="835554"/>
                  </a:cubicBezTo>
                  <a:cubicBezTo>
                    <a:pt x="923925" y="822324"/>
                    <a:pt x="922067" y="816180"/>
                    <a:pt x="914400" y="806979"/>
                  </a:cubicBezTo>
                  <a:cubicBezTo>
                    <a:pt x="911525" y="803530"/>
                    <a:pt x="908891" y="799462"/>
                    <a:pt x="904875" y="797454"/>
                  </a:cubicBezTo>
                  <a:cubicBezTo>
                    <a:pt x="900048" y="795041"/>
                    <a:pt x="894292" y="795337"/>
                    <a:pt x="889000" y="794279"/>
                  </a:cubicBezTo>
                  <a:cubicBezTo>
                    <a:pt x="885825" y="791104"/>
                    <a:pt x="880564" y="789110"/>
                    <a:pt x="879475" y="784754"/>
                  </a:cubicBezTo>
                  <a:cubicBezTo>
                    <a:pt x="877370" y="776335"/>
                    <a:pt x="883919" y="765451"/>
                    <a:pt x="889000" y="759354"/>
                  </a:cubicBezTo>
                  <a:cubicBezTo>
                    <a:pt x="891875" y="755905"/>
                    <a:pt x="895650" y="753278"/>
                    <a:pt x="898525" y="749829"/>
                  </a:cubicBezTo>
                  <a:cubicBezTo>
                    <a:pt x="900968" y="746898"/>
                    <a:pt x="902003" y="742817"/>
                    <a:pt x="904875" y="740304"/>
                  </a:cubicBezTo>
                  <a:cubicBezTo>
                    <a:pt x="910618" y="735278"/>
                    <a:pt x="917575" y="731837"/>
                    <a:pt x="923925" y="727604"/>
                  </a:cubicBezTo>
                  <a:cubicBezTo>
                    <a:pt x="936235" y="719398"/>
                    <a:pt x="929830" y="722461"/>
                    <a:pt x="942975" y="718079"/>
                  </a:cubicBezTo>
                  <a:cubicBezTo>
                    <a:pt x="946150" y="720196"/>
                    <a:pt x="950116" y="721449"/>
                    <a:pt x="952500" y="724429"/>
                  </a:cubicBezTo>
                  <a:cubicBezTo>
                    <a:pt x="954591" y="727042"/>
                    <a:pt x="955076" y="730661"/>
                    <a:pt x="955675" y="733954"/>
                  </a:cubicBezTo>
                  <a:cubicBezTo>
                    <a:pt x="957201" y="742349"/>
                    <a:pt x="955681" y="751432"/>
                    <a:pt x="958850" y="759354"/>
                  </a:cubicBezTo>
                  <a:cubicBezTo>
                    <a:pt x="960744" y="764088"/>
                    <a:pt x="973890" y="767542"/>
                    <a:pt x="977900" y="768879"/>
                  </a:cubicBezTo>
                  <a:cubicBezTo>
                    <a:pt x="991047" y="767001"/>
                    <a:pt x="1003300" y="772012"/>
                    <a:pt x="1003300" y="756179"/>
                  </a:cubicBezTo>
                  <a:cubicBezTo>
                    <a:pt x="1003300" y="752832"/>
                    <a:pt x="1001183" y="749829"/>
                    <a:pt x="1000125" y="746654"/>
                  </a:cubicBezTo>
                  <a:cubicBezTo>
                    <a:pt x="1001183" y="743479"/>
                    <a:pt x="1001209" y="739742"/>
                    <a:pt x="1003300" y="737129"/>
                  </a:cubicBezTo>
                  <a:cubicBezTo>
                    <a:pt x="1005684" y="734149"/>
                    <a:pt x="1009338" y="732329"/>
                    <a:pt x="1012825" y="730779"/>
                  </a:cubicBezTo>
                  <a:lnTo>
                    <a:pt x="1041400" y="721254"/>
                  </a:lnTo>
                  <a:lnTo>
                    <a:pt x="1050925" y="718079"/>
                  </a:lnTo>
                  <a:lnTo>
                    <a:pt x="1060450" y="714904"/>
                  </a:lnTo>
                  <a:cubicBezTo>
                    <a:pt x="1063625" y="712787"/>
                    <a:pt x="1067277" y="711252"/>
                    <a:pt x="1069975" y="708554"/>
                  </a:cubicBezTo>
                  <a:cubicBezTo>
                    <a:pt x="1076130" y="702399"/>
                    <a:pt x="1076918" y="697251"/>
                    <a:pt x="1079500" y="689504"/>
                  </a:cubicBezTo>
                  <a:cubicBezTo>
                    <a:pt x="1077383" y="686329"/>
                    <a:pt x="1075593" y="682910"/>
                    <a:pt x="1073150" y="679979"/>
                  </a:cubicBezTo>
                  <a:cubicBezTo>
                    <a:pt x="1065510" y="670812"/>
                    <a:pt x="1063466" y="670348"/>
                    <a:pt x="1054100" y="664104"/>
                  </a:cubicBezTo>
                  <a:cubicBezTo>
                    <a:pt x="1051983" y="660929"/>
                    <a:pt x="1049457" y="657992"/>
                    <a:pt x="1047750" y="654579"/>
                  </a:cubicBezTo>
                  <a:cubicBezTo>
                    <a:pt x="1046253" y="651586"/>
                    <a:pt x="1046235" y="647960"/>
                    <a:pt x="1044575" y="645054"/>
                  </a:cubicBezTo>
                  <a:cubicBezTo>
                    <a:pt x="1041950" y="640460"/>
                    <a:pt x="1038225" y="636587"/>
                    <a:pt x="1035050" y="632354"/>
                  </a:cubicBezTo>
                  <a:cubicBezTo>
                    <a:pt x="1036056" y="623300"/>
                    <a:pt x="1036081" y="604892"/>
                    <a:pt x="1041400" y="594254"/>
                  </a:cubicBezTo>
                  <a:cubicBezTo>
                    <a:pt x="1043107" y="590841"/>
                    <a:pt x="1044514" y="586751"/>
                    <a:pt x="1047750" y="584729"/>
                  </a:cubicBezTo>
                  <a:cubicBezTo>
                    <a:pt x="1053426" y="581181"/>
                    <a:pt x="1066800" y="578379"/>
                    <a:pt x="1066800" y="578379"/>
                  </a:cubicBezTo>
                  <a:cubicBezTo>
                    <a:pt x="1081769" y="580874"/>
                    <a:pt x="1085288" y="584063"/>
                    <a:pt x="1098550" y="578379"/>
                  </a:cubicBezTo>
                  <a:cubicBezTo>
                    <a:pt x="1102057" y="576876"/>
                    <a:pt x="1104900" y="574146"/>
                    <a:pt x="1108075" y="572029"/>
                  </a:cubicBezTo>
                  <a:cubicBezTo>
                    <a:pt x="1110192" y="568854"/>
                    <a:pt x="1111089" y="564357"/>
                    <a:pt x="1114425" y="562504"/>
                  </a:cubicBezTo>
                  <a:cubicBezTo>
                    <a:pt x="1147717" y="544008"/>
                    <a:pt x="1128712" y="568061"/>
                    <a:pt x="1143000" y="546629"/>
                  </a:cubicBezTo>
                  <a:cubicBezTo>
                    <a:pt x="1144058" y="542396"/>
                    <a:pt x="1143449" y="537336"/>
                    <a:pt x="1146175" y="533929"/>
                  </a:cubicBezTo>
                  <a:cubicBezTo>
                    <a:pt x="1148266" y="531316"/>
                    <a:pt x="1152707" y="532251"/>
                    <a:pt x="1155700" y="530754"/>
                  </a:cubicBezTo>
                  <a:cubicBezTo>
                    <a:pt x="1183880" y="516664"/>
                    <a:pt x="1134533" y="526962"/>
                    <a:pt x="1203325" y="521229"/>
                  </a:cubicBezTo>
                  <a:cubicBezTo>
                    <a:pt x="1206500" y="520171"/>
                    <a:pt x="1210483" y="520421"/>
                    <a:pt x="1212850" y="518054"/>
                  </a:cubicBezTo>
                  <a:cubicBezTo>
                    <a:pt x="1214368" y="516536"/>
                    <a:pt x="1219173" y="495939"/>
                    <a:pt x="1219200" y="495829"/>
                  </a:cubicBezTo>
                  <a:cubicBezTo>
                    <a:pt x="1214174" y="475725"/>
                    <a:pt x="1218446" y="486760"/>
                    <a:pt x="1203325" y="464079"/>
                  </a:cubicBezTo>
                  <a:cubicBezTo>
                    <a:pt x="1199612" y="458510"/>
                    <a:pt x="1190625" y="459846"/>
                    <a:pt x="1184275" y="457729"/>
                  </a:cubicBezTo>
                  <a:lnTo>
                    <a:pt x="1174750" y="454554"/>
                  </a:lnTo>
                  <a:cubicBezTo>
                    <a:pt x="1171575" y="452437"/>
                    <a:pt x="1167609" y="451184"/>
                    <a:pt x="1165225" y="448204"/>
                  </a:cubicBezTo>
                  <a:cubicBezTo>
                    <a:pt x="1163134" y="445591"/>
                    <a:pt x="1163547" y="441672"/>
                    <a:pt x="1162050" y="438679"/>
                  </a:cubicBezTo>
                  <a:cubicBezTo>
                    <a:pt x="1160343" y="435266"/>
                    <a:pt x="1157817" y="432329"/>
                    <a:pt x="1155700" y="429154"/>
                  </a:cubicBezTo>
                  <a:cubicBezTo>
                    <a:pt x="1154642" y="422804"/>
                    <a:pt x="1154561" y="416211"/>
                    <a:pt x="1152525" y="410104"/>
                  </a:cubicBezTo>
                  <a:cubicBezTo>
                    <a:pt x="1150173" y="403048"/>
                    <a:pt x="1143235" y="397051"/>
                    <a:pt x="1136650" y="394229"/>
                  </a:cubicBezTo>
                  <a:cubicBezTo>
                    <a:pt x="1132639" y="392510"/>
                    <a:pt x="1128243" y="391835"/>
                    <a:pt x="1123950" y="391054"/>
                  </a:cubicBezTo>
                  <a:cubicBezTo>
                    <a:pt x="1116587" y="389715"/>
                    <a:pt x="1109167" y="388662"/>
                    <a:pt x="1101725" y="387879"/>
                  </a:cubicBezTo>
                  <a:cubicBezTo>
                    <a:pt x="1089051" y="386545"/>
                    <a:pt x="1076325" y="385762"/>
                    <a:pt x="1063625" y="384704"/>
                  </a:cubicBezTo>
                  <a:cubicBezTo>
                    <a:pt x="1048020" y="395107"/>
                    <a:pt x="1051347" y="388788"/>
                    <a:pt x="1057275" y="416454"/>
                  </a:cubicBezTo>
                  <a:cubicBezTo>
                    <a:pt x="1058677" y="422999"/>
                    <a:pt x="1061508" y="429154"/>
                    <a:pt x="1063625" y="435504"/>
                  </a:cubicBezTo>
                  <a:lnTo>
                    <a:pt x="1066800" y="445029"/>
                  </a:lnTo>
                  <a:cubicBezTo>
                    <a:pt x="1062312" y="467468"/>
                    <a:pt x="1065332" y="455784"/>
                    <a:pt x="1057275" y="479954"/>
                  </a:cubicBezTo>
                  <a:lnTo>
                    <a:pt x="1057275" y="479954"/>
                  </a:lnTo>
                  <a:cubicBezTo>
                    <a:pt x="1056217" y="484187"/>
                    <a:pt x="1056521" y="489023"/>
                    <a:pt x="1054100" y="492654"/>
                  </a:cubicBezTo>
                  <a:cubicBezTo>
                    <a:pt x="1051983" y="495829"/>
                    <a:pt x="1047750" y="496887"/>
                    <a:pt x="1044575" y="499004"/>
                  </a:cubicBezTo>
                  <a:cubicBezTo>
                    <a:pt x="1039283" y="497946"/>
                    <a:pt x="1033613" y="498062"/>
                    <a:pt x="1028700" y="495829"/>
                  </a:cubicBezTo>
                  <a:cubicBezTo>
                    <a:pt x="1021752" y="492671"/>
                    <a:pt x="1009650" y="483129"/>
                    <a:pt x="1009650" y="483129"/>
                  </a:cubicBezTo>
                  <a:cubicBezTo>
                    <a:pt x="994994" y="486060"/>
                    <a:pt x="980284" y="489479"/>
                    <a:pt x="965200" y="489479"/>
                  </a:cubicBezTo>
                  <a:cubicBezTo>
                    <a:pt x="956667" y="489479"/>
                    <a:pt x="948267" y="487362"/>
                    <a:pt x="939800" y="486304"/>
                  </a:cubicBezTo>
                  <a:cubicBezTo>
                    <a:pt x="914400" y="469371"/>
                    <a:pt x="945092" y="491596"/>
                    <a:pt x="923925" y="470429"/>
                  </a:cubicBezTo>
                  <a:cubicBezTo>
                    <a:pt x="921227" y="467731"/>
                    <a:pt x="917575" y="466196"/>
                    <a:pt x="914400" y="464079"/>
                  </a:cubicBezTo>
                  <a:cubicBezTo>
                    <a:pt x="913346" y="460918"/>
                    <a:pt x="908056" y="439476"/>
                    <a:pt x="901700" y="435504"/>
                  </a:cubicBezTo>
                  <a:cubicBezTo>
                    <a:pt x="882406" y="423445"/>
                    <a:pt x="826449" y="426344"/>
                    <a:pt x="819150" y="425979"/>
                  </a:cubicBezTo>
                  <a:cubicBezTo>
                    <a:pt x="815975" y="424921"/>
                    <a:pt x="812551" y="424429"/>
                    <a:pt x="809625" y="422804"/>
                  </a:cubicBezTo>
                  <a:cubicBezTo>
                    <a:pt x="776873" y="404608"/>
                    <a:pt x="802603" y="414113"/>
                    <a:pt x="781050" y="406929"/>
                  </a:cubicBezTo>
                  <a:cubicBezTo>
                    <a:pt x="774507" y="402567"/>
                    <a:pt x="762534" y="392172"/>
                    <a:pt x="752475" y="391054"/>
                  </a:cubicBezTo>
                  <a:cubicBezTo>
                    <a:pt x="736662" y="389297"/>
                    <a:pt x="720725" y="388937"/>
                    <a:pt x="704850" y="387879"/>
                  </a:cubicBezTo>
                  <a:cubicBezTo>
                    <a:pt x="701675" y="386821"/>
                    <a:pt x="697938" y="386795"/>
                    <a:pt x="695325" y="384704"/>
                  </a:cubicBezTo>
                  <a:cubicBezTo>
                    <a:pt x="692345" y="382320"/>
                    <a:pt x="690525" y="378666"/>
                    <a:pt x="688975" y="375179"/>
                  </a:cubicBezTo>
                  <a:cubicBezTo>
                    <a:pt x="684534" y="365187"/>
                    <a:pt x="681023" y="351262"/>
                    <a:pt x="679450" y="340254"/>
                  </a:cubicBezTo>
                  <a:cubicBezTo>
                    <a:pt x="678095" y="330767"/>
                    <a:pt x="679306" y="320771"/>
                    <a:pt x="676275" y="311679"/>
                  </a:cubicBezTo>
                  <a:cubicBezTo>
                    <a:pt x="672836" y="301361"/>
                    <a:pt x="662193" y="301015"/>
                    <a:pt x="654050" y="298979"/>
                  </a:cubicBezTo>
                  <a:cubicBezTo>
                    <a:pt x="660400" y="294746"/>
                    <a:pt x="670687" y="293519"/>
                    <a:pt x="673100" y="286279"/>
                  </a:cubicBezTo>
                  <a:cubicBezTo>
                    <a:pt x="681157" y="262109"/>
                    <a:pt x="678137" y="273793"/>
                    <a:pt x="682625" y="251354"/>
                  </a:cubicBezTo>
                  <a:cubicBezTo>
                    <a:pt x="681567" y="242887"/>
                    <a:pt x="681695" y="234186"/>
                    <a:pt x="679450" y="225954"/>
                  </a:cubicBezTo>
                  <a:cubicBezTo>
                    <a:pt x="676711" y="215910"/>
                    <a:pt x="670548" y="215889"/>
                    <a:pt x="663575" y="210079"/>
                  </a:cubicBezTo>
                  <a:cubicBezTo>
                    <a:pt x="633732" y="185210"/>
                    <a:pt x="683148" y="219952"/>
                    <a:pt x="635000" y="187854"/>
                  </a:cubicBezTo>
                  <a:lnTo>
                    <a:pt x="625475" y="181504"/>
                  </a:lnTo>
                  <a:cubicBezTo>
                    <a:pt x="622690" y="179648"/>
                    <a:pt x="619274" y="178720"/>
                    <a:pt x="615950" y="178329"/>
                  </a:cubicBezTo>
                  <a:cubicBezTo>
                    <a:pt x="601197" y="176593"/>
                    <a:pt x="586307" y="176339"/>
                    <a:pt x="571500" y="175154"/>
                  </a:cubicBezTo>
                  <a:cubicBezTo>
                    <a:pt x="559848" y="174222"/>
                    <a:pt x="548207" y="173142"/>
                    <a:pt x="536575" y="171979"/>
                  </a:cubicBezTo>
                  <a:cubicBezTo>
                    <a:pt x="524792" y="170801"/>
                    <a:pt x="498567" y="167955"/>
                    <a:pt x="485775" y="165629"/>
                  </a:cubicBezTo>
                  <a:cubicBezTo>
                    <a:pt x="481482" y="164848"/>
                    <a:pt x="477308" y="163512"/>
                    <a:pt x="473075" y="162454"/>
                  </a:cubicBezTo>
                  <a:cubicBezTo>
                    <a:pt x="469900" y="159279"/>
                    <a:pt x="466041" y="156665"/>
                    <a:pt x="463550" y="152929"/>
                  </a:cubicBezTo>
                  <a:cubicBezTo>
                    <a:pt x="461694" y="150144"/>
                    <a:pt x="461101" y="146671"/>
                    <a:pt x="460375" y="143404"/>
                  </a:cubicBezTo>
                  <a:cubicBezTo>
                    <a:pt x="457994" y="132692"/>
                    <a:pt x="457266" y="114927"/>
                    <a:pt x="450850" y="105304"/>
                  </a:cubicBezTo>
                  <a:cubicBezTo>
                    <a:pt x="442009" y="92043"/>
                    <a:pt x="447198" y="98477"/>
                    <a:pt x="434975" y="86254"/>
                  </a:cubicBezTo>
                  <a:cubicBezTo>
                    <a:pt x="432478" y="58790"/>
                    <a:pt x="434234" y="58262"/>
                    <a:pt x="428625" y="38629"/>
                  </a:cubicBezTo>
                  <a:cubicBezTo>
                    <a:pt x="427706" y="35411"/>
                    <a:pt x="427541" y="31717"/>
                    <a:pt x="425450" y="29104"/>
                  </a:cubicBezTo>
                  <a:cubicBezTo>
                    <a:pt x="420144" y="22472"/>
                    <a:pt x="413402" y="22580"/>
                    <a:pt x="406400" y="19579"/>
                  </a:cubicBezTo>
                  <a:cubicBezTo>
                    <a:pt x="397364" y="15707"/>
                    <a:pt x="393482" y="11915"/>
                    <a:pt x="384175" y="10054"/>
                  </a:cubicBezTo>
                  <a:cubicBezTo>
                    <a:pt x="376837" y="8586"/>
                    <a:pt x="369358" y="7937"/>
                    <a:pt x="361950" y="6879"/>
                  </a:cubicBezTo>
                  <a:cubicBezTo>
                    <a:pt x="355600" y="7937"/>
                    <a:pt x="348489" y="6860"/>
                    <a:pt x="342900" y="10054"/>
                  </a:cubicBezTo>
                  <a:cubicBezTo>
                    <a:pt x="339994" y="11714"/>
                    <a:pt x="340028" y="16246"/>
                    <a:pt x="339725" y="19579"/>
                  </a:cubicBezTo>
                  <a:cubicBezTo>
                    <a:pt x="338958" y="28011"/>
                    <a:pt x="343958" y="0"/>
                    <a:pt x="342900" y="6879"/>
                  </a:cubicBezTo>
                  <a:close/>
                </a:path>
              </a:pathLst>
            </a:custGeom>
            <a:grp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rtl="0" eaLnBrk="0" fontAlgn="base" hangingPunct="0">
                <a:spcBef>
                  <a:spcPct val="50000"/>
                </a:spcBef>
                <a:spcAft>
                  <a:spcPct val="0"/>
                </a:spcAft>
              </a:pPr>
              <a:endParaRPr lang="en-US" sz="900">
                <a:solidFill>
                  <a:srgbClr val="000000"/>
                </a:solidFill>
                <a:latin typeface="Arial" charset="0"/>
              </a:endParaRPr>
            </a:p>
          </p:txBody>
        </p:sp>
        <p:sp>
          <p:nvSpPr>
            <p:cNvPr id="58" name="Freeform 58">
              <a:extLst>
                <a:ext uri="{FF2B5EF4-FFF2-40B4-BE49-F238E27FC236}">
                  <a16:creationId xmlns:a16="http://schemas.microsoft.com/office/drawing/2014/main" id="{5AFFAA72-26D3-43DA-BA38-963A4D68DC51}"/>
                </a:ext>
              </a:extLst>
            </p:cNvPr>
            <p:cNvSpPr/>
            <p:nvPr>
              <p:custDataLst>
                <p:tags r:id="rId13"/>
              </p:custDataLst>
            </p:nvPr>
          </p:nvSpPr>
          <p:spPr bwMode="gray">
            <a:xfrm>
              <a:off x="3948299" y="4113853"/>
              <a:ext cx="2241550" cy="2325047"/>
            </a:xfrm>
            <a:custGeom>
              <a:avLst/>
              <a:gdLst>
                <a:gd name="connsiteX0" fmla="*/ 44450 w 2241550"/>
                <a:gd name="connsiteY0" fmla="*/ 674047 h 2325047"/>
                <a:gd name="connsiteX1" fmla="*/ 120650 w 2241550"/>
                <a:gd name="connsiteY1" fmla="*/ 667697 h 2325047"/>
                <a:gd name="connsiteX2" fmla="*/ 127000 w 2241550"/>
                <a:gd name="connsiteY2" fmla="*/ 642297 h 2325047"/>
                <a:gd name="connsiteX3" fmla="*/ 146050 w 2241550"/>
                <a:gd name="connsiteY3" fmla="*/ 635947 h 2325047"/>
                <a:gd name="connsiteX4" fmla="*/ 171450 w 2241550"/>
                <a:gd name="connsiteY4" fmla="*/ 642297 h 2325047"/>
                <a:gd name="connsiteX5" fmla="*/ 177800 w 2241550"/>
                <a:gd name="connsiteY5" fmla="*/ 623247 h 2325047"/>
                <a:gd name="connsiteX6" fmla="*/ 165100 w 2241550"/>
                <a:gd name="connsiteY6" fmla="*/ 604197 h 2325047"/>
                <a:gd name="connsiteX7" fmla="*/ 139700 w 2241550"/>
                <a:gd name="connsiteY7" fmla="*/ 566097 h 2325047"/>
                <a:gd name="connsiteX8" fmla="*/ 184150 w 2241550"/>
                <a:gd name="connsiteY8" fmla="*/ 547047 h 2325047"/>
                <a:gd name="connsiteX9" fmla="*/ 203200 w 2241550"/>
                <a:gd name="connsiteY9" fmla="*/ 553397 h 2325047"/>
                <a:gd name="connsiteX10" fmla="*/ 222250 w 2241550"/>
                <a:gd name="connsiteY10" fmla="*/ 566097 h 2325047"/>
                <a:gd name="connsiteX11" fmla="*/ 241300 w 2241550"/>
                <a:gd name="connsiteY11" fmla="*/ 553397 h 2325047"/>
                <a:gd name="connsiteX12" fmla="*/ 279400 w 2241550"/>
                <a:gd name="connsiteY12" fmla="*/ 547047 h 2325047"/>
                <a:gd name="connsiteX13" fmla="*/ 292100 w 2241550"/>
                <a:gd name="connsiteY13" fmla="*/ 566097 h 2325047"/>
                <a:gd name="connsiteX14" fmla="*/ 298450 w 2241550"/>
                <a:gd name="connsiteY14" fmla="*/ 604197 h 2325047"/>
                <a:gd name="connsiteX15" fmla="*/ 361950 w 2241550"/>
                <a:gd name="connsiteY15" fmla="*/ 591497 h 2325047"/>
                <a:gd name="connsiteX16" fmla="*/ 381000 w 2241550"/>
                <a:gd name="connsiteY16" fmla="*/ 597847 h 2325047"/>
                <a:gd name="connsiteX17" fmla="*/ 393700 w 2241550"/>
                <a:gd name="connsiteY17" fmla="*/ 635947 h 2325047"/>
                <a:gd name="connsiteX18" fmla="*/ 406400 w 2241550"/>
                <a:gd name="connsiteY18" fmla="*/ 654997 h 2325047"/>
                <a:gd name="connsiteX19" fmla="*/ 412750 w 2241550"/>
                <a:gd name="connsiteY19" fmla="*/ 705797 h 2325047"/>
                <a:gd name="connsiteX20" fmla="*/ 431800 w 2241550"/>
                <a:gd name="connsiteY20" fmla="*/ 750247 h 2325047"/>
                <a:gd name="connsiteX21" fmla="*/ 450850 w 2241550"/>
                <a:gd name="connsiteY21" fmla="*/ 762947 h 2325047"/>
                <a:gd name="connsiteX22" fmla="*/ 508000 w 2241550"/>
                <a:gd name="connsiteY22" fmla="*/ 743897 h 2325047"/>
                <a:gd name="connsiteX23" fmla="*/ 527050 w 2241550"/>
                <a:gd name="connsiteY23" fmla="*/ 921697 h 2325047"/>
                <a:gd name="connsiteX24" fmla="*/ 558800 w 2241550"/>
                <a:gd name="connsiteY24" fmla="*/ 978847 h 2325047"/>
                <a:gd name="connsiteX25" fmla="*/ 577850 w 2241550"/>
                <a:gd name="connsiteY25" fmla="*/ 1016947 h 2325047"/>
                <a:gd name="connsiteX26" fmla="*/ 603250 w 2241550"/>
                <a:gd name="connsiteY26" fmla="*/ 1061397 h 2325047"/>
                <a:gd name="connsiteX27" fmla="*/ 622300 w 2241550"/>
                <a:gd name="connsiteY27" fmla="*/ 1099497 h 2325047"/>
                <a:gd name="connsiteX28" fmla="*/ 641350 w 2241550"/>
                <a:gd name="connsiteY28" fmla="*/ 1112197 h 2325047"/>
                <a:gd name="connsiteX29" fmla="*/ 654050 w 2241550"/>
                <a:gd name="connsiteY29" fmla="*/ 1131247 h 2325047"/>
                <a:gd name="connsiteX30" fmla="*/ 666750 w 2241550"/>
                <a:gd name="connsiteY30" fmla="*/ 1207447 h 2325047"/>
                <a:gd name="connsiteX31" fmla="*/ 673100 w 2241550"/>
                <a:gd name="connsiteY31" fmla="*/ 1251897 h 2325047"/>
                <a:gd name="connsiteX32" fmla="*/ 698500 w 2241550"/>
                <a:gd name="connsiteY32" fmla="*/ 1309047 h 2325047"/>
                <a:gd name="connsiteX33" fmla="*/ 679450 w 2241550"/>
                <a:gd name="connsiteY33" fmla="*/ 1321747 h 2325047"/>
                <a:gd name="connsiteX34" fmla="*/ 641350 w 2241550"/>
                <a:gd name="connsiteY34" fmla="*/ 1334447 h 2325047"/>
                <a:gd name="connsiteX35" fmla="*/ 584200 w 2241550"/>
                <a:gd name="connsiteY35" fmla="*/ 1328097 h 2325047"/>
                <a:gd name="connsiteX36" fmla="*/ 577850 w 2241550"/>
                <a:gd name="connsiteY36" fmla="*/ 1347147 h 2325047"/>
                <a:gd name="connsiteX37" fmla="*/ 596900 w 2241550"/>
                <a:gd name="connsiteY37" fmla="*/ 1404297 h 2325047"/>
                <a:gd name="connsiteX38" fmla="*/ 603250 w 2241550"/>
                <a:gd name="connsiteY38" fmla="*/ 1423347 h 2325047"/>
                <a:gd name="connsiteX39" fmla="*/ 590550 w 2241550"/>
                <a:gd name="connsiteY39" fmla="*/ 1442397 h 2325047"/>
                <a:gd name="connsiteX40" fmla="*/ 565150 w 2241550"/>
                <a:gd name="connsiteY40" fmla="*/ 1448747 h 2325047"/>
                <a:gd name="connsiteX41" fmla="*/ 527050 w 2241550"/>
                <a:gd name="connsiteY41" fmla="*/ 1461447 h 2325047"/>
                <a:gd name="connsiteX42" fmla="*/ 508000 w 2241550"/>
                <a:gd name="connsiteY42" fmla="*/ 1467797 h 2325047"/>
                <a:gd name="connsiteX43" fmla="*/ 488950 w 2241550"/>
                <a:gd name="connsiteY43" fmla="*/ 1474147 h 2325047"/>
                <a:gd name="connsiteX44" fmla="*/ 476250 w 2241550"/>
                <a:gd name="connsiteY44" fmla="*/ 1493197 h 2325047"/>
                <a:gd name="connsiteX45" fmla="*/ 463550 w 2241550"/>
                <a:gd name="connsiteY45" fmla="*/ 1543997 h 2325047"/>
                <a:gd name="connsiteX46" fmla="*/ 469900 w 2241550"/>
                <a:gd name="connsiteY46" fmla="*/ 1569397 h 2325047"/>
                <a:gd name="connsiteX47" fmla="*/ 476250 w 2241550"/>
                <a:gd name="connsiteY47" fmla="*/ 1588447 h 2325047"/>
                <a:gd name="connsiteX48" fmla="*/ 488950 w 2241550"/>
                <a:gd name="connsiteY48" fmla="*/ 1639247 h 2325047"/>
                <a:gd name="connsiteX49" fmla="*/ 495300 w 2241550"/>
                <a:gd name="connsiteY49" fmla="*/ 1658297 h 2325047"/>
                <a:gd name="connsiteX50" fmla="*/ 508000 w 2241550"/>
                <a:gd name="connsiteY50" fmla="*/ 1709097 h 2325047"/>
                <a:gd name="connsiteX51" fmla="*/ 514350 w 2241550"/>
                <a:gd name="connsiteY51" fmla="*/ 1728147 h 2325047"/>
                <a:gd name="connsiteX52" fmla="*/ 527050 w 2241550"/>
                <a:gd name="connsiteY52" fmla="*/ 1747197 h 2325047"/>
                <a:gd name="connsiteX53" fmla="*/ 520700 w 2241550"/>
                <a:gd name="connsiteY53" fmla="*/ 1785297 h 2325047"/>
                <a:gd name="connsiteX54" fmla="*/ 514350 w 2241550"/>
                <a:gd name="connsiteY54" fmla="*/ 1804347 h 2325047"/>
                <a:gd name="connsiteX55" fmla="*/ 508000 w 2241550"/>
                <a:gd name="connsiteY55" fmla="*/ 1829747 h 2325047"/>
                <a:gd name="connsiteX56" fmla="*/ 501650 w 2241550"/>
                <a:gd name="connsiteY56" fmla="*/ 2001197 h 2325047"/>
                <a:gd name="connsiteX57" fmla="*/ 488950 w 2241550"/>
                <a:gd name="connsiteY57" fmla="*/ 2020247 h 2325047"/>
                <a:gd name="connsiteX58" fmla="*/ 482600 w 2241550"/>
                <a:gd name="connsiteY58" fmla="*/ 2039297 h 2325047"/>
                <a:gd name="connsiteX59" fmla="*/ 368300 w 2241550"/>
                <a:gd name="connsiteY59" fmla="*/ 2058347 h 2325047"/>
                <a:gd name="connsiteX60" fmla="*/ 349250 w 2241550"/>
                <a:gd name="connsiteY60" fmla="*/ 2064697 h 2325047"/>
                <a:gd name="connsiteX61" fmla="*/ 311150 w 2241550"/>
                <a:gd name="connsiteY61" fmla="*/ 2083747 h 2325047"/>
                <a:gd name="connsiteX62" fmla="*/ 279400 w 2241550"/>
                <a:gd name="connsiteY62" fmla="*/ 2115497 h 2325047"/>
                <a:gd name="connsiteX63" fmla="*/ 298450 w 2241550"/>
                <a:gd name="connsiteY63" fmla="*/ 2134547 h 2325047"/>
                <a:gd name="connsiteX64" fmla="*/ 336550 w 2241550"/>
                <a:gd name="connsiteY64" fmla="*/ 2147247 h 2325047"/>
                <a:gd name="connsiteX65" fmla="*/ 400050 w 2241550"/>
                <a:gd name="connsiteY65" fmla="*/ 2121847 h 2325047"/>
                <a:gd name="connsiteX66" fmla="*/ 419100 w 2241550"/>
                <a:gd name="connsiteY66" fmla="*/ 2134547 h 2325047"/>
                <a:gd name="connsiteX67" fmla="*/ 450850 w 2241550"/>
                <a:gd name="connsiteY67" fmla="*/ 2128197 h 2325047"/>
                <a:gd name="connsiteX68" fmla="*/ 469900 w 2241550"/>
                <a:gd name="connsiteY68" fmla="*/ 2140897 h 2325047"/>
                <a:gd name="connsiteX69" fmla="*/ 495300 w 2241550"/>
                <a:gd name="connsiteY69" fmla="*/ 2229797 h 2325047"/>
                <a:gd name="connsiteX70" fmla="*/ 520700 w 2241550"/>
                <a:gd name="connsiteY70" fmla="*/ 2236147 h 2325047"/>
                <a:gd name="connsiteX71" fmla="*/ 565150 w 2241550"/>
                <a:gd name="connsiteY71" fmla="*/ 2248847 h 2325047"/>
                <a:gd name="connsiteX72" fmla="*/ 558800 w 2241550"/>
                <a:gd name="connsiteY72" fmla="*/ 2274247 h 2325047"/>
                <a:gd name="connsiteX73" fmla="*/ 546100 w 2241550"/>
                <a:gd name="connsiteY73" fmla="*/ 2293297 h 2325047"/>
                <a:gd name="connsiteX74" fmla="*/ 552450 w 2241550"/>
                <a:gd name="connsiteY74" fmla="*/ 2325047 h 2325047"/>
                <a:gd name="connsiteX75" fmla="*/ 603250 w 2241550"/>
                <a:gd name="connsiteY75" fmla="*/ 2299647 h 2325047"/>
                <a:gd name="connsiteX76" fmla="*/ 615950 w 2241550"/>
                <a:gd name="connsiteY76" fmla="*/ 2261547 h 2325047"/>
                <a:gd name="connsiteX77" fmla="*/ 622300 w 2241550"/>
                <a:gd name="connsiteY77" fmla="*/ 2242497 h 2325047"/>
                <a:gd name="connsiteX78" fmla="*/ 635000 w 2241550"/>
                <a:gd name="connsiteY78" fmla="*/ 2223447 h 2325047"/>
                <a:gd name="connsiteX79" fmla="*/ 666750 w 2241550"/>
                <a:gd name="connsiteY79" fmla="*/ 2185347 h 2325047"/>
                <a:gd name="connsiteX80" fmla="*/ 673100 w 2241550"/>
                <a:gd name="connsiteY80" fmla="*/ 2166297 h 2325047"/>
                <a:gd name="connsiteX81" fmla="*/ 679450 w 2241550"/>
                <a:gd name="connsiteY81" fmla="*/ 2109147 h 2325047"/>
                <a:gd name="connsiteX82" fmla="*/ 711200 w 2241550"/>
                <a:gd name="connsiteY82" fmla="*/ 2115497 h 2325047"/>
                <a:gd name="connsiteX83" fmla="*/ 749300 w 2241550"/>
                <a:gd name="connsiteY83" fmla="*/ 2109147 h 2325047"/>
                <a:gd name="connsiteX84" fmla="*/ 774700 w 2241550"/>
                <a:gd name="connsiteY84" fmla="*/ 2115497 h 2325047"/>
                <a:gd name="connsiteX85" fmla="*/ 812800 w 2241550"/>
                <a:gd name="connsiteY85" fmla="*/ 2140897 h 2325047"/>
                <a:gd name="connsiteX86" fmla="*/ 857250 w 2241550"/>
                <a:gd name="connsiteY86" fmla="*/ 2134547 h 2325047"/>
                <a:gd name="connsiteX87" fmla="*/ 876300 w 2241550"/>
                <a:gd name="connsiteY87" fmla="*/ 2128197 h 2325047"/>
                <a:gd name="connsiteX88" fmla="*/ 895350 w 2241550"/>
                <a:gd name="connsiteY88" fmla="*/ 2134547 h 2325047"/>
                <a:gd name="connsiteX89" fmla="*/ 901700 w 2241550"/>
                <a:gd name="connsiteY89" fmla="*/ 2185347 h 2325047"/>
                <a:gd name="connsiteX90" fmla="*/ 920750 w 2241550"/>
                <a:gd name="connsiteY90" fmla="*/ 2204397 h 2325047"/>
                <a:gd name="connsiteX91" fmla="*/ 927100 w 2241550"/>
                <a:gd name="connsiteY91" fmla="*/ 2223447 h 2325047"/>
                <a:gd name="connsiteX92" fmla="*/ 965200 w 2241550"/>
                <a:gd name="connsiteY92" fmla="*/ 2242497 h 2325047"/>
                <a:gd name="connsiteX93" fmla="*/ 1028700 w 2241550"/>
                <a:gd name="connsiteY93" fmla="*/ 2223447 h 2325047"/>
                <a:gd name="connsiteX94" fmla="*/ 1035050 w 2241550"/>
                <a:gd name="connsiteY94" fmla="*/ 2204397 h 2325047"/>
                <a:gd name="connsiteX95" fmla="*/ 1079500 w 2241550"/>
                <a:gd name="connsiteY95" fmla="*/ 2198047 h 2325047"/>
                <a:gd name="connsiteX96" fmla="*/ 1104900 w 2241550"/>
                <a:gd name="connsiteY96" fmla="*/ 2166297 h 2325047"/>
                <a:gd name="connsiteX97" fmla="*/ 1123950 w 2241550"/>
                <a:gd name="connsiteY97" fmla="*/ 2153597 h 2325047"/>
                <a:gd name="connsiteX98" fmla="*/ 1225550 w 2241550"/>
                <a:gd name="connsiteY98" fmla="*/ 2134547 h 2325047"/>
                <a:gd name="connsiteX99" fmla="*/ 1219200 w 2241550"/>
                <a:gd name="connsiteY99" fmla="*/ 2102797 h 2325047"/>
                <a:gd name="connsiteX100" fmla="*/ 1212850 w 2241550"/>
                <a:gd name="connsiteY100" fmla="*/ 2083747 h 2325047"/>
                <a:gd name="connsiteX101" fmla="*/ 1231900 w 2241550"/>
                <a:gd name="connsiteY101" fmla="*/ 2077397 h 2325047"/>
                <a:gd name="connsiteX102" fmla="*/ 1339850 w 2241550"/>
                <a:gd name="connsiteY102" fmla="*/ 2077397 h 2325047"/>
                <a:gd name="connsiteX103" fmla="*/ 1377950 w 2241550"/>
                <a:gd name="connsiteY103" fmla="*/ 2064697 h 2325047"/>
                <a:gd name="connsiteX104" fmla="*/ 1492250 w 2241550"/>
                <a:gd name="connsiteY104" fmla="*/ 2064697 h 2325047"/>
                <a:gd name="connsiteX105" fmla="*/ 1504950 w 2241550"/>
                <a:gd name="connsiteY105" fmla="*/ 2026597 h 2325047"/>
                <a:gd name="connsiteX106" fmla="*/ 1530350 w 2241550"/>
                <a:gd name="connsiteY106" fmla="*/ 1975797 h 2325047"/>
                <a:gd name="connsiteX107" fmla="*/ 1543050 w 2241550"/>
                <a:gd name="connsiteY107" fmla="*/ 1994847 h 2325047"/>
                <a:gd name="connsiteX108" fmla="*/ 1562100 w 2241550"/>
                <a:gd name="connsiteY108" fmla="*/ 2001197 h 2325047"/>
                <a:gd name="connsiteX109" fmla="*/ 1606550 w 2241550"/>
                <a:gd name="connsiteY109" fmla="*/ 2013897 h 2325047"/>
                <a:gd name="connsiteX110" fmla="*/ 1644650 w 2241550"/>
                <a:gd name="connsiteY110" fmla="*/ 2039297 h 2325047"/>
                <a:gd name="connsiteX111" fmla="*/ 1670050 w 2241550"/>
                <a:gd name="connsiteY111" fmla="*/ 2032947 h 2325047"/>
                <a:gd name="connsiteX112" fmla="*/ 1689100 w 2241550"/>
                <a:gd name="connsiteY112" fmla="*/ 2013897 h 2325047"/>
                <a:gd name="connsiteX113" fmla="*/ 1758950 w 2241550"/>
                <a:gd name="connsiteY113" fmla="*/ 2013897 h 2325047"/>
                <a:gd name="connsiteX114" fmla="*/ 1778000 w 2241550"/>
                <a:gd name="connsiteY114" fmla="*/ 2026597 h 2325047"/>
                <a:gd name="connsiteX115" fmla="*/ 1790700 w 2241550"/>
                <a:gd name="connsiteY115" fmla="*/ 2083747 h 2325047"/>
                <a:gd name="connsiteX116" fmla="*/ 1835150 w 2241550"/>
                <a:gd name="connsiteY116" fmla="*/ 2109147 h 2325047"/>
                <a:gd name="connsiteX117" fmla="*/ 1892300 w 2241550"/>
                <a:gd name="connsiteY117" fmla="*/ 2140897 h 2325047"/>
                <a:gd name="connsiteX118" fmla="*/ 1911350 w 2241550"/>
                <a:gd name="connsiteY118" fmla="*/ 2071047 h 2325047"/>
                <a:gd name="connsiteX119" fmla="*/ 1924050 w 2241550"/>
                <a:gd name="connsiteY119" fmla="*/ 2051997 h 2325047"/>
                <a:gd name="connsiteX120" fmla="*/ 1930400 w 2241550"/>
                <a:gd name="connsiteY120" fmla="*/ 2032947 h 2325047"/>
                <a:gd name="connsiteX121" fmla="*/ 1924050 w 2241550"/>
                <a:gd name="connsiteY121" fmla="*/ 1994847 h 2325047"/>
                <a:gd name="connsiteX122" fmla="*/ 1917700 w 2241550"/>
                <a:gd name="connsiteY122" fmla="*/ 1975797 h 2325047"/>
                <a:gd name="connsiteX123" fmla="*/ 1898650 w 2241550"/>
                <a:gd name="connsiteY123" fmla="*/ 1969447 h 2325047"/>
                <a:gd name="connsiteX124" fmla="*/ 1847850 w 2241550"/>
                <a:gd name="connsiteY124" fmla="*/ 1963097 h 2325047"/>
                <a:gd name="connsiteX125" fmla="*/ 1841500 w 2241550"/>
                <a:gd name="connsiteY125" fmla="*/ 1944047 h 2325047"/>
                <a:gd name="connsiteX126" fmla="*/ 1854200 w 2241550"/>
                <a:gd name="connsiteY126" fmla="*/ 1924997 h 2325047"/>
                <a:gd name="connsiteX127" fmla="*/ 1873250 w 2241550"/>
                <a:gd name="connsiteY127" fmla="*/ 1886897 h 2325047"/>
                <a:gd name="connsiteX128" fmla="*/ 1866900 w 2241550"/>
                <a:gd name="connsiteY128" fmla="*/ 1836097 h 2325047"/>
                <a:gd name="connsiteX129" fmla="*/ 1860550 w 2241550"/>
                <a:gd name="connsiteY129" fmla="*/ 1817047 h 2325047"/>
                <a:gd name="connsiteX130" fmla="*/ 1835150 w 2241550"/>
                <a:gd name="connsiteY130" fmla="*/ 1810697 h 2325047"/>
                <a:gd name="connsiteX131" fmla="*/ 1816100 w 2241550"/>
                <a:gd name="connsiteY131" fmla="*/ 1804347 h 2325047"/>
                <a:gd name="connsiteX132" fmla="*/ 1803400 w 2241550"/>
                <a:gd name="connsiteY132" fmla="*/ 1785297 h 2325047"/>
                <a:gd name="connsiteX133" fmla="*/ 1790700 w 2241550"/>
                <a:gd name="connsiteY133" fmla="*/ 1747197 h 2325047"/>
                <a:gd name="connsiteX134" fmla="*/ 1758950 w 2241550"/>
                <a:gd name="connsiteY134" fmla="*/ 1690047 h 2325047"/>
                <a:gd name="connsiteX135" fmla="*/ 1765300 w 2241550"/>
                <a:gd name="connsiteY135" fmla="*/ 1664647 h 2325047"/>
                <a:gd name="connsiteX136" fmla="*/ 1784350 w 2241550"/>
                <a:gd name="connsiteY136" fmla="*/ 1658297 h 2325047"/>
                <a:gd name="connsiteX137" fmla="*/ 1822450 w 2241550"/>
                <a:gd name="connsiteY137" fmla="*/ 1632897 h 2325047"/>
                <a:gd name="connsiteX138" fmla="*/ 1841500 w 2241550"/>
                <a:gd name="connsiteY138" fmla="*/ 1620197 h 2325047"/>
                <a:gd name="connsiteX139" fmla="*/ 1854200 w 2241550"/>
                <a:gd name="connsiteY139" fmla="*/ 1601147 h 2325047"/>
                <a:gd name="connsiteX140" fmla="*/ 1892300 w 2241550"/>
                <a:gd name="connsiteY140" fmla="*/ 1569397 h 2325047"/>
                <a:gd name="connsiteX141" fmla="*/ 1936750 w 2241550"/>
                <a:gd name="connsiteY141" fmla="*/ 1556697 h 2325047"/>
                <a:gd name="connsiteX142" fmla="*/ 1955800 w 2241550"/>
                <a:gd name="connsiteY142" fmla="*/ 1550347 h 2325047"/>
                <a:gd name="connsiteX143" fmla="*/ 2006600 w 2241550"/>
                <a:gd name="connsiteY143" fmla="*/ 1537647 h 2325047"/>
                <a:gd name="connsiteX144" fmla="*/ 2025650 w 2241550"/>
                <a:gd name="connsiteY144" fmla="*/ 1524947 h 2325047"/>
                <a:gd name="connsiteX145" fmla="*/ 2038350 w 2241550"/>
                <a:gd name="connsiteY145" fmla="*/ 1480497 h 2325047"/>
                <a:gd name="connsiteX146" fmla="*/ 2057400 w 2241550"/>
                <a:gd name="connsiteY146" fmla="*/ 1467797 h 2325047"/>
                <a:gd name="connsiteX147" fmla="*/ 2070100 w 2241550"/>
                <a:gd name="connsiteY147" fmla="*/ 1404297 h 2325047"/>
                <a:gd name="connsiteX148" fmla="*/ 2076450 w 2241550"/>
                <a:gd name="connsiteY148" fmla="*/ 1378897 h 2325047"/>
                <a:gd name="connsiteX149" fmla="*/ 2089150 w 2241550"/>
                <a:gd name="connsiteY149" fmla="*/ 1359847 h 2325047"/>
                <a:gd name="connsiteX150" fmla="*/ 2171700 w 2241550"/>
                <a:gd name="connsiteY150" fmla="*/ 1378897 h 2325047"/>
                <a:gd name="connsiteX151" fmla="*/ 2190750 w 2241550"/>
                <a:gd name="connsiteY151" fmla="*/ 1385247 h 2325047"/>
                <a:gd name="connsiteX152" fmla="*/ 2228850 w 2241550"/>
                <a:gd name="connsiteY152" fmla="*/ 1366197 h 2325047"/>
                <a:gd name="connsiteX153" fmla="*/ 2235200 w 2241550"/>
                <a:gd name="connsiteY153" fmla="*/ 1340797 h 2325047"/>
                <a:gd name="connsiteX154" fmla="*/ 2241550 w 2241550"/>
                <a:gd name="connsiteY154" fmla="*/ 1296347 h 2325047"/>
                <a:gd name="connsiteX155" fmla="*/ 2235200 w 2241550"/>
                <a:gd name="connsiteY155" fmla="*/ 1245547 h 2325047"/>
                <a:gd name="connsiteX156" fmla="*/ 2228850 w 2241550"/>
                <a:gd name="connsiteY156" fmla="*/ 1226497 h 2325047"/>
                <a:gd name="connsiteX157" fmla="*/ 2222500 w 2241550"/>
                <a:gd name="connsiteY157" fmla="*/ 1162997 h 2325047"/>
                <a:gd name="connsiteX158" fmla="*/ 2184400 w 2241550"/>
                <a:gd name="connsiteY158" fmla="*/ 1143947 h 2325047"/>
                <a:gd name="connsiteX159" fmla="*/ 2152650 w 2241550"/>
                <a:gd name="connsiteY159" fmla="*/ 1112197 h 2325047"/>
                <a:gd name="connsiteX160" fmla="*/ 2139950 w 2241550"/>
                <a:gd name="connsiteY160" fmla="*/ 1086797 h 2325047"/>
                <a:gd name="connsiteX161" fmla="*/ 2120900 w 2241550"/>
                <a:gd name="connsiteY161" fmla="*/ 1080447 h 2325047"/>
                <a:gd name="connsiteX162" fmla="*/ 2057400 w 2241550"/>
                <a:gd name="connsiteY162" fmla="*/ 1074097 h 2325047"/>
                <a:gd name="connsiteX163" fmla="*/ 2038350 w 2241550"/>
                <a:gd name="connsiteY163" fmla="*/ 1067747 h 2325047"/>
                <a:gd name="connsiteX164" fmla="*/ 2012950 w 2241550"/>
                <a:gd name="connsiteY164" fmla="*/ 1010597 h 2325047"/>
                <a:gd name="connsiteX165" fmla="*/ 1955800 w 2241550"/>
                <a:gd name="connsiteY165" fmla="*/ 978847 h 2325047"/>
                <a:gd name="connsiteX166" fmla="*/ 1917700 w 2241550"/>
                <a:gd name="connsiteY166" fmla="*/ 953447 h 2325047"/>
                <a:gd name="connsiteX167" fmla="*/ 1885950 w 2241550"/>
                <a:gd name="connsiteY167" fmla="*/ 896297 h 2325047"/>
                <a:gd name="connsiteX168" fmla="*/ 1847850 w 2241550"/>
                <a:gd name="connsiteY168" fmla="*/ 870897 h 2325047"/>
                <a:gd name="connsiteX169" fmla="*/ 1828800 w 2241550"/>
                <a:gd name="connsiteY169" fmla="*/ 858197 h 2325047"/>
                <a:gd name="connsiteX170" fmla="*/ 1816100 w 2241550"/>
                <a:gd name="connsiteY170" fmla="*/ 839147 h 2325047"/>
                <a:gd name="connsiteX171" fmla="*/ 1739900 w 2241550"/>
                <a:gd name="connsiteY171" fmla="*/ 813747 h 2325047"/>
                <a:gd name="connsiteX172" fmla="*/ 1708150 w 2241550"/>
                <a:gd name="connsiteY172" fmla="*/ 781997 h 2325047"/>
                <a:gd name="connsiteX173" fmla="*/ 1689100 w 2241550"/>
                <a:gd name="connsiteY173" fmla="*/ 769297 h 2325047"/>
                <a:gd name="connsiteX174" fmla="*/ 1670050 w 2241550"/>
                <a:gd name="connsiteY174" fmla="*/ 731197 h 2325047"/>
                <a:gd name="connsiteX175" fmla="*/ 1663700 w 2241550"/>
                <a:gd name="connsiteY175" fmla="*/ 699447 h 2325047"/>
                <a:gd name="connsiteX176" fmla="*/ 1644650 w 2241550"/>
                <a:gd name="connsiteY176" fmla="*/ 680397 h 2325047"/>
                <a:gd name="connsiteX177" fmla="*/ 1625600 w 2241550"/>
                <a:gd name="connsiteY177" fmla="*/ 642297 h 2325047"/>
                <a:gd name="connsiteX178" fmla="*/ 1619250 w 2241550"/>
                <a:gd name="connsiteY178" fmla="*/ 623247 h 2325047"/>
                <a:gd name="connsiteX179" fmla="*/ 1593850 w 2241550"/>
                <a:gd name="connsiteY179" fmla="*/ 585147 h 2325047"/>
                <a:gd name="connsiteX180" fmla="*/ 1555750 w 2241550"/>
                <a:gd name="connsiteY180" fmla="*/ 547047 h 2325047"/>
                <a:gd name="connsiteX181" fmla="*/ 1562100 w 2241550"/>
                <a:gd name="connsiteY181" fmla="*/ 515297 h 2325047"/>
                <a:gd name="connsiteX182" fmla="*/ 1593850 w 2241550"/>
                <a:gd name="connsiteY182" fmla="*/ 477197 h 2325047"/>
                <a:gd name="connsiteX183" fmla="*/ 1574800 w 2241550"/>
                <a:gd name="connsiteY183" fmla="*/ 400997 h 2325047"/>
                <a:gd name="connsiteX184" fmla="*/ 1555750 w 2241550"/>
                <a:gd name="connsiteY184" fmla="*/ 362897 h 2325047"/>
                <a:gd name="connsiteX185" fmla="*/ 1536700 w 2241550"/>
                <a:gd name="connsiteY185" fmla="*/ 356547 h 2325047"/>
                <a:gd name="connsiteX186" fmla="*/ 1517650 w 2241550"/>
                <a:gd name="connsiteY186" fmla="*/ 343847 h 2325047"/>
                <a:gd name="connsiteX187" fmla="*/ 1498600 w 2241550"/>
                <a:gd name="connsiteY187" fmla="*/ 337497 h 2325047"/>
                <a:gd name="connsiteX188" fmla="*/ 1485900 w 2241550"/>
                <a:gd name="connsiteY188" fmla="*/ 318447 h 2325047"/>
                <a:gd name="connsiteX189" fmla="*/ 1466850 w 2241550"/>
                <a:gd name="connsiteY189" fmla="*/ 299397 h 2325047"/>
                <a:gd name="connsiteX190" fmla="*/ 1460500 w 2241550"/>
                <a:gd name="connsiteY190" fmla="*/ 273997 h 2325047"/>
                <a:gd name="connsiteX191" fmla="*/ 1454150 w 2241550"/>
                <a:gd name="connsiteY191" fmla="*/ 242247 h 2325047"/>
                <a:gd name="connsiteX192" fmla="*/ 1447800 w 2241550"/>
                <a:gd name="connsiteY192" fmla="*/ 223197 h 2325047"/>
                <a:gd name="connsiteX193" fmla="*/ 1416050 w 2241550"/>
                <a:gd name="connsiteY193" fmla="*/ 185097 h 2325047"/>
                <a:gd name="connsiteX194" fmla="*/ 1384300 w 2241550"/>
                <a:gd name="connsiteY194" fmla="*/ 134297 h 2325047"/>
                <a:gd name="connsiteX195" fmla="*/ 1365250 w 2241550"/>
                <a:gd name="connsiteY195" fmla="*/ 127947 h 2325047"/>
                <a:gd name="connsiteX196" fmla="*/ 1358900 w 2241550"/>
                <a:gd name="connsiteY196" fmla="*/ 108897 h 2325047"/>
                <a:gd name="connsiteX197" fmla="*/ 1339850 w 2241550"/>
                <a:gd name="connsiteY197" fmla="*/ 96197 h 2325047"/>
                <a:gd name="connsiteX198" fmla="*/ 1327150 w 2241550"/>
                <a:gd name="connsiteY198" fmla="*/ 77147 h 2325047"/>
                <a:gd name="connsiteX199" fmla="*/ 1308100 w 2241550"/>
                <a:gd name="connsiteY199" fmla="*/ 83497 h 2325047"/>
                <a:gd name="connsiteX200" fmla="*/ 1301750 w 2241550"/>
                <a:gd name="connsiteY200" fmla="*/ 102547 h 2325047"/>
                <a:gd name="connsiteX201" fmla="*/ 1263650 w 2241550"/>
                <a:gd name="connsiteY201" fmla="*/ 115247 h 2325047"/>
                <a:gd name="connsiteX202" fmla="*/ 1231900 w 2241550"/>
                <a:gd name="connsiteY202" fmla="*/ 108897 h 2325047"/>
                <a:gd name="connsiteX203" fmla="*/ 1168400 w 2241550"/>
                <a:gd name="connsiteY203" fmla="*/ 115247 h 2325047"/>
                <a:gd name="connsiteX204" fmla="*/ 1149350 w 2241550"/>
                <a:gd name="connsiteY204" fmla="*/ 102547 h 2325047"/>
                <a:gd name="connsiteX205" fmla="*/ 1130300 w 2241550"/>
                <a:gd name="connsiteY205" fmla="*/ 96197 h 2325047"/>
                <a:gd name="connsiteX206" fmla="*/ 1098550 w 2241550"/>
                <a:gd name="connsiteY206" fmla="*/ 58097 h 2325047"/>
                <a:gd name="connsiteX207" fmla="*/ 1073150 w 2241550"/>
                <a:gd name="connsiteY207" fmla="*/ 13647 h 2325047"/>
                <a:gd name="connsiteX208" fmla="*/ 1028700 w 2241550"/>
                <a:gd name="connsiteY208" fmla="*/ 45397 h 2325047"/>
                <a:gd name="connsiteX209" fmla="*/ 1016000 w 2241550"/>
                <a:gd name="connsiteY209" fmla="*/ 64447 h 2325047"/>
                <a:gd name="connsiteX210" fmla="*/ 1035050 w 2241550"/>
                <a:gd name="connsiteY210" fmla="*/ 102547 h 2325047"/>
                <a:gd name="connsiteX211" fmla="*/ 1041400 w 2241550"/>
                <a:gd name="connsiteY211" fmla="*/ 121597 h 2325047"/>
                <a:gd name="connsiteX212" fmla="*/ 1035050 w 2241550"/>
                <a:gd name="connsiteY212" fmla="*/ 166047 h 2325047"/>
                <a:gd name="connsiteX213" fmla="*/ 996950 w 2241550"/>
                <a:gd name="connsiteY213" fmla="*/ 191447 h 2325047"/>
                <a:gd name="connsiteX214" fmla="*/ 952500 w 2241550"/>
                <a:gd name="connsiteY214" fmla="*/ 146997 h 2325047"/>
                <a:gd name="connsiteX215" fmla="*/ 901700 w 2241550"/>
                <a:gd name="connsiteY215" fmla="*/ 140647 h 2325047"/>
                <a:gd name="connsiteX216" fmla="*/ 882650 w 2241550"/>
                <a:gd name="connsiteY216" fmla="*/ 127947 h 2325047"/>
                <a:gd name="connsiteX217" fmla="*/ 806450 w 2241550"/>
                <a:gd name="connsiteY217" fmla="*/ 127947 h 2325047"/>
                <a:gd name="connsiteX218" fmla="*/ 793750 w 2241550"/>
                <a:gd name="connsiteY218" fmla="*/ 153347 h 2325047"/>
                <a:gd name="connsiteX219" fmla="*/ 831850 w 2241550"/>
                <a:gd name="connsiteY219" fmla="*/ 178747 h 2325047"/>
                <a:gd name="connsiteX220" fmla="*/ 844550 w 2241550"/>
                <a:gd name="connsiteY220" fmla="*/ 197797 h 2325047"/>
                <a:gd name="connsiteX221" fmla="*/ 806450 w 2241550"/>
                <a:gd name="connsiteY221" fmla="*/ 223197 h 2325047"/>
                <a:gd name="connsiteX222" fmla="*/ 774700 w 2241550"/>
                <a:gd name="connsiteY222" fmla="*/ 254947 h 2325047"/>
                <a:gd name="connsiteX223" fmla="*/ 742950 w 2241550"/>
                <a:gd name="connsiteY223" fmla="*/ 248597 h 2325047"/>
                <a:gd name="connsiteX224" fmla="*/ 723900 w 2241550"/>
                <a:gd name="connsiteY224" fmla="*/ 229547 h 2325047"/>
                <a:gd name="connsiteX225" fmla="*/ 730250 w 2241550"/>
                <a:gd name="connsiteY225" fmla="*/ 210497 h 2325047"/>
                <a:gd name="connsiteX226" fmla="*/ 711200 w 2241550"/>
                <a:gd name="connsiteY226" fmla="*/ 166047 h 2325047"/>
                <a:gd name="connsiteX227" fmla="*/ 692150 w 2241550"/>
                <a:gd name="connsiteY227" fmla="*/ 159697 h 2325047"/>
                <a:gd name="connsiteX228" fmla="*/ 654050 w 2241550"/>
                <a:gd name="connsiteY228" fmla="*/ 127947 h 2325047"/>
                <a:gd name="connsiteX229" fmla="*/ 628650 w 2241550"/>
                <a:gd name="connsiteY229" fmla="*/ 89847 h 2325047"/>
                <a:gd name="connsiteX230" fmla="*/ 590550 w 2241550"/>
                <a:gd name="connsiteY230" fmla="*/ 64447 h 2325047"/>
                <a:gd name="connsiteX231" fmla="*/ 571500 w 2241550"/>
                <a:gd name="connsiteY231" fmla="*/ 51747 h 2325047"/>
                <a:gd name="connsiteX232" fmla="*/ 552450 w 2241550"/>
                <a:gd name="connsiteY232" fmla="*/ 32697 h 2325047"/>
                <a:gd name="connsiteX233" fmla="*/ 520700 w 2241550"/>
                <a:gd name="connsiteY233" fmla="*/ 947 h 2325047"/>
                <a:gd name="connsiteX234" fmla="*/ 501650 w 2241550"/>
                <a:gd name="connsiteY234" fmla="*/ 7297 h 2325047"/>
                <a:gd name="connsiteX235" fmla="*/ 488950 w 2241550"/>
                <a:gd name="connsiteY235" fmla="*/ 26347 h 2325047"/>
                <a:gd name="connsiteX236" fmla="*/ 469900 w 2241550"/>
                <a:gd name="connsiteY236" fmla="*/ 39047 h 2325047"/>
                <a:gd name="connsiteX237" fmla="*/ 463550 w 2241550"/>
                <a:gd name="connsiteY237" fmla="*/ 77147 h 2325047"/>
                <a:gd name="connsiteX238" fmla="*/ 444500 w 2241550"/>
                <a:gd name="connsiteY238" fmla="*/ 89847 h 2325047"/>
                <a:gd name="connsiteX239" fmla="*/ 374650 w 2241550"/>
                <a:gd name="connsiteY239" fmla="*/ 108897 h 2325047"/>
                <a:gd name="connsiteX240" fmla="*/ 355600 w 2241550"/>
                <a:gd name="connsiteY240" fmla="*/ 121597 h 2325047"/>
                <a:gd name="connsiteX241" fmla="*/ 342900 w 2241550"/>
                <a:gd name="connsiteY241" fmla="*/ 159697 h 2325047"/>
                <a:gd name="connsiteX242" fmla="*/ 336550 w 2241550"/>
                <a:gd name="connsiteY242" fmla="*/ 178747 h 2325047"/>
                <a:gd name="connsiteX243" fmla="*/ 317500 w 2241550"/>
                <a:gd name="connsiteY243" fmla="*/ 185097 h 2325047"/>
                <a:gd name="connsiteX244" fmla="*/ 292100 w 2241550"/>
                <a:gd name="connsiteY244" fmla="*/ 216847 h 2325047"/>
                <a:gd name="connsiteX245" fmla="*/ 241300 w 2241550"/>
                <a:gd name="connsiteY245" fmla="*/ 242247 h 2325047"/>
                <a:gd name="connsiteX246" fmla="*/ 234950 w 2241550"/>
                <a:gd name="connsiteY246" fmla="*/ 305747 h 2325047"/>
                <a:gd name="connsiteX247" fmla="*/ 222250 w 2241550"/>
                <a:gd name="connsiteY247" fmla="*/ 324797 h 2325047"/>
                <a:gd name="connsiteX248" fmla="*/ 184150 w 2241550"/>
                <a:gd name="connsiteY248" fmla="*/ 318447 h 2325047"/>
                <a:gd name="connsiteX249" fmla="*/ 139700 w 2241550"/>
                <a:gd name="connsiteY249" fmla="*/ 305747 h 2325047"/>
                <a:gd name="connsiteX250" fmla="*/ 95250 w 2241550"/>
                <a:gd name="connsiteY250" fmla="*/ 299397 h 2325047"/>
                <a:gd name="connsiteX251" fmla="*/ 38100 w 2241550"/>
                <a:gd name="connsiteY251" fmla="*/ 305747 h 2325047"/>
                <a:gd name="connsiteX252" fmla="*/ 19050 w 2241550"/>
                <a:gd name="connsiteY252" fmla="*/ 312097 h 2325047"/>
                <a:gd name="connsiteX253" fmla="*/ 0 w 2241550"/>
                <a:gd name="connsiteY253" fmla="*/ 331147 h 2325047"/>
                <a:gd name="connsiteX254" fmla="*/ 6350 w 2241550"/>
                <a:gd name="connsiteY254" fmla="*/ 356547 h 2325047"/>
                <a:gd name="connsiteX255" fmla="*/ 19050 w 2241550"/>
                <a:gd name="connsiteY255" fmla="*/ 375597 h 2325047"/>
                <a:gd name="connsiteX256" fmla="*/ 6350 w 2241550"/>
                <a:gd name="connsiteY256" fmla="*/ 426397 h 2325047"/>
                <a:gd name="connsiteX257" fmla="*/ 19050 w 2241550"/>
                <a:gd name="connsiteY257" fmla="*/ 489897 h 2325047"/>
                <a:gd name="connsiteX258" fmla="*/ 50800 w 2241550"/>
                <a:gd name="connsiteY258" fmla="*/ 527997 h 2325047"/>
                <a:gd name="connsiteX259" fmla="*/ 63500 w 2241550"/>
                <a:gd name="connsiteY259" fmla="*/ 547047 h 2325047"/>
                <a:gd name="connsiteX260" fmla="*/ 57150 w 2241550"/>
                <a:gd name="connsiteY260" fmla="*/ 623247 h 2325047"/>
                <a:gd name="connsiteX261" fmla="*/ 44450 w 2241550"/>
                <a:gd name="connsiteY261" fmla="*/ 674047 h 2325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Lst>
              <a:rect l="l" t="t" r="r" b="b"/>
              <a:pathLst>
                <a:path w="2241550" h="2325047">
                  <a:moveTo>
                    <a:pt x="44450" y="674047"/>
                  </a:moveTo>
                  <a:cubicBezTo>
                    <a:pt x="55033" y="681455"/>
                    <a:pt x="96861" y="676847"/>
                    <a:pt x="120650" y="667697"/>
                  </a:cubicBezTo>
                  <a:cubicBezTo>
                    <a:pt x="128796" y="664564"/>
                    <a:pt x="121548" y="649112"/>
                    <a:pt x="127000" y="642297"/>
                  </a:cubicBezTo>
                  <a:cubicBezTo>
                    <a:pt x="131181" y="637070"/>
                    <a:pt x="139700" y="638064"/>
                    <a:pt x="146050" y="635947"/>
                  </a:cubicBezTo>
                  <a:cubicBezTo>
                    <a:pt x="154517" y="638064"/>
                    <a:pt x="163347" y="645538"/>
                    <a:pt x="171450" y="642297"/>
                  </a:cubicBezTo>
                  <a:cubicBezTo>
                    <a:pt x="177665" y="639811"/>
                    <a:pt x="178900" y="629849"/>
                    <a:pt x="177800" y="623247"/>
                  </a:cubicBezTo>
                  <a:cubicBezTo>
                    <a:pt x="176545" y="615719"/>
                    <a:pt x="168513" y="611023"/>
                    <a:pt x="165100" y="604197"/>
                  </a:cubicBezTo>
                  <a:cubicBezTo>
                    <a:pt x="146720" y="567438"/>
                    <a:pt x="175812" y="602209"/>
                    <a:pt x="139700" y="566097"/>
                  </a:cubicBezTo>
                  <a:cubicBezTo>
                    <a:pt x="155254" y="555728"/>
                    <a:pt x="163648" y="547047"/>
                    <a:pt x="184150" y="547047"/>
                  </a:cubicBezTo>
                  <a:cubicBezTo>
                    <a:pt x="190843" y="547047"/>
                    <a:pt x="196850" y="551280"/>
                    <a:pt x="203200" y="553397"/>
                  </a:cubicBezTo>
                  <a:cubicBezTo>
                    <a:pt x="209550" y="557630"/>
                    <a:pt x="214618" y="566097"/>
                    <a:pt x="222250" y="566097"/>
                  </a:cubicBezTo>
                  <a:cubicBezTo>
                    <a:pt x="229882" y="566097"/>
                    <a:pt x="234060" y="555810"/>
                    <a:pt x="241300" y="553397"/>
                  </a:cubicBezTo>
                  <a:cubicBezTo>
                    <a:pt x="253514" y="549326"/>
                    <a:pt x="266700" y="549164"/>
                    <a:pt x="279400" y="547047"/>
                  </a:cubicBezTo>
                  <a:cubicBezTo>
                    <a:pt x="283633" y="553397"/>
                    <a:pt x="289687" y="558857"/>
                    <a:pt x="292100" y="566097"/>
                  </a:cubicBezTo>
                  <a:cubicBezTo>
                    <a:pt x="296171" y="578311"/>
                    <a:pt x="287973" y="596713"/>
                    <a:pt x="298450" y="604197"/>
                  </a:cubicBezTo>
                  <a:cubicBezTo>
                    <a:pt x="302487" y="607080"/>
                    <a:pt x="352984" y="593739"/>
                    <a:pt x="361950" y="591497"/>
                  </a:cubicBezTo>
                  <a:cubicBezTo>
                    <a:pt x="368300" y="593614"/>
                    <a:pt x="377109" y="592400"/>
                    <a:pt x="381000" y="597847"/>
                  </a:cubicBezTo>
                  <a:cubicBezTo>
                    <a:pt x="388781" y="608740"/>
                    <a:pt x="389467" y="623247"/>
                    <a:pt x="393700" y="635947"/>
                  </a:cubicBezTo>
                  <a:cubicBezTo>
                    <a:pt x="396113" y="643187"/>
                    <a:pt x="402167" y="648647"/>
                    <a:pt x="406400" y="654997"/>
                  </a:cubicBezTo>
                  <a:cubicBezTo>
                    <a:pt x="408517" y="671930"/>
                    <a:pt x="409945" y="688964"/>
                    <a:pt x="412750" y="705797"/>
                  </a:cubicBezTo>
                  <a:cubicBezTo>
                    <a:pt x="415665" y="723285"/>
                    <a:pt x="418882" y="737329"/>
                    <a:pt x="431800" y="750247"/>
                  </a:cubicBezTo>
                  <a:cubicBezTo>
                    <a:pt x="437196" y="755643"/>
                    <a:pt x="444500" y="758714"/>
                    <a:pt x="450850" y="762947"/>
                  </a:cubicBezTo>
                  <a:cubicBezTo>
                    <a:pt x="494519" y="733834"/>
                    <a:pt x="474470" y="732720"/>
                    <a:pt x="508000" y="743897"/>
                  </a:cubicBezTo>
                  <a:cubicBezTo>
                    <a:pt x="534351" y="849299"/>
                    <a:pt x="511644" y="744526"/>
                    <a:pt x="527050" y="921697"/>
                  </a:cubicBezTo>
                  <a:cubicBezTo>
                    <a:pt x="528727" y="940977"/>
                    <a:pt x="551351" y="967673"/>
                    <a:pt x="558800" y="978847"/>
                  </a:cubicBezTo>
                  <a:cubicBezTo>
                    <a:pt x="595196" y="1033442"/>
                    <a:pt x="551560" y="964367"/>
                    <a:pt x="577850" y="1016947"/>
                  </a:cubicBezTo>
                  <a:cubicBezTo>
                    <a:pt x="609736" y="1080720"/>
                    <a:pt x="569852" y="983469"/>
                    <a:pt x="603250" y="1061397"/>
                  </a:cubicBezTo>
                  <a:cubicBezTo>
                    <a:pt x="610997" y="1079473"/>
                    <a:pt x="607046" y="1084243"/>
                    <a:pt x="622300" y="1099497"/>
                  </a:cubicBezTo>
                  <a:cubicBezTo>
                    <a:pt x="627696" y="1104893"/>
                    <a:pt x="635000" y="1107964"/>
                    <a:pt x="641350" y="1112197"/>
                  </a:cubicBezTo>
                  <a:cubicBezTo>
                    <a:pt x="645583" y="1118547"/>
                    <a:pt x="650637" y="1124421"/>
                    <a:pt x="654050" y="1131247"/>
                  </a:cubicBezTo>
                  <a:cubicBezTo>
                    <a:pt x="664805" y="1152758"/>
                    <a:pt x="664403" y="1188668"/>
                    <a:pt x="666750" y="1207447"/>
                  </a:cubicBezTo>
                  <a:cubicBezTo>
                    <a:pt x="668606" y="1222299"/>
                    <a:pt x="669735" y="1237313"/>
                    <a:pt x="673100" y="1251897"/>
                  </a:cubicBezTo>
                  <a:cubicBezTo>
                    <a:pt x="681101" y="1286569"/>
                    <a:pt x="682429" y="1284940"/>
                    <a:pt x="698500" y="1309047"/>
                  </a:cubicBezTo>
                  <a:cubicBezTo>
                    <a:pt x="692150" y="1313280"/>
                    <a:pt x="686424" y="1318647"/>
                    <a:pt x="679450" y="1321747"/>
                  </a:cubicBezTo>
                  <a:cubicBezTo>
                    <a:pt x="667217" y="1327184"/>
                    <a:pt x="641350" y="1334447"/>
                    <a:pt x="641350" y="1334447"/>
                  </a:cubicBezTo>
                  <a:cubicBezTo>
                    <a:pt x="620429" y="1320500"/>
                    <a:pt x="614911" y="1310548"/>
                    <a:pt x="584200" y="1328097"/>
                  </a:cubicBezTo>
                  <a:cubicBezTo>
                    <a:pt x="578388" y="1331418"/>
                    <a:pt x="579967" y="1340797"/>
                    <a:pt x="577850" y="1347147"/>
                  </a:cubicBezTo>
                  <a:lnTo>
                    <a:pt x="596900" y="1404297"/>
                  </a:lnTo>
                  <a:lnTo>
                    <a:pt x="603250" y="1423347"/>
                  </a:lnTo>
                  <a:cubicBezTo>
                    <a:pt x="599017" y="1429697"/>
                    <a:pt x="596900" y="1438164"/>
                    <a:pt x="590550" y="1442397"/>
                  </a:cubicBezTo>
                  <a:cubicBezTo>
                    <a:pt x="583288" y="1447238"/>
                    <a:pt x="573509" y="1446239"/>
                    <a:pt x="565150" y="1448747"/>
                  </a:cubicBezTo>
                  <a:cubicBezTo>
                    <a:pt x="552328" y="1452594"/>
                    <a:pt x="539750" y="1457214"/>
                    <a:pt x="527050" y="1461447"/>
                  </a:cubicBezTo>
                  <a:lnTo>
                    <a:pt x="508000" y="1467797"/>
                  </a:lnTo>
                  <a:lnTo>
                    <a:pt x="488950" y="1474147"/>
                  </a:lnTo>
                  <a:cubicBezTo>
                    <a:pt x="484717" y="1480497"/>
                    <a:pt x="479663" y="1486371"/>
                    <a:pt x="476250" y="1493197"/>
                  </a:cubicBezTo>
                  <a:cubicBezTo>
                    <a:pt x="469741" y="1506214"/>
                    <a:pt x="465965" y="1531921"/>
                    <a:pt x="463550" y="1543997"/>
                  </a:cubicBezTo>
                  <a:cubicBezTo>
                    <a:pt x="465667" y="1552464"/>
                    <a:pt x="467502" y="1561006"/>
                    <a:pt x="469900" y="1569397"/>
                  </a:cubicBezTo>
                  <a:cubicBezTo>
                    <a:pt x="471739" y="1575833"/>
                    <a:pt x="474489" y="1581989"/>
                    <a:pt x="476250" y="1588447"/>
                  </a:cubicBezTo>
                  <a:cubicBezTo>
                    <a:pt x="480843" y="1605286"/>
                    <a:pt x="483430" y="1622688"/>
                    <a:pt x="488950" y="1639247"/>
                  </a:cubicBezTo>
                  <a:cubicBezTo>
                    <a:pt x="491067" y="1645597"/>
                    <a:pt x="493539" y="1651839"/>
                    <a:pt x="495300" y="1658297"/>
                  </a:cubicBezTo>
                  <a:cubicBezTo>
                    <a:pt x="499893" y="1675136"/>
                    <a:pt x="502480" y="1692538"/>
                    <a:pt x="508000" y="1709097"/>
                  </a:cubicBezTo>
                  <a:cubicBezTo>
                    <a:pt x="510117" y="1715447"/>
                    <a:pt x="511357" y="1722160"/>
                    <a:pt x="514350" y="1728147"/>
                  </a:cubicBezTo>
                  <a:cubicBezTo>
                    <a:pt x="517763" y="1734973"/>
                    <a:pt x="522817" y="1740847"/>
                    <a:pt x="527050" y="1747197"/>
                  </a:cubicBezTo>
                  <a:cubicBezTo>
                    <a:pt x="524933" y="1759897"/>
                    <a:pt x="523493" y="1772728"/>
                    <a:pt x="520700" y="1785297"/>
                  </a:cubicBezTo>
                  <a:cubicBezTo>
                    <a:pt x="519248" y="1791831"/>
                    <a:pt x="516189" y="1797911"/>
                    <a:pt x="514350" y="1804347"/>
                  </a:cubicBezTo>
                  <a:cubicBezTo>
                    <a:pt x="511952" y="1812738"/>
                    <a:pt x="510117" y="1821280"/>
                    <a:pt x="508000" y="1829747"/>
                  </a:cubicBezTo>
                  <a:cubicBezTo>
                    <a:pt x="505883" y="1886897"/>
                    <a:pt x="507341" y="1944292"/>
                    <a:pt x="501650" y="2001197"/>
                  </a:cubicBezTo>
                  <a:cubicBezTo>
                    <a:pt x="500891" y="2008791"/>
                    <a:pt x="492363" y="2013421"/>
                    <a:pt x="488950" y="2020247"/>
                  </a:cubicBezTo>
                  <a:cubicBezTo>
                    <a:pt x="485957" y="2026234"/>
                    <a:pt x="488047" y="2035406"/>
                    <a:pt x="482600" y="2039297"/>
                  </a:cubicBezTo>
                  <a:cubicBezTo>
                    <a:pt x="457923" y="2056923"/>
                    <a:pt x="386247" y="2056851"/>
                    <a:pt x="368300" y="2058347"/>
                  </a:cubicBezTo>
                  <a:cubicBezTo>
                    <a:pt x="361950" y="2060464"/>
                    <a:pt x="355237" y="2061704"/>
                    <a:pt x="349250" y="2064697"/>
                  </a:cubicBezTo>
                  <a:cubicBezTo>
                    <a:pt x="300011" y="2089316"/>
                    <a:pt x="359033" y="2067786"/>
                    <a:pt x="311150" y="2083747"/>
                  </a:cubicBezTo>
                  <a:cubicBezTo>
                    <a:pt x="304800" y="2087980"/>
                    <a:pt x="277283" y="2102797"/>
                    <a:pt x="279400" y="2115497"/>
                  </a:cubicBezTo>
                  <a:cubicBezTo>
                    <a:pt x="280876" y="2124355"/>
                    <a:pt x="290600" y="2130186"/>
                    <a:pt x="298450" y="2134547"/>
                  </a:cubicBezTo>
                  <a:cubicBezTo>
                    <a:pt x="310152" y="2141048"/>
                    <a:pt x="336550" y="2147247"/>
                    <a:pt x="336550" y="2147247"/>
                  </a:cubicBezTo>
                  <a:cubicBezTo>
                    <a:pt x="377767" y="2106030"/>
                    <a:pt x="360470" y="2099230"/>
                    <a:pt x="400050" y="2121847"/>
                  </a:cubicBezTo>
                  <a:cubicBezTo>
                    <a:pt x="406676" y="2125633"/>
                    <a:pt x="412750" y="2130314"/>
                    <a:pt x="419100" y="2134547"/>
                  </a:cubicBezTo>
                  <a:cubicBezTo>
                    <a:pt x="429683" y="2132430"/>
                    <a:pt x="440140" y="2126858"/>
                    <a:pt x="450850" y="2128197"/>
                  </a:cubicBezTo>
                  <a:cubicBezTo>
                    <a:pt x="458423" y="2129144"/>
                    <a:pt x="465855" y="2134425"/>
                    <a:pt x="469900" y="2140897"/>
                  </a:cubicBezTo>
                  <a:cubicBezTo>
                    <a:pt x="477491" y="2153043"/>
                    <a:pt x="493211" y="2221439"/>
                    <a:pt x="495300" y="2229797"/>
                  </a:cubicBezTo>
                  <a:cubicBezTo>
                    <a:pt x="497417" y="2238264"/>
                    <a:pt x="512233" y="2234030"/>
                    <a:pt x="520700" y="2236147"/>
                  </a:cubicBezTo>
                  <a:cubicBezTo>
                    <a:pt x="567079" y="2220687"/>
                    <a:pt x="555553" y="2210460"/>
                    <a:pt x="565150" y="2248847"/>
                  </a:cubicBezTo>
                  <a:cubicBezTo>
                    <a:pt x="563033" y="2257314"/>
                    <a:pt x="562238" y="2266225"/>
                    <a:pt x="558800" y="2274247"/>
                  </a:cubicBezTo>
                  <a:cubicBezTo>
                    <a:pt x="555794" y="2281262"/>
                    <a:pt x="547047" y="2285724"/>
                    <a:pt x="546100" y="2293297"/>
                  </a:cubicBezTo>
                  <a:cubicBezTo>
                    <a:pt x="544761" y="2304007"/>
                    <a:pt x="550333" y="2314464"/>
                    <a:pt x="552450" y="2325047"/>
                  </a:cubicBezTo>
                  <a:cubicBezTo>
                    <a:pt x="576972" y="2320143"/>
                    <a:pt x="589909" y="2323661"/>
                    <a:pt x="603250" y="2299647"/>
                  </a:cubicBezTo>
                  <a:cubicBezTo>
                    <a:pt x="609751" y="2287945"/>
                    <a:pt x="611717" y="2274247"/>
                    <a:pt x="615950" y="2261547"/>
                  </a:cubicBezTo>
                  <a:cubicBezTo>
                    <a:pt x="618067" y="2255197"/>
                    <a:pt x="618587" y="2248066"/>
                    <a:pt x="622300" y="2242497"/>
                  </a:cubicBezTo>
                  <a:cubicBezTo>
                    <a:pt x="626533" y="2236147"/>
                    <a:pt x="630114" y="2229310"/>
                    <a:pt x="635000" y="2223447"/>
                  </a:cubicBezTo>
                  <a:cubicBezTo>
                    <a:pt x="652555" y="2202381"/>
                    <a:pt x="654926" y="2208996"/>
                    <a:pt x="666750" y="2185347"/>
                  </a:cubicBezTo>
                  <a:cubicBezTo>
                    <a:pt x="669743" y="2179360"/>
                    <a:pt x="670983" y="2172647"/>
                    <a:pt x="673100" y="2166297"/>
                  </a:cubicBezTo>
                  <a:cubicBezTo>
                    <a:pt x="675217" y="2147247"/>
                    <a:pt x="667950" y="2124481"/>
                    <a:pt x="679450" y="2109147"/>
                  </a:cubicBezTo>
                  <a:cubicBezTo>
                    <a:pt x="685926" y="2100513"/>
                    <a:pt x="700407" y="2115497"/>
                    <a:pt x="711200" y="2115497"/>
                  </a:cubicBezTo>
                  <a:cubicBezTo>
                    <a:pt x="724075" y="2115497"/>
                    <a:pt x="736600" y="2111264"/>
                    <a:pt x="749300" y="2109147"/>
                  </a:cubicBezTo>
                  <a:cubicBezTo>
                    <a:pt x="757767" y="2111264"/>
                    <a:pt x="766894" y="2111594"/>
                    <a:pt x="774700" y="2115497"/>
                  </a:cubicBezTo>
                  <a:cubicBezTo>
                    <a:pt x="788352" y="2122323"/>
                    <a:pt x="812800" y="2140897"/>
                    <a:pt x="812800" y="2140897"/>
                  </a:cubicBezTo>
                  <a:cubicBezTo>
                    <a:pt x="827617" y="2138780"/>
                    <a:pt x="842574" y="2137482"/>
                    <a:pt x="857250" y="2134547"/>
                  </a:cubicBezTo>
                  <a:cubicBezTo>
                    <a:pt x="863814" y="2133234"/>
                    <a:pt x="869607" y="2128197"/>
                    <a:pt x="876300" y="2128197"/>
                  </a:cubicBezTo>
                  <a:cubicBezTo>
                    <a:pt x="882993" y="2128197"/>
                    <a:pt x="889000" y="2132430"/>
                    <a:pt x="895350" y="2134547"/>
                  </a:cubicBezTo>
                  <a:cubicBezTo>
                    <a:pt x="897467" y="2151480"/>
                    <a:pt x="895868" y="2169309"/>
                    <a:pt x="901700" y="2185347"/>
                  </a:cubicBezTo>
                  <a:cubicBezTo>
                    <a:pt x="904769" y="2193787"/>
                    <a:pt x="915769" y="2196925"/>
                    <a:pt x="920750" y="2204397"/>
                  </a:cubicBezTo>
                  <a:cubicBezTo>
                    <a:pt x="924463" y="2209966"/>
                    <a:pt x="922919" y="2218220"/>
                    <a:pt x="927100" y="2223447"/>
                  </a:cubicBezTo>
                  <a:cubicBezTo>
                    <a:pt x="936052" y="2234638"/>
                    <a:pt x="952651" y="2238314"/>
                    <a:pt x="965200" y="2242497"/>
                  </a:cubicBezTo>
                  <a:cubicBezTo>
                    <a:pt x="984653" y="2239718"/>
                    <a:pt x="1013795" y="2242078"/>
                    <a:pt x="1028700" y="2223447"/>
                  </a:cubicBezTo>
                  <a:cubicBezTo>
                    <a:pt x="1032881" y="2218220"/>
                    <a:pt x="1029063" y="2207390"/>
                    <a:pt x="1035050" y="2204397"/>
                  </a:cubicBezTo>
                  <a:cubicBezTo>
                    <a:pt x="1048437" y="2197704"/>
                    <a:pt x="1064683" y="2200164"/>
                    <a:pt x="1079500" y="2198047"/>
                  </a:cubicBezTo>
                  <a:cubicBezTo>
                    <a:pt x="1134095" y="2161651"/>
                    <a:pt x="1069847" y="2210114"/>
                    <a:pt x="1104900" y="2166297"/>
                  </a:cubicBezTo>
                  <a:cubicBezTo>
                    <a:pt x="1109668" y="2160338"/>
                    <a:pt x="1116976" y="2156697"/>
                    <a:pt x="1123950" y="2153597"/>
                  </a:cubicBezTo>
                  <a:cubicBezTo>
                    <a:pt x="1163430" y="2136050"/>
                    <a:pt x="1178603" y="2139242"/>
                    <a:pt x="1225550" y="2134547"/>
                  </a:cubicBezTo>
                  <a:cubicBezTo>
                    <a:pt x="1223433" y="2123964"/>
                    <a:pt x="1221818" y="2113268"/>
                    <a:pt x="1219200" y="2102797"/>
                  </a:cubicBezTo>
                  <a:cubicBezTo>
                    <a:pt x="1217577" y="2096303"/>
                    <a:pt x="1209857" y="2089734"/>
                    <a:pt x="1212850" y="2083747"/>
                  </a:cubicBezTo>
                  <a:cubicBezTo>
                    <a:pt x="1215843" y="2077760"/>
                    <a:pt x="1225550" y="2079514"/>
                    <a:pt x="1231900" y="2077397"/>
                  </a:cubicBezTo>
                  <a:cubicBezTo>
                    <a:pt x="1282799" y="2084668"/>
                    <a:pt x="1282221" y="2088202"/>
                    <a:pt x="1339850" y="2077397"/>
                  </a:cubicBezTo>
                  <a:cubicBezTo>
                    <a:pt x="1353008" y="2074930"/>
                    <a:pt x="1377950" y="2064697"/>
                    <a:pt x="1377950" y="2064697"/>
                  </a:cubicBezTo>
                  <a:cubicBezTo>
                    <a:pt x="1405803" y="2068179"/>
                    <a:pt x="1466686" y="2079610"/>
                    <a:pt x="1492250" y="2064697"/>
                  </a:cubicBezTo>
                  <a:cubicBezTo>
                    <a:pt x="1503813" y="2057952"/>
                    <a:pt x="1502749" y="2039802"/>
                    <a:pt x="1504950" y="2026597"/>
                  </a:cubicBezTo>
                  <a:cubicBezTo>
                    <a:pt x="1512555" y="1980969"/>
                    <a:pt x="1500587" y="1995639"/>
                    <a:pt x="1530350" y="1975797"/>
                  </a:cubicBezTo>
                  <a:cubicBezTo>
                    <a:pt x="1534583" y="1982147"/>
                    <a:pt x="1537091" y="1990079"/>
                    <a:pt x="1543050" y="1994847"/>
                  </a:cubicBezTo>
                  <a:cubicBezTo>
                    <a:pt x="1548277" y="1999028"/>
                    <a:pt x="1555664" y="1999358"/>
                    <a:pt x="1562100" y="2001197"/>
                  </a:cubicBezTo>
                  <a:cubicBezTo>
                    <a:pt x="1617914" y="2017144"/>
                    <a:pt x="1560875" y="1998672"/>
                    <a:pt x="1606550" y="2013897"/>
                  </a:cubicBezTo>
                  <a:cubicBezTo>
                    <a:pt x="1618004" y="2025351"/>
                    <a:pt x="1626270" y="2039297"/>
                    <a:pt x="1644650" y="2039297"/>
                  </a:cubicBezTo>
                  <a:cubicBezTo>
                    <a:pt x="1653377" y="2039297"/>
                    <a:pt x="1661583" y="2035064"/>
                    <a:pt x="1670050" y="2032947"/>
                  </a:cubicBezTo>
                  <a:cubicBezTo>
                    <a:pt x="1676400" y="2026597"/>
                    <a:pt x="1681628" y="2018878"/>
                    <a:pt x="1689100" y="2013897"/>
                  </a:cubicBezTo>
                  <a:cubicBezTo>
                    <a:pt x="1709502" y="2000296"/>
                    <a:pt x="1739337" y="2011445"/>
                    <a:pt x="1758950" y="2013897"/>
                  </a:cubicBezTo>
                  <a:cubicBezTo>
                    <a:pt x="1765300" y="2018130"/>
                    <a:pt x="1773232" y="2020638"/>
                    <a:pt x="1778000" y="2026597"/>
                  </a:cubicBezTo>
                  <a:cubicBezTo>
                    <a:pt x="1784762" y="2035050"/>
                    <a:pt x="1790288" y="2082924"/>
                    <a:pt x="1790700" y="2083747"/>
                  </a:cubicBezTo>
                  <a:cubicBezTo>
                    <a:pt x="1793838" y="2090023"/>
                    <a:pt x="1832430" y="2107515"/>
                    <a:pt x="1835150" y="2109147"/>
                  </a:cubicBezTo>
                  <a:cubicBezTo>
                    <a:pt x="1889737" y="2141899"/>
                    <a:pt x="1853982" y="2128124"/>
                    <a:pt x="1892300" y="2140897"/>
                  </a:cubicBezTo>
                  <a:cubicBezTo>
                    <a:pt x="1920992" y="2097859"/>
                    <a:pt x="1889460" y="2151310"/>
                    <a:pt x="1911350" y="2071047"/>
                  </a:cubicBezTo>
                  <a:cubicBezTo>
                    <a:pt x="1913358" y="2063684"/>
                    <a:pt x="1920637" y="2058823"/>
                    <a:pt x="1924050" y="2051997"/>
                  </a:cubicBezTo>
                  <a:cubicBezTo>
                    <a:pt x="1927043" y="2046010"/>
                    <a:pt x="1928283" y="2039297"/>
                    <a:pt x="1930400" y="2032947"/>
                  </a:cubicBezTo>
                  <a:cubicBezTo>
                    <a:pt x="1928283" y="2020247"/>
                    <a:pt x="1926843" y="2007416"/>
                    <a:pt x="1924050" y="1994847"/>
                  </a:cubicBezTo>
                  <a:cubicBezTo>
                    <a:pt x="1922598" y="1988313"/>
                    <a:pt x="1922433" y="1980530"/>
                    <a:pt x="1917700" y="1975797"/>
                  </a:cubicBezTo>
                  <a:cubicBezTo>
                    <a:pt x="1912967" y="1971064"/>
                    <a:pt x="1905236" y="1970644"/>
                    <a:pt x="1898650" y="1969447"/>
                  </a:cubicBezTo>
                  <a:cubicBezTo>
                    <a:pt x="1881860" y="1966394"/>
                    <a:pt x="1864783" y="1965214"/>
                    <a:pt x="1847850" y="1963097"/>
                  </a:cubicBezTo>
                  <a:cubicBezTo>
                    <a:pt x="1845733" y="1956747"/>
                    <a:pt x="1840400" y="1950649"/>
                    <a:pt x="1841500" y="1944047"/>
                  </a:cubicBezTo>
                  <a:cubicBezTo>
                    <a:pt x="1842755" y="1936519"/>
                    <a:pt x="1850787" y="1931823"/>
                    <a:pt x="1854200" y="1924997"/>
                  </a:cubicBezTo>
                  <a:cubicBezTo>
                    <a:pt x="1880490" y="1872417"/>
                    <a:pt x="1836854" y="1941492"/>
                    <a:pt x="1873250" y="1886897"/>
                  </a:cubicBezTo>
                  <a:cubicBezTo>
                    <a:pt x="1871133" y="1869964"/>
                    <a:pt x="1869953" y="1852887"/>
                    <a:pt x="1866900" y="1836097"/>
                  </a:cubicBezTo>
                  <a:cubicBezTo>
                    <a:pt x="1865703" y="1829511"/>
                    <a:pt x="1865777" y="1821228"/>
                    <a:pt x="1860550" y="1817047"/>
                  </a:cubicBezTo>
                  <a:cubicBezTo>
                    <a:pt x="1853735" y="1811595"/>
                    <a:pt x="1843541" y="1813095"/>
                    <a:pt x="1835150" y="1810697"/>
                  </a:cubicBezTo>
                  <a:cubicBezTo>
                    <a:pt x="1828714" y="1808858"/>
                    <a:pt x="1822450" y="1806464"/>
                    <a:pt x="1816100" y="1804347"/>
                  </a:cubicBezTo>
                  <a:cubicBezTo>
                    <a:pt x="1811867" y="1797997"/>
                    <a:pt x="1806500" y="1792271"/>
                    <a:pt x="1803400" y="1785297"/>
                  </a:cubicBezTo>
                  <a:cubicBezTo>
                    <a:pt x="1797963" y="1773064"/>
                    <a:pt x="1798126" y="1758336"/>
                    <a:pt x="1790700" y="1747197"/>
                  </a:cubicBezTo>
                  <a:cubicBezTo>
                    <a:pt x="1761587" y="1703528"/>
                    <a:pt x="1770127" y="1723577"/>
                    <a:pt x="1758950" y="1690047"/>
                  </a:cubicBezTo>
                  <a:cubicBezTo>
                    <a:pt x="1761067" y="1681580"/>
                    <a:pt x="1759848" y="1671462"/>
                    <a:pt x="1765300" y="1664647"/>
                  </a:cubicBezTo>
                  <a:cubicBezTo>
                    <a:pt x="1769481" y="1659420"/>
                    <a:pt x="1778499" y="1661548"/>
                    <a:pt x="1784350" y="1658297"/>
                  </a:cubicBezTo>
                  <a:cubicBezTo>
                    <a:pt x="1797693" y="1650884"/>
                    <a:pt x="1809750" y="1641364"/>
                    <a:pt x="1822450" y="1632897"/>
                  </a:cubicBezTo>
                  <a:lnTo>
                    <a:pt x="1841500" y="1620197"/>
                  </a:lnTo>
                  <a:cubicBezTo>
                    <a:pt x="1845733" y="1613847"/>
                    <a:pt x="1849314" y="1607010"/>
                    <a:pt x="1854200" y="1601147"/>
                  </a:cubicBezTo>
                  <a:cubicBezTo>
                    <a:pt x="1864231" y="1589110"/>
                    <a:pt x="1878029" y="1576533"/>
                    <a:pt x="1892300" y="1569397"/>
                  </a:cubicBezTo>
                  <a:cubicBezTo>
                    <a:pt x="1902450" y="1564322"/>
                    <a:pt x="1927255" y="1559410"/>
                    <a:pt x="1936750" y="1556697"/>
                  </a:cubicBezTo>
                  <a:cubicBezTo>
                    <a:pt x="1943186" y="1554858"/>
                    <a:pt x="1949306" y="1551970"/>
                    <a:pt x="1955800" y="1550347"/>
                  </a:cubicBezTo>
                  <a:lnTo>
                    <a:pt x="2006600" y="1537647"/>
                  </a:lnTo>
                  <a:cubicBezTo>
                    <a:pt x="2012950" y="1533414"/>
                    <a:pt x="2020882" y="1530906"/>
                    <a:pt x="2025650" y="1524947"/>
                  </a:cubicBezTo>
                  <a:cubicBezTo>
                    <a:pt x="2032144" y="1516829"/>
                    <a:pt x="2033787" y="1487342"/>
                    <a:pt x="2038350" y="1480497"/>
                  </a:cubicBezTo>
                  <a:cubicBezTo>
                    <a:pt x="2042583" y="1474147"/>
                    <a:pt x="2051050" y="1472030"/>
                    <a:pt x="2057400" y="1467797"/>
                  </a:cubicBezTo>
                  <a:cubicBezTo>
                    <a:pt x="2072149" y="1408799"/>
                    <a:pt x="2054531" y="1482144"/>
                    <a:pt x="2070100" y="1404297"/>
                  </a:cubicBezTo>
                  <a:cubicBezTo>
                    <a:pt x="2071812" y="1395739"/>
                    <a:pt x="2073012" y="1386919"/>
                    <a:pt x="2076450" y="1378897"/>
                  </a:cubicBezTo>
                  <a:cubicBezTo>
                    <a:pt x="2079456" y="1371882"/>
                    <a:pt x="2084917" y="1366197"/>
                    <a:pt x="2089150" y="1359847"/>
                  </a:cubicBezTo>
                  <a:cubicBezTo>
                    <a:pt x="2146852" y="1368090"/>
                    <a:pt x="2119401" y="1361464"/>
                    <a:pt x="2171700" y="1378897"/>
                  </a:cubicBezTo>
                  <a:lnTo>
                    <a:pt x="2190750" y="1385247"/>
                  </a:lnTo>
                  <a:cubicBezTo>
                    <a:pt x="2201617" y="1381625"/>
                    <a:pt x="2221816" y="1376748"/>
                    <a:pt x="2228850" y="1366197"/>
                  </a:cubicBezTo>
                  <a:cubicBezTo>
                    <a:pt x="2233691" y="1358935"/>
                    <a:pt x="2233639" y="1349383"/>
                    <a:pt x="2235200" y="1340797"/>
                  </a:cubicBezTo>
                  <a:cubicBezTo>
                    <a:pt x="2237877" y="1326071"/>
                    <a:pt x="2239433" y="1311164"/>
                    <a:pt x="2241550" y="1296347"/>
                  </a:cubicBezTo>
                  <a:cubicBezTo>
                    <a:pt x="2239433" y="1279414"/>
                    <a:pt x="2238253" y="1262337"/>
                    <a:pt x="2235200" y="1245547"/>
                  </a:cubicBezTo>
                  <a:cubicBezTo>
                    <a:pt x="2234003" y="1238961"/>
                    <a:pt x="2229868" y="1233113"/>
                    <a:pt x="2228850" y="1226497"/>
                  </a:cubicBezTo>
                  <a:cubicBezTo>
                    <a:pt x="2225615" y="1205472"/>
                    <a:pt x="2229227" y="1183178"/>
                    <a:pt x="2222500" y="1162997"/>
                  </a:cubicBezTo>
                  <a:cubicBezTo>
                    <a:pt x="2219423" y="1153765"/>
                    <a:pt x="2191797" y="1146413"/>
                    <a:pt x="2184400" y="1143947"/>
                  </a:cubicBezTo>
                  <a:cubicBezTo>
                    <a:pt x="2162908" y="1129619"/>
                    <a:pt x="2165676" y="1134992"/>
                    <a:pt x="2152650" y="1112197"/>
                  </a:cubicBezTo>
                  <a:cubicBezTo>
                    <a:pt x="2147954" y="1103978"/>
                    <a:pt x="2146643" y="1093490"/>
                    <a:pt x="2139950" y="1086797"/>
                  </a:cubicBezTo>
                  <a:cubicBezTo>
                    <a:pt x="2135217" y="1082064"/>
                    <a:pt x="2127516" y="1081465"/>
                    <a:pt x="2120900" y="1080447"/>
                  </a:cubicBezTo>
                  <a:cubicBezTo>
                    <a:pt x="2099875" y="1077212"/>
                    <a:pt x="2078567" y="1076214"/>
                    <a:pt x="2057400" y="1074097"/>
                  </a:cubicBezTo>
                  <a:cubicBezTo>
                    <a:pt x="2051050" y="1071980"/>
                    <a:pt x="2043577" y="1071928"/>
                    <a:pt x="2038350" y="1067747"/>
                  </a:cubicBezTo>
                  <a:cubicBezTo>
                    <a:pt x="2024628" y="1056769"/>
                    <a:pt x="2016831" y="1022239"/>
                    <a:pt x="2012950" y="1010597"/>
                  </a:cubicBezTo>
                  <a:cubicBezTo>
                    <a:pt x="2007491" y="994221"/>
                    <a:pt x="1972574" y="984438"/>
                    <a:pt x="1955800" y="978847"/>
                  </a:cubicBezTo>
                  <a:cubicBezTo>
                    <a:pt x="1943100" y="970380"/>
                    <a:pt x="1922527" y="967927"/>
                    <a:pt x="1917700" y="953447"/>
                  </a:cubicBezTo>
                  <a:cubicBezTo>
                    <a:pt x="1906411" y="919580"/>
                    <a:pt x="1911614" y="916258"/>
                    <a:pt x="1885950" y="896297"/>
                  </a:cubicBezTo>
                  <a:cubicBezTo>
                    <a:pt x="1873902" y="886926"/>
                    <a:pt x="1860550" y="879364"/>
                    <a:pt x="1847850" y="870897"/>
                  </a:cubicBezTo>
                  <a:lnTo>
                    <a:pt x="1828800" y="858197"/>
                  </a:lnTo>
                  <a:cubicBezTo>
                    <a:pt x="1824567" y="851847"/>
                    <a:pt x="1821496" y="844543"/>
                    <a:pt x="1816100" y="839147"/>
                  </a:cubicBezTo>
                  <a:cubicBezTo>
                    <a:pt x="1796312" y="819359"/>
                    <a:pt x="1765302" y="817981"/>
                    <a:pt x="1739900" y="813747"/>
                  </a:cubicBezTo>
                  <a:cubicBezTo>
                    <a:pt x="1689100" y="779880"/>
                    <a:pt x="1750483" y="824330"/>
                    <a:pt x="1708150" y="781997"/>
                  </a:cubicBezTo>
                  <a:cubicBezTo>
                    <a:pt x="1702754" y="776601"/>
                    <a:pt x="1695450" y="773530"/>
                    <a:pt x="1689100" y="769297"/>
                  </a:cubicBezTo>
                  <a:cubicBezTo>
                    <a:pt x="1676684" y="750673"/>
                    <a:pt x="1675308" y="752229"/>
                    <a:pt x="1670050" y="731197"/>
                  </a:cubicBezTo>
                  <a:cubicBezTo>
                    <a:pt x="1667432" y="720726"/>
                    <a:pt x="1668527" y="709100"/>
                    <a:pt x="1663700" y="699447"/>
                  </a:cubicBezTo>
                  <a:cubicBezTo>
                    <a:pt x="1659684" y="691415"/>
                    <a:pt x="1651000" y="686747"/>
                    <a:pt x="1644650" y="680397"/>
                  </a:cubicBezTo>
                  <a:cubicBezTo>
                    <a:pt x="1628689" y="632514"/>
                    <a:pt x="1650219" y="691536"/>
                    <a:pt x="1625600" y="642297"/>
                  </a:cubicBezTo>
                  <a:cubicBezTo>
                    <a:pt x="1622607" y="636310"/>
                    <a:pt x="1622501" y="629098"/>
                    <a:pt x="1619250" y="623247"/>
                  </a:cubicBezTo>
                  <a:cubicBezTo>
                    <a:pt x="1611837" y="609904"/>
                    <a:pt x="1602317" y="597847"/>
                    <a:pt x="1593850" y="585147"/>
                  </a:cubicBezTo>
                  <a:cubicBezTo>
                    <a:pt x="1583887" y="570203"/>
                    <a:pt x="1555750" y="547047"/>
                    <a:pt x="1555750" y="547047"/>
                  </a:cubicBezTo>
                  <a:cubicBezTo>
                    <a:pt x="1557867" y="536464"/>
                    <a:pt x="1558310" y="525403"/>
                    <a:pt x="1562100" y="515297"/>
                  </a:cubicBezTo>
                  <a:cubicBezTo>
                    <a:pt x="1567404" y="501152"/>
                    <a:pt x="1583967" y="487080"/>
                    <a:pt x="1593850" y="477197"/>
                  </a:cubicBezTo>
                  <a:cubicBezTo>
                    <a:pt x="1585299" y="425892"/>
                    <a:pt x="1591571" y="451311"/>
                    <a:pt x="1574800" y="400997"/>
                  </a:cubicBezTo>
                  <a:cubicBezTo>
                    <a:pt x="1570617" y="388448"/>
                    <a:pt x="1566941" y="371849"/>
                    <a:pt x="1555750" y="362897"/>
                  </a:cubicBezTo>
                  <a:cubicBezTo>
                    <a:pt x="1550523" y="358716"/>
                    <a:pt x="1543050" y="358664"/>
                    <a:pt x="1536700" y="356547"/>
                  </a:cubicBezTo>
                  <a:cubicBezTo>
                    <a:pt x="1530350" y="352314"/>
                    <a:pt x="1524476" y="347260"/>
                    <a:pt x="1517650" y="343847"/>
                  </a:cubicBezTo>
                  <a:cubicBezTo>
                    <a:pt x="1511663" y="340854"/>
                    <a:pt x="1503827" y="341678"/>
                    <a:pt x="1498600" y="337497"/>
                  </a:cubicBezTo>
                  <a:cubicBezTo>
                    <a:pt x="1492641" y="332729"/>
                    <a:pt x="1490786" y="324310"/>
                    <a:pt x="1485900" y="318447"/>
                  </a:cubicBezTo>
                  <a:cubicBezTo>
                    <a:pt x="1480151" y="311548"/>
                    <a:pt x="1473200" y="305747"/>
                    <a:pt x="1466850" y="299397"/>
                  </a:cubicBezTo>
                  <a:cubicBezTo>
                    <a:pt x="1464733" y="290930"/>
                    <a:pt x="1462393" y="282516"/>
                    <a:pt x="1460500" y="273997"/>
                  </a:cubicBezTo>
                  <a:cubicBezTo>
                    <a:pt x="1458159" y="263461"/>
                    <a:pt x="1456768" y="252718"/>
                    <a:pt x="1454150" y="242247"/>
                  </a:cubicBezTo>
                  <a:cubicBezTo>
                    <a:pt x="1452527" y="235753"/>
                    <a:pt x="1451513" y="228766"/>
                    <a:pt x="1447800" y="223197"/>
                  </a:cubicBezTo>
                  <a:cubicBezTo>
                    <a:pt x="1427861" y="193289"/>
                    <a:pt x="1429900" y="216260"/>
                    <a:pt x="1416050" y="185097"/>
                  </a:cubicBezTo>
                  <a:cubicBezTo>
                    <a:pt x="1399503" y="147866"/>
                    <a:pt x="1415306" y="149800"/>
                    <a:pt x="1384300" y="134297"/>
                  </a:cubicBezTo>
                  <a:cubicBezTo>
                    <a:pt x="1378313" y="131304"/>
                    <a:pt x="1371600" y="130064"/>
                    <a:pt x="1365250" y="127947"/>
                  </a:cubicBezTo>
                  <a:cubicBezTo>
                    <a:pt x="1363133" y="121597"/>
                    <a:pt x="1363081" y="114124"/>
                    <a:pt x="1358900" y="108897"/>
                  </a:cubicBezTo>
                  <a:cubicBezTo>
                    <a:pt x="1354132" y="102938"/>
                    <a:pt x="1345246" y="101593"/>
                    <a:pt x="1339850" y="96197"/>
                  </a:cubicBezTo>
                  <a:cubicBezTo>
                    <a:pt x="1334454" y="90801"/>
                    <a:pt x="1331383" y="83497"/>
                    <a:pt x="1327150" y="77147"/>
                  </a:cubicBezTo>
                  <a:cubicBezTo>
                    <a:pt x="1320800" y="79264"/>
                    <a:pt x="1312833" y="78764"/>
                    <a:pt x="1308100" y="83497"/>
                  </a:cubicBezTo>
                  <a:cubicBezTo>
                    <a:pt x="1303367" y="88230"/>
                    <a:pt x="1307197" y="98656"/>
                    <a:pt x="1301750" y="102547"/>
                  </a:cubicBezTo>
                  <a:cubicBezTo>
                    <a:pt x="1290857" y="110328"/>
                    <a:pt x="1263650" y="115247"/>
                    <a:pt x="1263650" y="115247"/>
                  </a:cubicBezTo>
                  <a:cubicBezTo>
                    <a:pt x="1253067" y="113130"/>
                    <a:pt x="1242693" y="108897"/>
                    <a:pt x="1231900" y="108897"/>
                  </a:cubicBezTo>
                  <a:cubicBezTo>
                    <a:pt x="1210628" y="108897"/>
                    <a:pt x="1189610" y="116879"/>
                    <a:pt x="1168400" y="115247"/>
                  </a:cubicBezTo>
                  <a:cubicBezTo>
                    <a:pt x="1160791" y="114662"/>
                    <a:pt x="1156176" y="105960"/>
                    <a:pt x="1149350" y="102547"/>
                  </a:cubicBezTo>
                  <a:cubicBezTo>
                    <a:pt x="1143363" y="99554"/>
                    <a:pt x="1136650" y="98314"/>
                    <a:pt x="1130300" y="96197"/>
                  </a:cubicBezTo>
                  <a:cubicBezTo>
                    <a:pt x="1120417" y="86314"/>
                    <a:pt x="1103854" y="72242"/>
                    <a:pt x="1098550" y="58097"/>
                  </a:cubicBezTo>
                  <a:cubicBezTo>
                    <a:pt x="1081549" y="12760"/>
                    <a:pt x="1107653" y="36649"/>
                    <a:pt x="1073150" y="13647"/>
                  </a:cubicBezTo>
                  <a:cubicBezTo>
                    <a:pt x="1016000" y="32697"/>
                    <a:pt x="1045633" y="11530"/>
                    <a:pt x="1028700" y="45397"/>
                  </a:cubicBezTo>
                  <a:cubicBezTo>
                    <a:pt x="1025287" y="52223"/>
                    <a:pt x="1020233" y="58097"/>
                    <a:pt x="1016000" y="64447"/>
                  </a:cubicBezTo>
                  <a:cubicBezTo>
                    <a:pt x="1031961" y="112330"/>
                    <a:pt x="1010431" y="53308"/>
                    <a:pt x="1035050" y="102547"/>
                  </a:cubicBezTo>
                  <a:cubicBezTo>
                    <a:pt x="1038043" y="108534"/>
                    <a:pt x="1039283" y="115247"/>
                    <a:pt x="1041400" y="121597"/>
                  </a:cubicBezTo>
                  <a:cubicBezTo>
                    <a:pt x="1039283" y="136414"/>
                    <a:pt x="1043085" y="153420"/>
                    <a:pt x="1035050" y="166047"/>
                  </a:cubicBezTo>
                  <a:cubicBezTo>
                    <a:pt x="1026855" y="178924"/>
                    <a:pt x="996950" y="191447"/>
                    <a:pt x="996950" y="191447"/>
                  </a:cubicBezTo>
                  <a:cubicBezTo>
                    <a:pt x="976626" y="160961"/>
                    <a:pt x="982176" y="152393"/>
                    <a:pt x="952500" y="146997"/>
                  </a:cubicBezTo>
                  <a:cubicBezTo>
                    <a:pt x="935710" y="143944"/>
                    <a:pt x="918633" y="142764"/>
                    <a:pt x="901700" y="140647"/>
                  </a:cubicBezTo>
                  <a:cubicBezTo>
                    <a:pt x="895350" y="136414"/>
                    <a:pt x="889476" y="131360"/>
                    <a:pt x="882650" y="127947"/>
                  </a:cubicBezTo>
                  <a:cubicBezTo>
                    <a:pt x="855571" y="114407"/>
                    <a:pt x="841174" y="124089"/>
                    <a:pt x="806450" y="127947"/>
                  </a:cubicBezTo>
                  <a:cubicBezTo>
                    <a:pt x="793750" y="132180"/>
                    <a:pt x="772583" y="132180"/>
                    <a:pt x="793750" y="153347"/>
                  </a:cubicBezTo>
                  <a:cubicBezTo>
                    <a:pt x="804543" y="164140"/>
                    <a:pt x="831850" y="178747"/>
                    <a:pt x="831850" y="178747"/>
                  </a:cubicBezTo>
                  <a:cubicBezTo>
                    <a:pt x="836083" y="185097"/>
                    <a:pt x="844550" y="190165"/>
                    <a:pt x="844550" y="197797"/>
                  </a:cubicBezTo>
                  <a:cubicBezTo>
                    <a:pt x="844550" y="219723"/>
                    <a:pt x="819195" y="220011"/>
                    <a:pt x="806450" y="223197"/>
                  </a:cubicBezTo>
                  <a:cubicBezTo>
                    <a:pt x="799523" y="233588"/>
                    <a:pt x="790094" y="253023"/>
                    <a:pt x="774700" y="254947"/>
                  </a:cubicBezTo>
                  <a:cubicBezTo>
                    <a:pt x="763990" y="256286"/>
                    <a:pt x="753533" y="250714"/>
                    <a:pt x="742950" y="248597"/>
                  </a:cubicBezTo>
                  <a:cubicBezTo>
                    <a:pt x="736600" y="242247"/>
                    <a:pt x="726740" y="238066"/>
                    <a:pt x="723900" y="229547"/>
                  </a:cubicBezTo>
                  <a:cubicBezTo>
                    <a:pt x="721783" y="223197"/>
                    <a:pt x="730250" y="217190"/>
                    <a:pt x="730250" y="210497"/>
                  </a:cubicBezTo>
                  <a:cubicBezTo>
                    <a:pt x="730250" y="198295"/>
                    <a:pt x="721569" y="174343"/>
                    <a:pt x="711200" y="166047"/>
                  </a:cubicBezTo>
                  <a:cubicBezTo>
                    <a:pt x="705973" y="161866"/>
                    <a:pt x="698500" y="161814"/>
                    <a:pt x="692150" y="159697"/>
                  </a:cubicBezTo>
                  <a:cubicBezTo>
                    <a:pt x="675217" y="148408"/>
                    <a:pt x="667213" y="144871"/>
                    <a:pt x="654050" y="127947"/>
                  </a:cubicBezTo>
                  <a:cubicBezTo>
                    <a:pt x="644679" y="115899"/>
                    <a:pt x="641350" y="98314"/>
                    <a:pt x="628650" y="89847"/>
                  </a:cubicBezTo>
                  <a:lnTo>
                    <a:pt x="590550" y="64447"/>
                  </a:lnTo>
                  <a:cubicBezTo>
                    <a:pt x="584200" y="60214"/>
                    <a:pt x="576896" y="57143"/>
                    <a:pt x="571500" y="51747"/>
                  </a:cubicBezTo>
                  <a:lnTo>
                    <a:pt x="552450" y="32697"/>
                  </a:lnTo>
                  <a:cubicBezTo>
                    <a:pt x="545881" y="12989"/>
                    <a:pt x="548163" y="4870"/>
                    <a:pt x="520700" y="947"/>
                  </a:cubicBezTo>
                  <a:cubicBezTo>
                    <a:pt x="514074" y="0"/>
                    <a:pt x="508000" y="5180"/>
                    <a:pt x="501650" y="7297"/>
                  </a:cubicBezTo>
                  <a:cubicBezTo>
                    <a:pt x="497417" y="13647"/>
                    <a:pt x="494346" y="20951"/>
                    <a:pt x="488950" y="26347"/>
                  </a:cubicBezTo>
                  <a:cubicBezTo>
                    <a:pt x="483554" y="31743"/>
                    <a:pt x="473313" y="32221"/>
                    <a:pt x="469900" y="39047"/>
                  </a:cubicBezTo>
                  <a:cubicBezTo>
                    <a:pt x="464142" y="50563"/>
                    <a:pt x="469308" y="65631"/>
                    <a:pt x="463550" y="77147"/>
                  </a:cubicBezTo>
                  <a:cubicBezTo>
                    <a:pt x="460137" y="83973"/>
                    <a:pt x="451474" y="86747"/>
                    <a:pt x="444500" y="89847"/>
                  </a:cubicBezTo>
                  <a:cubicBezTo>
                    <a:pt x="418133" y="101566"/>
                    <a:pt x="401812" y="103465"/>
                    <a:pt x="374650" y="108897"/>
                  </a:cubicBezTo>
                  <a:cubicBezTo>
                    <a:pt x="368300" y="113130"/>
                    <a:pt x="359645" y="115125"/>
                    <a:pt x="355600" y="121597"/>
                  </a:cubicBezTo>
                  <a:cubicBezTo>
                    <a:pt x="348505" y="132949"/>
                    <a:pt x="347133" y="146997"/>
                    <a:pt x="342900" y="159697"/>
                  </a:cubicBezTo>
                  <a:lnTo>
                    <a:pt x="336550" y="178747"/>
                  </a:lnTo>
                  <a:cubicBezTo>
                    <a:pt x="334433" y="185097"/>
                    <a:pt x="323850" y="182980"/>
                    <a:pt x="317500" y="185097"/>
                  </a:cubicBezTo>
                  <a:cubicBezTo>
                    <a:pt x="262905" y="221493"/>
                    <a:pt x="327153" y="173030"/>
                    <a:pt x="292100" y="216847"/>
                  </a:cubicBezTo>
                  <a:cubicBezTo>
                    <a:pt x="283148" y="228037"/>
                    <a:pt x="250888" y="238412"/>
                    <a:pt x="241300" y="242247"/>
                  </a:cubicBezTo>
                  <a:cubicBezTo>
                    <a:pt x="239183" y="263414"/>
                    <a:pt x="239733" y="285020"/>
                    <a:pt x="234950" y="305747"/>
                  </a:cubicBezTo>
                  <a:cubicBezTo>
                    <a:pt x="233234" y="313183"/>
                    <a:pt x="229654" y="322946"/>
                    <a:pt x="222250" y="324797"/>
                  </a:cubicBezTo>
                  <a:cubicBezTo>
                    <a:pt x="209759" y="327920"/>
                    <a:pt x="196850" y="320564"/>
                    <a:pt x="184150" y="318447"/>
                  </a:cubicBezTo>
                  <a:cubicBezTo>
                    <a:pt x="167828" y="313006"/>
                    <a:pt x="157242" y="308936"/>
                    <a:pt x="139700" y="305747"/>
                  </a:cubicBezTo>
                  <a:cubicBezTo>
                    <a:pt x="124974" y="303070"/>
                    <a:pt x="110067" y="301514"/>
                    <a:pt x="95250" y="299397"/>
                  </a:cubicBezTo>
                  <a:cubicBezTo>
                    <a:pt x="76200" y="301514"/>
                    <a:pt x="57006" y="302596"/>
                    <a:pt x="38100" y="305747"/>
                  </a:cubicBezTo>
                  <a:cubicBezTo>
                    <a:pt x="31498" y="306847"/>
                    <a:pt x="24619" y="308384"/>
                    <a:pt x="19050" y="312097"/>
                  </a:cubicBezTo>
                  <a:cubicBezTo>
                    <a:pt x="11578" y="317078"/>
                    <a:pt x="6350" y="324797"/>
                    <a:pt x="0" y="331147"/>
                  </a:cubicBezTo>
                  <a:cubicBezTo>
                    <a:pt x="2117" y="339614"/>
                    <a:pt x="2912" y="348525"/>
                    <a:pt x="6350" y="356547"/>
                  </a:cubicBezTo>
                  <a:cubicBezTo>
                    <a:pt x="9356" y="363562"/>
                    <a:pt x="18103" y="368024"/>
                    <a:pt x="19050" y="375597"/>
                  </a:cubicBezTo>
                  <a:cubicBezTo>
                    <a:pt x="20443" y="386743"/>
                    <a:pt x="10497" y="413957"/>
                    <a:pt x="6350" y="426397"/>
                  </a:cubicBezTo>
                  <a:cubicBezTo>
                    <a:pt x="8690" y="442778"/>
                    <a:pt x="10184" y="472164"/>
                    <a:pt x="19050" y="489897"/>
                  </a:cubicBezTo>
                  <a:cubicBezTo>
                    <a:pt x="30874" y="513546"/>
                    <a:pt x="33245" y="506931"/>
                    <a:pt x="50800" y="527997"/>
                  </a:cubicBezTo>
                  <a:cubicBezTo>
                    <a:pt x="55686" y="533860"/>
                    <a:pt x="59267" y="540697"/>
                    <a:pt x="63500" y="547047"/>
                  </a:cubicBezTo>
                  <a:cubicBezTo>
                    <a:pt x="61383" y="572447"/>
                    <a:pt x="61340" y="598106"/>
                    <a:pt x="57150" y="623247"/>
                  </a:cubicBezTo>
                  <a:cubicBezTo>
                    <a:pt x="42442" y="711495"/>
                    <a:pt x="33867" y="666639"/>
                    <a:pt x="44450" y="674047"/>
                  </a:cubicBezTo>
                  <a:close/>
                </a:path>
              </a:pathLst>
            </a:custGeom>
            <a:grp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rtl="0" eaLnBrk="0" fontAlgn="base" hangingPunct="0">
                <a:spcBef>
                  <a:spcPct val="50000"/>
                </a:spcBef>
                <a:spcAft>
                  <a:spcPct val="0"/>
                </a:spcAft>
              </a:pPr>
              <a:endParaRPr lang="en-US" sz="900">
                <a:solidFill>
                  <a:srgbClr val="000000"/>
                </a:solidFill>
                <a:latin typeface="Arial" charset="0"/>
              </a:endParaRPr>
            </a:p>
          </p:txBody>
        </p:sp>
        <p:sp>
          <p:nvSpPr>
            <p:cNvPr id="59" name="Freeform 59">
              <a:extLst>
                <a:ext uri="{FF2B5EF4-FFF2-40B4-BE49-F238E27FC236}">
                  <a16:creationId xmlns:a16="http://schemas.microsoft.com/office/drawing/2014/main" id="{B0B3E7A0-7966-401C-965B-A0EAE7BDE1A6}"/>
                </a:ext>
              </a:extLst>
            </p:cNvPr>
            <p:cNvSpPr/>
            <p:nvPr>
              <p:custDataLst>
                <p:tags r:id="rId14"/>
              </p:custDataLst>
            </p:nvPr>
          </p:nvSpPr>
          <p:spPr bwMode="gray">
            <a:xfrm>
              <a:off x="3230749" y="4654550"/>
              <a:ext cx="1427969" cy="1585166"/>
            </a:xfrm>
            <a:custGeom>
              <a:avLst/>
              <a:gdLst>
                <a:gd name="connsiteX0" fmla="*/ 457200 w 1427969"/>
                <a:gd name="connsiteY0" fmla="*/ 139700 h 1585166"/>
                <a:gd name="connsiteX1" fmla="*/ 488950 w 1427969"/>
                <a:gd name="connsiteY1" fmla="*/ 222250 h 1585166"/>
                <a:gd name="connsiteX2" fmla="*/ 488950 w 1427969"/>
                <a:gd name="connsiteY2" fmla="*/ 222250 h 1585166"/>
                <a:gd name="connsiteX3" fmla="*/ 508000 w 1427969"/>
                <a:gd name="connsiteY3" fmla="*/ 260350 h 1585166"/>
                <a:gd name="connsiteX4" fmla="*/ 495300 w 1427969"/>
                <a:gd name="connsiteY4" fmla="*/ 304800 h 1585166"/>
                <a:gd name="connsiteX5" fmla="*/ 469900 w 1427969"/>
                <a:gd name="connsiteY5" fmla="*/ 342900 h 1585166"/>
                <a:gd name="connsiteX6" fmla="*/ 450850 w 1427969"/>
                <a:gd name="connsiteY6" fmla="*/ 381000 h 1585166"/>
                <a:gd name="connsiteX7" fmla="*/ 431800 w 1427969"/>
                <a:gd name="connsiteY7" fmla="*/ 387350 h 1585166"/>
                <a:gd name="connsiteX8" fmla="*/ 419100 w 1427969"/>
                <a:gd name="connsiteY8" fmla="*/ 438150 h 1585166"/>
                <a:gd name="connsiteX9" fmla="*/ 412750 w 1427969"/>
                <a:gd name="connsiteY9" fmla="*/ 495300 h 1585166"/>
                <a:gd name="connsiteX10" fmla="*/ 400050 w 1427969"/>
                <a:gd name="connsiteY10" fmla="*/ 533400 h 1585166"/>
                <a:gd name="connsiteX11" fmla="*/ 381000 w 1427969"/>
                <a:gd name="connsiteY11" fmla="*/ 552450 h 1585166"/>
                <a:gd name="connsiteX12" fmla="*/ 355600 w 1427969"/>
                <a:gd name="connsiteY12" fmla="*/ 590550 h 1585166"/>
                <a:gd name="connsiteX13" fmla="*/ 330200 w 1427969"/>
                <a:gd name="connsiteY13" fmla="*/ 628650 h 1585166"/>
                <a:gd name="connsiteX14" fmla="*/ 273050 w 1427969"/>
                <a:gd name="connsiteY14" fmla="*/ 692150 h 1585166"/>
                <a:gd name="connsiteX15" fmla="*/ 254000 w 1427969"/>
                <a:gd name="connsiteY15" fmla="*/ 704850 h 1585166"/>
                <a:gd name="connsiteX16" fmla="*/ 234950 w 1427969"/>
                <a:gd name="connsiteY16" fmla="*/ 711200 h 1585166"/>
                <a:gd name="connsiteX17" fmla="*/ 203200 w 1427969"/>
                <a:gd name="connsiteY17" fmla="*/ 749300 h 1585166"/>
                <a:gd name="connsiteX18" fmla="*/ 171450 w 1427969"/>
                <a:gd name="connsiteY18" fmla="*/ 800100 h 1585166"/>
                <a:gd name="connsiteX19" fmla="*/ 152400 w 1427969"/>
                <a:gd name="connsiteY19" fmla="*/ 838200 h 1585166"/>
                <a:gd name="connsiteX20" fmla="*/ 139700 w 1427969"/>
                <a:gd name="connsiteY20" fmla="*/ 889000 h 1585166"/>
                <a:gd name="connsiteX21" fmla="*/ 133350 w 1427969"/>
                <a:gd name="connsiteY21" fmla="*/ 908050 h 1585166"/>
                <a:gd name="connsiteX22" fmla="*/ 127000 w 1427969"/>
                <a:gd name="connsiteY22" fmla="*/ 965200 h 1585166"/>
                <a:gd name="connsiteX23" fmla="*/ 120650 w 1427969"/>
                <a:gd name="connsiteY23" fmla="*/ 1035050 h 1585166"/>
                <a:gd name="connsiteX24" fmla="*/ 101600 w 1427969"/>
                <a:gd name="connsiteY24" fmla="*/ 1041400 h 1585166"/>
                <a:gd name="connsiteX25" fmla="*/ 82550 w 1427969"/>
                <a:gd name="connsiteY25" fmla="*/ 1079500 h 1585166"/>
                <a:gd name="connsiteX26" fmla="*/ 69850 w 1427969"/>
                <a:gd name="connsiteY26" fmla="*/ 1104900 h 1585166"/>
                <a:gd name="connsiteX27" fmla="*/ 57150 w 1427969"/>
                <a:gd name="connsiteY27" fmla="*/ 1149350 h 1585166"/>
                <a:gd name="connsiteX28" fmla="*/ 44450 w 1427969"/>
                <a:gd name="connsiteY28" fmla="*/ 1168400 h 1585166"/>
                <a:gd name="connsiteX29" fmla="*/ 31750 w 1427969"/>
                <a:gd name="connsiteY29" fmla="*/ 1206500 h 1585166"/>
                <a:gd name="connsiteX30" fmla="*/ 38100 w 1427969"/>
                <a:gd name="connsiteY30" fmla="*/ 1225550 h 1585166"/>
                <a:gd name="connsiteX31" fmla="*/ 57150 w 1427969"/>
                <a:gd name="connsiteY31" fmla="*/ 1238250 h 1585166"/>
                <a:gd name="connsiteX32" fmla="*/ 69850 w 1427969"/>
                <a:gd name="connsiteY32" fmla="*/ 1257300 h 1585166"/>
                <a:gd name="connsiteX33" fmla="*/ 57150 w 1427969"/>
                <a:gd name="connsiteY33" fmla="*/ 1308100 h 1585166"/>
                <a:gd name="connsiteX34" fmla="*/ 38100 w 1427969"/>
                <a:gd name="connsiteY34" fmla="*/ 1333500 h 1585166"/>
                <a:gd name="connsiteX35" fmla="*/ 31750 w 1427969"/>
                <a:gd name="connsiteY35" fmla="*/ 1352550 h 1585166"/>
                <a:gd name="connsiteX36" fmla="*/ 19050 w 1427969"/>
                <a:gd name="connsiteY36" fmla="*/ 1371600 h 1585166"/>
                <a:gd name="connsiteX37" fmla="*/ 12700 w 1427969"/>
                <a:gd name="connsiteY37" fmla="*/ 1397000 h 1585166"/>
                <a:gd name="connsiteX38" fmla="*/ 19050 w 1427969"/>
                <a:gd name="connsiteY38" fmla="*/ 1416050 h 1585166"/>
                <a:gd name="connsiteX39" fmla="*/ 0 w 1427969"/>
                <a:gd name="connsiteY39" fmla="*/ 1454150 h 1585166"/>
                <a:gd name="connsiteX40" fmla="*/ 44450 w 1427969"/>
                <a:gd name="connsiteY40" fmla="*/ 1530350 h 1585166"/>
                <a:gd name="connsiteX41" fmla="*/ 82550 w 1427969"/>
                <a:gd name="connsiteY41" fmla="*/ 1555750 h 1585166"/>
                <a:gd name="connsiteX42" fmla="*/ 88900 w 1427969"/>
                <a:gd name="connsiteY42" fmla="*/ 1581150 h 1585166"/>
                <a:gd name="connsiteX43" fmla="*/ 107950 w 1427969"/>
                <a:gd name="connsiteY43" fmla="*/ 1574800 h 1585166"/>
                <a:gd name="connsiteX44" fmla="*/ 152400 w 1427969"/>
                <a:gd name="connsiteY44" fmla="*/ 1549400 h 1585166"/>
                <a:gd name="connsiteX45" fmla="*/ 171450 w 1427969"/>
                <a:gd name="connsiteY45" fmla="*/ 1543050 h 1585166"/>
                <a:gd name="connsiteX46" fmla="*/ 203200 w 1427969"/>
                <a:gd name="connsiteY46" fmla="*/ 1549400 h 1585166"/>
                <a:gd name="connsiteX47" fmla="*/ 222250 w 1427969"/>
                <a:gd name="connsiteY47" fmla="*/ 1562100 h 1585166"/>
                <a:gd name="connsiteX48" fmla="*/ 266700 w 1427969"/>
                <a:gd name="connsiteY48" fmla="*/ 1555750 h 1585166"/>
                <a:gd name="connsiteX49" fmla="*/ 304800 w 1427969"/>
                <a:gd name="connsiteY49" fmla="*/ 1530350 h 1585166"/>
                <a:gd name="connsiteX50" fmla="*/ 342900 w 1427969"/>
                <a:gd name="connsiteY50" fmla="*/ 1517650 h 1585166"/>
                <a:gd name="connsiteX51" fmla="*/ 374650 w 1427969"/>
                <a:gd name="connsiteY51" fmla="*/ 1524000 h 1585166"/>
                <a:gd name="connsiteX52" fmla="*/ 381000 w 1427969"/>
                <a:gd name="connsiteY52" fmla="*/ 1543050 h 1585166"/>
                <a:gd name="connsiteX53" fmla="*/ 419100 w 1427969"/>
                <a:gd name="connsiteY53" fmla="*/ 1568450 h 1585166"/>
                <a:gd name="connsiteX54" fmla="*/ 482600 w 1427969"/>
                <a:gd name="connsiteY54" fmla="*/ 1543050 h 1585166"/>
                <a:gd name="connsiteX55" fmla="*/ 476250 w 1427969"/>
                <a:gd name="connsiteY55" fmla="*/ 1524000 h 1585166"/>
                <a:gd name="connsiteX56" fmla="*/ 501650 w 1427969"/>
                <a:gd name="connsiteY56" fmla="*/ 1517650 h 1585166"/>
                <a:gd name="connsiteX57" fmla="*/ 520700 w 1427969"/>
                <a:gd name="connsiteY57" fmla="*/ 1511300 h 1585166"/>
                <a:gd name="connsiteX58" fmla="*/ 495300 w 1427969"/>
                <a:gd name="connsiteY58" fmla="*/ 1479550 h 1585166"/>
                <a:gd name="connsiteX59" fmla="*/ 431800 w 1427969"/>
                <a:gd name="connsiteY59" fmla="*/ 1479550 h 1585166"/>
                <a:gd name="connsiteX60" fmla="*/ 425450 w 1427969"/>
                <a:gd name="connsiteY60" fmla="*/ 1460500 h 1585166"/>
                <a:gd name="connsiteX61" fmla="*/ 482600 w 1427969"/>
                <a:gd name="connsiteY61" fmla="*/ 1435100 h 1585166"/>
                <a:gd name="connsiteX62" fmla="*/ 501650 w 1427969"/>
                <a:gd name="connsiteY62" fmla="*/ 1428750 h 1585166"/>
                <a:gd name="connsiteX63" fmla="*/ 508000 w 1427969"/>
                <a:gd name="connsiteY63" fmla="*/ 1409700 h 1585166"/>
                <a:gd name="connsiteX64" fmla="*/ 552450 w 1427969"/>
                <a:gd name="connsiteY64" fmla="*/ 1409700 h 1585166"/>
                <a:gd name="connsiteX65" fmla="*/ 571500 w 1427969"/>
                <a:gd name="connsiteY65" fmla="*/ 1435100 h 1585166"/>
                <a:gd name="connsiteX66" fmla="*/ 571500 w 1427969"/>
                <a:gd name="connsiteY66" fmla="*/ 1473200 h 1585166"/>
                <a:gd name="connsiteX67" fmla="*/ 590550 w 1427969"/>
                <a:gd name="connsiteY67" fmla="*/ 1479550 h 1585166"/>
                <a:gd name="connsiteX68" fmla="*/ 666750 w 1427969"/>
                <a:gd name="connsiteY68" fmla="*/ 1492250 h 1585166"/>
                <a:gd name="connsiteX69" fmla="*/ 685800 w 1427969"/>
                <a:gd name="connsiteY69" fmla="*/ 1498600 h 1585166"/>
                <a:gd name="connsiteX70" fmla="*/ 704850 w 1427969"/>
                <a:gd name="connsiteY70" fmla="*/ 1485900 h 1585166"/>
                <a:gd name="connsiteX71" fmla="*/ 730250 w 1427969"/>
                <a:gd name="connsiteY71" fmla="*/ 1479550 h 1585166"/>
                <a:gd name="connsiteX72" fmla="*/ 762000 w 1427969"/>
                <a:gd name="connsiteY72" fmla="*/ 1485900 h 1585166"/>
                <a:gd name="connsiteX73" fmla="*/ 800100 w 1427969"/>
                <a:gd name="connsiteY73" fmla="*/ 1498600 h 1585166"/>
                <a:gd name="connsiteX74" fmla="*/ 806450 w 1427969"/>
                <a:gd name="connsiteY74" fmla="*/ 1479550 h 1585166"/>
                <a:gd name="connsiteX75" fmla="*/ 800100 w 1427969"/>
                <a:gd name="connsiteY75" fmla="*/ 1460500 h 1585166"/>
                <a:gd name="connsiteX76" fmla="*/ 762000 w 1427969"/>
                <a:gd name="connsiteY76" fmla="*/ 1428750 h 1585166"/>
                <a:gd name="connsiteX77" fmla="*/ 742950 w 1427969"/>
                <a:gd name="connsiteY77" fmla="*/ 1390650 h 1585166"/>
                <a:gd name="connsiteX78" fmla="*/ 768350 w 1427969"/>
                <a:gd name="connsiteY78" fmla="*/ 1377950 h 1585166"/>
                <a:gd name="connsiteX79" fmla="*/ 806450 w 1427969"/>
                <a:gd name="connsiteY79" fmla="*/ 1416050 h 1585166"/>
                <a:gd name="connsiteX80" fmla="*/ 819150 w 1427969"/>
                <a:gd name="connsiteY80" fmla="*/ 1454150 h 1585166"/>
                <a:gd name="connsiteX81" fmla="*/ 831850 w 1427969"/>
                <a:gd name="connsiteY81" fmla="*/ 1473200 h 1585166"/>
                <a:gd name="connsiteX82" fmla="*/ 869950 w 1427969"/>
                <a:gd name="connsiteY82" fmla="*/ 1498600 h 1585166"/>
                <a:gd name="connsiteX83" fmla="*/ 914400 w 1427969"/>
                <a:gd name="connsiteY83" fmla="*/ 1485900 h 1585166"/>
                <a:gd name="connsiteX84" fmla="*/ 946150 w 1427969"/>
                <a:gd name="connsiteY84" fmla="*/ 1492250 h 1585166"/>
                <a:gd name="connsiteX85" fmla="*/ 952500 w 1427969"/>
                <a:gd name="connsiteY85" fmla="*/ 1511300 h 1585166"/>
                <a:gd name="connsiteX86" fmla="*/ 958850 w 1427969"/>
                <a:gd name="connsiteY86" fmla="*/ 1543050 h 1585166"/>
                <a:gd name="connsiteX87" fmla="*/ 977900 w 1427969"/>
                <a:gd name="connsiteY87" fmla="*/ 1549400 h 1585166"/>
                <a:gd name="connsiteX88" fmla="*/ 1028700 w 1427969"/>
                <a:gd name="connsiteY88" fmla="*/ 1555750 h 1585166"/>
                <a:gd name="connsiteX89" fmla="*/ 1047750 w 1427969"/>
                <a:gd name="connsiteY89" fmla="*/ 1536700 h 1585166"/>
                <a:gd name="connsiteX90" fmla="*/ 1085850 w 1427969"/>
                <a:gd name="connsiteY90" fmla="*/ 1524000 h 1585166"/>
                <a:gd name="connsiteX91" fmla="*/ 1181100 w 1427969"/>
                <a:gd name="connsiteY91" fmla="*/ 1511300 h 1585166"/>
                <a:gd name="connsiteX92" fmla="*/ 1219200 w 1427969"/>
                <a:gd name="connsiteY92" fmla="*/ 1492250 h 1585166"/>
                <a:gd name="connsiteX93" fmla="*/ 1231900 w 1427969"/>
                <a:gd name="connsiteY93" fmla="*/ 1473200 h 1585166"/>
                <a:gd name="connsiteX94" fmla="*/ 1238250 w 1427969"/>
                <a:gd name="connsiteY94" fmla="*/ 1435100 h 1585166"/>
                <a:gd name="connsiteX95" fmla="*/ 1244600 w 1427969"/>
                <a:gd name="connsiteY95" fmla="*/ 1416050 h 1585166"/>
                <a:gd name="connsiteX96" fmla="*/ 1250950 w 1427969"/>
                <a:gd name="connsiteY96" fmla="*/ 1371600 h 1585166"/>
                <a:gd name="connsiteX97" fmla="*/ 1238250 w 1427969"/>
                <a:gd name="connsiteY97" fmla="*/ 1333500 h 1585166"/>
                <a:gd name="connsiteX98" fmla="*/ 1231900 w 1427969"/>
                <a:gd name="connsiteY98" fmla="*/ 1314450 h 1585166"/>
                <a:gd name="connsiteX99" fmla="*/ 1238250 w 1427969"/>
                <a:gd name="connsiteY99" fmla="*/ 1244600 h 1585166"/>
                <a:gd name="connsiteX100" fmla="*/ 1250950 w 1427969"/>
                <a:gd name="connsiteY100" fmla="*/ 1206500 h 1585166"/>
                <a:gd name="connsiteX101" fmla="*/ 1231900 w 1427969"/>
                <a:gd name="connsiteY101" fmla="*/ 1168400 h 1585166"/>
                <a:gd name="connsiteX102" fmla="*/ 1219200 w 1427969"/>
                <a:gd name="connsiteY102" fmla="*/ 1117600 h 1585166"/>
                <a:gd name="connsiteX103" fmla="*/ 1206500 w 1427969"/>
                <a:gd name="connsiteY103" fmla="*/ 1073150 h 1585166"/>
                <a:gd name="connsiteX104" fmla="*/ 1200150 w 1427969"/>
                <a:gd name="connsiteY104" fmla="*/ 996950 h 1585166"/>
                <a:gd name="connsiteX105" fmla="*/ 1200150 w 1427969"/>
                <a:gd name="connsiteY105" fmla="*/ 946150 h 1585166"/>
                <a:gd name="connsiteX106" fmla="*/ 1219200 w 1427969"/>
                <a:gd name="connsiteY106" fmla="*/ 933450 h 1585166"/>
                <a:gd name="connsiteX107" fmla="*/ 1257300 w 1427969"/>
                <a:gd name="connsiteY107" fmla="*/ 920750 h 1585166"/>
                <a:gd name="connsiteX108" fmla="*/ 1308100 w 1427969"/>
                <a:gd name="connsiteY108" fmla="*/ 908050 h 1585166"/>
                <a:gd name="connsiteX109" fmla="*/ 1327150 w 1427969"/>
                <a:gd name="connsiteY109" fmla="*/ 869950 h 1585166"/>
                <a:gd name="connsiteX110" fmla="*/ 1314450 w 1427969"/>
                <a:gd name="connsiteY110" fmla="*/ 844550 h 1585166"/>
                <a:gd name="connsiteX111" fmla="*/ 1295400 w 1427969"/>
                <a:gd name="connsiteY111" fmla="*/ 806450 h 1585166"/>
                <a:gd name="connsiteX112" fmla="*/ 1301750 w 1427969"/>
                <a:gd name="connsiteY112" fmla="*/ 787400 h 1585166"/>
                <a:gd name="connsiteX113" fmla="*/ 1358900 w 1427969"/>
                <a:gd name="connsiteY113" fmla="*/ 787400 h 1585166"/>
                <a:gd name="connsiteX114" fmla="*/ 1397000 w 1427969"/>
                <a:gd name="connsiteY114" fmla="*/ 800100 h 1585166"/>
                <a:gd name="connsiteX115" fmla="*/ 1422400 w 1427969"/>
                <a:gd name="connsiteY115" fmla="*/ 762000 h 1585166"/>
                <a:gd name="connsiteX116" fmla="*/ 1403350 w 1427969"/>
                <a:gd name="connsiteY116" fmla="*/ 723900 h 1585166"/>
                <a:gd name="connsiteX117" fmla="*/ 1397000 w 1427969"/>
                <a:gd name="connsiteY117" fmla="*/ 704850 h 1585166"/>
                <a:gd name="connsiteX118" fmla="*/ 1384300 w 1427969"/>
                <a:gd name="connsiteY118" fmla="*/ 590550 h 1585166"/>
                <a:gd name="connsiteX119" fmla="*/ 1377950 w 1427969"/>
                <a:gd name="connsiteY119" fmla="*/ 571500 h 1585166"/>
                <a:gd name="connsiteX120" fmla="*/ 1339850 w 1427969"/>
                <a:gd name="connsiteY120" fmla="*/ 546100 h 1585166"/>
                <a:gd name="connsiteX121" fmla="*/ 1301750 w 1427969"/>
                <a:gd name="connsiteY121" fmla="*/ 488950 h 1585166"/>
                <a:gd name="connsiteX122" fmla="*/ 1289050 w 1427969"/>
                <a:gd name="connsiteY122" fmla="*/ 444500 h 1585166"/>
                <a:gd name="connsiteX123" fmla="*/ 1270000 w 1427969"/>
                <a:gd name="connsiteY123" fmla="*/ 406400 h 1585166"/>
                <a:gd name="connsiteX124" fmla="*/ 1250950 w 1427969"/>
                <a:gd name="connsiteY124" fmla="*/ 349250 h 1585166"/>
                <a:gd name="connsiteX125" fmla="*/ 1244600 w 1427969"/>
                <a:gd name="connsiteY125" fmla="*/ 330200 h 1585166"/>
                <a:gd name="connsiteX126" fmla="*/ 1238250 w 1427969"/>
                <a:gd name="connsiteY126" fmla="*/ 215900 h 1585166"/>
                <a:gd name="connsiteX127" fmla="*/ 1219200 w 1427969"/>
                <a:gd name="connsiteY127" fmla="*/ 203200 h 1585166"/>
                <a:gd name="connsiteX128" fmla="*/ 1193800 w 1427969"/>
                <a:gd name="connsiteY128" fmla="*/ 209550 h 1585166"/>
                <a:gd name="connsiteX129" fmla="*/ 1155700 w 1427969"/>
                <a:gd name="connsiteY129" fmla="*/ 209550 h 1585166"/>
                <a:gd name="connsiteX130" fmla="*/ 1149350 w 1427969"/>
                <a:gd name="connsiteY130" fmla="*/ 184150 h 1585166"/>
                <a:gd name="connsiteX131" fmla="*/ 1143000 w 1427969"/>
                <a:gd name="connsiteY131" fmla="*/ 165100 h 1585166"/>
                <a:gd name="connsiteX132" fmla="*/ 1130300 w 1427969"/>
                <a:gd name="connsiteY132" fmla="*/ 120650 h 1585166"/>
                <a:gd name="connsiteX133" fmla="*/ 1117600 w 1427969"/>
                <a:gd name="connsiteY133" fmla="*/ 101600 h 1585166"/>
                <a:gd name="connsiteX134" fmla="*/ 1085850 w 1427969"/>
                <a:gd name="connsiteY134" fmla="*/ 50800 h 1585166"/>
                <a:gd name="connsiteX135" fmla="*/ 1028700 w 1427969"/>
                <a:gd name="connsiteY135" fmla="*/ 57150 h 1585166"/>
                <a:gd name="connsiteX136" fmla="*/ 1016000 w 1427969"/>
                <a:gd name="connsiteY136" fmla="*/ 38100 h 1585166"/>
                <a:gd name="connsiteX137" fmla="*/ 1009650 w 1427969"/>
                <a:gd name="connsiteY137" fmla="*/ 12700 h 1585166"/>
                <a:gd name="connsiteX138" fmla="*/ 990600 w 1427969"/>
                <a:gd name="connsiteY138" fmla="*/ 6350 h 1585166"/>
                <a:gd name="connsiteX139" fmla="*/ 920750 w 1427969"/>
                <a:gd name="connsiteY139" fmla="*/ 0 h 1585166"/>
                <a:gd name="connsiteX140" fmla="*/ 889000 w 1427969"/>
                <a:gd name="connsiteY140" fmla="*/ 6350 h 1585166"/>
                <a:gd name="connsiteX141" fmla="*/ 889000 w 1427969"/>
                <a:gd name="connsiteY141" fmla="*/ 50800 h 1585166"/>
                <a:gd name="connsiteX142" fmla="*/ 908050 w 1427969"/>
                <a:gd name="connsiteY142" fmla="*/ 57150 h 1585166"/>
                <a:gd name="connsiteX143" fmla="*/ 914400 w 1427969"/>
                <a:gd name="connsiteY143" fmla="*/ 76200 h 1585166"/>
                <a:gd name="connsiteX144" fmla="*/ 876300 w 1427969"/>
                <a:gd name="connsiteY144" fmla="*/ 95250 h 1585166"/>
                <a:gd name="connsiteX145" fmla="*/ 857250 w 1427969"/>
                <a:gd name="connsiteY145" fmla="*/ 107950 h 1585166"/>
                <a:gd name="connsiteX146" fmla="*/ 831850 w 1427969"/>
                <a:gd name="connsiteY146" fmla="*/ 139700 h 1585166"/>
                <a:gd name="connsiteX147" fmla="*/ 774700 w 1427969"/>
                <a:gd name="connsiteY147" fmla="*/ 152400 h 1585166"/>
                <a:gd name="connsiteX148" fmla="*/ 781050 w 1427969"/>
                <a:gd name="connsiteY148" fmla="*/ 171450 h 1585166"/>
                <a:gd name="connsiteX149" fmla="*/ 774700 w 1427969"/>
                <a:gd name="connsiteY149" fmla="*/ 196850 h 1585166"/>
                <a:gd name="connsiteX150" fmla="*/ 749300 w 1427969"/>
                <a:gd name="connsiteY150" fmla="*/ 203200 h 1585166"/>
                <a:gd name="connsiteX151" fmla="*/ 711200 w 1427969"/>
                <a:gd name="connsiteY151" fmla="*/ 209550 h 1585166"/>
                <a:gd name="connsiteX152" fmla="*/ 660400 w 1427969"/>
                <a:gd name="connsiteY152" fmla="*/ 203200 h 1585166"/>
                <a:gd name="connsiteX153" fmla="*/ 622300 w 1427969"/>
                <a:gd name="connsiteY153" fmla="*/ 177800 h 1585166"/>
                <a:gd name="connsiteX154" fmla="*/ 603250 w 1427969"/>
                <a:gd name="connsiteY154" fmla="*/ 171450 h 1585166"/>
                <a:gd name="connsiteX155" fmla="*/ 577850 w 1427969"/>
                <a:gd name="connsiteY155" fmla="*/ 114300 h 1585166"/>
                <a:gd name="connsiteX156" fmla="*/ 552450 w 1427969"/>
                <a:gd name="connsiteY156" fmla="*/ 101600 h 1585166"/>
                <a:gd name="connsiteX157" fmla="*/ 539750 w 1427969"/>
                <a:gd name="connsiteY157" fmla="*/ 120650 h 1585166"/>
                <a:gd name="connsiteX158" fmla="*/ 565150 w 1427969"/>
                <a:gd name="connsiteY158" fmla="*/ 158750 h 1585166"/>
                <a:gd name="connsiteX159" fmla="*/ 552450 w 1427969"/>
                <a:gd name="connsiteY159" fmla="*/ 177800 h 1585166"/>
                <a:gd name="connsiteX160" fmla="*/ 514350 w 1427969"/>
                <a:gd name="connsiteY160" fmla="*/ 158750 h 1585166"/>
                <a:gd name="connsiteX161" fmla="*/ 482600 w 1427969"/>
                <a:gd name="connsiteY161" fmla="*/ 152400 h 1585166"/>
                <a:gd name="connsiteX162" fmla="*/ 463550 w 1427969"/>
                <a:gd name="connsiteY162" fmla="*/ 146050 h 1585166"/>
                <a:gd name="connsiteX163" fmla="*/ 457200 w 1427969"/>
                <a:gd name="connsiteY163" fmla="*/ 139700 h 1585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1427969" h="1585166">
                  <a:moveTo>
                    <a:pt x="457200" y="139700"/>
                  </a:moveTo>
                  <a:cubicBezTo>
                    <a:pt x="467263" y="190014"/>
                    <a:pt x="458723" y="161797"/>
                    <a:pt x="488950" y="222250"/>
                  </a:cubicBezTo>
                  <a:lnTo>
                    <a:pt x="488950" y="222250"/>
                  </a:lnTo>
                  <a:cubicBezTo>
                    <a:pt x="497713" y="248540"/>
                    <a:pt x="491587" y="235731"/>
                    <a:pt x="508000" y="260350"/>
                  </a:cubicBezTo>
                  <a:cubicBezTo>
                    <a:pt x="506505" y="266329"/>
                    <a:pt x="499441" y="297347"/>
                    <a:pt x="495300" y="304800"/>
                  </a:cubicBezTo>
                  <a:cubicBezTo>
                    <a:pt x="487887" y="318143"/>
                    <a:pt x="478367" y="330200"/>
                    <a:pt x="469900" y="342900"/>
                  </a:cubicBezTo>
                  <a:cubicBezTo>
                    <a:pt x="456753" y="362620"/>
                    <a:pt x="472261" y="363871"/>
                    <a:pt x="450850" y="381000"/>
                  </a:cubicBezTo>
                  <a:cubicBezTo>
                    <a:pt x="445623" y="385181"/>
                    <a:pt x="438150" y="385233"/>
                    <a:pt x="431800" y="387350"/>
                  </a:cubicBezTo>
                  <a:cubicBezTo>
                    <a:pt x="424413" y="409511"/>
                    <a:pt x="422931" y="411331"/>
                    <a:pt x="419100" y="438150"/>
                  </a:cubicBezTo>
                  <a:cubicBezTo>
                    <a:pt x="416389" y="457125"/>
                    <a:pt x="416509" y="476505"/>
                    <a:pt x="412750" y="495300"/>
                  </a:cubicBezTo>
                  <a:cubicBezTo>
                    <a:pt x="410125" y="508427"/>
                    <a:pt x="409516" y="523934"/>
                    <a:pt x="400050" y="533400"/>
                  </a:cubicBezTo>
                  <a:lnTo>
                    <a:pt x="381000" y="552450"/>
                  </a:lnTo>
                  <a:cubicBezTo>
                    <a:pt x="368856" y="588883"/>
                    <a:pt x="383347" y="554875"/>
                    <a:pt x="355600" y="590550"/>
                  </a:cubicBezTo>
                  <a:cubicBezTo>
                    <a:pt x="346229" y="602598"/>
                    <a:pt x="339358" y="616439"/>
                    <a:pt x="330200" y="628650"/>
                  </a:cubicBezTo>
                  <a:cubicBezTo>
                    <a:pt x="300374" y="668418"/>
                    <a:pt x="318634" y="646566"/>
                    <a:pt x="273050" y="692150"/>
                  </a:cubicBezTo>
                  <a:cubicBezTo>
                    <a:pt x="267654" y="697546"/>
                    <a:pt x="260826" y="701437"/>
                    <a:pt x="254000" y="704850"/>
                  </a:cubicBezTo>
                  <a:cubicBezTo>
                    <a:pt x="248013" y="707843"/>
                    <a:pt x="241300" y="709083"/>
                    <a:pt x="234950" y="711200"/>
                  </a:cubicBezTo>
                  <a:cubicBezTo>
                    <a:pt x="222987" y="723163"/>
                    <a:pt x="210273" y="733387"/>
                    <a:pt x="203200" y="749300"/>
                  </a:cubicBezTo>
                  <a:cubicBezTo>
                    <a:pt x="180928" y="799413"/>
                    <a:pt x="205720" y="777253"/>
                    <a:pt x="171450" y="800100"/>
                  </a:cubicBezTo>
                  <a:cubicBezTo>
                    <a:pt x="155489" y="847983"/>
                    <a:pt x="177019" y="788961"/>
                    <a:pt x="152400" y="838200"/>
                  </a:cubicBezTo>
                  <a:cubicBezTo>
                    <a:pt x="145142" y="852715"/>
                    <a:pt x="143323" y="874509"/>
                    <a:pt x="139700" y="889000"/>
                  </a:cubicBezTo>
                  <a:cubicBezTo>
                    <a:pt x="138077" y="895494"/>
                    <a:pt x="135467" y="901700"/>
                    <a:pt x="133350" y="908050"/>
                  </a:cubicBezTo>
                  <a:cubicBezTo>
                    <a:pt x="131233" y="927100"/>
                    <a:pt x="128907" y="946128"/>
                    <a:pt x="127000" y="965200"/>
                  </a:cubicBezTo>
                  <a:cubicBezTo>
                    <a:pt x="124674" y="988463"/>
                    <a:pt x="128043" y="1012870"/>
                    <a:pt x="120650" y="1035050"/>
                  </a:cubicBezTo>
                  <a:cubicBezTo>
                    <a:pt x="118533" y="1041400"/>
                    <a:pt x="107950" y="1039283"/>
                    <a:pt x="101600" y="1041400"/>
                  </a:cubicBezTo>
                  <a:cubicBezTo>
                    <a:pt x="77194" y="1078009"/>
                    <a:pt x="98324" y="1042694"/>
                    <a:pt x="82550" y="1079500"/>
                  </a:cubicBezTo>
                  <a:cubicBezTo>
                    <a:pt x="78821" y="1088201"/>
                    <a:pt x="73174" y="1096037"/>
                    <a:pt x="69850" y="1104900"/>
                  </a:cubicBezTo>
                  <a:cubicBezTo>
                    <a:pt x="63746" y="1121176"/>
                    <a:pt x="64826" y="1133998"/>
                    <a:pt x="57150" y="1149350"/>
                  </a:cubicBezTo>
                  <a:cubicBezTo>
                    <a:pt x="53737" y="1156176"/>
                    <a:pt x="47550" y="1161426"/>
                    <a:pt x="44450" y="1168400"/>
                  </a:cubicBezTo>
                  <a:cubicBezTo>
                    <a:pt x="39013" y="1180633"/>
                    <a:pt x="31750" y="1206500"/>
                    <a:pt x="31750" y="1206500"/>
                  </a:cubicBezTo>
                  <a:cubicBezTo>
                    <a:pt x="33867" y="1212850"/>
                    <a:pt x="33919" y="1220323"/>
                    <a:pt x="38100" y="1225550"/>
                  </a:cubicBezTo>
                  <a:cubicBezTo>
                    <a:pt x="42868" y="1231509"/>
                    <a:pt x="51754" y="1232854"/>
                    <a:pt x="57150" y="1238250"/>
                  </a:cubicBezTo>
                  <a:cubicBezTo>
                    <a:pt x="62546" y="1243646"/>
                    <a:pt x="65617" y="1250950"/>
                    <a:pt x="69850" y="1257300"/>
                  </a:cubicBezTo>
                  <a:cubicBezTo>
                    <a:pt x="68242" y="1265340"/>
                    <a:pt x="63158" y="1297586"/>
                    <a:pt x="57150" y="1308100"/>
                  </a:cubicBezTo>
                  <a:cubicBezTo>
                    <a:pt x="51899" y="1317289"/>
                    <a:pt x="44450" y="1325033"/>
                    <a:pt x="38100" y="1333500"/>
                  </a:cubicBezTo>
                  <a:cubicBezTo>
                    <a:pt x="35983" y="1339850"/>
                    <a:pt x="34743" y="1346563"/>
                    <a:pt x="31750" y="1352550"/>
                  </a:cubicBezTo>
                  <a:cubicBezTo>
                    <a:pt x="28337" y="1359376"/>
                    <a:pt x="22056" y="1364585"/>
                    <a:pt x="19050" y="1371600"/>
                  </a:cubicBezTo>
                  <a:cubicBezTo>
                    <a:pt x="15612" y="1379622"/>
                    <a:pt x="14817" y="1388533"/>
                    <a:pt x="12700" y="1397000"/>
                  </a:cubicBezTo>
                  <a:cubicBezTo>
                    <a:pt x="14817" y="1403350"/>
                    <a:pt x="19050" y="1409357"/>
                    <a:pt x="19050" y="1416050"/>
                  </a:cubicBezTo>
                  <a:cubicBezTo>
                    <a:pt x="19050" y="1429195"/>
                    <a:pt x="6421" y="1444518"/>
                    <a:pt x="0" y="1454150"/>
                  </a:cubicBezTo>
                  <a:cubicBezTo>
                    <a:pt x="7188" y="1497277"/>
                    <a:pt x="196" y="1500847"/>
                    <a:pt x="44450" y="1530350"/>
                  </a:cubicBezTo>
                  <a:lnTo>
                    <a:pt x="82550" y="1555750"/>
                  </a:lnTo>
                  <a:cubicBezTo>
                    <a:pt x="84667" y="1564217"/>
                    <a:pt x="81918" y="1575914"/>
                    <a:pt x="88900" y="1581150"/>
                  </a:cubicBezTo>
                  <a:cubicBezTo>
                    <a:pt x="94255" y="1585166"/>
                    <a:pt x="101798" y="1577437"/>
                    <a:pt x="107950" y="1574800"/>
                  </a:cubicBezTo>
                  <a:cubicBezTo>
                    <a:pt x="185878" y="1541402"/>
                    <a:pt x="88627" y="1581286"/>
                    <a:pt x="152400" y="1549400"/>
                  </a:cubicBezTo>
                  <a:cubicBezTo>
                    <a:pt x="158387" y="1546407"/>
                    <a:pt x="165100" y="1545167"/>
                    <a:pt x="171450" y="1543050"/>
                  </a:cubicBezTo>
                  <a:cubicBezTo>
                    <a:pt x="182033" y="1545167"/>
                    <a:pt x="193094" y="1545610"/>
                    <a:pt x="203200" y="1549400"/>
                  </a:cubicBezTo>
                  <a:cubicBezTo>
                    <a:pt x="210346" y="1552080"/>
                    <a:pt x="214656" y="1561341"/>
                    <a:pt x="222250" y="1562100"/>
                  </a:cubicBezTo>
                  <a:cubicBezTo>
                    <a:pt x="237143" y="1563589"/>
                    <a:pt x="251883" y="1557867"/>
                    <a:pt x="266700" y="1555750"/>
                  </a:cubicBezTo>
                  <a:cubicBezTo>
                    <a:pt x="329723" y="1534742"/>
                    <a:pt x="233451" y="1569988"/>
                    <a:pt x="304800" y="1530350"/>
                  </a:cubicBezTo>
                  <a:cubicBezTo>
                    <a:pt x="316502" y="1523849"/>
                    <a:pt x="342900" y="1517650"/>
                    <a:pt x="342900" y="1517650"/>
                  </a:cubicBezTo>
                  <a:cubicBezTo>
                    <a:pt x="353483" y="1519767"/>
                    <a:pt x="365670" y="1518013"/>
                    <a:pt x="374650" y="1524000"/>
                  </a:cubicBezTo>
                  <a:cubicBezTo>
                    <a:pt x="380219" y="1527713"/>
                    <a:pt x="376267" y="1538317"/>
                    <a:pt x="381000" y="1543050"/>
                  </a:cubicBezTo>
                  <a:cubicBezTo>
                    <a:pt x="391793" y="1553843"/>
                    <a:pt x="419100" y="1568450"/>
                    <a:pt x="419100" y="1568450"/>
                  </a:cubicBezTo>
                  <a:cubicBezTo>
                    <a:pt x="439508" y="1565899"/>
                    <a:pt x="477412" y="1574177"/>
                    <a:pt x="482600" y="1543050"/>
                  </a:cubicBezTo>
                  <a:cubicBezTo>
                    <a:pt x="483700" y="1536448"/>
                    <a:pt x="478367" y="1530350"/>
                    <a:pt x="476250" y="1524000"/>
                  </a:cubicBezTo>
                  <a:cubicBezTo>
                    <a:pt x="484717" y="1521883"/>
                    <a:pt x="493259" y="1520048"/>
                    <a:pt x="501650" y="1517650"/>
                  </a:cubicBezTo>
                  <a:cubicBezTo>
                    <a:pt x="508086" y="1515811"/>
                    <a:pt x="518214" y="1517515"/>
                    <a:pt x="520700" y="1511300"/>
                  </a:cubicBezTo>
                  <a:cubicBezTo>
                    <a:pt x="531019" y="1485504"/>
                    <a:pt x="508600" y="1483983"/>
                    <a:pt x="495300" y="1479550"/>
                  </a:cubicBezTo>
                  <a:cubicBezTo>
                    <a:pt x="473010" y="1485122"/>
                    <a:pt x="455493" y="1493089"/>
                    <a:pt x="431800" y="1479550"/>
                  </a:cubicBezTo>
                  <a:cubicBezTo>
                    <a:pt x="425988" y="1476229"/>
                    <a:pt x="427567" y="1466850"/>
                    <a:pt x="425450" y="1460500"/>
                  </a:cubicBezTo>
                  <a:cubicBezTo>
                    <a:pt x="455639" y="1440374"/>
                    <a:pt x="437260" y="1450213"/>
                    <a:pt x="482600" y="1435100"/>
                  </a:cubicBezTo>
                  <a:lnTo>
                    <a:pt x="501650" y="1428750"/>
                  </a:lnTo>
                  <a:cubicBezTo>
                    <a:pt x="503767" y="1422400"/>
                    <a:pt x="503267" y="1414433"/>
                    <a:pt x="508000" y="1409700"/>
                  </a:cubicBezTo>
                  <a:cubicBezTo>
                    <a:pt x="520754" y="1396946"/>
                    <a:pt x="539561" y="1406478"/>
                    <a:pt x="552450" y="1409700"/>
                  </a:cubicBezTo>
                  <a:cubicBezTo>
                    <a:pt x="558800" y="1418167"/>
                    <a:pt x="568593" y="1424924"/>
                    <a:pt x="571500" y="1435100"/>
                  </a:cubicBezTo>
                  <a:cubicBezTo>
                    <a:pt x="578273" y="1458807"/>
                    <a:pt x="547793" y="1449493"/>
                    <a:pt x="571500" y="1473200"/>
                  </a:cubicBezTo>
                  <a:cubicBezTo>
                    <a:pt x="576233" y="1477933"/>
                    <a:pt x="584114" y="1477711"/>
                    <a:pt x="590550" y="1479550"/>
                  </a:cubicBezTo>
                  <a:cubicBezTo>
                    <a:pt x="623182" y="1488873"/>
                    <a:pt x="625521" y="1487096"/>
                    <a:pt x="666750" y="1492250"/>
                  </a:cubicBezTo>
                  <a:cubicBezTo>
                    <a:pt x="673100" y="1494367"/>
                    <a:pt x="679198" y="1499700"/>
                    <a:pt x="685800" y="1498600"/>
                  </a:cubicBezTo>
                  <a:cubicBezTo>
                    <a:pt x="693328" y="1497345"/>
                    <a:pt x="697835" y="1488906"/>
                    <a:pt x="704850" y="1485900"/>
                  </a:cubicBezTo>
                  <a:cubicBezTo>
                    <a:pt x="712872" y="1482462"/>
                    <a:pt x="721783" y="1481667"/>
                    <a:pt x="730250" y="1479550"/>
                  </a:cubicBezTo>
                  <a:cubicBezTo>
                    <a:pt x="740833" y="1481667"/>
                    <a:pt x="751587" y="1483060"/>
                    <a:pt x="762000" y="1485900"/>
                  </a:cubicBezTo>
                  <a:cubicBezTo>
                    <a:pt x="774915" y="1489422"/>
                    <a:pt x="800100" y="1498600"/>
                    <a:pt x="800100" y="1498600"/>
                  </a:cubicBezTo>
                  <a:cubicBezTo>
                    <a:pt x="802217" y="1492250"/>
                    <a:pt x="806450" y="1486243"/>
                    <a:pt x="806450" y="1479550"/>
                  </a:cubicBezTo>
                  <a:cubicBezTo>
                    <a:pt x="806450" y="1472857"/>
                    <a:pt x="803813" y="1466069"/>
                    <a:pt x="800100" y="1460500"/>
                  </a:cubicBezTo>
                  <a:cubicBezTo>
                    <a:pt x="790321" y="1445832"/>
                    <a:pt x="776057" y="1438121"/>
                    <a:pt x="762000" y="1428750"/>
                  </a:cubicBezTo>
                  <a:cubicBezTo>
                    <a:pt x="760312" y="1426218"/>
                    <a:pt x="738799" y="1397568"/>
                    <a:pt x="742950" y="1390650"/>
                  </a:cubicBezTo>
                  <a:cubicBezTo>
                    <a:pt x="747820" y="1382533"/>
                    <a:pt x="759883" y="1382183"/>
                    <a:pt x="768350" y="1377950"/>
                  </a:cubicBezTo>
                  <a:lnTo>
                    <a:pt x="806450" y="1416050"/>
                  </a:lnTo>
                  <a:cubicBezTo>
                    <a:pt x="815916" y="1425516"/>
                    <a:pt x="811724" y="1443011"/>
                    <a:pt x="819150" y="1454150"/>
                  </a:cubicBezTo>
                  <a:cubicBezTo>
                    <a:pt x="823383" y="1460500"/>
                    <a:pt x="826107" y="1468174"/>
                    <a:pt x="831850" y="1473200"/>
                  </a:cubicBezTo>
                  <a:cubicBezTo>
                    <a:pt x="843337" y="1483251"/>
                    <a:pt x="869950" y="1498600"/>
                    <a:pt x="869950" y="1498600"/>
                  </a:cubicBezTo>
                  <a:cubicBezTo>
                    <a:pt x="878933" y="1495606"/>
                    <a:pt x="906427" y="1485900"/>
                    <a:pt x="914400" y="1485900"/>
                  </a:cubicBezTo>
                  <a:cubicBezTo>
                    <a:pt x="925193" y="1485900"/>
                    <a:pt x="935567" y="1490133"/>
                    <a:pt x="946150" y="1492250"/>
                  </a:cubicBezTo>
                  <a:cubicBezTo>
                    <a:pt x="948267" y="1498600"/>
                    <a:pt x="950877" y="1504806"/>
                    <a:pt x="952500" y="1511300"/>
                  </a:cubicBezTo>
                  <a:cubicBezTo>
                    <a:pt x="955118" y="1521771"/>
                    <a:pt x="952863" y="1534070"/>
                    <a:pt x="958850" y="1543050"/>
                  </a:cubicBezTo>
                  <a:cubicBezTo>
                    <a:pt x="962563" y="1548619"/>
                    <a:pt x="971550" y="1547283"/>
                    <a:pt x="977900" y="1549400"/>
                  </a:cubicBezTo>
                  <a:cubicBezTo>
                    <a:pt x="998797" y="1563331"/>
                    <a:pt x="999555" y="1570322"/>
                    <a:pt x="1028700" y="1555750"/>
                  </a:cubicBezTo>
                  <a:cubicBezTo>
                    <a:pt x="1036732" y="1551734"/>
                    <a:pt x="1039900" y="1541061"/>
                    <a:pt x="1047750" y="1536700"/>
                  </a:cubicBezTo>
                  <a:cubicBezTo>
                    <a:pt x="1059452" y="1530199"/>
                    <a:pt x="1073150" y="1528233"/>
                    <a:pt x="1085850" y="1524000"/>
                  </a:cubicBezTo>
                  <a:cubicBezTo>
                    <a:pt x="1129080" y="1509590"/>
                    <a:pt x="1098230" y="1518206"/>
                    <a:pt x="1181100" y="1511300"/>
                  </a:cubicBezTo>
                  <a:cubicBezTo>
                    <a:pt x="1196594" y="1506135"/>
                    <a:pt x="1206890" y="1504560"/>
                    <a:pt x="1219200" y="1492250"/>
                  </a:cubicBezTo>
                  <a:cubicBezTo>
                    <a:pt x="1224596" y="1486854"/>
                    <a:pt x="1227667" y="1479550"/>
                    <a:pt x="1231900" y="1473200"/>
                  </a:cubicBezTo>
                  <a:cubicBezTo>
                    <a:pt x="1234017" y="1460500"/>
                    <a:pt x="1235457" y="1447669"/>
                    <a:pt x="1238250" y="1435100"/>
                  </a:cubicBezTo>
                  <a:cubicBezTo>
                    <a:pt x="1239702" y="1428566"/>
                    <a:pt x="1243287" y="1422614"/>
                    <a:pt x="1244600" y="1416050"/>
                  </a:cubicBezTo>
                  <a:cubicBezTo>
                    <a:pt x="1247535" y="1401374"/>
                    <a:pt x="1248833" y="1386417"/>
                    <a:pt x="1250950" y="1371600"/>
                  </a:cubicBezTo>
                  <a:lnTo>
                    <a:pt x="1238250" y="1333500"/>
                  </a:lnTo>
                  <a:lnTo>
                    <a:pt x="1231900" y="1314450"/>
                  </a:lnTo>
                  <a:cubicBezTo>
                    <a:pt x="1234017" y="1291167"/>
                    <a:pt x="1234187" y="1267624"/>
                    <a:pt x="1238250" y="1244600"/>
                  </a:cubicBezTo>
                  <a:cubicBezTo>
                    <a:pt x="1240576" y="1231417"/>
                    <a:pt x="1250950" y="1206500"/>
                    <a:pt x="1250950" y="1206500"/>
                  </a:cubicBezTo>
                  <a:cubicBezTo>
                    <a:pt x="1234989" y="1158617"/>
                    <a:pt x="1256519" y="1217639"/>
                    <a:pt x="1231900" y="1168400"/>
                  </a:cubicBezTo>
                  <a:cubicBezTo>
                    <a:pt x="1225092" y="1154783"/>
                    <a:pt x="1222098" y="1130642"/>
                    <a:pt x="1219200" y="1117600"/>
                  </a:cubicBezTo>
                  <a:cubicBezTo>
                    <a:pt x="1213884" y="1093680"/>
                    <a:pt x="1213571" y="1094364"/>
                    <a:pt x="1206500" y="1073150"/>
                  </a:cubicBezTo>
                  <a:cubicBezTo>
                    <a:pt x="1204383" y="1047750"/>
                    <a:pt x="1203519" y="1022214"/>
                    <a:pt x="1200150" y="996950"/>
                  </a:cubicBezTo>
                  <a:cubicBezTo>
                    <a:pt x="1196806" y="971872"/>
                    <a:pt x="1182137" y="977674"/>
                    <a:pt x="1200150" y="946150"/>
                  </a:cubicBezTo>
                  <a:cubicBezTo>
                    <a:pt x="1203936" y="939524"/>
                    <a:pt x="1212226" y="936550"/>
                    <a:pt x="1219200" y="933450"/>
                  </a:cubicBezTo>
                  <a:cubicBezTo>
                    <a:pt x="1231433" y="928013"/>
                    <a:pt x="1244600" y="924983"/>
                    <a:pt x="1257300" y="920750"/>
                  </a:cubicBezTo>
                  <a:cubicBezTo>
                    <a:pt x="1286589" y="910987"/>
                    <a:pt x="1269786" y="915713"/>
                    <a:pt x="1308100" y="908050"/>
                  </a:cubicBezTo>
                  <a:cubicBezTo>
                    <a:pt x="1312758" y="901063"/>
                    <a:pt x="1328696" y="880775"/>
                    <a:pt x="1327150" y="869950"/>
                  </a:cubicBezTo>
                  <a:cubicBezTo>
                    <a:pt x="1325811" y="860579"/>
                    <a:pt x="1318179" y="853251"/>
                    <a:pt x="1314450" y="844550"/>
                  </a:cubicBezTo>
                  <a:cubicBezTo>
                    <a:pt x="1298676" y="807744"/>
                    <a:pt x="1319806" y="843059"/>
                    <a:pt x="1295400" y="806450"/>
                  </a:cubicBezTo>
                  <a:cubicBezTo>
                    <a:pt x="1297517" y="800100"/>
                    <a:pt x="1297017" y="792133"/>
                    <a:pt x="1301750" y="787400"/>
                  </a:cubicBezTo>
                  <a:cubicBezTo>
                    <a:pt x="1315149" y="774001"/>
                    <a:pt x="1348562" y="785677"/>
                    <a:pt x="1358900" y="787400"/>
                  </a:cubicBezTo>
                  <a:cubicBezTo>
                    <a:pt x="1371600" y="791633"/>
                    <a:pt x="1389574" y="811239"/>
                    <a:pt x="1397000" y="800100"/>
                  </a:cubicBezTo>
                  <a:lnTo>
                    <a:pt x="1422400" y="762000"/>
                  </a:lnTo>
                  <a:cubicBezTo>
                    <a:pt x="1406439" y="714117"/>
                    <a:pt x="1427969" y="773139"/>
                    <a:pt x="1403350" y="723900"/>
                  </a:cubicBezTo>
                  <a:cubicBezTo>
                    <a:pt x="1400357" y="717913"/>
                    <a:pt x="1399117" y="711200"/>
                    <a:pt x="1397000" y="704850"/>
                  </a:cubicBezTo>
                  <a:cubicBezTo>
                    <a:pt x="1393164" y="654983"/>
                    <a:pt x="1394755" y="632372"/>
                    <a:pt x="1384300" y="590550"/>
                  </a:cubicBezTo>
                  <a:cubicBezTo>
                    <a:pt x="1382677" y="584056"/>
                    <a:pt x="1382683" y="576233"/>
                    <a:pt x="1377950" y="571500"/>
                  </a:cubicBezTo>
                  <a:cubicBezTo>
                    <a:pt x="1367157" y="560707"/>
                    <a:pt x="1339850" y="546100"/>
                    <a:pt x="1339850" y="546100"/>
                  </a:cubicBezTo>
                  <a:lnTo>
                    <a:pt x="1301750" y="488950"/>
                  </a:lnTo>
                  <a:cubicBezTo>
                    <a:pt x="1297944" y="483241"/>
                    <a:pt x="1290108" y="448205"/>
                    <a:pt x="1289050" y="444500"/>
                  </a:cubicBezTo>
                  <a:cubicBezTo>
                    <a:pt x="1275155" y="395867"/>
                    <a:pt x="1292264" y="456494"/>
                    <a:pt x="1270000" y="406400"/>
                  </a:cubicBezTo>
                  <a:lnTo>
                    <a:pt x="1250950" y="349250"/>
                  </a:lnTo>
                  <a:lnTo>
                    <a:pt x="1244600" y="330200"/>
                  </a:lnTo>
                  <a:cubicBezTo>
                    <a:pt x="1242483" y="292100"/>
                    <a:pt x="1245734" y="253318"/>
                    <a:pt x="1238250" y="215900"/>
                  </a:cubicBezTo>
                  <a:cubicBezTo>
                    <a:pt x="1236753" y="208416"/>
                    <a:pt x="1226755" y="204279"/>
                    <a:pt x="1219200" y="203200"/>
                  </a:cubicBezTo>
                  <a:cubicBezTo>
                    <a:pt x="1210560" y="201966"/>
                    <a:pt x="1202267" y="207433"/>
                    <a:pt x="1193800" y="209550"/>
                  </a:cubicBezTo>
                  <a:cubicBezTo>
                    <a:pt x="1178169" y="219971"/>
                    <a:pt x="1171331" y="232996"/>
                    <a:pt x="1155700" y="209550"/>
                  </a:cubicBezTo>
                  <a:cubicBezTo>
                    <a:pt x="1150859" y="202288"/>
                    <a:pt x="1151748" y="192541"/>
                    <a:pt x="1149350" y="184150"/>
                  </a:cubicBezTo>
                  <a:cubicBezTo>
                    <a:pt x="1147511" y="177714"/>
                    <a:pt x="1144839" y="171536"/>
                    <a:pt x="1143000" y="165100"/>
                  </a:cubicBezTo>
                  <a:cubicBezTo>
                    <a:pt x="1140287" y="155605"/>
                    <a:pt x="1135375" y="130800"/>
                    <a:pt x="1130300" y="120650"/>
                  </a:cubicBezTo>
                  <a:cubicBezTo>
                    <a:pt x="1126887" y="113824"/>
                    <a:pt x="1120700" y="108574"/>
                    <a:pt x="1117600" y="101600"/>
                  </a:cubicBezTo>
                  <a:cubicBezTo>
                    <a:pt x="1095328" y="51487"/>
                    <a:pt x="1120120" y="73647"/>
                    <a:pt x="1085850" y="50800"/>
                  </a:cubicBezTo>
                  <a:cubicBezTo>
                    <a:pt x="1041400" y="65617"/>
                    <a:pt x="1060450" y="67733"/>
                    <a:pt x="1028700" y="57150"/>
                  </a:cubicBezTo>
                  <a:cubicBezTo>
                    <a:pt x="1024467" y="50800"/>
                    <a:pt x="1019006" y="45115"/>
                    <a:pt x="1016000" y="38100"/>
                  </a:cubicBezTo>
                  <a:cubicBezTo>
                    <a:pt x="1012562" y="30078"/>
                    <a:pt x="1015102" y="19515"/>
                    <a:pt x="1009650" y="12700"/>
                  </a:cubicBezTo>
                  <a:cubicBezTo>
                    <a:pt x="1005469" y="7473"/>
                    <a:pt x="997226" y="7297"/>
                    <a:pt x="990600" y="6350"/>
                  </a:cubicBezTo>
                  <a:cubicBezTo>
                    <a:pt x="967456" y="3044"/>
                    <a:pt x="944033" y="2117"/>
                    <a:pt x="920750" y="0"/>
                  </a:cubicBezTo>
                  <a:cubicBezTo>
                    <a:pt x="910167" y="2117"/>
                    <a:pt x="897980" y="363"/>
                    <a:pt x="889000" y="6350"/>
                  </a:cubicBezTo>
                  <a:cubicBezTo>
                    <a:pt x="877574" y="13967"/>
                    <a:pt x="884046" y="44608"/>
                    <a:pt x="889000" y="50800"/>
                  </a:cubicBezTo>
                  <a:cubicBezTo>
                    <a:pt x="893181" y="56027"/>
                    <a:pt x="901700" y="55033"/>
                    <a:pt x="908050" y="57150"/>
                  </a:cubicBezTo>
                  <a:cubicBezTo>
                    <a:pt x="910167" y="63500"/>
                    <a:pt x="916886" y="69985"/>
                    <a:pt x="914400" y="76200"/>
                  </a:cubicBezTo>
                  <a:cubicBezTo>
                    <a:pt x="910612" y="85669"/>
                    <a:pt x="884319" y="92577"/>
                    <a:pt x="876300" y="95250"/>
                  </a:cubicBezTo>
                  <a:cubicBezTo>
                    <a:pt x="869950" y="99483"/>
                    <a:pt x="862018" y="101991"/>
                    <a:pt x="857250" y="107950"/>
                  </a:cubicBezTo>
                  <a:cubicBezTo>
                    <a:pt x="839608" y="130002"/>
                    <a:pt x="866592" y="128119"/>
                    <a:pt x="831850" y="139700"/>
                  </a:cubicBezTo>
                  <a:cubicBezTo>
                    <a:pt x="813337" y="145871"/>
                    <a:pt x="793750" y="148167"/>
                    <a:pt x="774700" y="152400"/>
                  </a:cubicBezTo>
                  <a:cubicBezTo>
                    <a:pt x="776817" y="158750"/>
                    <a:pt x="781050" y="164757"/>
                    <a:pt x="781050" y="171450"/>
                  </a:cubicBezTo>
                  <a:cubicBezTo>
                    <a:pt x="781050" y="180177"/>
                    <a:pt x="780871" y="190679"/>
                    <a:pt x="774700" y="196850"/>
                  </a:cubicBezTo>
                  <a:cubicBezTo>
                    <a:pt x="768529" y="203021"/>
                    <a:pt x="757858" y="201488"/>
                    <a:pt x="749300" y="203200"/>
                  </a:cubicBezTo>
                  <a:cubicBezTo>
                    <a:pt x="736675" y="205725"/>
                    <a:pt x="723900" y="207433"/>
                    <a:pt x="711200" y="209550"/>
                  </a:cubicBezTo>
                  <a:cubicBezTo>
                    <a:pt x="694267" y="207433"/>
                    <a:pt x="676471" y="208940"/>
                    <a:pt x="660400" y="203200"/>
                  </a:cubicBezTo>
                  <a:cubicBezTo>
                    <a:pt x="646026" y="198066"/>
                    <a:pt x="636780" y="182627"/>
                    <a:pt x="622300" y="177800"/>
                  </a:cubicBezTo>
                  <a:lnTo>
                    <a:pt x="603250" y="171450"/>
                  </a:lnTo>
                  <a:cubicBezTo>
                    <a:pt x="583124" y="141261"/>
                    <a:pt x="592963" y="159640"/>
                    <a:pt x="577850" y="114300"/>
                  </a:cubicBezTo>
                  <a:cubicBezTo>
                    <a:pt x="574857" y="105320"/>
                    <a:pt x="560917" y="105833"/>
                    <a:pt x="552450" y="101600"/>
                  </a:cubicBezTo>
                  <a:cubicBezTo>
                    <a:pt x="548217" y="107950"/>
                    <a:pt x="541005" y="113122"/>
                    <a:pt x="539750" y="120650"/>
                  </a:cubicBezTo>
                  <a:cubicBezTo>
                    <a:pt x="537124" y="136404"/>
                    <a:pt x="557219" y="150819"/>
                    <a:pt x="565150" y="158750"/>
                  </a:cubicBezTo>
                  <a:cubicBezTo>
                    <a:pt x="560917" y="165100"/>
                    <a:pt x="559536" y="174966"/>
                    <a:pt x="552450" y="177800"/>
                  </a:cubicBezTo>
                  <a:cubicBezTo>
                    <a:pt x="542910" y="181616"/>
                    <a:pt x="519871" y="160820"/>
                    <a:pt x="514350" y="158750"/>
                  </a:cubicBezTo>
                  <a:cubicBezTo>
                    <a:pt x="504244" y="154960"/>
                    <a:pt x="493071" y="155018"/>
                    <a:pt x="482600" y="152400"/>
                  </a:cubicBezTo>
                  <a:cubicBezTo>
                    <a:pt x="476106" y="150777"/>
                    <a:pt x="469900" y="148167"/>
                    <a:pt x="463550" y="146050"/>
                  </a:cubicBezTo>
                  <a:cubicBezTo>
                    <a:pt x="455703" y="169590"/>
                    <a:pt x="454207" y="159113"/>
                    <a:pt x="457200" y="139700"/>
                  </a:cubicBezTo>
                  <a:close/>
                </a:path>
              </a:pathLst>
            </a:custGeom>
            <a:grp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rtl="0" eaLnBrk="0" fontAlgn="base" hangingPunct="0">
                <a:spcBef>
                  <a:spcPct val="50000"/>
                </a:spcBef>
                <a:spcAft>
                  <a:spcPct val="0"/>
                </a:spcAft>
              </a:pPr>
              <a:endParaRPr lang="en-US" sz="900">
                <a:solidFill>
                  <a:srgbClr val="000000"/>
                </a:solidFill>
                <a:latin typeface="Arial" charset="0"/>
              </a:endParaRPr>
            </a:p>
          </p:txBody>
        </p:sp>
        <p:sp>
          <p:nvSpPr>
            <p:cNvPr id="60" name="Freeform 60">
              <a:extLst>
                <a:ext uri="{FF2B5EF4-FFF2-40B4-BE49-F238E27FC236}">
                  <a16:creationId xmlns:a16="http://schemas.microsoft.com/office/drawing/2014/main" id="{3E0CD240-8428-48E4-BD9D-E7B83A05E62F}"/>
                </a:ext>
              </a:extLst>
            </p:cNvPr>
            <p:cNvSpPr/>
            <p:nvPr>
              <p:custDataLst>
                <p:tags r:id="rId15"/>
              </p:custDataLst>
            </p:nvPr>
          </p:nvSpPr>
          <p:spPr bwMode="gray">
            <a:xfrm>
              <a:off x="2665599" y="3854450"/>
              <a:ext cx="1066800" cy="1365250"/>
            </a:xfrm>
            <a:custGeom>
              <a:avLst/>
              <a:gdLst>
                <a:gd name="connsiteX0" fmla="*/ 114300 w 1066800"/>
                <a:gd name="connsiteY0" fmla="*/ 355600 h 1365250"/>
                <a:gd name="connsiteX1" fmla="*/ 133350 w 1066800"/>
                <a:gd name="connsiteY1" fmla="*/ 374650 h 1365250"/>
                <a:gd name="connsiteX2" fmla="*/ 152400 w 1066800"/>
                <a:gd name="connsiteY2" fmla="*/ 387350 h 1365250"/>
                <a:gd name="connsiteX3" fmla="*/ 158750 w 1066800"/>
                <a:gd name="connsiteY3" fmla="*/ 406400 h 1365250"/>
                <a:gd name="connsiteX4" fmla="*/ 139700 w 1066800"/>
                <a:gd name="connsiteY4" fmla="*/ 412750 h 1365250"/>
                <a:gd name="connsiteX5" fmla="*/ 95250 w 1066800"/>
                <a:gd name="connsiteY5" fmla="*/ 393700 h 1365250"/>
                <a:gd name="connsiteX6" fmla="*/ 76200 w 1066800"/>
                <a:gd name="connsiteY6" fmla="*/ 412750 h 1365250"/>
                <a:gd name="connsiteX7" fmla="*/ 50800 w 1066800"/>
                <a:gd name="connsiteY7" fmla="*/ 450850 h 1365250"/>
                <a:gd name="connsiteX8" fmla="*/ 31750 w 1066800"/>
                <a:gd name="connsiteY8" fmla="*/ 463550 h 1365250"/>
                <a:gd name="connsiteX9" fmla="*/ 6350 w 1066800"/>
                <a:gd name="connsiteY9" fmla="*/ 457200 h 1365250"/>
                <a:gd name="connsiteX10" fmla="*/ 0 w 1066800"/>
                <a:gd name="connsiteY10" fmla="*/ 476250 h 1365250"/>
                <a:gd name="connsiteX11" fmla="*/ 6350 w 1066800"/>
                <a:gd name="connsiteY11" fmla="*/ 514350 h 1365250"/>
                <a:gd name="connsiteX12" fmla="*/ 12700 w 1066800"/>
                <a:gd name="connsiteY12" fmla="*/ 558800 h 1365250"/>
                <a:gd name="connsiteX13" fmla="*/ 19050 w 1066800"/>
                <a:gd name="connsiteY13" fmla="*/ 647700 h 1365250"/>
                <a:gd name="connsiteX14" fmla="*/ 25400 w 1066800"/>
                <a:gd name="connsiteY14" fmla="*/ 666750 h 1365250"/>
                <a:gd name="connsiteX15" fmla="*/ 44450 w 1066800"/>
                <a:gd name="connsiteY15" fmla="*/ 679450 h 1365250"/>
                <a:gd name="connsiteX16" fmla="*/ 57150 w 1066800"/>
                <a:gd name="connsiteY16" fmla="*/ 698500 h 1365250"/>
                <a:gd name="connsiteX17" fmla="*/ 88900 w 1066800"/>
                <a:gd name="connsiteY17" fmla="*/ 742950 h 1365250"/>
                <a:gd name="connsiteX18" fmla="*/ 127000 w 1066800"/>
                <a:gd name="connsiteY18" fmla="*/ 768350 h 1365250"/>
                <a:gd name="connsiteX19" fmla="*/ 146050 w 1066800"/>
                <a:gd name="connsiteY19" fmla="*/ 762000 h 1365250"/>
                <a:gd name="connsiteX20" fmla="*/ 177800 w 1066800"/>
                <a:gd name="connsiteY20" fmla="*/ 787400 h 1365250"/>
                <a:gd name="connsiteX21" fmla="*/ 158750 w 1066800"/>
                <a:gd name="connsiteY21" fmla="*/ 850900 h 1365250"/>
                <a:gd name="connsiteX22" fmla="*/ 146050 w 1066800"/>
                <a:gd name="connsiteY22" fmla="*/ 869950 h 1365250"/>
                <a:gd name="connsiteX23" fmla="*/ 127000 w 1066800"/>
                <a:gd name="connsiteY23" fmla="*/ 889000 h 1365250"/>
                <a:gd name="connsiteX24" fmla="*/ 107950 w 1066800"/>
                <a:gd name="connsiteY24" fmla="*/ 895350 h 1365250"/>
                <a:gd name="connsiteX25" fmla="*/ 82550 w 1066800"/>
                <a:gd name="connsiteY25" fmla="*/ 933450 h 1365250"/>
                <a:gd name="connsiteX26" fmla="*/ 88900 w 1066800"/>
                <a:gd name="connsiteY26" fmla="*/ 952500 h 1365250"/>
                <a:gd name="connsiteX27" fmla="*/ 184150 w 1066800"/>
                <a:gd name="connsiteY27" fmla="*/ 958850 h 1365250"/>
                <a:gd name="connsiteX28" fmla="*/ 254000 w 1066800"/>
                <a:gd name="connsiteY28" fmla="*/ 952500 h 1365250"/>
                <a:gd name="connsiteX29" fmla="*/ 266700 w 1066800"/>
                <a:gd name="connsiteY29" fmla="*/ 933450 h 1365250"/>
                <a:gd name="connsiteX30" fmla="*/ 285750 w 1066800"/>
                <a:gd name="connsiteY30" fmla="*/ 914400 h 1365250"/>
                <a:gd name="connsiteX31" fmla="*/ 304800 w 1066800"/>
                <a:gd name="connsiteY31" fmla="*/ 901700 h 1365250"/>
                <a:gd name="connsiteX32" fmla="*/ 336550 w 1066800"/>
                <a:gd name="connsiteY32" fmla="*/ 895350 h 1365250"/>
                <a:gd name="connsiteX33" fmla="*/ 355600 w 1066800"/>
                <a:gd name="connsiteY33" fmla="*/ 889000 h 1365250"/>
                <a:gd name="connsiteX34" fmla="*/ 406400 w 1066800"/>
                <a:gd name="connsiteY34" fmla="*/ 895350 h 1365250"/>
                <a:gd name="connsiteX35" fmla="*/ 419100 w 1066800"/>
                <a:gd name="connsiteY35" fmla="*/ 914400 h 1365250"/>
                <a:gd name="connsiteX36" fmla="*/ 488950 w 1066800"/>
                <a:gd name="connsiteY36" fmla="*/ 939800 h 1365250"/>
                <a:gd name="connsiteX37" fmla="*/ 501650 w 1066800"/>
                <a:gd name="connsiteY37" fmla="*/ 965200 h 1365250"/>
                <a:gd name="connsiteX38" fmla="*/ 495300 w 1066800"/>
                <a:gd name="connsiteY38" fmla="*/ 990600 h 1365250"/>
                <a:gd name="connsiteX39" fmla="*/ 501650 w 1066800"/>
                <a:gd name="connsiteY39" fmla="*/ 1047750 h 1365250"/>
                <a:gd name="connsiteX40" fmla="*/ 520700 w 1066800"/>
                <a:gd name="connsiteY40" fmla="*/ 1085850 h 1365250"/>
                <a:gd name="connsiteX41" fmla="*/ 539750 w 1066800"/>
                <a:gd name="connsiteY41" fmla="*/ 1104900 h 1365250"/>
                <a:gd name="connsiteX42" fmla="*/ 552450 w 1066800"/>
                <a:gd name="connsiteY42" fmla="*/ 1123950 h 1365250"/>
                <a:gd name="connsiteX43" fmla="*/ 533400 w 1066800"/>
                <a:gd name="connsiteY43" fmla="*/ 1225550 h 1365250"/>
                <a:gd name="connsiteX44" fmla="*/ 552450 w 1066800"/>
                <a:gd name="connsiteY44" fmla="*/ 1231900 h 1365250"/>
                <a:gd name="connsiteX45" fmla="*/ 590550 w 1066800"/>
                <a:gd name="connsiteY45" fmla="*/ 1231900 h 1365250"/>
                <a:gd name="connsiteX46" fmla="*/ 609600 w 1066800"/>
                <a:gd name="connsiteY46" fmla="*/ 1289050 h 1365250"/>
                <a:gd name="connsiteX47" fmla="*/ 666750 w 1066800"/>
                <a:gd name="connsiteY47" fmla="*/ 1320800 h 1365250"/>
                <a:gd name="connsiteX48" fmla="*/ 692150 w 1066800"/>
                <a:gd name="connsiteY48" fmla="*/ 1327150 h 1365250"/>
                <a:gd name="connsiteX49" fmla="*/ 793750 w 1066800"/>
                <a:gd name="connsiteY49" fmla="*/ 1320800 h 1365250"/>
                <a:gd name="connsiteX50" fmla="*/ 812800 w 1066800"/>
                <a:gd name="connsiteY50" fmla="*/ 1327150 h 1365250"/>
                <a:gd name="connsiteX51" fmla="*/ 850900 w 1066800"/>
                <a:gd name="connsiteY51" fmla="*/ 1352550 h 1365250"/>
                <a:gd name="connsiteX52" fmla="*/ 889000 w 1066800"/>
                <a:gd name="connsiteY52" fmla="*/ 1365250 h 1365250"/>
                <a:gd name="connsiteX53" fmla="*/ 952500 w 1066800"/>
                <a:gd name="connsiteY53" fmla="*/ 1352550 h 1365250"/>
                <a:gd name="connsiteX54" fmla="*/ 977900 w 1066800"/>
                <a:gd name="connsiteY54" fmla="*/ 1314450 h 1365250"/>
                <a:gd name="connsiteX55" fmla="*/ 990600 w 1066800"/>
                <a:gd name="connsiteY55" fmla="*/ 1295400 h 1365250"/>
                <a:gd name="connsiteX56" fmla="*/ 1016000 w 1066800"/>
                <a:gd name="connsiteY56" fmla="*/ 1181100 h 1365250"/>
                <a:gd name="connsiteX57" fmla="*/ 1035050 w 1066800"/>
                <a:gd name="connsiteY57" fmla="*/ 1168400 h 1365250"/>
                <a:gd name="connsiteX58" fmla="*/ 1041400 w 1066800"/>
                <a:gd name="connsiteY58" fmla="*/ 1143000 h 1365250"/>
                <a:gd name="connsiteX59" fmla="*/ 1066800 w 1066800"/>
                <a:gd name="connsiteY59" fmla="*/ 1104900 h 1365250"/>
                <a:gd name="connsiteX60" fmla="*/ 1060450 w 1066800"/>
                <a:gd name="connsiteY60" fmla="*/ 1079500 h 1365250"/>
                <a:gd name="connsiteX61" fmla="*/ 1047750 w 1066800"/>
                <a:gd name="connsiteY61" fmla="*/ 1035050 h 1365250"/>
                <a:gd name="connsiteX62" fmla="*/ 1028700 w 1066800"/>
                <a:gd name="connsiteY62" fmla="*/ 952500 h 1365250"/>
                <a:gd name="connsiteX63" fmla="*/ 1022350 w 1066800"/>
                <a:gd name="connsiteY63" fmla="*/ 933450 h 1365250"/>
                <a:gd name="connsiteX64" fmla="*/ 1016000 w 1066800"/>
                <a:gd name="connsiteY64" fmla="*/ 908050 h 1365250"/>
                <a:gd name="connsiteX65" fmla="*/ 990600 w 1066800"/>
                <a:gd name="connsiteY65" fmla="*/ 869950 h 1365250"/>
                <a:gd name="connsiteX66" fmla="*/ 1003300 w 1066800"/>
                <a:gd name="connsiteY66" fmla="*/ 850900 h 1365250"/>
                <a:gd name="connsiteX67" fmla="*/ 1041400 w 1066800"/>
                <a:gd name="connsiteY67" fmla="*/ 838200 h 1365250"/>
                <a:gd name="connsiteX68" fmla="*/ 1054100 w 1066800"/>
                <a:gd name="connsiteY68" fmla="*/ 819150 h 1365250"/>
                <a:gd name="connsiteX69" fmla="*/ 1035050 w 1066800"/>
                <a:gd name="connsiteY69" fmla="*/ 806450 h 1365250"/>
                <a:gd name="connsiteX70" fmla="*/ 1016000 w 1066800"/>
                <a:gd name="connsiteY70" fmla="*/ 787400 h 1365250"/>
                <a:gd name="connsiteX71" fmla="*/ 1003300 w 1066800"/>
                <a:gd name="connsiteY71" fmla="*/ 723900 h 1365250"/>
                <a:gd name="connsiteX72" fmla="*/ 984250 w 1066800"/>
                <a:gd name="connsiteY72" fmla="*/ 685800 h 1365250"/>
                <a:gd name="connsiteX73" fmla="*/ 977900 w 1066800"/>
                <a:gd name="connsiteY73" fmla="*/ 666750 h 1365250"/>
                <a:gd name="connsiteX74" fmla="*/ 939800 w 1066800"/>
                <a:gd name="connsiteY74" fmla="*/ 641350 h 1365250"/>
                <a:gd name="connsiteX75" fmla="*/ 882650 w 1066800"/>
                <a:gd name="connsiteY75" fmla="*/ 654050 h 1365250"/>
                <a:gd name="connsiteX76" fmla="*/ 863600 w 1066800"/>
                <a:gd name="connsiteY76" fmla="*/ 666750 h 1365250"/>
                <a:gd name="connsiteX77" fmla="*/ 819150 w 1066800"/>
                <a:gd name="connsiteY77" fmla="*/ 679450 h 1365250"/>
                <a:gd name="connsiteX78" fmla="*/ 793750 w 1066800"/>
                <a:gd name="connsiteY78" fmla="*/ 673100 h 1365250"/>
                <a:gd name="connsiteX79" fmla="*/ 762000 w 1066800"/>
                <a:gd name="connsiteY79" fmla="*/ 641350 h 1365250"/>
                <a:gd name="connsiteX80" fmla="*/ 749300 w 1066800"/>
                <a:gd name="connsiteY80" fmla="*/ 603250 h 1365250"/>
                <a:gd name="connsiteX81" fmla="*/ 755650 w 1066800"/>
                <a:gd name="connsiteY81" fmla="*/ 584200 h 1365250"/>
                <a:gd name="connsiteX82" fmla="*/ 793750 w 1066800"/>
                <a:gd name="connsiteY82" fmla="*/ 565150 h 1365250"/>
                <a:gd name="connsiteX83" fmla="*/ 800100 w 1066800"/>
                <a:gd name="connsiteY83" fmla="*/ 546100 h 1365250"/>
                <a:gd name="connsiteX84" fmla="*/ 787400 w 1066800"/>
                <a:gd name="connsiteY84" fmla="*/ 508000 h 1365250"/>
                <a:gd name="connsiteX85" fmla="*/ 831850 w 1066800"/>
                <a:gd name="connsiteY85" fmla="*/ 508000 h 1365250"/>
                <a:gd name="connsiteX86" fmla="*/ 869950 w 1066800"/>
                <a:gd name="connsiteY86" fmla="*/ 520700 h 1365250"/>
                <a:gd name="connsiteX87" fmla="*/ 876300 w 1066800"/>
                <a:gd name="connsiteY87" fmla="*/ 501650 h 1365250"/>
                <a:gd name="connsiteX88" fmla="*/ 869950 w 1066800"/>
                <a:gd name="connsiteY88" fmla="*/ 482600 h 1365250"/>
                <a:gd name="connsiteX89" fmla="*/ 895350 w 1066800"/>
                <a:gd name="connsiteY89" fmla="*/ 469900 h 1365250"/>
                <a:gd name="connsiteX90" fmla="*/ 908050 w 1066800"/>
                <a:gd name="connsiteY90" fmla="*/ 450850 h 1365250"/>
                <a:gd name="connsiteX91" fmla="*/ 882650 w 1066800"/>
                <a:gd name="connsiteY91" fmla="*/ 412750 h 1365250"/>
                <a:gd name="connsiteX92" fmla="*/ 876300 w 1066800"/>
                <a:gd name="connsiteY92" fmla="*/ 393700 h 1365250"/>
                <a:gd name="connsiteX93" fmla="*/ 869950 w 1066800"/>
                <a:gd name="connsiteY93" fmla="*/ 361950 h 1365250"/>
                <a:gd name="connsiteX94" fmla="*/ 857250 w 1066800"/>
                <a:gd name="connsiteY94" fmla="*/ 342900 h 1365250"/>
                <a:gd name="connsiteX95" fmla="*/ 857250 w 1066800"/>
                <a:gd name="connsiteY95" fmla="*/ 273050 h 1365250"/>
                <a:gd name="connsiteX96" fmla="*/ 895350 w 1066800"/>
                <a:gd name="connsiteY96" fmla="*/ 254000 h 1365250"/>
                <a:gd name="connsiteX97" fmla="*/ 908050 w 1066800"/>
                <a:gd name="connsiteY97" fmla="*/ 184150 h 1365250"/>
                <a:gd name="connsiteX98" fmla="*/ 869950 w 1066800"/>
                <a:gd name="connsiteY98" fmla="*/ 158750 h 1365250"/>
                <a:gd name="connsiteX99" fmla="*/ 844550 w 1066800"/>
                <a:gd name="connsiteY99" fmla="*/ 101600 h 1365250"/>
                <a:gd name="connsiteX100" fmla="*/ 831850 w 1066800"/>
                <a:gd name="connsiteY100" fmla="*/ 57150 h 1365250"/>
                <a:gd name="connsiteX101" fmla="*/ 793750 w 1066800"/>
                <a:gd name="connsiteY101" fmla="*/ 25400 h 1365250"/>
                <a:gd name="connsiteX102" fmla="*/ 774700 w 1066800"/>
                <a:gd name="connsiteY102" fmla="*/ 19050 h 1365250"/>
                <a:gd name="connsiteX103" fmla="*/ 768350 w 1066800"/>
                <a:gd name="connsiteY103" fmla="*/ 0 h 1365250"/>
                <a:gd name="connsiteX104" fmla="*/ 755650 w 1066800"/>
                <a:gd name="connsiteY104" fmla="*/ 19050 h 1365250"/>
                <a:gd name="connsiteX105" fmla="*/ 749300 w 1066800"/>
                <a:gd name="connsiteY105" fmla="*/ 57150 h 1365250"/>
                <a:gd name="connsiteX106" fmla="*/ 730250 w 1066800"/>
                <a:gd name="connsiteY106" fmla="*/ 69850 h 1365250"/>
                <a:gd name="connsiteX107" fmla="*/ 717550 w 1066800"/>
                <a:gd name="connsiteY107" fmla="*/ 88900 h 1365250"/>
                <a:gd name="connsiteX108" fmla="*/ 692150 w 1066800"/>
                <a:gd name="connsiteY108" fmla="*/ 120650 h 1365250"/>
                <a:gd name="connsiteX109" fmla="*/ 660400 w 1066800"/>
                <a:gd name="connsiteY109" fmla="*/ 127000 h 1365250"/>
                <a:gd name="connsiteX110" fmla="*/ 635000 w 1066800"/>
                <a:gd name="connsiteY110" fmla="*/ 133350 h 1365250"/>
                <a:gd name="connsiteX111" fmla="*/ 596900 w 1066800"/>
                <a:gd name="connsiteY111" fmla="*/ 146050 h 1365250"/>
                <a:gd name="connsiteX112" fmla="*/ 558800 w 1066800"/>
                <a:gd name="connsiteY112" fmla="*/ 171450 h 1365250"/>
                <a:gd name="connsiteX113" fmla="*/ 552450 w 1066800"/>
                <a:gd name="connsiteY113" fmla="*/ 196850 h 1365250"/>
                <a:gd name="connsiteX114" fmla="*/ 533400 w 1066800"/>
                <a:gd name="connsiteY114" fmla="*/ 203200 h 1365250"/>
                <a:gd name="connsiteX115" fmla="*/ 469900 w 1066800"/>
                <a:gd name="connsiteY115" fmla="*/ 209550 h 1365250"/>
                <a:gd name="connsiteX116" fmla="*/ 431800 w 1066800"/>
                <a:gd name="connsiteY116" fmla="*/ 222250 h 1365250"/>
                <a:gd name="connsiteX117" fmla="*/ 412750 w 1066800"/>
                <a:gd name="connsiteY117" fmla="*/ 228600 h 1365250"/>
                <a:gd name="connsiteX118" fmla="*/ 387350 w 1066800"/>
                <a:gd name="connsiteY118" fmla="*/ 260350 h 1365250"/>
                <a:gd name="connsiteX119" fmla="*/ 349250 w 1066800"/>
                <a:gd name="connsiteY119" fmla="*/ 298450 h 1365250"/>
                <a:gd name="connsiteX120" fmla="*/ 336550 w 1066800"/>
                <a:gd name="connsiteY120" fmla="*/ 317500 h 1365250"/>
                <a:gd name="connsiteX121" fmla="*/ 298450 w 1066800"/>
                <a:gd name="connsiteY121" fmla="*/ 342900 h 1365250"/>
                <a:gd name="connsiteX122" fmla="*/ 292100 w 1066800"/>
                <a:gd name="connsiteY122" fmla="*/ 361950 h 1365250"/>
                <a:gd name="connsiteX123" fmla="*/ 254000 w 1066800"/>
                <a:gd name="connsiteY123" fmla="*/ 374650 h 1365250"/>
                <a:gd name="connsiteX124" fmla="*/ 203200 w 1066800"/>
                <a:gd name="connsiteY124" fmla="*/ 368300 h 1365250"/>
                <a:gd name="connsiteX125" fmla="*/ 165100 w 1066800"/>
                <a:gd name="connsiteY125" fmla="*/ 361950 h 1365250"/>
                <a:gd name="connsiteX126" fmla="*/ 114300 w 1066800"/>
                <a:gd name="connsiteY126" fmla="*/ 355600 h 136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066800" h="1365250">
                  <a:moveTo>
                    <a:pt x="114300" y="355600"/>
                  </a:moveTo>
                  <a:cubicBezTo>
                    <a:pt x="109008" y="357717"/>
                    <a:pt x="126451" y="368901"/>
                    <a:pt x="133350" y="374650"/>
                  </a:cubicBezTo>
                  <a:cubicBezTo>
                    <a:pt x="139213" y="379536"/>
                    <a:pt x="147632" y="381391"/>
                    <a:pt x="152400" y="387350"/>
                  </a:cubicBezTo>
                  <a:cubicBezTo>
                    <a:pt x="156581" y="392577"/>
                    <a:pt x="156633" y="400050"/>
                    <a:pt x="158750" y="406400"/>
                  </a:cubicBezTo>
                  <a:cubicBezTo>
                    <a:pt x="152400" y="408517"/>
                    <a:pt x="146393" y="412750"/>
                    <a:pt x="139700" y="412750"/>
                  </a:cubicBezTo>
                  <a:cubicBezTo>
                    <a:pt x="119198" y="412750"/>
                    <a:pt x="110804" y="404069"/>
                    <a:pt x="95250" y="393700"/>
                  </a:cubicBezTo>
                  <a:cubicBezTo>
                    <a:pt x="88900" y="400050"/>
                    <a:pt x="81713" y="405661"/>
                    <a:pt x="76200" y="412750"/>
                  </a:cubicBezTo>
                  <a:cubicBezTo>
                    <a:pt x="66829" y="424798"/>
                    <a:pt x="63500" y="442383"/>
                    <a:pt x="50800" y="450850"/>
                  </a:cubicBezTo>
                  <a:lnTo>
                    <a:pt x="31750" y="463550"/>
                  </a:lnTo>
                  <a:cubicBezTo>
                    <a:pt x="23283" y="461433"/>
                    <a:pt x="14453" y="453959"/>
                    <a:pt x="6350" y="457200"/>
                  </a:cubicBezTo>
                  <a:cubicBezTo>
                    <a:pt x="135" y="459686"/>
                    <a:pt x="0" y="469557"/>
                    <a:pt x="0" y="476250"/>
                  </a:cubicBezTo>
                  <a:cubicBezTo>
                    <a:pt x="0" y="489125"/>
                    <a:pt x="4392" y="501625"/>
                    <a:pt x="6350" y="514350"/>
                  </a:cubicBezTo>
                  <a:cubicBezTo>
                    <a:pt x="8626" y="529143"/>
                    <a:pt x="11281" y="543900"/>
                    <a:pt x="12700" y="558800"/>
                  </a:cubicBezTo>
                  <a:cubicBezTo>
                    <a:pt x="15517" y="588375"/>
                    <a:pt x="15579" y="618195"/>
                    <a:pt x="19050" y="647700"/>
                  </a:cubicBezTo>
                  <a:cubicBezTo>
                    <a:pt x="19832" y="654348"/>
                    <a:pt x="21219" y="661523"/>
                    <a:pt x="25400" y="666750"/>
                  </a:cubicBezTo>
                  <a:cubicBezTo>
                    <a:pt x="30168" y="672709"/>
                    <a:pt x="38100" y="675217"/>
                    <a:pt x="44450" y="679450"/>
                  </a:cubicBezTo>
                  <a:cubicBezTo>
                    <a:pt x="48683" y="685800"/>
                    <a:pt x="53364" y="691874"/>
                    <a:pt x="57150" y="698500"/>
                  </a:cubicBezTo>
                  <a:cubicBezTo>
                    <a:pt x="71962" y="724421"/>
                    <a:pt x="64963" y="724332"/>
                    <a:pt x="88900" y="742950"/>
                  </a:cubicBezTo>
                  <a:cubicBezTo>
                    <a:pt x="100948" y="752321"/>
                    <a:pt x="127000" y="768350"/>
                    <a:pt x="127000" y="768350"/>
                  </a:cubicBezTo>
                  <a:cubicBezTo>
                    <a:pt x="133350" y="766233"/>
                    <a:pt x="139357" y="762000"/>
                    <a:pt x="146050" y="762000"/>
                  </a:cubicBezTo>
                  <a:cubicBezTo>
                    <a:pt x="166498" y="762000"/>
                    <a:pt x="168048" y="772772"/>
                    <a:pt x="177800" y="787400"/>
                  </a:cubicBezTo>
                  <a:cubicBezTo>
                    <a:pt x="168203" y="825787"/>
                    <a:pt x="174210" y="804521"/>
                    <a:pt x="158750" y="850900"/>
                  </a:cubicBezTo>
                  <a:cubicBezTo>
                    <a:pt x="156337" y="858140"/>
                    <a:pt x="150936" y="864087"/>
                    <a:pt x="146050" y="869950"/>
                  </a:cubicBezTo>
                  <a:cubicBezTo>
                    <a:pt x="140301" y="876849"/>
                    <a:pt x="134472" y="884019"/>
                    <a:pt x="127000" y="889000"/>
                  </a:cubicBezTo>
                  <a:cubicBezTo>
                    <a:pt x="121431" y="892713"/>
                    <a:pt x="114300" y="893233"/>
                    <a:pt x="107950" y="895350"/>
                  </a:cubicBezTo>
                  <a:cubicBezTo>
                    <a:pt x="99483" y="908050"/>
                    <a:pt x="77723" y="918970"/>
                    <a:pt x="82550" y="933450"/>
                  </a:cubicBezTo>
                  <a:cubicBezTo>
                    <a:pt x="84667" y="939800"/>
                    <a:pt x="82406" y="950877"/>
                    <a:pt x="88900" y="952500"/>
                  </a:cubicBezTo>
                  <a:cubicBezTo>
                    <a:pt x="119770" y="960218"/>
                    <a:pt x="152400" y="956733"/>
                    <a:pt x="184150" y="958850"/>
                  </a:cubicBezTo>
                  <a:cubicBezTo>
                    <a:pt x="207433" y="956733"/>
                    <a:pt x="231655" y="959376"/>
                    <a:pt x="254000" y="952500"/>
                  </a:cubicBezTo>
                  <a:cubicBezTo>
                    <a:pt x="261294" y="950256"/>
                    <a:pt x="261814" y="939313"/>
                    <a:pt x="266700" y="933450"/>
                  </a:cubicBezTo>
                  <a:cubicBezTo>
                    <a:pt x="272449" y="926551"/>
                    <a:pt x="278851" y="920149"/>
                    <a:pt x="285750" y="914400"/>
                  </a:cubicBezTo>
                  <a:cubicBezTo>
                    <a:pt x="291613" y="909514"/>
                    <a:pt x="297654" y="904380"/>
                    <a:pt x="304800" y="901700"/>
                  </a:cubicBezTo>
                  <a:cubicBezTo>
                    <a:pt x="314906" y="897910"/>
                    <a:pt x="326079" y="897968"/>
                    <a:pt x="336550" y="895350"/>
                  </a:cubicBezTo>
                  <a:cubicBezTo>
                    <a:pt x="343044" y="893727"/>
                    <a:pt x="349250" y="891117"/>
                    <a:pt x="355600" y="889000"/>
                  </a:cubicBezTo>
                  <a:cubicBezTo>
                    <a:pt x="372533" y="891117"/>
                    <a:pt x="390555" y="889012"/>
                    <a:pt x="406400" y="895350"/>
                  </a:cubicBezTo>
                  <a:cubicBezTo>
                    <a:pt x="413486" y="898184"/>
                    <a:pt x="413704" y="909004"/>
                    <a:pt x="419100" y="914400"/>
                  </a:cubicBezTo>
                  <a:cubicBezTo>
                    <a:pt x="437282" y="932582"/>
                    <a:pt x="465454" y="935101"/>
                    <a:pt x="488950" y="939800"/>
                  </a:cubicBezTo>
                  <a:cubicBezTo>
                    <a:pt x="493183" y="948267"/>
                    <a:pt x="500476" y="955807"/>
                    <a:pt x="501650" y="965200"/>
                  </a:cubicBezTo>
                  <a:cubicBezTo>
                    <a:pt x="502732" y="973860"/>
                    <a:pt x="495300" y="981873"/>
                    <a:pt x="495300" y="990600"/>
                  </a:cubicBezTo>
                  <a:cubicBezTo>
                    <a:pt x="495300" y="1009767"/>
                    <a:pt x="498499" y="1028844"/>
                    <a:pt x="501650" y="1047750"/>
                  </a:cubicBezTo>
                  <a:cubicBezTo>
                    <a:pt x="504037" y="1062069"/>
                    <a:pt x="511558" y="1074879"/>
                    <a:pt x="520700" y="1085850"/>
                  </a:cubicBezTo>
                  <a:cubicBezTo>
                    <a:pt x="526449" y="1092749"/>
                    <a:pt x="534001" y="1098001"/>
                    <a:pt x="539750" y="1104900"/>
                  </a:cubicBezTo>
                  <a:cubicBezTo>
                    <a:pt x="544636" y="1110763"/>
                    <a:pt x="548217" y="1117600"/>
                    <a:pt x="552450" y="1123950"/>
                  </a:cubicBezTo>
                  <a:cubicBezTo>
                    <a:pt x="524882" y="1165302"/>
                    <a:pt x="512108" y="1166997"/>
                    <a:pt x="533400" y="1225550"/>
                  </a:cubicBezTo>
                  <a:cubicBezTo>
                    <a:pt x="535687" y="1231840"/>
                    <a:pt x="546100" y="1229783"/>
                    <a:pt x="552450" y="1231900"/>
                  </a:cubicBezTo>
                  <a:cubicBezTo>
                    <a:pt x="567391" y="1221939"/>
                    <a:pt x="575609" y="1207994"/>
                    <a:pt x="590550" y="1231900"/>
                  </a:cubicBezTo>
                  <a:lnTo>
                    <a:pt x="609600" y="1289050"/>
                  </a:lnTo>
                  <a:cubicBezTo>
                    <a:pt x="614388" y="1303413"/>
                    <a:pt x="650271" y="1316092"/>
                    <a:pt x="666750" y="1320800"/>
                  </a:cubicBezTo>
                  <a:cubicBezTo>
                    <a:pt x="675141" y="1323198"/>
                    <a:pt x="683683" y="1325033"/>
                    <a:pt x="692150" y="1327150"/>
                  </a:cubicBezTo>
                  <a:cubicBezTo>
                    <a:pt x="759506" y="1310311"/>
                    <a:pt x="725630" y="1312285"/>
                    <a:pt x="793750" y="1320800"/>
                  </a:cubicBezTo>
                  <a:cubicBezTo>
                    <a:pt x="800100" y="1322917"/>
                    <a:pt x="806949" y="1323899"/>
                    <a:pt x="812800" y="1327150"/>
                  </a:cubicBezTo>
                  <a:cubicBezTo>
                    <a:pt x="826143" y="1334563"/>
                    <a:pt x="836420" y="1347723"/>
                    <a:pt x="850900" y="1352550"/>
                  </a:cubicBezTo>
                  <a:lnTo>
                    <a:pt x="889000" y="1365250"/>
                  </a:lnTo>
                  <a:cubicBezTo>
                    <a:pt x="910167" y="1361017"/>
                    <a:pt x="933758" y="1363260"/>
                    <a:pt x="952500" y="1352550"/>
                  </a:cubicBezTo>
                  <a:cubicBezTo>
                    <a:pt x="965752" y="1344977"/>
                    <a:pt x="969433" y="1327150"/>
                    <a:pt x="977900" y="1314450"/>
                  </a:cubicBezTo>
                  <a:lnTo>
                    <a:pt x="990600" y="1295400"/>
                  </a:lnTo>
                  <a:cubicBezTo>
                    <a:pt x="995815" y="1217171"/>
                    <a:pt x="974938" y="1215318"/>
                    <a:pt x="1016000" y="1181100"/>
                  </a:cubicBezTo>
                  <a:cubicBezTo>
                    <a:pt x="1021863" y="1176214"/>
                    <a:pt x="1028700" y="1172633"/>
                    <a:pt x="1035050" y="1168400"/>
                  </a:cubicBezTo>
                  <a:cubicBezTo>
                    <a:pt x="1037167" y="1159933"/>
                    <a:pt x="1037497" y="1150806"/>
                    <a:pt x="1041400" y="1143000"/>
                  </a:cubicBezTo>
                  <a:cubicBezTo>
                    <a:pt x="1048226" y="1129348"/>
                    <a:pt x="1066800" y="1104900"/>
                    <a:pt x="1066800" y="1104900"/>
                  </a:cubicBezTo>
                  <a:cubicBezTo>
                    <a:pt x="1064683" y="1096433"/>
                    <a:pt x="1062848" y="1087891"/>
                    <a:pt x="1060450" y="1079500"/>
                  </a:cubicBezTo>
                  <a:cubicBezTo>
                    <a:pt x="1053649" y="1055697"/>
                    <a:pt x="1052713" y="1062345"/>
                    <a:pt x="1047750" y="1035050"/>
                  </a:cubicBezTo>
                  <a:cubicBezTo>
                    <a:pt x="1034561" y="962510"/>
                    <a:pt x="1050557" y="1018070"/>
                    <a:pt x="1028700" y="952500"/>
                  </a:cubicBezTo>
                  <a:cubicBezTo>
                    <a:pt x="1026583" y="946150"/>
                    <a:pt x="1023973" y="939944"/>
                    <a:pt x="1022350" y="933450"/>
                  </a:cubicBezTo>
                  <a:cubicBezTo>
                    <a:pt x="1020233" y="924983"/>
                    <a:pt x="1019903" y="915856"/>
                    <a:pt x="1016000" y="908050"/>
                  </a:cubicBezTo>
                  <a:cubicBezTo>
                    <a:pt x="1009174" y="894398"/>
                    <a:pt x="990600" y="869950"/>
                    <a:pt x="990600" y="869950"/>
                  </a:cubicBezTo>
                  <a:cubicBezTo>
                    <a:pt x="994833" y="863600"/>
                    <a:pt x="996828" y="854945"/>
                    <a:pt x="1003300" y="850900"/>
                  </a:cubicBezTo>
                  <a:cubicBezTo>
                    <a:pt x="1014652" y="843805"/>
                    <a:pt x="1041400" y="838200"/>
                    <a:pt x="1041400" y="838200"/>
                  </a:cubicBezTo>
                  <a:cubicBezTo>
                    <a:pt x="1045633" y="831850"/>
                    <a:pt x="1055597" y="826634"/>
                    <a:pt x="1054100" y="819150"/>
                  </a:cubicBezTo>
                  <a:cubicBezTo>
                    <a:pt x="1052603" y="811666"/>
                    <a:pt x="1040913" y="811336"/>
                    <a:pt x="1035050" y="806450"/>
                  </a:cubicBezTo>
                  <a:cubicBezTo>
                    <a:pt x="1028151" y="800701"/>
                    <a:pt x="1022350" y="793750"/>
                    <a:pt x="1016000" y="787400"/>
                  </a:cubicBezTo>
                  <a:cubicBezTo>
                    <a:pt x="1001654" y="744362"/>
                    <a:pt x="1017893" y="796866"/>
                    <a:pt x="1003300" y="723900"/>
                  </a:cubicBezTo>
                  <a:cubicBezTo>
                    <a:pt x="997980" y="697299"/>
                    <a:pt x="996737" y="710774"/>
                    <a:pt x="984250" y="685800"/>
                  </a:cubicBezTo>
                  <a:cubicBezTo>
                    <a:pt x="981257" y="679813"/>
                    <a:pt x="982633" y="671483"/>
                    <a:pt x="977900" y="666750"/>
                  </a:cubicBezTo>
                  <a:cubicBezTo>
                    <a:pt x="967107" y="655957"/>
                    <a:pt x="939800" y="641350"/>
                    <a:pt x="939800" y="641350"/>
                  </a:cubicBezTo>
                  <a:cubicBezTo>
                    <a:pt x="925167" y="643789"/>
                    <a:pt x="898282" y="646234"/>
                    <a:pt x="882650" y="654050"/>
                  </a:cubicBezTo>
                  <a:cubicBezTo>
                    <a:pt x="875824" y="657463"/>
                    <a:pt x="870426" y="663337"/>
                    <a:pt x="863600" y="666750"/>
                  </a:cubicBezTo>
                  <a:cubicBezTo>
                    <a:pt x="854490" y="671305"/>
                    <a:pt x="827288" y="677415"/>
                    <a:pt x="819150" y="679450"/>
                  </a:cubicBezTo>
                  <a:cubicBezTo>
                    <a:pt x="810683" y="677333"/>
                    <a:pt x="801772" y="676538"/>
                    <a:pt x="793750" y="673100"/>
                  </a:cubicBezTo>
                  <a:cubicBezTo>
                    <a:pt x="778643" y="666625"/>
                    <a:pt x="768641" y="656291"/>
                    <a:pt x="762000" y="641350"/>
                  </a:cubicBezTo>
                  <a:cubicBezTo>
                    <a:pt x="756563" y="629117"/>
                    <a:pt x="749300" y="603250"/>
                    <a:pt x="749300" y="603250"/>
                  </a:cubicBezTo>
                  <a:cubicBezTo>
                    <a:pt x="751417" y="596900"/>
                    <a:pt x="751469" y="589427"/>
                    <a:pt x="755650" y="584200"/>
                  </a:cubicBezTo>
                  <a:cubicBezTo>
                    <a:pt x="764602" y="573009"/>
                    <a:pt x="781201" y="569333"/>
                    <a:pt x="793750" y="565150"/>
                  </a:cubicBezTo>
                  <a:cubicBezTo>
                    <a:pt x="795867" y="558800"/>
                    <a:pt x="800839" y="552753"/>
                    <a:pt x="800100" y="546100"/>
                  </a:cubicBezTo>
                  <a:cubicBezTo>
                    <a:pt x="798622" y="532795"/>
                    <a:pt x="787400" y="508000"/>
                    <a:pt x="787400" y="508000"/>
                  </a:cubicBezTo>
                  <a:cubicBezTo>
                    <a:pt x="812798" y="499534"/>
                    <a:pt x="802474" y="499187"/>
                    <a:pt x="831850" y="508000"/>
                  </a:cubicBezTo>
                  <a:cubicBezTo>
                    <a:pt x="844672" y="511847"/>
                    <a:pt x="869950" y="520700"/>
                    <a:pt x="869950" y="520700"/>
                  </a:cubicBezTo>
                  <a:cubicBezTo>
                    <a:pt x="872067" y="514350"/>
                    <a:pt x="876300" y="508343"/>
                    <a:pt x="876300" y="501650"/>
                  </a:cubicBezTo>
                  <a:cubicBezTo>
                    <a:pt x="876300" y="494957"/>
                    <a:pt x="866506" y="488340"/>
                    <a:pt x="869950" y="482600"/>
                  </a:cubicBezTo>
                  <a:cubicBezTo>
                    <a:pt x="874820" y="474483"/>
                    <a:pt x="886883" y="474133"/>
                    <a:pt x="895350" y="469900"/>
                  </a:cubicBezTo>
                  <a:cubicBezTo>
                    <a:pt x="899583" y="463550"/>
                    <a:pt x="909706" y="458300"/>
                    <a:pt x="908050" y="450850"/>
                  </a:cubicBezTo>
                  <a:cubicBezTo>
                    <a:pt x="904739" y="435950"/>
                    <a:pt x="887477" y="427230"/>
                    <a:pt x="882650" y="412750"/>
                  </a:cubicBezTo>
                  <a:cubicBezTo>
                    <a:pt x="880533" y="406400"/>
                    <a:pt x="877923" y="400194"/>
                    <a:pt x="876300" y="393700"/>
                  </a:cubicBezTo>
                  <a:cubicBezTo>
                    <a:pt x="873682" y="383229"/>
                    <a:pt x="873740" y="372056"/>
                    <a:pt x="869950" y="361950"/>
                  </a:cubicBezTo>
                  <a:cubicBezTo>
                    <a:pt x="867270" y="354804"/>
                    <a:pt x="861483" y="349250"/>
                    <a:pt x="857250" y="342900"/>
                  </a:cubicBezTo>
                  <a:cubicBezTo>
                    <a:pt x="850631" y="316424"/>
                    <a:pt x="843902" y="303084"/>
                    <a:pt x="857250" y="273050"/>
                  </a:cubicBezTo>
                  <a:cubicBezTo>
                    <a:pt x="861532" y="263416"/>
                    <a:pt x="886897" y="256818"/>
                    <a:pt x="895350" y="254000"/>
                  </a:cubicBezTo>
                  <a:cubicBezTo>
                    <a:pt x="922243" y="236072"/>
                    <a:pt x="935600" y="235314"/>
                    <a:pt x="908050" y="184150"/>
                  </a:cubicBezTo>
                  <a:cubicBezTo>
                    <a:pt x="900814" y="170711"/>
                    <a:pt x="869950" y="158750"/>
                    <a:pt x="869950" y="158750"/>
                  </a:cubicBezTo>
                  <a:cubicBezTo>
                    <a:pt x="853271" y="133731"/>
                    <a:pt x="853618" y="137872"/>
                    <a:pt x="844550" y="101600"/>
                  </a:cubicBezTo>
                  <a:cubicBezTo>
                    <a:pt x="843703" y="98213"/>
                    <a:pt x="835494" y="62616"/>
                    <a:pt x="831850" y="57150"/>
                  </a:cubicBezTo>
                  <a:cubicBezTo>
                    <a:pt x="824828" y="46617"/>
                    <a:pt x="805464" y="31257"/>
                    <a:pt x="793750" y="25400"/>
                  </a:cubicBezTo>
                  <a:cubicBezTo>
                    <a:pt x="787763" y="22407"/>
                    <a:pt x="781050" y="21167"/>
                    <a:pt x="774700" y="19050"/>
                  </a:cubicBezTo>
                  <a:cubicBezTo>
                    <a:pt x="772583" y="12700"/>
                    <a:pt x="775043" y="0"/>
                    <a:pt x="768350" y="0"/>
                  </a:cubicBezTo>
                  <a:cubicBezTo>
                    <a:pt x="760718" y="0"/>
                    <a:pt x="758063" y="11810"/>
                    <a:pt x="755650" y="19050"/>
                  </a:cubicBezTo>
                  <a:cubicBezTo>
                    <a:pt x="751579" y="31264"/>
                    <a:pt x="755058" y="45634"/>
                    <a:pt x="749300" y="57150"/>
                  </a:cubicBezTo>
                  <a:cubicBezTo>
                    <a:pt x="745887" y="63976"/>
                    <a:pt x="736600" y="65617"/>
                    <a:pt x="730250" y="69850"/>
                  </a:cubicBezTo>
                  <a:cubicBezTo>
                    <a:pt x="726017" y="76200"/>
                    <a:pt x="720963" y="82074"/>
                    <a:pt x="717550" y="88900"/>
                  </a:cubicBezTo>
                  <a:cubicBezTo>
                    <a:pt x="707269" y="109461"/>
                    <a:pt x="718499" y="110769"/>
                    <a:pt x="692150" y="120650"/>
                  </a:cubicBezTo>
                  <a:cubicBezTo>
                    <a:pt x="682044" y="124440"/>
                    <a:pt x="670936" y="124659"/>
                    <a:pt x="660400" y="127000"/>
                  </a:cubicBezTo>
                  <a:cubicBezTo>
                    <a:pt x="651881" y="128893"/>
                    <a:pt x="643359" y="130842"/>
                    <a:pt x="635000" y="133350"/>
                  </a:cubicBezTo>
                  <a:cubicBezTo>
                    <a:pt x="622178" y="137197"/>
                    <a:pt x="596900" y="146050"/>
                    <a:pt x="596900" y="146050"/>
                  </a:cubicBezTo>
                  <a:cubicBezTo>
                    <a:pt x="584200" y="154517"/>
                    <a:pt x="562502" y="156642"/>
                    <a:pt x="558800" y="171450"/>
                  </a:cubicBezTo>
                  <a:cubicBezTo>
                    <a:pt x="556683" y="179917"/>
                    <a:pt x="557902" y="190035"/>
                    <a:pt x="552450" y="196850"/>
                  </a:cubicBezTo>
                  <a:cubicBezTo>
                    <a:pt x="548269" y="202077"/>
                    <a:pt x="540016" y="202182"/>
                    <a:pt x="533400" y="203200"/>
                  </a:cubicBezTo>
                  <a:cubicBezTo>
                    <a:pt x="512375" y="206435"/>
                    <a:pt x="491067" y="207433"/>
                    <a:pt x="469900" y="209550"/>
                  </a:cubicBezTo>
                  <a:lnTo>
                    <a:pt x="431800" y="222250"/>
                  </a:lnTo>
                  <a:lnTo>
                    <a:pt x="412750" y="228600"/>
                  </a:lnTo>
                  <a:cubicBezTo>
                    <a:pt x="360461" y="263459"/>
                    <a:pt x="420381" y="217881"/>
                    <a:pt x="387350" y="260350"/>
                  </a:cubicBezTo>
                  <a:cubicBezTo>
                    <a:pt x="376323" y="274527"/>
                    <a:pt x="359213" y="283506"/>
                    <a:pt x="349250" y="298450"/>
                  </a:cubicBezTo>
                  <a:cubicBezTo>
                    <a:pt x="345017" y="304800"/>
                    <a:pt x="342293" y="312474"/>
                    <a:pt x="336550" y="317500"/>
                  </a:cubicBezTo>
                  <a:cubicBezTo>
                    <a:pt x="325063" y="327551"/>
                    <a:pt x="298450" y="342900"/>
                    <a:pt x="298450" y="342900"/>
                  </a:cubicBezTo>
                  <a:cubicBezTo>
                    <a:pt x="296333" y="349250"/>
                    <a:pt x="297547" y="358059"/>
                    <a:pt x="292100" y="361950"/>
                  </a:cubicBezTo>
                  <a:cubicBezTo>
                    <a:pt x="281207" y="369731"/>
                    <a:pt x="254000" y="374650"/>
                    <a:pt x="254000" y="374650"/>
                  </a:cubicBezTo>
                  <a:lnTo>
                    <a:pt x="203200" y="368300"/>
                  </a:lnTo>
                  <a:cubicBezTo>
                    <a:pt x="190454" y="366479"/>
                    <a:pt x="177975" y="361950"/>
                    <a:pt x="165100" y="361950"/>
                  </a:cubicBezTo>
                  <a:cubicBezTo>
                    <a:pt x="122824" y="361950"/>
                    <a:pt x="119592" y="353483"/>
                    <a:pt x="114300" y="355600"/>
                  </a:cubicBezTo>
                  <a:close/>
                </a:path>
              </a:pathLst>
            </a:custGeom>
            <a:grp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rtl="0" eaLnBrk="0" fontAlgn="base" hangingPunct="0">
                <a:spcBef>
                  <a:spcPct val="50000"/>
                </a:spcBef>
                <a:spcAft>
                  <a:spcPct val="0"/>
                </a:spcAft>
              </a:pPr>
              <a:endParaRPr lang="en-US" sz="900">
                <a:solidFill>
                  <a:srgbClr val="000000"/>
                </a:solidFill>
                <a:latin typeface="Arial" charset="0"/>
              </a:endParaRPr>
            </a:p>
          </p:txBody>
        </p:sp>
        <p:sp>
          <p:nvSpPr>
            <p:cNvPr id="61" name="Freeform 61">
              <a:extLst>
                <a:ext uri="{FF2B5EF4-FFF2-40B4-BE49-F238E27FC236}">
                  <a16:creationId xmlns:a16="http://schemas.microsoft.com/office/drawing/2014/main" id="{429B41B2-F28D-4E0A-9CEE-246186BD780A}"/>
                </a:ext>
              </a:extLst>
            </p:cNvPr>
            <p:cNvSpPr/>
            <p:nvPr>
              <p:custDataLst>
                <p:tags r:id="rId16"/>
              </p:custDataLst>
            </p:nvPr>
          </p:nvSpPr>
          <p:spPr bwMode="gray">
            <a:xfrm>
              <a:off x="2762558" y="4718050"/>
              <a:ext cx="468191" cy="374650"/>
            </a:xfrm>
            <a:custGeom>
              <a:avLst/>
              <a:gdLst>
                <a:gd name="connsiteX0" fmla="*/ 4641 w 468191"/>
                <a:gd name="connsiteY0" fmla="*/ 63500 h 374650"/>
                <a:gd name="connsiteX1" fmla="*/ 10991 w 468191"/>
                <a:gd name="connsiteY1" fmla="*/ 101600 h 374650"/>
                <a:gd name="connsiteX2" fmla="*/ 17341 w 468191"/>
                <a:gd name="connsiteY2" fmla="*/ 120650 h 374650"/>
                <a:gd name="connsiteX3" fmla="*/ 55441 w 468191"/>
                <a:gd name="connsiteY3" fmla="*/ 127000 h 374650"/>
                <a:gd name="connsiteX4" fmla="*/ 80841 w 468191"/>
                <a:gd name="connsiteY4" fmla="*/ 139700 h 374650"/>
                <a:gd name="connsiteX5" fmla="*/ 87191 w 468191"/>
                <a:gd name="connsiteY5" fmla="*/ 165100 h 374650"/>
                <a:gd name="connsiteX6" fmla="*/ 93541 w 468191"/>
                <a:gd name="connsiteY6" fmla="*/ 184150 h 374650"/>
                <a:gd name="connsiteX7" fmla="*/ 99891 w 468191"/>
                <a:gd name="connsiteY7" fmla="*/ 215900 h 374650"/>
                <a:gd name="connsiteX8" fmla="*/ 137991 w 468191"/>
                <a:gd name="connsiteY8" fmla="*/ 241300 h 374650"/>
                <a:gd name="connsiteX9" fmla="*/ 144341 w 468191"/>
                <a:gd name="connsiteY9" fmla="*/ 266700 h 374650"/>
                <a:gd name="connsiteX10" fmla="*/ 150691 w 468191"/>
                <a:gd name="connsiteY10" fmla="*/ 285750 h 374650"/>
                <a:gd name="connsiteX11" fmla="*/ 157041 w 468191"/>
                <a:gd name="connsiteY11" fmla="*/ 317500 h 374650"/>
                <a:gd name="connsiteX12" fmla="*/ 195141 w 468191"/>
                <a:gd name="connsiteY12" fmla="*/ 336550 h 374650"/>
                <a:gd name="connsiteX13" fmla="*/ 233241 w 468191"/>
                <a:gd name="connsiteY13" fmla="*/ 330200 h 374650"/>
                <a:gd name="connsiteX14" fmla="*/ 220541 w 468191"/>
                <a:gd name="connsiteY14" fmla="*/ 292100 h 374650"/>
                <a:gd name="connsiteX15" fmla="*/ 239591 w 468191"/>
                <a:gd name="connsiteY15" fmla="*/ 279400 h 374650"/>
                <a:gd name="connsiteX16" fmla="*/ 258641 w 468191"/>
                <a:gd name="connsiteY16" fmla="*/ 292100 h 374650"/>
                <a:gd name="connsiteX17" fmla="*/ 290391 w 468191"/>
                <a:gd name="connsiteY17" fmla="*/ 330200 h 374650"/>
                <a:gd name="connsiteX18" fmla="*/ 303091 w 468191"/>
                <a:gd name="connsiteY18" fmla="*/ 374650 h 374650"/>
                <a:gd name="connsiteX19" fmla="*/ 334841 w 468191"/>
                <a:gd name="connsiteY19" fmla="*/ 368300 h 374650"/>
                <a:gd name="connsiteX20" fmla="*/ 347541 w 468191"/>
                <a:gd name="connsiteY20" fmla="*/ 349250 h 374650"/>
                <a:gd name="connsiteX21" fmla="*/ 385641 w 468191"/>
                <a:gd name="connsiteY21" fmla="*/ 355600 h 374650"/>
                <a:gd name="connsiteX22" fmla="*/ 430091 w 468191"/>
                <a:gd name="connsiteY22" fmla="*/ 355600 h 374650"/>
                <a:gd name="connsiteX23" fmla="*/ 436441 w 468191"/>
                <a:gd name="connsiteY23" fmla="*/ 336550 h 374650"/>
                <a:gd name="connsiteX24" fmla="*/ 449141 w 468191"/>
                <a:gd name="connsiteY24" fmla="*/ 273050 h 374650"/>
                <a:gd name="connsiteX25" fmla="*/ 468191 w 468191"/>
                <a:gd name="connsiteY25" fmla="*/ 254000 h 374650"/>
                <a:gd name="connsiteX26" fmla="*/ 461841 w 468191"/>
                <a:gd name="connsiteY26" fmla="*/ 222250 h 374650"/>
                <a:gd name="connsiteX27" fmla="*/ 442791 w 468191"/>
                <a:gd name="connsiteY27" fmla="*/ 203200 h 374650"/>
                <a:gd name="connsiteX28" fmla="*/ 417391 w 468191"/>
                <a:gd name="connsiteY28" fmla="*/ 165100 h 374650"/>
                <a:gd name="connsiteX29" fmla="*/ 404691 w 468191"/>
                <a:gd name="connsiteY29" fmla="*/ 146050 h 374650"/>
                <a:gd name="connsiteX30" fmla="*/ 398341 w 468191"/>
                <a:gd name="connsiteY30" fmla="*/ 120650 h 374650"/>
                <a:gd name="connsiteX31" fmla="*/ 411041 w 468191"/>
                <a:gd name="connsiteY31" fmla="*/ 63500 h 374650"/>
                <a:gd name="connsiteX32" fmla="*/ 334841 w 468191"/>
                <a:gd name="connsiteY32" fmla="*/ 38100 h 374650"/>
                <a:gd name="connsiteX33" fmla="*/ 296741 w 468191"/>
                <a:gd name="connsiteY33" fmla="*/ 0 h 374650"/>
                <a:gd name="connsiteX34" fmla="*/ 233241 w 468191"/>
                <a:gd name="connsiteY34" fmla="*/ 12700 h 374650"/>
                <a:gd name="connsiteX35" fmla="*/ 195141 w 468191"/>
                <a:gd name="connsiteY35" fmla="*/ 38100 h 374650"/>
                <a:gd name="connsiteX36" fmla="*/ 182441 w 468191"/>
                <a:gd name="connsiteY36" fmla="*/ 57150 h 374650"/>
                <a:gd name="connsiteX37" fmla="*/ 36391 w 468191"/>
                <a:gd name="connsiteY37" fmla="*/ 76200 h 374650"/>
                <a:gd name="connsiteX38" fmla="*/ 4641 w 468191"/>
                <a:gd name="connsiteY38" fmla="*/ 63500 h 374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68191" h="374650">
                  <a:moveTo>
                    <a:pt x="4641" y="63500"/>
                  </a:moveTo>
                  <a:cubicBezTo>
                    <a:pt x="408" y="67733"/>
                    <a:pt x="8198" y="89031"/>
                    <a:pt x="10991" y="101600"/>
                  </a:cubicBezTo>
                  <a:cubicBezTo>
                    <a:pt x="12443" y="108134"/>
                    <a:pt x="11529" y="117329"/>
                    <a:pt x="17341" y="120650"/>
                  </a:cubicBezTo>
                  <a:cubicBezTo>
                    <a:pt x="28520" y="127038"/>
                    <a:pt x="42741" y="124883"/>
                    <a:pt x="55441" y="127000"/>
                  </a:cubicBezTo>
                  <a:cubicBezTo>
                    <a:pt x="63908" y="131233"/>
                    <a:pt x="74781" y="132428"/>
                    <a:pt x="80841" y="139700"/>
                  </a:cubicBezTo>
                  <a:cubicBezTo>
                    <a:pt x="86428" y="146404"/>
                    <a:pt x="84793" y="156709"/>
                    <a:pt x="87191" y="165100"/>
                  </a:cubicBezTo>
                  <a:cubicBezTo>
                    <a:pt x="89030" y="171536"/>
                    <a:pt x="91918" y="177656"/>
                    <a:pt x="93541" y="184150"/>
                  </a:cubicBezTo>
                  <a:cubicBezTo>
                    <a:pt x="96159" y="194621"/>
                    <a:pt x="93265" y="207381"/>
                    <a:pt x="99891" y="215900"/>
                  </a:cubicBezTo>
                  <a:cubicBezTo>
                    <a:pt x="109262" y="227948"/>
                    <a:pt x="137991" y="241300"/>
                    <a:pt x="137991" y="241300"/>
                  </a:cubicBezTo>
                  <a:cubicBezTo>
                    <a:pt x="140108" y="249767"/>
                    <a:pt x="141943" y="258309"/>
                    <a:pt x="144341" y="266700"/>
                  </a:cubicBezTo>
                  <a:cubicBezTo>
                    <a:pt x="146180" y="273136"/>
                    <a:pt x="149068" y="279256"/>
                    <a:pt x="150691" y="285750"/>
                  </a:cubicBezTo>
                  <a:cubicBezTo>
                    <a:pt x="153309" y="296221"/>
                    <a:pt x="151686" y="308129"/>
                    <a:pt x="157041" y="317500"/>
                  </a:cubicBezTo>
                  <a:cubicBezTo>
                    <a:pt x="162834" y="327637"/>
                    <a:pt x="185363" y="333291"/>
                    <a:pt x="195141" y="336550"/>
                  </a:cubicBezTo>
                  <a:cubicBezTo>
                    <a:pt x="207841" y="334433"/>
                    <a:pt x="226853" y="341379"/>
                    <a:pt x="233241" y="330200"/>
                  </a:cubicBezTo>
                  <a:cubicBezTo>
                    <a:pt x="239883" y="318577"/>
                    <a:pt x="220541" y="292100"/>
                    <a:pt x="220541" y="292100"/>
                  </a:cubicBezTo>
                  <a:cubicBezTo>
                    <a:pt x="226891" y="287867"/>
                    <a:pt x="231959" y="279400"/>
                    <a:pt x="239591" y="279400"/>
                  </a:cubicBezTo>
                  <a:cubicBezTo>
                    <a:pt x="247223" y="279400"/>
                    <a:pt x="252778" y="287214"/>
                    <a:pt x="258641" y="292100"/>
                  </a:cubicBezTo>
                  <a:cubicBezTo>
                    <a:pt x="270678" y="302131"/>
                    <a:pt x="283255" y="315929"/>
                    <a:pt x="290391" y="330200"/>
                  </a:cubicBezTo>
                  <a:cubicBezTo>
                    <a:pt x="294946" y="339310"/>
                    <a:pt x="301056" y="366512"/>
                    <a:pt x="303091" y="374650"/>
                  </a:cubicBezTo>
                  <a:cubicBezTo>
                    <a:pt x="313674" y="372533"/>
                    <a:pt x="325470" y="373655"/>
                    <a:pt x="334841" y="368300"/>
                  </a:cubicBezTo>
                  <a:cubicBezTo>
                    <a:pt x="341467" y="364514"/>
                    <a:pt x="340137" y="351101"/>
                    <a:pt x="347541" y="349250"/>
                  </a:cubicBezTo>
                  <a:cubicBezTo>
                    <a:pt x="360032" y="346127"/>
                    <a:pt x="372941" y="353483"/>
                    <a:pt x="385641" y="355600"/>
                  </a:cubicBezTo>
                  <a:cubicBezTo>
                    <a:pt x="401099" y="360753"/>
                    <a:pt x="413675" y="368733"/>
                    <a:pt x="430091" y="355600"/>
                  </a:cubicBezTo>
                  <a:cubicBezTo>
                    <a:pt x="435318" y="351419"/>
                    <a:pt x="434324" y="342900"/>
                    <a:pt x="436441" y="336550"/>
                  </a:cubicBezTo>
                  <a:cubicBezTo>
                    <a:pt x="436979" y="332786"/>
                    <a:pt x="441081" y="285141"/>
                    <a:pt x="449141" y="273050"/>
                  </a:cubicBezTo>
                  <a:cubicBezTo>
                    <a:pt x="454122" y="265578"/>
                    <a:pt x="461841" y="260350"/>
                    <a:pt x="468191" y="254000"/>
                  </a:cubicBezTo>
                  <a:cubicBezTo>
                    <a:pt x="466074" y="243417"/>
                    <a:pt x="466668" y="231903"/>
                    <a:pt x="461841" y="222250"/>
                  </a:cubicBezTo>
                  <a:cubicBezTo>
                    <a:pt x="457825" y="214218"/>
                    <a:pt x="448304" y="210289"/>
                    <a:pt x="442791" y="203200"/>
                  </a:cubicBezTo>
                  <a:cubicBezTo>
                    <a:pt x="433420" y="191152"/>
                    <a:pt x="425858" y="177800"/>
                    <a:pt x="417391" y="165100"/>
                  </a:cubicBezTo>
                  <a:lnTo>
                    <a:pt x="404691" y="146050"/>
                  </a:lnTo>
                  <a:cubicBezTo>
                    <a:pt x="402574" y="137583"/>
                    <a:pt x="398341" y="129377"/>
                    <a:pt x="398341" y="120650"/>
                  </a:cubicBezTo>
                  <a:cubicBezTo>
                    <a:pt x="398341" y="98299"/>
                    <a:pt x="404493" y="83145"/>
                    <a:pt x="411041" y="63500"/>
                  </a:cubicBezTo>
                  <a:cubicBezTo>
                    <a:pt x="394582" y="14123"/>
                    <a:pt x="420842" y="73512"/>
                    <a:pt x="334841" y="38100"/>
                  </a:cubicBezTo>
                  <a:cubicBezTo>
                    <a:pt x="318233" y="31262"/>
                    <a:pt x="296741" y="0"/>
                    <a:pt x="296741" y="0"/>
                  </a:cubicBezTo>
                  <a:cubicBezTo>
                    <a:pt x="285698" y="1578"/>
                    <a:pt x="248587" y="4175"/>
                    <a:pt x="233241" y="12700"/>
                  </a:cubicBezTo>
                  <a:cubicBezTo>
                    <a:pt x="219898" y="20113"/>
                    <a:pt x="195141" y="38100"/>
                    <a:pt x="195141" y="38100"/>
                  </a:cubicBezTo>
                  <a:cubicBezTo>
                    <a:pt x="190908" y="44450"/>
                    <a:pt x="188304" y="52264"/>
                    <a:pt x="182441" y="57150"/>
                  </a:cubicBezTo>
                  <a:cubicBezTo>
                    <a:pt x="147245" y="86480"/>
                    <a:pt x="54924" y="75225"/>
                    <a:pt x="36391" y="76200"/>
                  </a:cubicBezTo>
                  <a:cubicBezTo>
                    <a:pt x="0" y="83478"/>
                    <a:pt x="8874" y="59267"/>
                    <a:pt x="4641" y="63500"/>
                  </a:cubicBezTo>
                  <a:close/>
                </a:path>
              </a:pathLst>
            </a:custGeom>
            <a:solidFill>
              <a:schemeClr val="accent1"/>
            </a:solid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rtl="0" eaLnBrk="0" fontAlgn="base" hangingPunct="0">
                <a:spcBef>
                  <a:spcPct val="50000"/>
                </a:spcBef>
                <a:spcAft>
                  <a:spcPct val="0"/>
                </a:spcAft>
              </a:pPr>
              <a:endParaRPr lang="en-US" sz="900">
                <a:solidFill>
                  <a:schemeClr val="accent1"/>
                </a:solidFill>
                <a:latin typeface="Arial" charset="0"/>
              </a:endParaRPr>
            </a:p>
          </p:txBody>
        </p:sp>
        <p:sp>
          <p:nvSpPr>
            <p:cNvPr id="62" name="Freeform 62">
              <a:extLst>
                <a:ext uri="{FF2B5EF4-FFF2-40B4-BE49-F238E27FC236}">
                  <a16:creationId xmlns:a16="http://schemas.microsoft.com/office/drawing/2014/main" id="{FF26684F-70F7-4A5F-B9BC-F71DA17F2047}"/>
                </a:ext>
              </a:extLst>
            </p:cNvPr>
            <p:cNvSpPr/>
            <p:nvPr>
              <p:custDataLst>
                <p:tags r:id="rId17"/>
              </p:custDataLst>
            </p:nvPr>
          </p:nvSpPr>
          <p:spPr bwMode="gray">
            <a:xfrm>
              <a:off x="4675391" y="1422400"/>
              <a:ext cx="1590658" cy="928047"/>
            </a:xfrm>
            <a:custGeom>
              <a:avLst/>
              <a:gdLst>
                <a:gd name="connsiteX0" fmla="*/ 269858 w 1590658"/>
                <a:gd name="connsiteY0" fmla="*/ 920750 h 928047"/>
                <a:gd name="connsiteX1" fmla="*/ 307958 w 1590658"/>
                <a:gd name="connsiteY1" fmla="*/ 914400 h 928047"/>
                <a:gd name="connsiteX2" fmla="*/ 327008 w 1590658"/>
                <a:gd name="connsiteY2" fmla="*/ 908050 h 928047"/>
                <a:gd name="connsiteX3" fmla="*/ 384158 w 1590658"/>
                <a:gd name="connsiteY3" fmla="*/ 914400 h 928047"/>
                <a:gd name="connsiteX4" fmla="*/ 390508 w 1590658"/>
                <a:gd name="connsiteY4" fmla="*/ 895350 h 928047"/>
                <a:gd name="connsiteX5" fmla="*/ 403208 w 1590658"/>
                <a:gd name="connsiteY5" fmla="*/ 876300 h 928047"/>
                <a:gd name="connsiteX6" fmla="*/ 428608 w 1590658"/>
                <a:gd name="connsiteY6" fmla="*/ 831850 h 928047"/>
                <a:gd name="connsiteX7" fmla="*/ 454008 w 1590658"/>
                <a:gd name="connsiteY7" fmla="*/ 838200 h 928047"/>
                <a:gd name="connsiteX8" fmla="*/ 473058 w 1590658"/>
                <a:gd name="connsiteY8" fmla="*/ 850900 h 928047"/>
                <a:gd name="connsiteX9" fmla="*/ 492108 w 1590658"/>
                <a:gd name="connsiteY9" fmla="*/ 857250 h 928047"/>
                <a:gd name="connsiteX10" fmla="*/ 511158 w 1590658"/>
                <a:gd name="connsiteY10" fmla="*/ 831850 h 928047"/>
                <a:gd name="connsiteX11" fmla="*/ 568308 w 1590658"/>
                <a:gd name="connsiteY11" fmla="*/ 812800 h 928047"/>
                <a:gd name="connsiteX12" fmla="*/ 581008 w 1590658"/>
                <a:gd name="connsiteY12" fmla="*/ 768350 h 928047"/>
                <a:gd name="connsiteX13" fmla="*/ 600058 w 1590658"/>
                <a:gd name="connsiteY13" fmla="*/ 755650 h 928047"/>
                <a:gd name="connsiteX14" fmla="*/ 669908 w 1590658"/>
                <a:gd name="connsiteY14" fmla="*/ 762000 h 928047"/>
                <a:gd name="connsiteX15" fmla="*/ 708008 w 1590658"/>
                <a:gd name="connsiteY15" fmla="*/ 774700 h 928047"/>
                <a:gd name="connsiteX16" fmla="*/ 746108 w 1590658"/>
                <a:gd name="connsiteY16" fmla="*/ 806450 h 928047"/>
                <a:gd name="connsiteX17" fmla="*/ 758808 w 1590658"/>
                <a:gd name="connsiteY17" fmla="*/ 825500 h 928047"/>
                <a:gd name="connsiteX18" fmla="*/ 784208 w 1590658"/>
                <a:gd name="connsiteY18" fmla="*/ 831850 h 928047"/>
                <a:gd name="connsiteX19" fmla="*/ 822308 w 1590658"/>
                <a:gd name="connsiteY19" fmla="*/ 819150 h 928047"/>
                <a:gd name="connsiteX20" fmla="*/ 841358 w 1590658"/>
                <a:gd name="connsiteY20" fmla="*/ 812800 h 928047"/>
                <a:gd name="connsiteX21" fmla="*/ 860408 w 1590658"/>
                <a:gd name="connsiteY21" fmla="*/ 819150 h 928047"/>
                <a:gd name="connsiteX22" fmla="*/ 904858 w 1590658"/>
                <a:gd name="connsiteY22" fmla="*/ 869950 h 928047"/>
                <a:gd name="connsiteX23" fmla="*/ 936608 w 1590658"/>
                <a:gd name="connsiteY23" fmla="*/ 863600 h 928047"/>
                <a:gd name="connsiteX24" fmla="*/ 962008 w 1590658"/>
                <a:gd name="connsiteY24" fmla="*/ 857250 h 928047"/>
                <a:gd name="connsiteX25" fmla="*/ 981058 w 1590658"/>
                <a:gd name="connsiteY25" fmla="*/ 863600 h 928047"/>
                <a:gd name="connsiteX26" fmla="*/ 1019158 w 1590658"/>
                <a:gd name="connsiteY26" fmla="*/ 844550 h 928047"/>
                <a:gd name="connsiteX27" fmla="*/ 1050908 w 1590658"/>
                <a:gd name="connsiteY27" fmla="*/ 812800 h 928047"/>
                <a:gd name="connsiteX28" fmla="*/ 1069958 w 1590658"/>
                <a:gd name="connsiteY28" fmla="*/ 825500 h 928047"/>
                <a:gd name="connsiteX29" fmla="*/ 1095358 w 1590658"/>
                <a:gd name="connsiteY29" fmla="*/ 838200 h 928047"/>
                <a:gd name="connsiteX30" fmla="*/ 1120758 w 1590658"/>
                <a:gd name="connsiteY30" fmla="*/ 806450 h 928047"/>
                <a:gd name="connsiteX31" fmla="*/ 1146158 w 1590658"/>
                <a:gd name="connsiteY31" fmla="*/ 812800 h 928047"/>
                <a:gd name="connsiteX32" fmla="*/ 1165208 w 1590658"/>
                <a:gd name="connsiteY32" fmla="*/ 806450 h 928047"/>
                <a:gd name="connsiteX33" fmla="*/ 1203308 w 1590658"/>
                <a:gd name="connsiteY33" fmla="*/ 774700 h 928047"/>
                <a:gd name="connsiteX34" fmla="*/ 1216008 w 1590658"/>
                <a:gd name="connsiteY34" fmla="*/ 755650 h 928047"/>
                <a:gd name="connsiteX35" fmla="*/ 1235058 w 1590658"/>
                <a:gd name="connsiteY35" fmla="*/ 679450 h 928047"/>
                <a:gd name="connsiteX36" fmla="*/ 1292208 w 1590658"/>
                <a:gd name="connsiteY36" fmla="*/ 641350 h 928047"/>
                <a:gd name="connsiteX37" fmla="*/ 1311258 w 1590658"/>
                <a:gd name="connsiteY37" fmla="*/ 628650 h 928047"/>
                <a:gd name="connsiteX38" fmla="*/ 1336658 w 1590658"/>
                <a:gd name="connsiteY38" fmla="*/ 596900 h 928047"/>
                <a:gd name="connsiteX39" fmla="*/ 1355708 w 1590658"/>
                <a:gd name="connsiteY39" fmla="*/ 609600 h 928047"/>
                <a:gd name="connsiteX40" fmla="*/ 1362058 w 1590658"/>
                <a:gd name="connsiteY40" fmla="*/ 635000 h 928047"/>
                <a:gd name="connsiteX41" fmla="*/ 1374758 w 1590658"/>
                <a:gd name="connsiteY41" fmla="*/ 654050 h 928047"/>
                <a:gd name="connsiteX42" fmla="*/ 1457308 w 1590658"/>
                <a:gd name="connsiteY42" fmla="*/ 673100 h 928047"/>
                <a:gd name="connsiteX43" fmla="*/ 1495408 w 1590658"/>
                <a:gd name="connsiteY43" fmla="*/ 679450 h 928047"/>
                <a:gd name="connsiteX44" fmla="*/ 1508108 w 1590658"/>
                <a:gd name="connsiteY44" fmla="*/ 698500 h 928047"/>
                <a:gd name="connsiteX45" fmla="*/ 1495408 w 1590658"/>
                <a:gd name="connsiteY45" fmla="*/ 755650 h 928047"/>
                <a:gd name="connsiteX46" fmla="*/ 1501758 w 1590658"/>
                <a:gd name="connsiteY46" fmla="*/ 787400 h 928047"/>
                <a:gd name="connsiteX47" fmla="*/ 1539858 w 1590658"/>
                <a:gd name="connsiteY47" fmla="*/ 774700 h 928047"/>
                <a:gd name="connsiteX48" fmla="*/ 1558908 w 1590658"/>
                <a:gd name="connsiteY48" fmla="*/ 762000 h 928047"/>
                <a:gd name="connsiteX49" fmla="*/ 1571608 w 1590658"/>
                <a:gd name="connsiteY49" fmla="*/ 742950 h 928047"/>
                <a:gd name="connsiteX50" fmla="*/ 1590658 w 1590658"/>
                <a:gd name="connsiteY50" fmla="*/ 736600 h 928047"/>
                <a:gd name="connsiteX51" fmla="*/ 1584308 w 1590658"/>
                <a:gd name="connsiteY51" fmla="*/ 692150 h 928047"/>
                <a:gd name="connsiteX52" fmla="*/ 1565258 w 1590658"/>
                <a:gd name="connsiteY52" fmla="*/ 635000 h 928047"/>
                <a:gd name="connsiteX53" fmla="*/ 1558908 w 1590658"/>
                <a:gd name="connsiteY53" fmla="*/ 609600 h 928047"/>
                <a:gd name="connsiteX54" fmla="*/ 1546208 w 1590658"/>
                <a:gd name="connsiteY54" fmla="*/ 590550 h 928047"/>
                <a:gd name="connsiteX55" fmla="*/ 1539858 w 1590658"/>
                <a:gd name="connsiteY55" fmla="*/ 571500 h 928047"/>
                <a:gd name="connsiteX56" fmla="*/ 1533508 w 1590658"/>
                <a:gd name="connsiteY56" fmla="*/ 457200 h 928047"/>
                <a:gd name="connsiteX57" fmla="*/ 1514458 w 1590658"/>
                <a:gd name="connsiteY57" fmla="*/ 438150 h 928047"/>
                <a:gd name="connsiteX58" fmla="*/ 1463658 w 1590658"/>
                <a:gd name="connsiteY58" fmla="*/ 444500 h 928047"/>
                <a:gd name="connsiteX59" fmla="*/ 1419208 w 1590658"/>
                <a:gd name="connsiteY59" fmla="*/ 438150 h 928047"/>
                <a:gd name="connsiteX60" fmla="*/ 1400158 w 1590658"/>
                <a:gd name="connsiteY60" fmla="*/ 431800 h 928047"/>
                <a:gd name="connsiteX61" fmla="*/ 1368408 w 1590658"/>
                <a:gd name="connsiteY61" fmla="*/ 406400 h 928047"/>
                <a:gd name="connsiteX62" fmla="*/ 1349358 w 1590658"/>
                <a:gd name="connsiteY62" fmla="*/ 393700 h 928047"/>
                <a:gd name="connsiteX63" fmla="*/ 1355708 w 1590658"/>
                <a:gd name="connsiteY63" fmla="*/ 374650 h 928047"/>
                <a:gd name="connsiteX64" fmla="*/ 1438258 w 1590658"/>
                <a:gd name="connsiteY64" fmla="*/ 368300 h 928047"/>
                <a:gd name="connsiteX65" fmla="*/ 1457308 w 1590658"/>
                <a:gd name="connsiteY65" fmla="*/ 355600 h 928047"/>
                <a:gd name="connsiteX66" fmla="*/ 1470008 w 1590658"/>
                <a:gd name="connsiteY66" fmla="*/ 317500 h 928047"/>
                <a:gd name="connsiteX67" fmla="*/ 1450958 w 1590658"/>
                <a:gd name="connsiteY67" fmla="*/ 298450 h 928047"/>
                <a:gd name="connsiteX68" fmla="*/ 1438258 w 1590658"/>
                <a:gd name="connsiteY68" fmla="*/ 279400 h 928047"/>
                <a:gd name="connsiteX69" fmla="*/ 1419208 w 1590658"/>
                <a:gd name="connsiteY69" fmla="*/ 273050 h 928047"/>
                <a:gd name="connsiteX70" fmla="*/ 1381108 w 1590658"/>
                <a:gd name="connsiteY70" fmla="*/ 247650 h 928047"/>
                <a:gd name="connsiteX71" fmla="*/ 1343008 w 1590658"/>
                <a:gd name="connsiteY71" fmla="*/ 234950 h 928047"/>
                <a:gd name="connsiteX72" fmla="*/ 1330308 w 1590658"/>
                <a:gd name="connsiteY72" fmla="*/ 215900 h 928047"/>
                <a:gd name="connsiteX73" fmla="*/ 1323958 w 1590658"/>
                <a:gd name="connsiteY73" fmla="*/ 196850 h 928047"/>
                <a:gd name="connsiteX74" fmla="*/ 1304908 w 1590658"/>
                <a:gd name="connsiteY74" fmla="*/ 184150 h 928047"/>
                <a:gd name="connsiteX75" fmla="*/ 1266808 w 1590658"/>
                <a:gd name="connsiteY75" fmla="*/ 196850 h 928047"/>
                <a:gd name="connsiteX76" fmla="*/ 1228708 w 1590658"/>
                <a:gd name="connsiteY76" fmla="*/ 184150 h 928047"/>
                <a:gd name="connsiteX77" fmla="*/ 1196958 w 1590658"/>
                <a:gd name="connsiteY77" fmla="*/ 190500 h 928047"/>
                <a:gd name="connsiteX78" fmla="*/ 1177908 w 1590658"/>
                <a:gd name="connsiteY78" fmla="*/ 196850 h 928047"/>
                <a:gd name="connsiteX79" fmla="*/ 1139808 w 1590658"/>
                <a:gd name="connsiteY79" fmla="*/ 171450 h 928047"/>
                <a:gd name="connsiteX80" fmla="*/ 1120758 w 1590658"/>
                <a:gd name="connsiteY80" fmla="*/ 152400 h 928047"/>
                <a:gd name="connsiteX81" fmla="*/ 1082658 w 1590658"/>
                <a:gd name="connsiteY81" fmla="*/ 127000 h 928047"/>
                <a:gd name="connsiteX82" fmla="*/ 1069958 w 1590658"/>
                <a:gd name="connsiteY82" fmla="*/ 107950 h 928047"/>
                <a:gd name="connsiteX83" fmla="*/ 1031858 w 1590658"/>
                <a:gd name="connsiteY83" fmla="*/ 101600 h 928047"/>
                <a:gd name="connsiteX84" fmla="*/ 1012808 w 1590658"/>
                <a:gd name="connsiteY84" fmla="*/ 88900 h 928047"/>
                <a:gd name="connsiteX85" fmla="*/ 1019158 w 1590658"/>
                <a:gd name="connsiteY85" fmla="*/ 57150 h 928047"/>
                <a:gd name="connsiteX86" fmla="*/ 1025508 w 1590658"/>
                <a:gd name="connsiteY86" fmla="*/ 38100 h 928047"/>
                <a:gd name="connsiteX87" fmla="*/ 987408 w 1590658"/>
                <a:gd name="connsiteY87" fmla="*/ 12700 h 928047"/>
                <a:gd name="connsiteX88" fmla="*/ 949308 w 1590658"/>
                <a:gd name="connsiteY88" fmla="*/ 0 h 928047"/>
                <a:gd name="connsiteX89" fmla="*/ 911208 w 1590658"/>
                <a:gd name="connsiteY89" fmla="*/ 19050 h 928047"/>
                <a:gd name="connsiteX90" fmla="*/ 898508 w 1590658"/>
                <a:gd name="connsiteY90" fmla="*/ 38100 h 928047"/>
                <a:gd name="connsiteX91" fmla="*/ 873108 w 1590658"/>
                <a:gd name="connsiteY91" fmla="*/ 44450 h 928047"/>
                <a:gd name="connsiteX92" fmla="*/ 847708 w 1590658"/>
                <a:gd name="connsiteY92" fmla="*/ 38100 h 928047"/>
                <a:gd name="connsiteX93" fmla="*/ 809608 w 1590658"/>
                <a:gd name="connsiteY93" fmla="*/ 44450 h 928047"/>
                <a:gd name="connsiteX94" fmla="*/ 765158 w 1590658"/>
                <a:gd name="connsiteY94" fmla="*/ 57150 h 928047"/>
                <a:gd name="connsiteX95" fmla="*/ 746108 w 1590658"/>
                <a:gd name="connsiteY95" fmla="*/ 69850 h 928047"/>
                <a:gd name="connsiteX96" fmla="*/ 733408 w 1590658"/>
                <a:gd name="connsiteY96" fmla="*/ 127000 h 928047"/>
                <a:gd name="connsiteX97" fmla="*/ 714358 w 1590658"/>
                <a:gd name="connsiteY97" fmla="*/ 120650 h 928047"/>
                <a:gd name="connsiteX98" fmla="*/ 695308 w 1590658"/>
                <a:gd name="connsiteY98" fmla="*/ 107950 h 928047"/>
                <a:gd name="connsiteX99" fmla="*/ 676258 w 1590658"/>
                <a:gd name="connsiteY99" fmla="*/ 114300 h 928047"/>
                <a:gd name="connsiteX100" fmla="*/ 638158 w 1590658"/>
                <a:gd name="connsiteY100" fmla="*/ 139700 h 928047"/>
                <a:gd name="connsiteX101" fmla="*/ 606408 w 1590658"/>
                <a:gd name="connsiteY101" fmla="*/ 171450 h 928047"/>
                <a:gd name="connsiteX102" fmla="*/ 593708 w 1590658"/>
                <a:gd name="connsiteY102" fmla="*/ 190500 h 928047"/>
                <a:gd name="connsiteX103" fmla="*/ 441308 w 1590658"/>
                <a:gd name="connsiteY103" fmla="*/ 209550 h 928047"/>
                <a:gd name="connsiteX104" fmla="*/ 396858 w 1590658"/>
                <a:gd name="connsiteY104" fmla="*/ 222250 h 928047"/>
                <a:gd name="connsiteX105" fmla="*/ 390508 w 1590658"/>
                <a:gd name="connsiteY105" fmla="*/ 241300 h 928047"/>
                <a:gd name="connsiteX106" fmla="*/ 403208 w 1590658"/>
                <a:gd name="connsiteY106" fmla="*/ 260350 h 928047"/>
                <a:gd name="connsiteX107" fmla="*/ 377808 w 1590658"/>
                <a:gd name="connsiteY107" fmla="*/ 292100 h 928047"/>
                <a:gd name="connsiteX108" fmla="*/ 346058 w 1590658"/>
                <a:gd name="connsiteY108" fmla="*/ 330200 h 928047"/>
                <a:gd name="connsiteX109" fmla="*/ 320658 w 1590658"/>
                <a:gd name="connsiteY109" fmla="*/ 368300 h 928047"/>
                <a:gd name="connsiteX110" fmla="*/ 295258 w 1590658"/>
                <a:gd name="connsiteY110" fmla="*/ 361950 h 928047"/>
                <a:gd name="connsiteX111" fmla="*/ 276208 w 1590658"/>
                <a:gd name="connsiteY111" fmla="*/ 349250 h 928047"/>
                <a:gd name="connsiteX112" fmla="*/ 238108 w 1590658"/>
                <a:gd name="connsiteY112" fmla="*/ 330200 h 928047"/>
                <a:gd name="connsiteX113" fmla="*/ 231758 w 1590658"/>
                <a:gd name="connsiteY113" fmla="*/ 311150 h 928047"/>
                <a:gd name="connsiteX114" fmla="*/ 193658 w 1590658"/>
                <a:gd name="connsiteY114" fmla="*/ 298450 h 928047"/>
                <a:gd name="connsiteX115" fmla="*/ 168258 w 1590658"/>
                <a:gd name="connsiteY115" fmla="*/ 304800 h 928047"/>
                <a:gd name="connsiteX116" fmla="*/ 130158 w 1590658"/>
                <a:gd name="connsiteY116" fmla="*/ 317500 h 928047"/>
                <a:gd name="connsiteX117" fmla="*/ 111108 w 1590658"/>
                <a:gd name="connsiteY117" fmla="*/ 330200 h 928047"/>
                <a:gd name="connsiteX118" fmla="*/ 92058 w 1590658"/>
                <a:gd name="connsiteY118" fmla="*/ 381000 h 928047"/>
                <a:gd name="connsiteX119" fmla="*/ 73008 w 1590658"/>
                <a:gd name="connsiteY119" fmla="*/ 387350 h 928047"/>
                <a:gd name="connsiteX120" fmla="*/ 53958 w 1590658"/>
                <a:gd name="connsiteY120" fmla="*/ 463550 h 928047"/>
                <a:gd name="connsiteX121" fmla="*/ 60308 w 1590658"/>
                <a:gd name="connsiteY121" fmla="*/ 482600 h 928047"/>
                <a:gd name="connsiteX122" fmla="*/ 73008 w 1590658"/>
                <a:gd name="connsiteY122" fmla="*/ 501650 h 928047"/>
                <a:gd name="connsiteX123" fmla="*/ 111108 w 1590658"/>
                <a:gd name="connsiteY123" fmla="*/ 527050 h 928047"/>
                <a:gd name="connsiteX124" fmla="*/ 130158 w 1590658"/>
                <a:gd name="connsiteY124" fmla="*/ 565150 h 928047"/>
                <a:gd name="connsiteX125" fmla="*/ 104758 w 1590658"/>
                <a:gd name="connsiteY125" fmla="*/ 603250 h 928047"/>
                <a:gd name="connsiteX126" fmla="*/ 85708 w 1590658"/>
                <a:gd name="connsiteY126" fmla="*/ 641350 h 928047"/>
                <a:gd name="connsiteX127" fmla="*/ 47608 w 1590658"/>
                <a:gd name="connsiteY127" fmla="*/ 673100 h 928047"/>
                <a:gd name="connsiteX128" fmla="*/ 15858 w 1590658"/>
                <a:gd name="connsiteY128" fmla="*/ 704850 h 928047"/>
                <a:gd name="connsiteX129" fmla="*/ 3158 w 1590658"/>
                <a:gd name="connsiteY129" fmla="*/ 723900 h 928047"/>
                <a:gd name="connsiteX130" fmla="*/ 28558 w 1590658"/>
                <a:gd name="connsiteY130" fmla="*/ 762000 h 928047"/>
                <a:gd name="connsiteX131" fmla="*/ 47608 w 1590658"/>
                <a:gd name="connsiteY131" fmla="*/ 768350 h 928047"/>
                <a:gd name="connsiteX132" fmla="*/ 79358 w 1590658"/>
                <a:gd name="connsiteY132" fmla="*/ 800100 h 928047"/>
                <a:gd name="connsiteX133" fmla="*/ 123808 w 1590658"/>
                <a:gd name="connsiteY133" fmla="*/ 787400 h 928047"/>
                <a:gd name="connsiteX134" fmla="*/ 149208 w 1590658"/>
                <a:gd name="connsiteY134" fmla="*/ 793750 h 928047"/>
                <a:gd name="connsiteX135" fmla="*/ 161908 w 1590658"/>
                <a:gd name="connsiteY135" fmla="*/ 812800 h 928047"/>
                <a:gd name="connsiteX136" fmla="*/ 174608 w 1590658"/>
                <a:gd name="connsiteY136" fmla="*/ 850900 h 928047"/>
                <a:gd name="connsiteX137" fmla="*/ 212708 w 1590658"/>
                <a:gd name="connsiteY137" fmla="*/ 882650 h 928047"/>
                <a:gd name="connsiteX138" fmla="*/ 250808 w 1590658"/>
                <a:gd name="connsiteY138" fmla="*/ 908050 h 928047"/>
                <a:gd name="connsiteX139" fmla="*/ 269858 w 1590658"/>
                <a:gd name="connsiteY139" fmla="*/ 920750 h 928047"/>
                <a:gd name="connsiteX140" fmla="*/ 301608 w 1590658"/>
                <a:gd name="connsiteY140" fmla="*/ 927100 h 928047"/>
                <a:gd name="connsiteX141" fmla="*/ 269858 w 1590658"/>
                <a:gd name="connsiteY141" fmla="*/ 920750 h 928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1590658" h="928047">
                  <a:moveTo>
                    <a:pt x="269858" y="920750"/>
                  </a:moveTo>
                  <a:cubicBezTo>
                    <a:pt x="270916" y="918633"/>
                    <a:pt x="295389" y="917193"/>
                    <a:pt x="307958" y="914400"/>
                  </a:cubicBezTo>
                  <a:cubicBezTo>
                    <a:pt x="314492" y="912948"/>
                    <a:pt x="320315" y="908050"/>
                    <a:pt x="327008" y="908050"/>
                  </a:cubicBezTo>
                  <a:cubicBezTo>
                    <a:pt x="346175" y="908050"/>
                    <a:pt x="365108" y="912283"/>
                    <a:pt x="384158" y="914400"/>
                  </a:cubicBezTo>
                  <a:cubicBezTo>
                    <a:pt x="386275" y="908050"/>
                    <a:pt x="387515" y="901337"/>
                    <a:pt x="390508" y="895350"/>
                  </a:cubicBezTo>
                  <a:cubicBezTo>
                    <a:pt x="393921" y="888524"/>
                    <a:pt x="400795" y="883540"/>
                    <a:pt x="403208" y="876300"/>
                  </a:cubicBezTo>
                  <a:cubicBezTo>
                    <a:pt x="419040" y="828804"/>
                    <a:pt x="392986" y="843724"/>
                    <a:pt x="428608" y="831850"/>
                  </a:cubicBezTo>
                  <a:cubicBezTo>
                    <a:pt x="437075" y="833967"/>
                    <a:pt x="445986" y="834762"/>
                    <a:pt x="454008" y="838200"/>
                  </a:cubicBezTo>
                  <a:cubicBezTo>
                    <a:pt x="461023" y="841206"/>
                    <a:pt x="466232" y="847487"/>
                    <a:pt x="473058" y="850900"/>
                  </a:cubicBezTo>
                  <a:cubicBezTo>
                    <a:pt x="479045" y="853893"/>
                    <a:pt x="485758" y="855133"/>
                    <a:pt x="492108" y="857250"/>
                  </a:cubicBezTo>
                  <a:cubicBezTo>
                    <a:pt x="498458" y="848783"/>
                    <a:pt x="503123" y="838738"/>
                    <a:pt x="511158" y="831850"/>
                  </a:cubicBezTo>
                  <a:cubicBezTo>
                    <a:pt x="527161" y="818133"/>
                    <a:pt x="548997" y="816662"/>
                    <a:pt x="568308" y="812800"/>
                  </a:cubicBezTo>
                  <a:cubicBezTo>
                    <a:pt x="568723" y="811141"/>
                    <a:pt x="577695" y="772491"/>
                    <a:pt x="581008" y="768350"/>
                  </a:cubicBezTo>
                  <a:cubicBezTo>
                    <a:pt x="585776" y="762391"/>
                    <a:pt x="593708" y="759883"/>
                    <a:pt x="600058" y="755650"/>
                  </a:cubicBezTo>
                  <a:cubicBezTo>
                    <a:pt x="623341" y="757767"/>
                    <a:pt x="646884" y="757937"/>
                    <a:pt x="669908" y="762000"/>
                  </a:cubicBezTo>
                  <a:cubicBezTo>
                    <a:pt x="683091" y="764326"/>
                    <a:pt x="708008" y="774700"/>
                    <a:pt x="708008" y="774700"/>
                  </a:cubicBezTo>
                  <a:cubicBezTo>
                    <a:pt x="726739" y="787187"/>
                    <a:pt x="730829" y="788115"/>
                    <a:pt x="746108" y="806450"/>
                  </a:cubicBezTo>
                  <a:cubicBezTo>
                    <a:pt x="750994" y="812313"/>
                    <a:pt x="752458" y="821267"/>
                    <a:pt x="758808" y="825500"/>
                  </a:cubicBezTo>
                  <a:cubicBezTo>
                    <a:pt x="766070" y="830341"/>
                    <a:pt x="775741" y="829733"/>
                    <a:pt x="784208" y="831850"/>
                  </a:cubicBezTo>
                  <a:lnTo>
                    <a:pt x="822308" y="819150"/>
                  </a:lnTo>
                  <a:lnTo>
                    <a:pt x="841358" y="812800"/>
                  </a:lnTo>
                  <a:cubicBezTo>
                    <a:pt x="847708" y="814917"/>
                    <a:pt x="855675" y="814417"/>
                    <a:pt x="860408" y="819150"/>
                  </a:cubicBezTo>
                  <a:cubicBezTo>
                    <a:pt x="934491" y="893233"/>
                    <a:pt x="850883" y="833967"/>
                    <a:pt x="904858" y="869950"/>
                  </a:cubicBezTo>
                  <a:cubicBezTo>
                    <a:pt x="915441" y="867833"/>
                    <a:pt x="926072" y="865941"/>
                    <a:pt x="936608" y="863600"/>
                  </a:cubicBezTo>
                  <a:cubicBezTo>
                    <a:pt x="945127" y="861707"/>
                    <a:pt x="953281" y="857250"/>
                    <a:pt x="962008" y="857250"/>
                  </a:cubicBezTo>
                  <a:cubicBezTo>
                    <a:pt x="968701" y="857250"/>
                    <a:pt x="974708" y="861483"/>
                    <a:pt x="981058" y="863600"/>
                  </a:cubicBezTo>
                  <a:cubicBezTo>
                    <a:pt x="996552" y="858435"/>
                    <a:pt x="1006848" y="856860"/>
                    <a:pt x="1019158" y="844550"/>
                  </a:cubicBezTo>
                  <a:cubicBezTo>
                    <a:pt x="1061491" y="802217"/>
                    <a:pt x="1000108" y="846667"/>
                    <a:pt x="1050908" y="812800"/>
                  </a:cubicBezTo>
                  <a:cubicBezTo>
                    <a:pt x="1057258" y="817033"/>
                    <a:pt x="1065190" y="819541"/>
                    <a:pt x="1069958" y="825500"/>
                  </a:cubicBezTo>
                  <a:cubicBezTo>
                    <a:pt x="1087783" y="847781"/>
                    <a:pt x="1060600" y="849786"/>
                    <a:pt x="1095358" y="838200"/>
                  </a:cubicBezTo>
                  <a:cubicBezTo>
                    <a:pt x="1100163" y="823786"/>
                    <a:pt x="1100652" y="809322"/>
                    <a:pt x="1120758" y="806450"/>
                  </a:cubicBezTo>
                  <a:cubicBezTo>
                    <a:pt x="1129398" y="805216"/>
                    <a:pt x="1137691" y="810683"/>
                    <a:pt x="1146158" y="812800"/>
                  </a:cubicBezTo>
                  <a:cubicBezTo>
                    <a:pt x="1152508" y="810683"/>
                    <a:pt x="1159221" y="809443"/>
                    <a:pt x="1165208" y="806450"/>
                  </a:cubicBezTo>
                  <a:cubicBezTo>
                    <a:pt x="1179479" y="799314"/>
                    <a:pt x="1193277" y="786737"/>
                    <a:pt x="1203308" y="774700"/>
                  </a:cubicBezTo>
                  <a:cubicBezTo>
                    <a:pt x="1208194" y="768837"/>
                    <a:pt x="1211775" y="762000"/>
                    <a:pt x="1216008" y="755650"/>
                  </a:cubicBezTo>
                  <a:cubicBezTo>
                    <a:pt x="1218693" y="731483"/>
                    <a:pt x="1213521" y="698295"/>
                    <a:pt x="1235058" y="679450"/>
                  </a:cubicBezTo>
                  <a:lnTo>
                    <a:pt x="1292208" y="641350"/>
                  </a:lnTo>
                  <a:lnTo>
                    <a:pt x="1311258" y="628650"/>
                  </a:lnTo>
                  <a:cubicBezTo>
                    <a:pt x="1315223" y="616755"/>
                    <a:pt x="1317510" y="596900"/>
                    <a:pt x="1336658" y="596900"/>
                  </a:cubicBezTo>
                  <a:cubicBezTo>
                    <a:pt x="1344290" y="596900"/>
                    <a:pt x="1349358" y="605367"/>
                    <a:pt x="1355708" y="609600"/>
                  </a:cubicBezTo>
                  <a:cubicBezTo>
                    <a:pt x="1357825" y="618067"/>
                    <a:pt x="1358620" y="626978"/>
                    <a:pt x="1362058" y="635000"/>
                  </a:cubicBezTo>
                  <a:cubicBezTo>
                    <a:pt x="1365064" y="642015"/>
                    <a:pt x="1369362" y="648654"/>
                    <a:pt x="1374758" y="654050"/>
                  </a:cubicBezTo>
                  <a:cubicBezTo>
                    <a:pt x="1398236" y="677528"/>
                    <a:pt x="1423205" y="668837"/>
                    <a:pt x="1457308" y="673100"/>
                  </a:cubicBezTo>
                  <a:cubicBezTo>
                    <a:pt x="1470084" y="674697"/>
                    <a:pt x="1482708" y="677333"/>
                    <a:pt x="1495408" y="679450"/>
                  </a:cubicBezTo>
                  <a:cubicBezTo>
                    <a:pt x="1499641" y="685800"/>
                    <a:pt x="1507265" y="690915"/>
                    <a:pt x="1508108" y="698500"/>
                  </a:cubicBezTo>
                  <a:cubicBezTo>
                    <a:pt x="1509971" y="715263"/>
                    <a:pt x="1500988" y="738910"/>
                    <a:pt x="1495408" y="755650"/>
                  </a:cubicBezTo>
                  <a:cubicBezTo>
                    <a:pt x="1497525" y="766233"/>
                    <a:pt x="1491838" y="783148"/>
                    <a:pt x="1501758" y="787400"/>
                  </a:cubicBezTo>
                  <a:cubicBezTo>
                    <a:pt x="1514063" y="792673"/>
                    <a:pt x="1539858" y="774700"/>
                    <a:pt x="1539858" y="774700"/>
                  </a:cubicBezTo>
                  <a:cubicBezTo>
                    <a:pt x="1546208" y="770467"/>
                    <a:pt x="1553512" y="767396"/>
                    <a:pt x="1558908" y="762000"/>
                  </a:cubicBezTo>
                  <a:cubicBezTo>
                    <a:pt x="1564304" y="756604"/>
                    <a:pt x="1565649" y="747718"/>
                    <a:pt x="1571608" y="742950"/>
                  </a:cubicBezTo>
                  <a:cubicBezTo>
                    <a:pt x="1576835" y="738769"/>
                    <a:pt x="1584308" y="738717"/>
                    <a:pt x="1590658" y="736600"/>
                  </a:cubicBezTo>
                  <a:cubicBezTo>
                    <a:pt x="1588541" y="721783"/>
                    <a:pt x="1587673" y="706734"/>
                    <a:pt x="1584308" y="692150"/>
                  </a:cubicBezTo>
                  <a:cubicBezTo>
                    <a:pt x="1565258" y="609600"/>
                    <a:pt x="1577958" y="685800"/>
                    <a:pt x="1565258" y="635000"/>
                  </a:cubicBezTo>
                  <a:cubicBezTo>
                    <a:pt x="1563141" y="626533"/>
                    <a:pt x="1562346" y="617622"/>
                    <a:pt x="1558908" y="609600"/>
                  </a:cubicBezTo>
                  <a:cubicBezTo>
                    <a:pt x="1555902" y="602585"/>
                    <a:pt x="1549621" y="597376"/>
                    <a:pt x="1546208" y="590550"/>
                  </a:cubicBezTo>
                  <a:cubicBezTo>
                    <a:pt x="1543215" y="584563"/>
                    <a:pt x="1541975" y="577850"/>
                    <a:pt x="1539858" y="571500"/>
                  </a:cubicBezTo>
                  <a:cubicBezTo>
                    <a:pt x="1537741" y="533400"/>
                    <a:pt x="1540648" y="494685"/>
                    <a:pt x="1533508" y="457200"/>
                  </a:cubicBezTo>
                  <a:cubicBezTo>
                    <a:pt x="1531828" y="448378"/>
                    <a:pt x="1523293" y="439756"/>
                    <a:pt x="1514458" y="438150"/>
                  </a:cubicBezTo>
                  <a:cubicBezTo>
                    <a:pt x="1497668" y="435097"/>
                    <a:pt x="1480591" y="442383"/>
                    <a:pt x="1463658" y="444500"/>
                  </a:cubicBezTo>
                  <a:cubicBezTo>
                    <a:pt x="1448841" y="442383"/>
                    <a:pt x="1433884" y="441085"/>
                    <a:pt x="1419208" y="438150"/>
                  </a:cubicBezTo>
                  <a:cubicBezTo>
                    <a:pt x="1412644" y="436837"/>
                    <a:pt x="1405385" y="435981"/>
                    <a:pt x="1400158" y="431800"/>
                  </a:cubicBezTo>
                  <a:cubicBezTo>
                    <a:pt x="1359126" y="398974"/>
                    <a:pt x="1416291" y="422361"/>
                    <a:pt x="1368408" y="406400"/>
                  </a:cubicBezTo>
                  <a:cubicBezTo>
                    <a:pt x="1362058" y="402167"/>
                    <a:pt x="1352192" y="400786"/>
                    <a:pt x="1349358" y="393700"/>
                  </a:cubicBezTo>
                  <a:cubicBezTo>
                    <a:pt x="1346872" y="387485"/>
                    <a:pt x="1349272" y="376489"/>
                    <a:pt x="1355708" y="374650"/>
                  </a:cubicBezTo>
                  <a:cubicBezTo>
                    <a:pt x="1382244" y="367068"/>
                    <a:pt x="1410741" y="370417"/>
                    <a:pt x="1438258" y="368300"/>
                  </a:cubicBezTo>
                  <a:cubicBezTo>
                    <a:pt x="1444608" y="364067"/>
                    <a:pt x="1453263" y="362072"/>
                    <a:pt x="1457308" y="355600"/>
                  </a:cubicBezTo>
                  <a:cubicBezTo>
                    <a:pt x="1464403" y="344248"/>
                    <a:pt x="1470008" y="317500"/>
                    <a:pt x="1470008" y="317500"/>
                  </a:cubicBezTo>
                  <a:cubicBezTo>
                    <a:pt x="1463658" y="311150"/>
                    <a:pt x="1456707" y="305349"/>
                    <a:pt x="1450958" y="298450"/>
                  </a:cubicBezTo>
                  <a:cubicBezTo>
                    <a:pt x="1446072" y="292587"/>
                    <a:pt x="1444217" y="284168"/>
                    <a:pt x="1438258" y="279400"/>
                  </a:cubicBezTo>
                  <a:cubicBezTo>
                    <a:pt x="1433031" y="275219"/>
                    <a:pt x="1425558" y="275167"/>
                    <a:pt x="1419208" y="273050"/>
                  </a:cubicBezTo>
                  <a:lnTo>
                    <a:pt x="1381108" y="247650"/>
                  </a:lnTo>
                  <a:cubicBezTo>
                    <a:pt x="1369969" y="240224"/>
                    <a:pt x="1343008" y="234950"/>
                    <a:pt x="1343008" y="234950"/>
                  </a:cubicBezTo>
                  <a:cubicBezTo>
                    <a:pt x="1338775" y="228600"/>
                    <a:pt x="1333721" y="222726"/>
                    <a:pt x="1330308" y="215900"/>
                  </a:cubicBezTo>
                  <a:cubicBezTo>
                    <a:pt x="1327315" y="209913"/>
                    <a:pt x="1328139" y="202077"/>
                    <a:pt x="1323958" y="196850"/>
                  </a:cubicBezTo>
                  <a:cubicBezTo>
                    <a:pt x="1319190" y="190891"/>
                    <a:pt x="1311258" y="188383"/>
                    <a:pt x="1304908" y="184150"/>
                  </a:cubicBezTo>
                  <a:cubicBezTo>
                    <a:pt x="1292208" y="188383"/>
                    <a:pt x="1279508" y="201083"/>
                    <a:pt x="1266808" y="196850"/>
                  </a:cubicBezTo>
                  <a:lnTo>
                    <a:pt x="1228708" y="184150"/>
                  </a:lnTo>
                  <a:cubicBezTo>
                    <a:pt x="1218125" y="186267"/>
                    <a:pt x="1207429" y="187882"/>
                    <a:pt x="1196958" y="190500"/>
                  </a:cubicBezTo>
                  <a:cubicBezTo>
                    <a:pt x="1190464" y="192123"/>
                    <a:pt x="1184258" y="198967"/>
                    <a:pt x="1177908" y="196850"/>
                  </a:cubicBezTo>
                  <a:cubicBezTo>
                    <a:pt x="1163428" y="192023"/>
                    <a:pt x="1152508" y="179917"/>
                    <a:pt x="1139808" y="171450"/>
                  </a:cubicBezTo>
                  <a:cubicBezTo>
                    <a:pt x="1132336" y="166469"/>
                    <a:pt x="1127847" y="157913"/>
                    <a:pt x="1120758" y="152400"/>
                  </a:cubicBezTo>
                  <a:cubicBezTo>
                    <a:pt x="1108710" y="143029"/>
                    <a:pt x="1082658" y="127000"/>
                    <a:pt x="1082658" y="127000"/>
                  </a:cubicBezTo>
                  <a:cubicBezTo>
                    <a:pt x="1078425" y="120650"/>
                    <a:pt x="1076784" y="111363"/>
                    <a:pt x="1069958" y="107950"/>
                  </a:cubicBezTo>
                  <a:cubicBezTo>
                    <a:pt x="1058442" y="102192"/>
                    <a:pt x="1044072" y="105671"/>
                    <a:pt x="1031858" y="101600"/>
                  </a:cubicBezTo>
                  <a:cubicBezTo>
                    <a:pt x="1024618" y="99187"/>
                    <a:pt x="1019158" y="93133"/>
                    <a:pt x="1012808" y="88900"/>
                  </a:cubicBezTo>
                  <a:cubicBezTo>
                    <a:pt x="1014925" y="78317"/>
                    <a:pt x="1016540" y="67621"/>
                    <a:pt x="1019158" y="57150"/>
                  </a:cubicBezTo>
                  <a:cubicBezTo>
                    <a:pt x="1020781" y="50656"/>
                    <a:pt x="1029399" y="43547"/>
                    <a:pt x="1025508" y="38100"/>
                  </a:cubicBezTo>
                  <a:cubicBezTo>
                    <a:pt x="1016636" y="25680"/>
                    <a:pt x="1000108" y="21167"/>
                    <a:pt x="987408" y="12700"/>
                  </a:cubicBezTo>
                  <a:cubicBezTo>
                    <a:pt x="976269" y="5274"/>
                    <a:pt x="949308" y="0"/>
                    <a:pt x="949308" y="0"/>
                  </a:cubicBezTo>
                  <a:cubicBezTo>
                    <a:pt x="933814" y="5165"/>
                    <a:pt x="923518" y="6740"/>
                    <a:pt x="911208" y="19050"/>
                  </a:cubicBezTo>
                  <a:cubicBezTo>
                    <a:pt x="905812" y="24446"/>
                    <a:pt x="904858" y="33867"/>
                    <a:pt x="898508" y="38100"/>
                  </a:cubicBezTo>
                  <a:cubicBezTo>
                    <a:pt x="891246" y="42941"/>
                    <a:pt x="881575" y="42333"/>
                    <a:pt x="873108" y="44450"/>
                  </a:cubicBezTo>
                  <a:cubicBezTo>
                    <a:pt x="864641" y="42333"/>
                    <a:pt x="856435" y="38100"/>
                    <a:pt x="847708" y="38100"/>
                  </a:cubicBezTo>
                  <a:cubicBezTo>
                    <a:pt x="834833" y="38100"/>
                    <a:pt x="822233" y="41925"/>
                    <a:pt x="809608" y="44450"/>
                  </a:cubicBezTo>
                  <a:cubicBezTo>
                    <a:pt x="789674" y="48437"/>
                    <a:pt x="783314" y="51098"/>
                    <a:pt x="765158" y="57150"/>
                  </a:cubicBezTo>
                  <a:cubicBezTo>
                    <a:pt x="758808" y="61383"/>
                    <a:pt x="750876" y="63891"/>
                    <a:pt x="746108" y="69850"/>
                  </a:cubicBezTo>
                  <a:cubicBezTo>
                    <a:pt x="739526" y="78077"/>
                    <a:pt x="733473" y="126610"/>
                    <a:pt x="733408" y="127000"/>
                  </a:cubicBezTo>
                  <a:cubicBezTo>
                    <a:pt x="727058" y="124883"/>
                    <a:pt x="720345" y="123643"/>
                    <a:pt x="714358" y="120650"/>
                  </a:cubicBezTo>
                  <a:cubicBezTo>
                    <a:pt x="707532" y="117237"/>
                    <a:pt x="702836" y="109205"/>
                    <a:pt x="695308" y="107950"/>
                  </a:cubicBezTo>
                  <a:cubicBezTo>
                    <a:pt x="688706" y="106850"/>
                    <a:pt x="682608" y="112183"/>
                    <a:pt x="676258" y="114300"/>
                  </a:cubicBezTo>
                  <a:cubicBezTo>
                    <a:pt x="663558" y="122767"/>
                    <a:pt x="646625" y="127000"/>
                    <a:pt x="638158" y="139700"/>
                  </a:cubicBezTo>
                  <a:cubicBezTo>
                    <a:pt x="621225" y="165100"/>
                    <a:pt x="631808" y="154517"/>
                    <a:pt x="606408" y="171450"/>
                  </a:cubicBezTo>
                  <a:cubicBezTo>
                    <a:pt x="602175" y="177800"/>
                    <a:pt x="600895" y="187933"/>
                    <a:pt x="593708" y="190500"/>
                  </a:cubicBezTo>
                  <a:cubicBezTo>
                    <a:pt x="562865" y="201515"/>
                    <a:pt x="473389" y="206877"/>
                    <a:pt x="441308" y="209550"/>
                  </a:cubicBezTo>
                  <a:cubicBezTo>
                    <a:pt x="441088" y="209605"/>
                    <a:pt x="399895" y="219213"/>
                    <a:pt x="396858" y="222250"/>
                  </a:cubicBezTo>
                  <a:cubicBezTo>
                    <a:pt x="392125" y="226983"/>
                    <a:pt x="392625" y="234950"/>
                    <a:pt x="390508" y="241300"/>
                  </a:cubicBezTo>
                  <a:cubicBezTo>
                    <a:pt x="394741" y="247650"/>
                    <a:pt x="401953" y="252822"/>
                    <a:pt x="403208" y="260350"/>
                  </a:cubicBezTo>
                  <a:cubicBezTo>
                    <a:pt x="406513" y="280182"/>
                    <a:pt x="388667" y="283051"/>
                    <a:pt x="377808" y="292100"/>
                  </a:cubicBezTo>
                  <a:cubicBezTo>
                    <a:pt x="359473" y="307379"/>
                    <a:pt x="358545" y="311469"/>
                    <a:pt x="346058" y="330200"/>
                  </a:cubicBezTo>
                  <a:cubicBezTo>
                    <a:pt x="341943" y="346660"/>
                    <a:pt x="343396" y="365052"/>
                    <a:pt x="320658" y="368300"/>
                  </a:cubicBezTo>
                  <a:cubicBezTo>
                    <a:pt x="312018" y="369534"/>
                    <a:pt x="303725" y="364067"/>
                    <a:pt x="295258" y="361950"/>
                  </a:cubicBezTo>
                  <a:cubicBezTo>
                    <a:pt x="288908" y="357717"/>
                    <a:pt x="283034" y="352663"/>
                    <a:pt x="276208" y="349250"/>
                  </a:cubicBezTo>
                  <a:cubicBezTo>
                    <a:pt x="223628" y="322960"/>
                    <a:pt x="292703" y="366596"/>
                    <a:pt x="238108" y="330200"/>
                  </a:cubicBezTo>
                  <a:cubicBezTo>
                    <a:pt x="235991" y="323850"/>
                    <a:pt x="237205" y="315041"/>
                    <a:pt x="231758" y="311150"/>
                  </a:cubicBezTo>
                  <a:cubicBezTo>
                    <a:pt x="220865" y="303369"/>
                    <a:pt x="193658" y="298450"/>
                    <a:pt x="193658" y="298450"/>
                  </a:cubicBezTo>
                  <a:cubicBezTo>
                    <a:pt x="185191" y="300567"/>
                    <a:pt x="176617" y="302292"/>
                    <a:pt x="168258" y="304800"/>
                  </a:cubicBezTo>
                  <a:cubicBezTo>
                    <a:pt x="155436" y="308647"/>
                    <a:pt x="130158" y="317500"/>
                    <a:pt x="130158" y="317500"/>
                  </a:cubicBezTo>
                  <a:cubicBezTo>
                    <a:pt x="123808" y="321733"/>
                    <a:pt x="114894" y="323574"/>
                    <a:pt x="111108" y="330200"/>
                  </a:cubicBezTo>
                  <a:cubicBezTo>
                    <a:pt x="95890" y="356832"/>
                    <a:pt x="115957" y="361881"/>
                    <a:pt x="92058" y="381000"/>
                  </a:cubicBezTo>
                  <a:cubicBezTo>
                    <a:pt x="86831" y="385181"/>
                    <a:pt x="79358" y="385233"/>
                    <a:pt x="73008" y="387350"/>
                  </a:cubicBezTo>
                  <a:cubicBezTo>
                    <a:pt x="43092" y="432224"/>
                    <a:pt x="42884" y="413716"/>
                    <a:pt x="53958" y="463550"/>
                  </a:cubicBezTo>
                  <a:cubicBezTo>
                    <a:pt x="55410" y="470084"/>
                    <a:pt x="57315" y="476613"/>
                    <a:pt x="60308" y="482600"/>
                  </a:cubicBezTo>
                  <a:cubicBezTo>
                    <a:pt x="63721" y="489426"/>
                    <a:pt x="67265" y="496624"/>
                    <a:pt x="73008" y="501650"/>
                  </a:cubicBezTo>
                  <a:cubicBezTo>
                    <a:pt x="84495" y="511701"/>
                    <a:pt x="111108" y="527050"/>
                    <a:pt x="111108" y="527050"/>
                  </a:cubicBezTo>
                  <a:cubicBezTo>
                    <a:pt x="114199" y="531686"/>
                    <a:pt x="133079" y="556387"/>
                    <a:pt x="130158" y="565150"/>
                  </a:cubicBezTo>
                  <a:cubicBezTo>
                    <a:pt x="125331" y="579630"/>
                    <a:pt x="109585" y="588770"/>
                    <a:pt x="104758" y="603250"/>
                  </a:cubicBezTo>
                  <a:cubicBezTo>
                    <a:pt x="99593" y="618744"/>
                    <a:pt x="98018" y="629040"/>
                    <a:pt x="85708" y="641350"/>
                  </a:cubicBezTo>
                  <a:cubicBezTo>
                    <a:pt x="35758" y="691300"/>
                    <a:pt x="99622" y="610683"/>
                    <a:pt x="47608" y="673100"/>
                  </a:cubicBezTo>
                  <a:cubicBezTo>
                    <a:pt x="21150" y="704850"/>
                    <a:pt x="50783" y="681567"/>
                    <a:pt x="15858" y="704850"/>
                  </a:cubicBezTo>
                  <a:cubicBezTo>
                    <a:pt x="11625" y="711200"/>
                    <a:pt x="4237" y="716345"/>
                    <a:pt x="3158" y="723900"/>
                  </a:cubicBezTo>
                  <a:cubicBezTo>
                    <a:pt x="0" y="746009"/>
                    <a:pt x="12180" y="753811"/>
                    <a:pt x="28558" y="762000"/>
                  </a:cubicBezTo>
                  <a:cubicBezTo>
                    <a:pt x="34545" y="764993"/>
                    <a:pt x="41258" y="766233"/>
                    <a:pt x="47608" y="768350"/>
                  </a:cubicBezTo>
                  <a:cubicBezTo>
                    <a:pt x="54738" y="779045"/>
                    <a:pt x="63762" y="797872"/>
                    <a:pt x="79358" y="800100"/>
                  </a:cubicBezTo>
                  <a:cubicBezTo>
                    <a:pt x="84939" y="800897"/>
                    <a:pt x="116659" y="789783"/>
                    <a:pt x="123808" y="787400"/>
                  </a:cubicBezTo>
                  <a:cubicBezTo>
                    <a:pt x="132275" y="789517"/>
                    <a:pt x="141946" y="788909"/>
                    <a:pt x="149208" y="793750"/>
                  </a:cubicBezTo>
                  <a:cubicBezTo>
                    <a:pt x="155558" y="797983"/>
                    <a:pt x="158808" y="805826"/>
                    <a:pt x="161908" y="812800"/>
                  </a:cubicBezTo>
                  <a:cubicBezTo>
                    <a:pt x="167345" y="825033"/>
                    <a:pt x="163469" y="843474"/>
                    <a:pt x="174608" y="850900"/>
                  </a:cubicBezTo>
                  <a:cubicBezTo>
                    <a:pt x="242681" y="896282"/>
                    <a:pt x="139369" y="825608"/>
                    <a:pt x="212708" y="882650"/>
                  </a:cubicBezTo>
                  <a:cubicBezTo>
                    <a:pt x="224756" y="892021"/>
                    <a:pt x="238108" y="899583"/>
                    <a:pt x="250808" y="908050"/>
                  </a:cubicBezTo>
                  <a:lnTo>
                    <a:pt x="269858" y="920750"/>
                  </a:lnTo>
                  <a:cubicBezTo>
                    <a:pt x="278838" y="926737"/>
                    <a:pt x="291369" y="923687"/>
                    <a:pt x="301608" y="927100"/>
                  </a:cubicBezTo>
                  <a:cubicBezTo>
                    <a:pt x="304448" y="928047"/>
                    <a:pt x="268800" y="922867"/>
                    <a:pt x="269858" y="920750"/>
                  </a:cubicBezTo>
                  <a:close/>
                </a:path>
              </a:pathLst>
            </a:custGeom>
            <a:grp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rtl="0" eaLnBrk="0" fontAlgn="base" hangingPunct="0">
                <a:spcBef>
                  <a:spcPct val="50000"/>
                </a:spcBef>
                <a:spcAft>
                  <a:spcPct val="0"/>
                </a:spcAft>
              </a:pPr>
              <a:endParaRPr lang="en-US" sz="900">
                <a:solidFill>
                  <a:srgbClr val="000000"/>
                </a:solidFill>
                <a:latin typeface="Arial" charset="0"/>
              </a:endParaRPr>
            </a:p>
          </p:txBody>
        </p:sp>
        <p:sp>
          <p:nvSpPr>
            <p:cNvPr id="63" name="Freeform 63">
              <a:extLst>
                <a:ext uri="{FF2B5EF4-FFF2-40B4-BE49-F238E27FC236}">
                  <a16:creationId xmlns:a16="http://schemas.microsoft.com/office/drawing/2014/main" id="{717BA4AD-FC69-4E84-87B0-2EC602422D87}"/>
                </a:ext>
              </a:extLst>
            </p:cNvPr>
            <p:cNvSpPr/>
            <p:nvPr>
              <p:custDataLst>
                <p:tags r:id="rId18"/>
              </p:custDataLst>
            </p:nvPr>
          </p:nvSpPr>
          <p:spPr bwMode="gray">
            <a:xfrm>
              <a:off x="5383399" y="1270000"/>
              <a:ext cx="571500" cy="329370"/>
            </a:xfrm>
            <a:custGeom>
              <a:avLst/>
              <a:gdLst>
                <a:gd name="connsiteX0" fmla="*/ 387350 w 571500"/>
                <a:gd name="connsiteY0" fmla="*/ 317500 h 329370"/>
                <a:gd name="connsiteX1" fmla="*/ 438150 w 571500"/>
                <a:gd name="connsiteY1" fmla="*/ 311150 h 329370"/>
                <a:gd name="connsiteX2" fmla="*/ 444500 w 571500"/>
                <a:gd name="connsiteY2" fmla="*/ 292100 h 329370"/>
                <a:gd name="connsiteX3" fmla="*/ 457200 w 571500"/>
                <a:gd name="connsiteY3" fmla="*/ 273050 h 329370"/>
                <a:gd name="connsiteX4" fmla="*/ 463550 w 571500"/>
                <a:gd name="connsiteY4" fmla="*/ 247650 h 329370"/>
                <a:gd name="connsiteX5" fmla="*/ 482600 w 571500"/>
                <a:gd name="connsiteY5" fmla="*/ 241300 h 329370"/>
                <a:gd name="connsiteX6" fmla="*/ 508000 w 571500"/>
                <a:gd name="connsiteY6" fmla="*/ 234950 h 329370"/>
                <a:gd name="connsiteX7" fmla="*/ 539750 w 571500"/>
                <a:gd name="connsiteY7" fmla="*/ 241300 h 329370"/>
                <a:gd name="connsiteX8" fmla="*/ 552450 w 571500"/>
                <a:gd name="connsiteY8" fmla="*/ 260350 h 329370"/>
                <a:gd name="connsiteX9" fmla="*/ 571500 w 571500"/>
                <a:gd name="connsiteY9" fmla="*/ 266700 h 329370"/>
                <a:gd name="connsiteX10" fmla="*/ 546100 w 571500"/>
                <a:gd name="connsiteY10" fmla="*/ 209550 h 329370"/>
                <a:gd name="connsiteX11" fmla="*/ 527050 w 571500"/>
                <a:gd name="connsiteY11" fmla="*/ 203200 h 329370"/>
                <a:gd name="connsiteX12" fmla="*/ 508000 w 571500"/>
                <a:gd name="connsiteY12" fmla="*/ 184150 h 329370"/>
                <a:gd name="connsiteX13" fmla="*/ 508000 w 571500"/>
                <a:gd name="connsiteY13" fmla="*/ 139700 h 329370"/>
                <a:gd name="connsiteX14" fmla="*/ 527050 w 571500"/>
                <a:gd name="connsiteY14" fmla="*/ 127000 h 329370"/>
                <a:gd name="connsiteX15" fmla="*/ 546100 w 571500"/>
                <a:gd name="connsiteY15" fmla="*/ 88900 h 329370"/>
                <a:gd name="connsiteX16" fmla="*/ 533400 w 571500"/>
                <a:gd name="connsiteY16" fmla="*/ 69850 h 329370"/>
                <a:gd name="connsiteX17" fmla="*/ 514350 w 571500"/>
                <a:gd name="connsiteY17" fmla="*/ 63500 h 329370"/>
                <a:gd name="connsiteX18" fmla="*/ 488950 w 571500"/>
                <a:gd name="connsiteY18" fmla="*/ 69850 h 329370"/>
                <a:gd name="connsiteX19" fmla="*/ 469900 w 571500"/>
                <a:gd name="connsiteY19" fmla="*/ 76200 h 329370"/>
                <a:gd name="connsiteX20" fmla="*/ 438150 w 571500"/>
                <a:gd name="connsiteY20" fmla="*/ 69850 h 329370"/>
                <a:gd name="connsiteX21" fmla="*/ 438150 w 571500"/>
                <a:gd name="connsiteY21" fmla="*/ 6350 h 329370"/>
                <a:gd name="connsiteX22" fmla="*/ 419100 w 571500"/>
                <a:gd name="connsiteY22" fmla="*/ 0 h 329370"/>
                <a:gd name="connsiteX23" fmla="*/ 374650 w 571500"/>
                <a:gd name="connsiteY23" fmla="*/ 6350 h 329370"/>
                <a:gd name="connsiteX24" fmla="*/ 349250 w 571500"/>
                <a:gd name="connsiteY24" fmla="*/ 44450 h 329370"/>
                <a:gd name="connsiteX25" fmla="*/ 342900 w 571500"/>
                <a:gd name="connsiteY25" fmla="*/ 95250 h 329370"/>
                <a:gd name="connsiteX26" fmla="*/ 323850 w 571500"/>
                <a:gd name="connsiteY26" fmla="*/ 76200 h 329370"/>
                <a:gd name="connsiteX27" fmla="*/ 292100 w 571500"/>
                <a:gd name="connsiteY27" fmla="*/ 101600 h 329370"/>
                <a:gd name="connsiteX28" fmla="*/ 298450 w 571500"/>
                <a:gd name="connsiteY28" fmla="*/ 127000 h 329370"/>
                <a:gd name="connsiteX29" fmla="*/ 273050 w 571500"/>
                <a:gd name="connsiteY29" fmla="*/ 171450 h 329370"/>
                <a:gd name="connsiteX30" fmla="*/ 254000 w 571500"/>
                <a:gd name="connsiteY30" fmla="*/ 184150 h 329370"/>
                <a:gd name="connsiteX31" fmla="*/ 228600 w 571500"/>
                <a:gd name="connsiteY31" fmla="*/ 190500 h 329370"/>
                <a:gd name="connsiteX32" fmla="*/ 152400 w 571500"/>
                <a:gd name="connsiteY32" fmla="*/ 184150 h 329370"/>
                <a:gd name="connsiteX33" fmla="*/ 114300 w 571500"/>
                <a:gd name="connsiteY33" fmla="*/ 171450 h 329370"/>
                <a:gd name="connsiteX34" fmla="*/ 44450 w 571500"/>
                <a:gd name="connsiteY34" fmla="*/ 190500 h 329370"/>
                <a:gd name="connsiteX35" fmla="*/ 25400 w 571500"/>
                <a:gd name="connsiteY35" fmla="*/ 215900 h 329370"/>
                <a:gd name="connsiteX36" fmla="*/ 0 w 571500"/>
                <a:gd name="connsiteY36" fmla="*/ 279400 h 329370"/>
                <a:gd name="connsiteX37" fmla="*/ 25400 w 571500"/>
                <a:gd name="connsiteY37" fmla="*/ 292100 h 329370"/>
                <a:gd name="connsiteX38" fmla="*/ 50800 w 571500"/>
                <a:gd name="connsiteY38" fmla="*/ 234950 h 329370"/>
                <a:gd name="connsiteX39" fmla="*/ 69850 w 571500"/>
                <a:gd name="connsiteY39" fmla="*/ 228600 h 329370"/>
                <a:gd name="connsiteX40" fmla="*/ 88900 w 571500"/>
                <a:gd name="connsiteY40" fmla="*/ 215900 h 329370"/>
                <a:gd name="connsiteX41" fmla="*/ 228600 w 571500"/>
                <a:gd name="connsiteY41" fmla="*/ 215900 h 329370"/>
                <a:gd name="connsiteX42" fmla="*/ 266700 w 571500"/>
                <a:gd name="connsiteY42" fmla="*/ 209550 h 329370"/>
                <a:gd name="connsiteX43" fmla="*/ 279400 w 571500"/>
                <a:gd name="connsiteY43" fmla="*/ 190500 h 329370"/>
                <a:gd name="connsiteX44" fmla="*/ 298450 w 571500"/>
                <a:gd name="connsiteY44" fmla="*/ 171450 h 329370"/>
                <a:gd name="connsiteX45" fmla="*/ 311150 w 571500"/>
                <a:gd name="connsiteY45" fmla="*/ 127000 h 329370"/>
                <a:gd name="connsiteX46" fmla="*/ 330200 w 571500"/>
                <a:gd name="connsiteY46" fmla="*/ 120650 h 329370"/>
                <a:gd name="connsiteX47" fmla="*/ 336550 w 571500"/>
                <a:gd name="connsiteY47" fmla="*/ 139700 h 329370"/>
                <a:gd name="connsiteX48" fmla="*/ 342900 w 571500"/>
                <a:gd name="connsiteY48" fmla="*/ 184150 h 329370"/>
                <a:gd name="connsiteX49" fmla="*/ 361950 w 571500"/>
                <a:gd name="connsiteY49" fmla="*/ 196850 h 329370"/>
                <a:gd name="connsiteX50" fmla="*/ 355600 w 571500"/>
                <a:gd name="connsiteY50" fmla="*/ 222250 h 329370"/>
                <a:gd name="connsiteX51" fmla="*/ 336550 w 571500"/>
                <a:gd name="connsiteY51" fmla="*/ 234950 h 329370"/>
                <a:gd name="connsiteX52" fmla="*/ 323850 w 571500"/>
                <a:gd name="connsiteY52" fmla="*/ 254000 h 329370"/>
                <a:gd name="connsiteX53" fmla="*/ 330200 w 571500"/>
                <a:gd name="connsiteY53" fmla="*/ 298450 h 329370"/>
                <a:gd name="connsiteX54" fmla="*/ 349250 w 571500"/>
                <a:gd name="connsiteY54" fmla="*/ 304800 h 329370"/>
                <a:gd name="connsiteX55" fmla="*/ 374650 w 571500"/>
                <a:gd name="connsiteY55" fmla="*/ 311150 h 329370"/>
                <a:gd name="connsiteX56" fmla="*/ 419100 w 571500"/>
                <a:gd name="connsiteY56" fmla="*/ 323850 h 329370"/>
                <a:gd name="connsiteX57" fmla="*/ 444500 w 571500"/>
                <a:gd name="connsiteY57" fmla="*/ 311150 h 329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71500" h="329370">
                  <a:moveTo>
                    <a:pt x="387350" y="317500"/>
                  </a:moveTo>
                  <a:cubicBezTo>
                    <a:pt x="404283" y="315383"/>
                    <a:pt x="422556" y="318081"/>
                    <a:pt x="438150" y="311150"/>
                  </a:cubicBezTo>
                  <a:cubicBezTo>
                    <a:pt x="444267" y="308432"/>
                    <a:pt x="441507" y="298087"/>
                    <a:pt x="444500" y="292100"/>
                  </a:cubicBezTo>
                  <a:cubicBezTo>
                    <a:pt x="447913" y="285274"/>
                    <a:pt x="452967" y="279400"/>
                    <a:pt x="457200" y="273050"/>
                  </a:cubicBezTo>
                  <a:cubicBezTo>
                    <a:pt x="459317" y="264583"/>
                    <a:pt x="458098" y="254465"/>
                    <a:pt x="463550" y="247650"/>
                  </a:cubicBezTo>
                  <a:cubicBezTo>
                    <a:pt x="467731" y="242423"/>
                    <a:pt x="476164" y="243139"/>
                    <a:pt x="482600" y="241300"/>
                  </a:cubicBezTo>
                  <a:cubicBezTo>
                    <a:pt x="490991" y="238902"/>
                    <a:pt x="499533" y="237067"/>
                    <a:pt x="508000" y="234950"/>
                  </a:cubicBezTo>
                  <a:cubicBezTo>
                    <a:pt x="518583" y="237067"/>
                    <a:pt x="530379" y="235945"/>
                    <a:pt x="539750" y="241300"/>
                  </a:cubicBezTo>
                  <a:cubicBezTo>
                    <a:pt x="546376" y="245086"/>
                    <a:pt x="546491" y="255582"/>
                    <a:pt x="552450" y="260350"/>
                  </a:cubicBezTo>
                  <a:cubicBezTo>
                    <a:pt x="557677" y="264531"/>
                    <a:pt x="565150" y="264583"/>
                    <a:pt x="571500" y="266700"/>
                  </a:cubicBezTo>
                  <a:cubicBezTo>
                    <a:pt x="551374" y="236511"/>
                    <a:pt x="561213" y="254890"/>
                    <a:pt x="546100" y="209550"/>
                  </a:cubicBezTo>
                  <a:cubicBezTo>
                    <a:pt x="543983" y="203200"/>
                    <a:pt x="533400" y="205317"/>
                    <a:pt x="527050" y="203200"/>
                  </a:cubicBezTo>
                  <a:cubicBezTo>
                    <a:pt x="520700" y="196850"/>
                    <a:pt x="512981" y="191622"/>
                    <a:pt x="508000" y="184150"/>
                  </a:cubicBezTo>
                  <a:cubicBezTo>
                    <a:pt x="499431" y="171297"/>
                    <a:pt x="499321" y="152719"/>
                    <a:pt x="508000" y="139700"/>
                  </a:cubicBezTo>
                  <a:cubicBezTo>
                    <a:pt x="512233" y="133350"/>
                    <a:pt x="520700" y="131233"/>
                    <a:pt x="527050" y="127000"/>
                  </a:cubicBezTo>
                  <a:cubicBezTo>
                    <a:pt x="531473" y="120366"/>
                    <a:pt x="547853" y="99416"/>
                    <a:pt x="546100" y="88900"/>
                  </a:cubicBezTo>
                  <a:cubicBezTo>
                    <a:pt x="544845" y="81372"/>
                    <a:pt x="539359" y="74618"/>
                    <a:pt x="533400" y="69850"/>
                  </a:cubicBezTo>
                  <a:cubicBezTo>
                    <a:pt x="528173" y="65669"/>
                    <a:pt x="520700" y="65617"/>
                    <a:pt x="514350" y="63500"/>
                  </a:cubicBezTo>
                  <a:cubicBezTo>
                    <a:pt x="505883" y="65617"/>
                    <a:pt x="497341" y="67452"/>
                    <a:pt x="488950" y="69850"/>
                  </a:cubicBezTo>
                  <a:cubicBezTo>
                    <a:pt x="482514" y="71689"/>
                    <a:pt x="476593" y="76200"/>
                    <a:pt x="469900" y="76200"/>
                  </a:cubicBezTo>
                  <a:cubicBezTo>
                    <a:pt x="459107" y="76200"/>
                    <a:pt x="448733" y="71967"/>
                    <a:pt x="438150" y="69850"/>
                  </a:cubicBezTo>
                  <a:cubicBezTo>
                    <a:pt x="439251" y="62143"/>
                    <a:pt x="452004" y="20204"/>
                    <a:pt x="438150" y="6350"/>
                  </a:cubicBezTo>
                  <a:cubicBezTo>
                    <a:pt x="433417" y="1617"/>
                    <a:pt x="425450" y="2117"/>
                    <a:pt x="419100" y="0"/>
                  </a:cubicBezTo>
                  <a:cubicBezTo>
                    <a:pt x="404283" y="2117"/>
                    <a:pt x="388986" y="2049"/>
                    <a:pt x="374650" y="6350"/>
                  </a:cubicBezTo>
                  <a:cubicBezTo>
                    <a:pt x="352547" y="12981"/>
                    <a:pt x="352638" y="24122"/>
                    <a:pt x="349250" y="44450"/>
                  </a:cubicBezTo>
                  <a:cubicBezTo>
                    <a:pt x="346445" y="61283"/>
                    <a:pt x="345017" y="78317"/>
                    <a:pt x="342900" y="95250"/>
                  </a:cubicBezTo>
                  <a:cubicBezTo>
                    <a:pt x="336550" y="88900"/>
                    <a:pt x="332369" y="79040"/>
                    <a:pt x="323850" y="76200"/>
                  </a:cubicBezTo>
                  <a:cubicBezTo>
                    <a:pt x="307120" y="70623"/>
                    <a:pt x="297613" y="93331"/>
                    <a:pt x="292100" y="101600"/>
                  </a:cubicBezTo>
                  <a:cubicBezTo>
                    <a:pt x="294217" y="110067"/>
                    <a:pt x="298450" y="118273"/>
                    <a:pt x="298450" y="127000"/>
                  </a:cubicBezTo>
                  <a:cubicBezTo>
                    <a:pt x="298450" y="149920"/>
                    <a:pt x="289496" y="157745"/>
                    <a:pt x="273050" y="171450"/>
                  </a:cubicBezTo>
                  <a:cubicBezTo>
                    <a:pt x="267187" y="176336"/>
                    <a:pt x="261015" y="181144"/>
                    <a:pt x="254000" y="184150"/>
                  </a:cubicBezTo>
                  <a:cubicBezTo>
                    <a:pt x="245978" y="187588"/>
                    <a:pt x="237067" y="188383"/>
                    <a:pt x="228600" y="190500"/>
                  </a:cubicBezTo>
                  <a:cubicBezTo>
                    <a:pt x="203200" y="188383"/>
                    <a:pt x="177541" y="188340"/>
                    <a:pt x="152400" y="184150"/>
                  </a:cubicBezTo>
                  <a:cubicBezTo>
                    <a:pt x="139195" y="181949"/>
                    <a:pt x="114300" y="171450"/>
                    <a:pt x="114300" y="171450"/>
                  </a:cubicBezTo>
                  <a:cubicBezTo>
                    <a:pt x="84250" y="175206"/>
                    <a:pt x="65033" y="169917"/>
                    <a:pt x="44450" y="190500"/>
                  </a:cubicBezTo>
                  <a:cubicBezTo>
                    <a:pt x="36966" y="197984"/>
                    <a:pt x="31750" y="207433"/>
                    <a:pt x="25400" y="215900"/>
                  </a:cubicBezTo>
                  <a:cubicBezTo>
                    <a:pt x="9707" y="262980"/>
                    <a:pt x="18687" y="242026"/>
                    <a:pt x="0" y="279400"/>
                  </a:cubicBezTo>
                  <a:cubicBezTo>
                    <a:pt x="2309" y="286327"/>
                    <a:pt x="6158" y="319039"/>
                    <a:pt x="25400" y="292100"/>
                  </a:cubicBezTo>
                  <a:cubicBezTo>
                    <a:pt x="39629" y="272179"/>
                    <a:pt x="31178" y="250647"/>
                    <a:pt x="50800" y="234950"/>
                  </a:cubicBezTo>
                  <a:cubicBezTo>
                    <a:pt x="56027" y="230769"/>
                    <a:pt x="63500" y="230717"/>
                    <a:pt x="69850" y="228600"/>
                  </a:cubicBezTo>
                  <a:cubicBezTo>
                    <a:pt x="76200" y="224367"/>
                    <a:pt x="81885" y="218906"/>
                    <a:pt x="88900" y="215900"/>
                  </a:cubicBezTo>
                  <a:cubicBezTo>
                    <a:pt x="128296" y="199016"/>
                    <a:pt x="206254" y="214659"/>
                    <a:pt x="228600" y="215900"/>
                  </a:cubicBezTo>
                  <a:cubicBezTo>
                    <a:pt x="241300" y="213783"/>
                    <a:pt x="255184" y="215308"/>
                    <a:pt x="266700" y="209550"/>
                  </a:cubicBezTo>
                  <a:cubicBezTo>
                    <a:pt x="273526" y="206137"/>
                    <a:pt x="274514" y="196363"/>
                    <a:pt x="279400" y="190500"/>
                  </a:cubicBezTo>
                  <a:cubicBezTo>
                    <a:pt x="285149" y="183601"/>
                    <a:pt x="292100" y="177800"/>
                    <a:pt x="298450" y="171450"/>
                  </a:cubicBezTo>
                  <a:cubicBezTo>
                    <a:pt x="298505" y="171230"/>
                    <a:pt x="308113" y="130037"/>
                    <a:pt x="311150" y="127000"/>
                  </a:cubicBezTo>
                  <a:cubicBezTo>
                    <a:pt x="315883" y="122267"/>
                    <a:pt x="323850" y="122767"/>
                    <a:pt x="330200" y="120650"/>
                  </a:cubicBezTo>
                  <a:cubicBezTo>
                    <a:pt x="332317" y="127000"/>
                    <a:pt x="335237" y="133136"/>
                    <a:pt x="336550" y="139700"/>
                  </a:cubicBezTo>
                  <a:cubicBezTo>
                    <a:pt x="339485" y="154376"/>
                    <a:pt x="336821" y="170473"/>
                    <a:pt x="342900" y="184150"/>
                  </a:cubicBezTo>
                  <a:cubicBezTo>
                    <a:pt x="346000" y="191124"/>
                    <a:pt x="355600" y="192617"/>
                    <a:pt x="361950" y="196850"/>
                  </a:cubicBezTo>
                  <a:cubicBezTo>
                    <a:pt x="359833" y="205317"/>
                    <a:pt x="360441" y="214988"/>
                    <a:pt x="355600" y="222250"/>
                  </a:cubicBezTo>
                  <a:cubicBezTo>
                    <a:pt x="351367" y="228600"/>
                    <a:pt x="341946" y="229554"/>
                    <a:pt x="336550" y="234950"/>
                  </a:cubicBezTo>
                  <a:cubicBezTo>
                    <a:pt x="331154" y="240346"/>
                    <a:pt x="328083" y="247650"/>
                    <a:pt x="323850" y="254000"/>
                  </a:cubicBezTo>
                  <a:cubicBezTo>
                    <a:pt x="325967" y="268817"/>
                    <a:pt x="323507" y="285063"/>
                    <a:pt x="330200" y="298450"/>
                  </a:cubicBezTo>
                  <a:cubicBezTo>
                    <a:pt x="333193" y="304437"/>
                    <a:pt x="342814" y="302961"/>
                    <a:pt x="349250" y="304800"/>
                  </a:cubicBezTo>
                  <a:cubicBezTo>
                    <a:pt x="357641" y="307198"/>
                    <a:pt x="366259" y="308752"/>
                    <a:pt x="374650" y="311150"/>
                  </a:cubicBezTo>
                  <a:cubicBezTo>
                    <a:pt x="438419" y="329370"/>
                    <a:pt x="339695" y="303999"/>
                    <a:pt x="419100" y="323850"/>
                  </a:cubicBezTo>
                  <a:cubicBezTo>
                    <a:pt x="439911" y="309976"/>
                    <a:pt x="430518" y="311150"/>
                    <a:pt x="444500" y="311150"/>
                  </a:cubicBezTo>
                </a:path>
              </a:pathLst>
            </a:custGeom>
            <a:grpFill/>
            <a:ln w="12700" cap="flat" cmpd="sng" algn="ctr">
              <a:solidFill>
                <a:schemeClr val="bg1"/>
              </a:solidFill>
              <a:prstDash val="solid"/>
              <a:round/>
              <a:headEnd type="none" w="med" len="med"/>
              <a:tailEnd type="none" w="med" len="med"/>
            </a:ln>
            <a:effectLst/>
          </p:spPr>
          <p:txBody>
            <a:bodyPr rtlCol="0" anchor="ctr"/>
            <a:lstStyle/>
            <a:p>
              <a:pPr algn="ctr" rtl="0" eaLnBrk="0" fontAlgn="base" hangingPunct="0">
                <a:spcBef>
                  <a:spcPct val="50000"/>
                </a:spcBef>
                <a:spcAft>
                  <a:spcPct val="0"/>
                </a:spcAft>
              </a:pPr>
              <a:endParaRPr lang="en-US" sz="900">
                <a:solidFill>
                  <a:srgbClr val="000000"/>
                </a:solidFill>
                <a:latin typeface="Arial" charset="0"/>
              </a:endParaRPr>
            </a:p>
          </p:txBody>
        </p:sp>
        <p:sp>
          <p:nvSpPr>
            <p:cNvPr id="64" name="Freeform 64">
              <a:extLst>
                <a:ext uri="{FF2B5EF4-FFF2-40B4-BE49-F238E27FC236}">
                  <a16:creationId xmlns:a16="http://schemas.microsoft.com/office/drawing/2014/main" id="{BF217DC8-B31D-4538-9955-A6A6FD1A0D32}"/>
                </a:ext>
              </a:extLst>
            </p:cNvPr>
            <p:cNvSpPr/>
            <p:nvPr>
              <p:custDataLst>
                <p:tags r:id="rId19"/>
              </p:custDataLst>
            </p:nvPr>
          </p:nvSpPr>
          <p:spPr bwMode="gray">
            <a:xfrm>
              <a:off x="4828237" y="1362048"/>
              <a:ext cx="140508" cy="95250"/>
            </a:xfrm>
            <a:custGeom>
              <a:avLst/>
              <a:gdLst>
                <a:gd name="connsiteX0" fmla="*/ 15412 w 140508"/>
                <a:gd name="connsiteY0" fmla="*/ 57150 h 95250"/>
                <a:gd name="connsiteX1" fmla="*/ 47162 w 140508"/>
                <a:gd name="connsiteY1" fmla="*/ 25400 h 95250"/>
                <a:gd name="connsiteX2" fmla="*/ 53512 w 140508"/>
                <a:gd name="connsiteY2" fmla="*/ 6350 h 95250"/>
                <a:gd name="connsiteX3" fmla="*/ 72562 w 140508"/>
                <a:gd name="connsiteY3" fmla="*/ 0 h 95250"/>
                <a:gd name="connsiteX4" fmla="*/ 117012 w 140508"/>
                <a:gd name="connsiteY4" fmla="*/ 50800 h 95250"/>
                <a:gd name="connsiteX5" fmla="*/ 123362 w 140508"/>
                <a:gd name="connsiteY5" fmla="*/ 88900 h 95250"/>
                <a:gd name="connsiteX6" fmla="*/ 97962 w 140508"/>
                <a:gd name="connsiteY6" fmla="*/ 95250 h 95250"/>
                <a:gd name="connsiteX7" fmla="*/ 66212 w 140508"/>
                <a:gd name="connsiteY7" fmla="*/ 88900 h 95250"/>
                <a:gd name="connsiteX8" fmla="*/ 15412 w 140508"/>
                <a:gd name="connsiteY8" fmla="*/ 5715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508" h="95250">
                  <a:moveTo>
                    <a:pt x="15412" y="57150"/>
                  </a:moveTo>
                  <a:cubicBezTo>
                    <a:pt x="12237" y="46567"/>
                    <a:pt x="36579" y="46567"/>
                    <a:pt x="47162" y="25400"/>
                  </a:cubicBezTo>
                  <a:cubicBezTo>
                    <a:pt x="50155" y="19413"/>
                    <a:pt x="48779" y="11083"/>
                    <a:pt x="53512" y="6350"/>
                  </a:cubicBezTo>
                  <a:cubicBezTo>
                    <a:pt x="58245" y="1617"/>
                    <a:pt x="66212" y="2117"/>
                    <a:pt x="72562" y="0"/>
                  </a:cubicBezTo>
                  <a:cubicBezTo>
                    <a:pt x="102195" y="44450"/>
                    <a:pt x="85262" y="29633"/>
                    <a:pt x="117012" y="50800"/>
                  </a:cubicBezTo>
                  <a:cubicBezTo>
                    <a:pt x="123868" y="61083"/>
                    <a:pt x="140508" y="75183"/>
                    <a:pt x="123362" y="88900"/>
                  </a:cubicBezTo>
                  <a:cubicBezTo>
                    <a:pt x="116547" y="94352"/>
                    <a:pt x="106429" y="93133"/>
                    <a:pt x="97962" y="95250"/>
                  </a:cubicBezTo>
                  <a:cubicBezTo>
                    <a:pt x="87379" y="93133"/>
                    <a:pt x="76038" y="93366"/>
                    <a:pt x="66212" y="88900"/>
                  </a:cubicBezTo>
                  <a:cubicBezTo>
                    <a:pt x="0" y="58804"/>
                    <a:pt x="18587" y="67733"/>
                    <a:pt x="15412" y="57150"/>
                  </a:cubicBezTo>
                  <a:close/>
                </a:path>
              </a:pathLst>
            </a:custGeom>
            <a:grp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rtl="0" eaLnBrk="0" fontAlgn="base" hangingPunct="0">
                <a:spcBef>
                  <a:spcPct val="50000"/>
                </a:spcBef>
                <a:spcAft>
                  <a:spcPct val="0"/>
                </a:spcAft>
              </a:pPr>
              <a:endParaRPr lang="en-US" sz="900">
                <a:solidFill>
                  <a:srgbClr val="000000"/>
                </a:solidFill>
                <a:latin typeface="Arial" charset="0"/>
              </a:endParaRPr>
            </a:p>
          </p:txBody>
        </p:sp>
        <p:sp>
          <p:nvSpPr>
            <p:cNvPr id="65" name="Freeform 65">
              <a:extLst>
                <a:ext uri="{FF2B5EF4-FFF2-40B4-BE49-F238E27FC236}">
                  <a16:creationId xmlns:a16="http://schemas.microsoft.com/office/drawing/2014/main" id="{C7102250-5F3E-4F63-8EF1-CBE7506FAF80}"/>
                </a:ext>
              </a:extLst>
            </p:cNvPr>
            <p:cNvSpPr/>
            <p:nvPr>
              <p:custDataLst>
                <p:tags r:id="rId20"/>
              </p:custDataLst>
            </p:nvPr>
          </p:nvSpPr>
          <p:spPr bwMode="gray">
            <a:xfrm>
              <a:off x="3735633" y="974725"/>
              <a:ext cx="79316" cy="238125"/>
            </a:xfrm>
            <a:custGeom>
              <a:avLst/>
              <a:gdLst>
                <a:gd name="connsiteX0" fmla="*/ 60266 w 79316"/>
                <a:gd name="connsiteY0" fmla="*/ 3175 h 238125"/>
                <a:gd name="connsiteX1" fmla="*/ 22166 w 79316"/>
                <a:gd name="connsiteY1" fmla="*/ 34925 h 238125"/>
                <a:gd name="connsiteX2" fmla="*/ 9466 w 79316"/>
                <a:gd name="connsiteY2" fmla="*/ 53975 h 238125"/>
                <a:gd name="connsiteX3" fmla="*/ 3116 w 79316"/>
                <a:gd name="connsiteY3" fmla="*/ 79375 h 238125"/>
                <a:gd name="connsiteX4" fmla="*/ 15816 w 79316"/>
                <a:gd name="connsiteY4" fmla="*/ 238125 h 238125"/>
                <a:gd name="connsiteX5" fmla="*/ 34866 w 79316"/>
                <a:gd name="connsiteY5" fmla="*/ 193675 h 238125"/>
                <a:gd name="connsiteX6" fmla="*/ 41216 w 79316"/>
                <a:gd name="connsiteY6" fmla="*/ 161925 h 238125"/>
                <a:gd name="connsiteX7" fmla="*/ 79316 w 79316"/>
                <a:gd name="connsiteY7" fmla="*/ 142875 h 238125"/>
                <a:gd name="connsiteX8" fmla="*/ 72966 w 79316"/>
                <a:gd name="connsiteY8" fmla="*/ 123825 h 238125"/>
                <a:gd name="connsiteX9" fmla="*/ 34866 w 79316"/>
                <a:gd name="connsiteY9" fmla="*/ 92075 h 238125"/>
                <a:gd name="connsiteX10" fmla="*/ 41216 w 79316"/>
                <a:gd name="connsiteY10" fmla="*/ 53975 h 238125"/>
                <a:gd name="connsiteX11" fmla="*/ 60266 w 79316"/>
                <a:gd name="connsiteY11" fmla="*/ 15875 h 238125"/>
                <a:gd name="connsiteX12" fmla="*/ 60266 w 79316"/>
                <a:gd name="connsiteY12" fmla="*/ 3175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316" h="238125">
                  <a:moveTo>
                    <a:pt x="60266" y="3175"/>
                  </a:moveTo>
                  <a:cubicBezTo>
                    <a:pt x="53916" y="6350"/>
                    <a:pt x="37445" y="16590"/>
                    <a:pt x="22166" y="34925"/>
                  </a:cubicBezTo>
                  <a:cubicBezTo>
                    <a:pt x="17280" y="40788"/>
                    <a:pt x="13699" y="47625"/>
                    <a:pt x="9466" y="53975"/>
                  </a:cubicBezTo>
                  <a:cubicBezTo>
                    <a:pt x="7349" y="62442"/>
                    <a:pt x="3116" y="70648"/>
                    <a:pt x="3116" y="79375"/>
                  </a:cubicBezTo>
                  <a:cubicBezTo>
                    <a:pt x="3116" y="194382"/>
                    <a:pt x="0" y="174860"/>
                    <a:pt x="15816" y="238125"/>
                  </a:cubicBezTo>
                  <a:cubicBezTo>
                    <a:pt x="32162" y="213606"/>
                    <a:pt x="28032" y="224429"/>
                    <a:pt x="34866" y="193675"/>
                  </a:cubicBezTo>
                  <a:cubicBezTo>
                    <a:pt x="37207" y="183139"/>
                    <a:pt x="35861" y="171296"/>
                    <a:pt x="41216" y="161925"/>
                  </a:cubicBezTo>
                  <a:cubicBezTo>
                    <a:pt x="47009" y="151788"/>
                    <a:pt x="69538" y="146134"/>
                    <a:pt x="79316" y="142875"/>
                  </a:cubicBezTo>
                  <a:cubicBezTo>
                    <a:pt x="77199" y="136525"/>
                    <a:pt x="76679" y="129394"/>
                    <a:pt x="72966" y="123825"/>
                  </a:cubicBezTo>
                  <a:cubicBezTo>
                    <a:pt x="63187" y="109157"/>
                    <a:pt x="48923" y="101446"/>
                    <a:pt x="34866" y="92075"/>
                  </a:cubicBezTo>
                  <a:cubicBezTo>
                    <a:pt x="36983" y="79375"/>
                    <a:pt x="37145" y="66189"/>
                    <a:pt x="41216" y="53975"/>
                  </a:cubicBezTo>
                  <a:cubicBezTo>
                    <a:pt x="44560" y="43944"/>
                    <a:pt x="62965" y="29370"/>
                    <a:pt x="60266" y="15875"/>
                  </a:cubicBezTo>
                  <a:cubicBezTo>
                    <a:pt x="59092" y="10004"/>
                    <a:pt x="66616" y="0"/>
                    <a:pt x="60266" y="3175"/>
                  </a:cubicBezTo>
                  <a:close/>
                </a:path>
              </a:pathLst>
            </a:custGeom>
            <a:grp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rtl="0" eaLnBrk="0" fontAlgn="base" hangingPunct="0">
                <a:spcBef>
                  <a:spcPct val="50000"/>
                </a:spcBef>
                <a:spcAft>
                  <a:spcPct val="0"/>
                </a:spcAft>
              </a:pPr>
              <a:endParaRPr lang="en-US" sz="900">
                <a:solidFill>
                  <a:srgbClr val="000000"/>
                </a:solidFill>
                <a:latin typeface="Arial" charset="0"/>
              </a:endParaRPr>
            </a:p>
          </p:txBody>
        </p:sp>
        <p:sp>
          <p:nvSpPr>
            <p:cNvPr id="66" name="Freeform 66">
              <a:extLst>
                <a:ext uri="{FF2B5EF4-FFF2-40B4-BE49-F238E27FC236}">
                  <a16:creationId xmlns:a16="http://schemas.microsoft.com/office/drawing/2014/main" id="{9FCA7072-6BF5-4282-89AB-6D307883009D}"/>
                </a:ext>
              </a:extLst>
            </p:cNvPr>
            <p:cNvSpPr/>
            <p:nvPr>
              <p:custDataLst>
                <p:tags r:id="rId21"/>
              </p:custDataLst>
            </p:nvPr>
          </p:nvSpPr>
          <p:spPr bwMode="gray">
            <a:xfrm>
              <a:off x="3780083" y="1186597"/>
              <a:ext cx="99822" cy="51653"/>
            </a:xfrm>
            <a:custGeom>
              <a:avLst/>
              <a:gdLst>
                <a:gd name="connsiteX0" fmla="*/ 66616 w 99822"/>
                <a:gd name="connsiteY0" fmla="*/ 7203 h 51653"/>
                <a:gd name="connsiteX1" fmla="*/ 9466 w 99822"/>
                <a:gd name="connsiteY1" fmla="*/ 13553 h 51653"/>
                <a:gd name="connsiteX2" fmla="*/ 22166 w 99822"/>
                <a:gd name="connsiteY2" fmla="*/ 51653 h 51653"/>
                <a:gd name="connsiteX3" fmla="*/ 92016 w 99822"/>
                <a:gd name="connsiteY3" fmla="*/ 45303 h 51653"/>
                <a:gd name="connsiteX4" fmla="*/ 85666 w 99822"/>
                <a:gd name="connsiteY4" fmla="*/ 19903 h 51653"/>
                <a:gd name="connsiteX5" fmla="*/ 66616 w 99822"/>
                <a:gd name="connsiteY5" fmla="*/ 7203 h 5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822" h="51653">
                  <a:moveTo>
                    <a:pt x="66616" y="7203"/>
                  </a:moveTo>
                  <a:cubicBezTo>
                    <a:pt x="53916" y="6145"/>
                    <a:pt x="23019" y="0"/>
                    <a:pt x="9466" y="13553"/>
                  </a:cubicBezTo>
                  <a:cubicBezTo>
                    <a:pt x="0" y="23019"/>
                    <a:pt x="22166" y="51653"/>
                    <a:pt x="22166" y="51653"/>
                  </a:cubicBezTo>
                  <a:lnTo>
                    <a:pt x="92016" y="45303"/>
                  </a:lnTo>
                  <a:cubicBezTo>
                    <a:pt x="99822" y="41400"/>
                    <a:pt x="90507" y="27165"/>
                    <a:pt x="85666" y="19903"/>
                  </a:cubicBezTo>
                  <a:cubicBezTo>
                    <a:pt x="76417" y="6029"/>
                    <a:pt x="79316" y="8261"/>
                    <a:pt x="66616" y="7203"/>
                  </a:cubicBezTo>
                  <a:close/>
                </a:path>
              </a:pathLst>
            </a:custGeom>
            <a:grp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rtl="0" eaLnBrk="0" fontAlgn="base" hangingPunct="0">
                <a:spcBef>
                  <a:spcPct val="50000"/>
                </a:spcBef>
                <a:spcAft>
                  <a:spcPct val="0"/>
                </a:spcAft>
              </a:pPr>
              <a:endParaRPr lang="en-US" sz="900">
                <a:solidFill>
                  <a:srgbClr val="000000"/>
                </a:solidFill>
                <a:latin typeface="Arial" charset="0"/>
              </a:endParaRPr>
            </a:p>
          </p:txBody>
        </p:sp>
        <p:sp>
          <p:nvSpPr>
            <p:cNvPr id="67" name="Freeform 67">
              <a:extLst>
                <a:ext uri="{FF2B5EF4-FFF2-40B4-BE49-F238E27FC236}">
                  <a16:creationId xmlns:a16="http://schemas.microsoft.com/office/drawing/2014/main" id="{CDBB4E1C-B556-446E-BB8C-B47F2831D148}"/>
                </a:ext>
              </a:extLst>
            </p:cNvPr>
            <p:cNvSpPr/>
            <p:nvPr>
              <p:custDataLst>
                <p:tags r:id="rId22"/>
              </p:custDataLst>
            </p:nvPr>
          </p:nvSpPr>
          <p:spPr bwMode="gray">
            <a:xfrm>
              <a:off x="3853049" y="1325033"/>
              <a:ext cx="67275" cy="40217"/>
            </a:xfrm>
            <a:custGeom>
              <a:avLst/>
              <a:gdLst>
                <a:gd name="connsiteX0" fmla="*/ 38100 w 67275"/>
                <a:gd name="connsiteY0" fmla="*/ 2117 h 40217"/>
                <a:gd name="connsiteX1" fmla="*/ 0 w 67275"/>
                <a:gd name="connsiteY1" fmla="*/ 27517 h 40217"/>
                <a:gd name="connsiteX2" fmla="*/ 19050 w 67275"/>
                <a:gd name="connsiteY2" fmla="*/ 40217 h 40217"/>
                <a:gd name="connsiteX3" fmla="*/ 57150 w 67275"/>
                <a:gd name="connsiteY3" fmla="*/ 14817 h 40217"/>
                <a:gd name="connsiteX4" fmla="*/ 38100 w 67275"/>
                <a:gd name="connsiteY4" fmla="*/ 2117 h 40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75" h="40217">
                  <a:moveTo>
                    <a:pt x="38100" y="2117"/>
                  </a:moveTo>
                  <a:cubicBezTo>
                    <a:pt x="28575" y="4234"/>
                    <a:pt x="0" y="11662"/>
                    <a:pt x="0" y="27517"/>
                  </a:cubicBezTo>
                  <a:cubicBezTo>
                    <a:pt x="0" y="35149"/>
                    <a:pt x="12700" y="35984"/>
                    <a:pt x="19050" y="40217"/>
                  </a:cubicBezTo>
                  <a:cubicBezTo>
                    <a:pt x="25296" y="38968"/>
                    <a:pt x="67275" y="40129"/>
                    <a:pt x="57150" y="14817"/>
                  </a:cubicBezTo>
                  <a:cubicBezTo>
                    <a:pt x="54316" y="7731"/>
                    <a:pt x="47625" y="0"/>
                    <a:pt x="38100" y="2117"/>
                  </a:cubicBezTo>
                  <a:close/>
                </a:path>
              </a:pathLst>
            </a:custGeom>
            <a:grp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rtl="0" eaLnBrk="0" fontAlgn="base" hangingPunct="0">
                <a:spcBef>
                  <a:spcPct val="50000"/>
                </a:spcBef>
                <a:spcAft>
                  <a:spcPct val="0"/>
                </a:spcAft>
              </a:pPr>
              <a:endParaRPr lang="en-US" sz="900">
                <a:solidFill>
                  <a:srgbClr val="000000"/>
                </a:solidFill>
                <a:latin typeface="Arial" charset="0"/>
              </a:endParaRPr>
            </a:p>
          </p:txBody>
        </p:sp>
        <p:sp>
          <p:nvSpPr>
            <p:cNvPr id="68" name="Freeform 68">
              <a:extLst>
                <a:ext uri="{FF2B5EF4-FFF2-40B4-BE49-F238E27FC236}">
                  <a16:creationId xmlns:a16="http://schemas.microsoft.com/office/drawing/2014/main" id="{76F21302-C278-4913-836A-E53BD9FDA2A6}"/>
                </a:ext>
              </a:extLst>
            </p:cNvPr>
            <p:cNvSpPr/>
            <p:nvPr>
              <p:custDataLst>
                <p:tags r:id="rId23"/>
              </p:custDataLst>
            </p:nvPr>
          </p:nvSpPr>
          <p:spPr bwMode="gray">
            <a:xfrm>
              <a:off x="3751449" y="1218277"/>
              <a:ext cx="41362" cy="77123"/>
            </a:xfrm>
            <a:custGeom>
              <a:avLst/>
              <a:gdLst>
                <a:gd name="connsiteX0" fmla="*/ 6350 w 41362"/>
                <a:gd name="connsiteY0" fmla="*/ 7273 h 77123"/>
                <a:gd name="connsiteX1" fmla="*/ 0 w 41362"/>
                <a:gd name="connsiteY1" fmla="*/ 32673 h 77123"/>
                <a:gd name="connsiteX2" fmla="*/ 19050 w 41362"/>
                <a:gd name="connsiteY2" fmla="*/ 77123 h 77123"/>
                <a:gd name="connsiteX3" fmla="*/ 25400 w 41362"/>
                <a:gd name="connsiteY3" fmla="*/ 26323 h 77123"/>
                <a:gd name="connsiteX4" fmla="*/ 6350 w 41362"/>
                <a:gd name="connsiteY4" fmla="*/ 7273 h 77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62" h="77123">
                  <a:moveTo>
                    <a:pt x="6350" y="7273"/>
                  </a:moveTo>
                  <a:cubicBezTo>
                    <a:pt x="2117" y="8331"/>
                    <a:pt x="0" y="23946"/>
                    <a:pt x="0" y="32673"/>
                  </a:cubicBezTo>
                  <a:cubicBezTo>
                    <a:pt x="0" y="53175"/>
                    <a:pt x="8681" y="61569"/>
                    <a:pt x="19050" y="77123"/>
                  </a:cubicBezTo>
                  <a:cubicBezTo>
                    <a:pt x="27718" y="59787"/>
                    <a:pt x="41362" y="46275"/>
                    <a:pt x="25400" y="26323"/>
                  </a:cubicBezTo>
                  <a:cubicBezTo>
                    <a:pt x="4342" y="0"/>
                    <a:pt x="10583" y="6215"/>
                    <a:pt x="6350" y="7273"/>
                  </a:cubicBezTo>
                  <a:close/>
                </a:path>
              </a:pathLst>
            </a:custGeom>
            <a:grp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rtl="0" eaLnBrk="0" fontAlgn="base" hangingPunct="0">
                <a:spcBef>
                  <a:spcPct val="50000"/>
                </a:spcBef>
                <a:spcAft>
                  <a:spcPct val="0"/>
                </a:spcAft>
              </a:pPr>
              <a:endParaRPr lang="en-US" sz="900">
                <a:solidFill>
                  <a:srgbClr val="000000"/>
                </a:solidFill>
                <a:latin typeface="Arial" charset="0"/>
              </a:endParaRPr>
            </a:p>
          </p:txBody>
        </p:sp>
        <p:sp>
          <p:nvSpPr>
            <p:cNvPr id="69" name="Freeform 69">
              <a:extLst>
                <a:ext uri="{FF2B5EF4-FFF2-40B4-BE49-F238E27FC236}">
                  <a16:creationId xmlns:a16="http://schemas.microsoft.com/office/drawing/2014/main" id="{139F4456-9F4E-489F-91E5-873024BECBC0}"/>
                </a:ext>
              </a:extLst>
            </p:cNvPr>
            <p:cNvSpPr/>
            <p:nvPr>
              <p:custDataLst>
                <p:tags r:id="rId24"/>
              </p:custDataLst>
            </p:nvPr>
          </p:nvSpPr>
          <p:spPr bwMode="gray">
            <a:xfrm>
              <a:off x="3948299" y="1343025"/>
              <a:ext cx="58784" cy="47625"/>
            </a:xfrm>
            <a:custGeom>
              <a:avLst/>
              <a:gdLst>
                <a:gd name="connsiteX0" fmla="*/ 12700 w 58784"/>
                <a:gd name="connsiteY0" fmla="*/ 3175 h 47625"/>
                <a:gd name="connsiteX1" fmla="*/ 0 w 58784"/>
                <a:gd name="connsiteY1" fmla="*/ 22225 h 47625"/>
                <a:gd name="connsiteX2" fmla="*/ 31750 w 58784"/>
                <a:gd name="connsiteY2" fmla="*/ 47625 h 47625"/>
                <a:gd name="connsiteX3" fmla="*/ 50800 w 58784"/>
                <a:gd name="connsiteY3" fmla="*/ 34925 h 47625"/>
                <a:gd name="connsiteX4" fmla="*/ 25400 w 58784"/>
                <a:gd name="connsiteY4" fmla="*/ 3175 h 47625"/>
                <a:gd name="connsiteX5" fmla="*/ 12700 w 58784"/>
                <a:gd name="connsiteY5" fmla="*/ 317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784" h="47625">
                  <a:moveTo>
                    <a:pt x="12700" y="3175"/>
                  </a:moveTo>
                  <a:cubicBezTo>
                    <a:pt x="8467" y="6350"/>
                    <a:pt x="0" y="14593"/>
                    <a:pt x="0" y="22225"/>
                  </a:cubicBezTo>
                  <a:cubicBezTo>
                    <a:pt x="0" y="41373"/>
                    <a:pt x="19855" y="43660"/>
                    <a:pt x="31750" y="47625"/>
                  </a:cubicBezTo>
                  <a:cubicBezTo>
                    <a:pt x="38100" y="43392"/>
                    <a:pt x="48387" y="42165"/>
                    <a:pt x="50800" y="34925"/>
                  </a:cubicBezTo>
                  <a:cubicBezTo>
                    <a:pt x="58784" y="10974"/>
                    <a:pt x="40491" y="6193"/>
                    <a:pt x="25400" y="3175"/>
                  </a:cubicBezTo>
                  <a:cubicBezTo>
                    <a:pt x="21249" y="2345"/>
                    <a:pt x="16933" y="0"/>
                    <a:pt x="12700" y="3175"/>
                  </a:cubicBezTo>
                  <a:close/>
                </a:path>
              </a:pathLst>
            </a:custGeom>
            <a:grp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rtl="0" eaLnBrk="0" fontAlgn="base" hangingPunct="0">
                <a:spcBef>
                  <a:spcPct val="50000"/>
                </a:spcBef>
                <a:spcAft>
                  <a:spcPct val="0"/>
                </a:spcAft>
              </a:pPr>
              <a:endParaRPr lang="en-US" sz="900">
                <a:solidFill>
                  <a:srgbClr val="000000"/>
                </a:solidFill>
                <a:latin typeface="Arial" charset="0"/>
              </a:endParaRPr>
            </a:p>
          </p:txBody>
        </p:sp>
        <p:sp>
          <p:nvSpPr>
            <p:cNvPr id="70" name="Freeform 70">
              <a:extLst>
                <a:ext uri="{FF2B5EF4-FFF2-40B4-BE49-F238E27FC236}">
                  <a16:creationId xmlns:a16="http://schemas.microsoft.com/office/drawing/2014/main" id="{411F0AB4-5CE1-4994-B6F2-2BBFA9654E7E}"/>
                </a:ext>
              </a:extLst>
            </p:cNvPr>
            <p:cNvSpPr/>
            <p:nvPr>
              <p:custDataLst>
                <p:tags r:id="rId25"/>
              </p:custDataLst>
            </p:nvPr>
          </p:nvSpPr>
          <p:spPr bwMode="gray">
            <a:xfrm>
              <a:off x="3837936" y="1254125"/>
              <a:ext cx="61324" cy="28575"/>
            </a:xfrm>
            <a:custGeom>
              <a:avLst/>
              <a:gdLst>
                <a:gd name="connsiteX0" fmla="*/ 46863 w 61324"/>
                <a:gd name="connsiteY0" fmla="*/ 3175 h 28575"/>
                <a:gd name="connsiteX1" fmla="*/ 27813 w 61324"/>
                <a:gd name="connsiteY1" fmla="*/ 9525 h 28575"/>
                <a:gd name="connsiteX2" fmla="*/ 2413 w 61324"/>
                <a:gd name="connsiteY2" fmla="*/ 15875 h 28575"/>
                <a:gd name="connsiteX3" fmla="*/ 21463 w 61324"/>
                <a:gd name="connsiteY3" fmla="*/ 28575 h 28575"/>
                <a:gd name="connsiteX4" fmla="*/ 46863 w 61324"/>
                <a:gd name="connsiteY4" fmla="*/ 3175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24" h="28575">
                  <a:moveTo>
                    <a:pt x="46863" y="3175"/>
                  </a:moveTo>
                  <a:cubicBezTo>
                    <a:pt x="47921" y="0"/>
                    <a:pt x="34249" y="7686"/>
                    <a:pt x="27813" y="9525"/>
                  </a:cubicBezTo>
                  <a:cubicBezTo>
                    <a:pt x="19422" y="11923"/>
                    <a:pt x="5173" y="7596"/>
                    <a:pt x="2413" y="15875"/>
                  </a:cubicBezTo>
                  <a:cubicBezTo>
                    <a:pt x="0" y="23115"/>
                    <a:pt x="15113" y="24342"/>
                    <a:pt x="21463" y="28575"/>
                  </a:cubicBezTo>
                  <a:cubicBezTo>
                    <a:pt x="61324" y="2001"/>
                    <a:pt x="45805" y="6350"/>
                    <a:pt x="46863" y="3175"/>
                  </a:cubicBezTo>
                  <a:close/>
                </a:path>
              </a:pathLst>
            </a:custGeom>
            <a:grp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rtl="0" eaLnBrk="0" fontAlgn="base" hangingPunct="0">
                <a:spcBef>
                  <a:spcPct val="50000"/>
                </a:spcBef>
                <a:spcAft>
                  <a:spcPct val="0"/>
                </a:spcAft>
              </a:pPr>
              <a:endParaRPr lang="en-US" sz="900">
                <a:solidFill>
                  <a:srgbClr val="000000"/>
                </a:solidFill>
                <a:latin typeface="Arial" charset="0"/>
              </a:endParaRPr>
            </a:p>
          </p:txBody>
        </p:sp>
        <p:sp>
          <p:nvSpPr>
            <p:cNvPr id="71" name="Freeform 71">
              <a:extLst>
                <a:ext uri="{FF2B5EF4-FFF2-40B4-BE49-F238E27FC236}">
                  <a16:creationId xmlns:a16="http://schemas.microsoft.com/office/drawing/2014/main" id="{4A6C9F63-6106-42B4-B279-DC3A3E92821E}"/>
                </a:ext>
              </a:extLst>
            </p:cNvPr>
            <p:cNvSpPr/>
            <p:nvPr>
              <p:custDataLst>
                <p:tags r:id="rId26"/>
              </p:custDataLst>
            </p:nvPr>
          </p:nvSpPr>
          <p:spPr bwMode="gray">
            <a:xfrm>
              <a:off x="4934883" y="2019300"/>
              <a:ext cx="1559766" cy="1511300"/>
            </a:xfrm>
            <a:custGeom>
              <a:avLst/>
              <a:gdLst>
                <a:gd name="connsiteX0" fmla="*/ 816816 w 1559766"/>
                <a:gd name="connsiteY0" fmla="*/ 1339850 h 1511300"/>
                <a:gd name="connsiteX1" fmla="*/ 848566 w 1559766"/>
                <a:gd name="connsiteY1" fmla="*/ 1365250 h 1511300"/>
                <a:gd name="connsiteX2" fmla="*/ 886666 w 1559766"/>
                <a:gd name="connsiteY2" fmla="*/ 1403350 h 1511300"/>
                <a:gd name="connsiteX3" fmla="*/ 899366 w 1559766"/>
                <a:gd name="connsiteY3" fmla="*/ 1511300 h 1511300"/>
                <a:gd name="connsiteX4" fmla="*/ 918416 w 1559766"/>
                <a:gd name="connsiteY4" fmla="*/ 1504950 h 1511300"/>
                <a:gd name="connsiteX5" fmla="*/ 937466 w 1559766"/>
                <a:gd name="connsiteY5" fmla="*/ 1492250 h 1511300"/>
                <a:gd name="connsiteX6" fmla="*/ 943816 w 1559766"/>
                <a:gd name="connsiteY6" fmla="*/ 1473200 h 1511300"/>
                <a:gd name="connsiteX7" fmla="*/ 969216 w 1559766"/>
                <a:gd name="connsiteY7" fmla="*/ 1466850 h 1511300"/>
                <a:gd name="connsiteX8" fmla="*/ 994616 w 1559766"/>
                <a:gd name="connsiteY8" fmla="*/ 1473200 h 1511300"/>
                <a:gd name="connsiteX9" fmla="*/ 1007316 w 1559766"/>
                <a:gd name="connsiteY9" fmla="*/ 1492250 h 1511300"/>
                <a:gd name="connsiteX10" fmla="*/ 1045416 w 1559766"/>
                <a:gd name="connsiteY10" fmla="*/ 1504950 h 1511300"/>
                <a:gd name="connsiteX11" fmla="*/ 1102566 w 1559766"/>
                <a:gd name="connsiteY11" fmla="*/ 1498600 h 1511300"/>
                <a:gd name="connsiteX12" fmla="*/ 1147016 w 1559766"/>
                <a:gd name="connsiteY12" fmla="*/ 1492250 h 1511300"/>
                <a:gd name="connsiteX13" fmla="*/ 1229566 w 1559766"/>
                <a:gd name="connsiteY13" fmla="*/ 1485900 h 1511300"/>
                <a:gd name="connsiteX14" fmla="*/ 1248616 w 1559766"/>
                <a:gd name="connsiteY14" fmla="*/ 1447800 h 1511300"/>
                <a:gd name="connsiteX15" fmla="*/ 1261316 w 1559766"/>
                <a:gd name="connsiteY15" fmla="*/ 1384300 h 1511300"/>
                <a:gd name="connsiteX16" fmla="*/ 1305766 w 1559766"/>
                <a:gd name="connsiteY16" fmla="*/ 1365250 h 1511300"/>
                <a:gd name="connsiteX17" fmla="*/ 1343866 w 1559766"/>
                <a:gd name="connsiteY17" fmla="*/ 1371600 h 1511300"/>
                <a:gd name="connsiteX18" fmla="*/ 1356566 w 1559766"/>
                <a:gd name="connsiteY18" fmla="*/ 1390650 h 1511300"/>
                <a:gd name="connsiteX19" fmla="*/ 1394666 w 1559766"/>
                <a:gd name="connsiteY19" fmla="*/ 1377950 h 1511300"/>
                <a:gd name="connsiteX20" fmla="*/ 1432766 w 1559766"/>
                <a:gd name="connsiteY20" fmla="*/ 1365250 h 1511300"/>
                <a:gd name="connsiteX21" fmla="*/ 1470866 w 1559766"/>
                <a:gd name="connsiteY21" fmla="*/ 1352550 h 1511300"/>
                <a:gd name="connsiteX22" fmla="*/ 1496266 w 1559766"/>
                <a:gd name="connsiteY22" fmla="*/ 1358900 h 1511300"/>
                <a:gd name="connsiteX23" fmla="*/ 1515316 w 1559766"/>
                <a:gd name="connsiteY23" fmla="*/ 1365250 h 1511300"/>
                <a:gd name="connsiteX24" fmla="*/ 1547066 w 1559766"/>
                <a:gd name="connsiteY24" fmla="*/ 1358900 h 1511300"/>
                <a:gd name="connsiteX25" fmla="*/ 1559766 w 1559766"/>
                <a:gd name="connsiteY25" fmla="*/ 1339850 h 1511300"/>
                <a:gd name="connsiteX26" fmla="*/ 1547066 w 1559766"/>
                <a:gd name="connsiteY26" fmla="*/ 1276350 h 1511300"/>
                <a:gd name="connsiteX27" fmla="*/ 1540716 w 1559766"/>
                <a:gd name="connsiteY27" fmla="*/ 1257300 h 1511300"/>
                <a:gd name="connsiteX28" fmla="*/ 1489916 w 1559766"/>
                <a:gd name="connsiteY28" fmla="*/ 1200150 h 1511300"/>
                <a:gd name="connsiteX29" fmla="*/ 1483566 w 1559766"/>
                <a:gd name="connsiteY29" fmla="*/ 1181100 h 1511300"/>
                <a:gd name="connsiteX30" fmla="*/ 1496266 w 1559766"/>
                <a:gd name="connsiteY30" fmla="*/ 1111250 h 1511300"/>
                <a:gd name="connsiteX31" fmla="*/ 1521666 w 1559766"/>
                <a:gd name="connsiteY31" fmla="*/ 1073150 h 1511300"/>
                <a:gd name="connsiteX32" fmla="*/ 1528016 w 1559766"/>
                <a:gd name="connsiteY32" fmla="*/ 1035050 h 1511300"/>
                <a:gd name="connsiteX33" fmla="*/ 1528016 w 1559766"/>
                <a:gd name="connsiteY33" fmla="*/ 990600 h 1511300"/>
                <a:gd name="connsiteX34" fmla="*/ 1508966 w 1559766"/>
                <a:gd name="connsiteY34" fmla="*/ 977900 h 1511300"/>
                <a:gd name="connsiteX35" fmla="*/ 1502616 w 1559766"/>
                <a:gd name="connsiteY35" fmla="*/ 939800 h 1511300"/>
                <a:gd name="connsiteX36" fmla="*/ 1496266 w 1559766"/>
                <a:gd name="connsiteY36" fmla="*/ 869950 h 1511300"/>
                <a:gd name="connsiteX37" fmla="*/ 1458166 w 1559766"/>
                <a:gd name="connsiteY37" fmla="*/ 857250 h 1511300"/>
                <a:gd name="connsiteX38" fmla="*/ 1439116 w 1559766"/>
                <a:gd name="connsiteY38" fmla="*/ 838200 h 1511300"/>
                <a:gd name="connsiteX39" fmla="*/ 1426416 w 1559766"/>
                <a:gd name="connsiteY39" fmla="*/ 800100 h 1511300"/>
                <a:gd name="connsiteX40" fmla="*/ 1432766 w 1559766"/>
                <a:gd name="connsiteY40" fmla="*/ 755650 h 1511300"/>
                <a:gd name="connsiteX41" fmla="*/ 1445466 w 1559766"/>
                <a:gd name="connsiteY41" fmla="*/ 730250 h 1511300"/>
                <a:gd name="connsiteX42" fmla="*/ 1464516 w 1559766"/>
                <a:gd name="connsiteY42" fmla="*/ 692150 h 1511300"/>
                <a:gd name="connsiteX43" fmla="*/ 1426416 w 1559766"/>
                <a:gd name="connsiteY43" fmla="*/ 615950 h 1511300"/>
                <a:gd name="connsiteX44" fmla="*/ 1407366 w 1559766"/>
                <a:gd name="connsiteY44" fmla="*/ 596900 h 1511300"/>
                <a:gd name="connsiteX45" fmla="*/ 1369266 w 1559766"/>
                <a:gd name="connsiteY45" fmla="*/ 584200 h 1511300"/>
                <a:gd name="connsiteX46" fmla="*/ 1337516 w 1559766"/>
                <a:gd name="connsiteY46" fmla="*/ 546100 h 1511300"/>
                <a:gd name="connsiteX47" fmla="*/ 1318466 w 1559766"/>
                <a:gd name="connsiteY47" fmla="*/ 508000 h 1511300"/>
                <a:gd name="connsiteX48" fmla="*/ 1280366 w 1559766"/>
                <a:gd name="connsiteY48" fmla="*/ 495300 h 1511300"/>
                <a:gd name="connsiteX49" fmla="*/ 1261316 w 1559766"/>
                <a:gd name="connsiteY49" fmla="*/ 488950 h 1511300"/>
                <a:gd name="connsiteX50" fmla="*/ 1242266 w 1559766"/>
                <a:gd name="connsiteY50" fmla="*/ 476250 h 1511300"/>
                <a:gd name="connsiteX51" fmla="*/ 1242266 w 1559766"/>
                <a:gd name="connsiteY51" fmla="*/ 431800 h 1511300"/>
                <a:gd name="connsiteX52" fmla="*/ 1235916 w 1559766"/>
                <a:gd name="connsiteY52" fmla="*/ 368300 h 1511300"/>
                <a:gd name="connsiteX53" fmla="*/ 1254966 w 1559766"/>
                <a:gd name="connsiteY53" fmla="*/ 361950 h 1511300"/>
                <a:gd name="connsiteX54" fmla="*/ 1280366 w 1559766"/>
                <a:gd name="connsiteY54" fmla="*/ 349250 h 1511300"/>
                <a:gd name="connsiteX55" fmla="*/ 1318466 w 1559766"/>
                <a:gd name="connsiteY55" fmla="*/ 323850 h 1511300"/>
                <a:gd name="connsiteX56" fmla="*/ 1318466 w 1559766"/>
                <a:gd name="connsiteY56" fmla="*/ 209550 h 1511300"/>
                <a:gd name="connsiteX57" fmla="*/ 1343866 w 1559766"/>
                <a:gd name="connsiteY57" fmla="*/ 171450 h 1511300"/>
                <a:gd name="connsiteX58" fmla="*/ 1337516 w 1559766"/>
                <a:gd name="connsiteY58" fmla="*/ 133350 h 1511300"/>
                <a:gd name="connsiteX59" fmla="*/ 1305766 w 1559766"/>
                <a:gd name="connsiteY59" fmla="*/ 139700 h 1511300"/>
                <a:gd name="connsiteX60" fmla="*/ 1280366 w 1559766"/>
                <a:gd name="connsiteY60" fmla="*/ 177800 h 1511300"/>
                <a:gd name="connsiteX61" fmla="*/ 1235916 w 1559766"/>
                <a:gd name="connsiteY61" fmla="*/ 165100 h 1511300"/>
                <a:gd name="connsiteX62" fmla="*/ 1229566 w 1559766"/>
                <a:gd name="connsiteY62" fmla="*/ 146050 h 1511300"/>
                <a:gd name="connsiteX63" fmla="*/ 1235916 w 1559766"/>
                <a:gd name="connsiteY63" fmla="*/ 127000 h 1511300"/>
                <a:gd name="connsiteX64" fmla="*/ 1229566 w 1559766"/>
                <a:gd name="connsiteY64" fmla="*/ 69850 h 1511300"/>
                <a:gd name="connsiteX65" fmla="*/ 1204166 w 1559766"/>
                <a:gd name="connsiteY65" fmla="*/ 57150 h 1511300"/>
                <a:gd name="connsiteX66" fmla="*/ 1134316 w 1559766"/>
                <a:gd name="connsiteY66" fmla="*/ 50800 h 1511300"/>
                <a:gd name="connsiteX67" fmla="*/ 1115266 w 1559766"/>
                <a:gd name="connsiteY67" fmla="*/ 44450 h 1511300"/>
                <a:gd name="connsiteX68" fmla="*/ 1102566 w 1559766"/>
                <a:gd name="connsiteY68" fmla="*/ 25400 h 1511300"/>
                <a:gd name="connsiteX69" fmla="*/ 1064466 w 1559766"/>
                <a:gd name="connsiteY69" fmla="*/ 0 h 1511300"/>
                <a:gd name="connsiteX70" fmla="*/ 1045416 w 1559766"/>
                <a:gd name="connsiteY70" fmla="*/ 6350 h 1511300"/>
                <a:gd name="connsiteX71" fmla="*/ 1026366 w 1559766"/>
                <a:gd name="connsiteY71" fmla="*/ 25400 h 1511300"/>
                <a:gd name="connsiteX72" fmla="*/ 1007316 w 1559766"/>
                <a:gd name="connsiteY72" fmla="*/ 38100 h 1511300"/>
                <a:gd name="connsiteX73" fmla="*/ 981916 w 1559766"/>
                <a:gd name="connsiteY73" fmla="*/ 76200 h 1511300"/>
                <a:gd name="connsiteX74" fmla="*/ 969216 w 1559766"/>
                <a:gd name="connsiteY74" fmla="*/ 114300 h 1511300"/>
                <a:gd name="connsiteX75" fmla="*/ 950166 w 1559766"/>
                <a:gd name="connsiteY75" fmla="*/ 171450 h 1511300"/>
                <a:gd name="connsiteX76" fmla="*/ 931116 w 1559766"/>
                <a:gd name="connsiteY76" fmla="*/ 184150 h 1511300"/>
                <a:gd name="connsiteX77" fmla="*/ 918416 w 1559766"/>
                <a:gd name="connsiteY77" fmla="*/ 203200 h 1511300"/>
                <a:gd name="connsiteX78" fmla="*/ 873966 w 1559766"/>
                <a:gd name="connsiteY78" fmla="*/ 203200 h 1511300"/>
                <a:gd name="connsiteX79" fmla="*/ 854916 w 1559766"/>
                <a:gd name="connsiteY79" fmla="*/ 196850 h 1511300"/>
                <a:gd name="connsiteX80" fmla="*/ 835866 w 1559766"/>
                <a:gd name="connsiteY80" fmla="*/ 209550 h 1511300"/>
                <a:gd name="connsiteX81" fmla="*/ 823166 w 1559766"/>
                <a:gd name="connsiteY81" fmla="*/ 228600 h 1511300"/>
                <a:gd name="connsiteX82" fmla="*/ 804116 w 1559766"/>
                <a:gd name="connsiteY82" fmla="*/ 222250 h 1511300"/>
                <a:gd name="connsiteX83" fmla="*/ 746966 w 1559766"/>
                <a:gd name="connsiteY83" fmla="*/ 234950 h 1511300"/>
                <a:gd name="connsiteX84" fmla="*/ 727916 w 1559766"/>
                <a:gd name="connsiteY84" fmla="*/ 247650 h 1511300"/>
                <a:gd name="connsiteX85" fmla="*/ 708866 w 1559766"/>
                <a:gd name="connsiteY85" fmla="*/ 260350 h 1511300"/>
                <a:gd name="connsiteX86" fmla="*/ 645366 w 1559766"/>
                <a:gd name="connsiteY86" fmla="*/ 247650 h 1511300"/>
                <a:gd name="connsiteX87" fmla="*/ 626316 w 1559766"/>
                <a:gd name="connsiteY87" fmla="*/ 241300 h 1511300"/>
                <a:gd name="connsiteX88" fmla="*/ 588216 w 1559766"/>
                <a:gd name="connsiteY88" fmla="*/ 209550 h 1511300"/>
                <a:gd name="connsiteX89" fmla="*/ 543766 w 1559766"/>
                <a:gd name="connsiteY89" fmla="*/ 215900 h 1511300"/>
                <a:gd name="connsiteX90" fmla="*/ 454866 w 1559766"/>
                <a:gd name="connsiteY90" fmla="*/ 184150 h 1511300"/>
                <a:gd name="connsiteX91" fmla="*/ 454866 w 1559766"/>
                <a:gd name="connsiteY91" fmla="*/ 184150 h 1511300"/>
                <a:gd name="connsiteX92" fmla="*/ 416766 w 1559766"/>
                <a:gd name="connsiteY92" fmla="*/ 171450 h 1511300"/>
                <a:gd name="connsiteX93" fmla="*/ 327866 w 1559766"/>
                <a:gd name="connsiteY93" fmla="*/ 177800 h 1511300"/>
                <a:gd name="connsiteX94" fmla="*/ 302466 w 1559766"/>
                <a:gd name="connsiteY94" fmla="*/ 209550 h 1511300"/>
                <a:gd name="connsiteX95" fmla="*/ 238966 w 1559766"/>
                <a:gd name="connsiteY95" fmla="*/ 228600 h 1511300"/>
                <a:gd name="connsiteX96" fmla="*/ 226266 w 1559766"/>
                <a:gd name="connsiteY96" fmla="*/ 247650 h 1511300"/>
                <a:gd name="connsiteX97" fmla="*/ 175466 w 1559766"/>
                <a:gd name="connsiteY97" fmla="*/ 234950 h 1511300"/>
                <a:gd name="connsiteX98" fmla="*/ 156416 w 1559766"/>
                <a:gd name="connsiteY98" fmla="*/ 241300 h 1511300"/>
                <a:gd name="connsiteX99" fmla="*/ 143716 w 1559766"/>
                <a:gd name="connsiteY99" fmla="*/ 260350 h 1511300"/>
                <a:gd name="connsiteX100" fmla="*/ 124666 w 1559766"/>
                <a:gd name="connsiteY100" fmla="*/ 279400 h 1511300"/>
                <a:gd name="connsiteX101" fmla="*/ 105616 w 1559766"/>
                <a:gd name="connsiteY101" fmla="*/ 292100 h 1511300"/>
                <a:gd name="connsiteX102" fmla="*/ 48466 w 1559766"/>
                <a:gd name="connsiteY102" fmla="*/ 304800 h 1511300"/>
                <a:gd name="connsiteX103" fmla="*/ 29416 w 1559766"/>
                <a:gd name="connsiteY103" fmla="*/ 311150 h 1511300"/>
                <a:gd name="connsiteX104" fmla="*/ 4016 w 1559766"/>
                <a:gd name="connsiteY104" fmla="*/ 317500 h 1511300"/>
                <a:gd name="connsiteX105" fmla="*/ 10366 w 1559766"/>
                <a:gd name="connsiteY105" fmla="*/ 336550 h 1511300"/>
                <a:gd name="connsiteX106" fmla="*/ 35766 w 1559766"/>
                <a:gd name="connsiteY106" fmla="*/ 349250 h 1511300"/>
                <a:gd name="connsiteX107" fmla="*/ 73866 w 1559766"/>
                <a:gd name="connsiteY107" fmla="*/ 368300 h 1511300"/>
                <a:gd name="connsiteX108" fmla="*/ 162766 w 1559766"/>
                <a:gd name="connsiteY108" fmla="*/ 368300 h 1511300"/>
                <a:gd name="connsiteX109" fmla="*/ 169116 w 1559766"/>
                <a:gd name="connsiteY109" fmla="*/ 387350 h 1511300"/>
                <a:gd name="connsiteX110" fmla="*/ 175466 w 1559766"/>
                <a:gd name="connsiteY110" fmla="*/ 412750 h 1511300"/>
                <a:gd name="connsiteX111" fmla="*/ 194516 w 1559766"/>
                <a:gd name="connsiteY111" fmla="*/ 419100 h 1511300"/>
                <a:gd name="connsiteX112" fmla="*/ 219916 w 1559766"/>
                <a:gd name="connsiteY112" fmla="*/ 425450 h 1511300"/>
                <a:gd name="connsiteX113" fmla="*/ 264366 w 1559766"/>
                <a:gd name="connsiteY113" fmla="*/ 482600 h 1511300"/>
                <a:gd name="connsiteX114" fmla="*/ 283416 w 1559766"/>
                <a:gd name="connsiteY114" fmla="*/ 488950 h 1511300"/>
                <a:gd name="connsiteX115" fmla="*/ 346916 w 1559766"/>
                <a:gd name="connsiteY115" fmla="*/ 482600 h 1511300"/>
                <a:gd name="connsiteX116" fmla="*/ 365966 w 1559766"/>
                <a:gd name="connsiteY116" fmla="*/ 476250 h 1511300"/>
                <a:gd name="connsiteX117" fmla="*/ 385016 w 1559766"/>
                <a:gd name="connsiteY117" fmla="*/ 482600 h 1511300"/>
                <a:gd name="connsiteX118" fmla="*/ 391366 w 1559766"/>
                <a:gd name="connsiteY118" fmla="*/ 508000 h 1511300"/>
                <a:gd name="connsiteX119" fmla="*/ 410416 w 1559766"/>
                <a:gd name="connsiteY119" fmla="*/ 495300 h 1511300"/>
                <a:gd name="connsiteX120" fmla="*/ 429466 w 1559766"/>
                <a:gd name="connsiteY120" fmla="*/ 488950 h 1511300"/>
                <a:gd name="connsiteX121" fmla="*/ 435816 w 1559766"/>
                <a:gd name="connsiteY121" fmla="*/ 508000 h 1511300"/>
                <a:gd name="connsiteX122" fmla="*/ 429466 w 1559766"/>
                <a:gd name="connsiteY122" fmla="*/ 546100 h 1511300"/>
                <a:gd name="connsiteX123" fmla="*/ 416766 w 1559766"/>
                <a:gd name="connsiteY123" fmla="*/ 596900 h 1511300"/>
                <a:gd name="connsiteX124" fmla="*/ 423116 w 1559766"/>
                <a:gd name="connsiteY124" fmla="*/ 615950 h 1511300"/>
                <a:gd name="connsiteX125" fmla="*/ 442166 w 1559766"/>
                <a:gd name="connsiteY125" fmla="*/ 628650 h 1511300"/>
                <a:gd name="connsiteX126" fmla="*/ 423116 w 1559766"/>
                <a:gd name="connsiteY126" fmla="*/ 666750 h 1511300"/>
                <a:gd name="connsiteX127" fmla="*/ 410416 w 1559766"/>
                <a:gd name="connsiteY127" fmla="*/ 704850 h 1511300"/>
                <a:gd name="connsiteX128" fmla="*/ 404066 w 1559766"/>
                <a:gd name="connsiteY128" fmla="*/ 723900 h 1511300"/>
                <a:gd name="connsiteX129" fmla="*/ 410416 w 1559766"/>
                <a:gd name="connsiteY129" fmla="*/ 749300 h 1511300"/>
                <a:gd name="connsiteX130" fmla="*/ 448516 w 1559766"/>
                <a:gd name="connsiteY130" fmla="*/ 755650 h 1511300"/>
                <a:gd name="connsiteX131" fmla="*/ 467566 w 1559766"/>
                <a:gd name="connsiteY131" fmla="*/ 768350 h 1511300"/>
                <a:gd name="connsiteX132" fmla="*/ 467566 w 1559766"/>
                <a:gd name="connsiteY132" fmla="*/ 819150 h 1511300"/>
                <a:gd name="connsiteX133" fmla="*/ 454866 w 1559766"/>
                <a:gd name="connsiteY133" fmla="*/ 857250 h 1511300"/>
                <a:gd name="connsiteX134" fmla="*/ 448516 w 1559766"/>
                <a:gd name="connsiteY134" fmla="*/ 958850 h 1511300"/>
                <a:gd name="connsiteX135" fmla="*/ 467566 w 1559766"/>
                <a:gd name="connsiteY135" fmla="*/ 1028700 h 1511300"/>
                <a:gd name="connsiteX136" fmla="*/ 480266 w 1559766"/>
                <a:gd name="connsiteY136" fmla="*/ 1047750 h 1511300"/>
                <a:gd name="connsiteX137" fmla="*/ 505666 w 1559766"/>
                <a:gd name="connsiteY137" fmla="*/ 1092200 h 1511300"/>
                <a:gd name="connsiteX138" fmla="*/ 524716 w 1559766"/>
                <a:gd name="connsiteY138" fmla="*/ 1098550 h 1511300"/>
                <a:gd name="connsiteX139" fmla="*/ 588216 w 1559766"/>
                <a:gd name="connsiteY139" fmla="*/ 1111250 h 1511300"/>
                <a:gd name="connsiteX140" fmla="*/ 607266 w 1559766"/>
                <a:gd name="connsiteY140" fmla="*/ 1117600 h 1511300"/>
                <a:gd name="connsiteX141" fmla="*/ 632666 w 1559766"/>
                <a:gd name="connsiteY141" fmla="*/ 1092200 h 1511300"/>
                <a:gd name="connsiteX142" fmla="*/ 651716 w 1559766"/>
                <a:gd name="connsiteY142" fmla="*/ 1085850 h 1511300"/>
                <a:gd name="connsiteX143" fmla="*/ 670766 w 1559766"/>
                <a:gd name="connsiteY143" fmla="*/ 1098550 h 1511300"/>
                <a:gd name="connsiteX144" fmla="*/ 689816 w 1559766"/>
                <a:gd name="connsiteY144" fmla="*/ 1136650 h 1511300"/>
                <a:gd name="connsiteX145" fmla="*/ 708866 w 1559766"/>
                <a:gd name="connsiteY145" fmla="*/ 1149350 h 1511300"/>
                <a:gd name="connsiteX146" fmla="*/ 791416 w 1559766"/>
                <a:gd name="connsiteY146" fmla="*/ 1162050 h 1511300"/>
                <a:gd name="connsiteX147" fmla="*/ 804116 w 1559766"/>
                <a:gd name="connsiteY147" fmla="*/ 1181100 h 1511300"/>
                <a:gd name="connsiteX148" fmla="*/ 823166 w 1559766"/>
                <a:gd name="connsiteY148" fmla="*/ 1193800 h 1511300"/>
                <a:gd name="connsiteX149" fmla="*/ 842216 w 1559766"/>
                <a:gd name="connsiteY149" fmla="*/ 1212850 h 1511300"/>
                <a:gd name="connsiteX150" fmla="*/ 848566 w 1559766"/>
                <a:gd name="connsiteY150" fmla="*/ 1263650 h 1511300"/>
                <a:gd name="connsiteX151" fmla="*/ 854916 w 1559766"/>
                <a:gd name="connsiteY151" fmla="*/ 1282700 h 1511300"/>
                <a:gd name="connsiteX152" fmla="*/ 829516 w 1559766"/>
                <a:gd name="connsiteY152" fmla="*/ 1320800 h 1511300"/>
                <a:gd name="connsiteX153" fmla="*/ 816816 w 1559766"/>
                <a:gd name="connsiteY153" fmla="*/ 133985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559766" h="1511300">
                  <a:moveTo>
                    <a:pt x="816816" y="1339850"/>
                  </a:moveTo>
                  <a:cubicBezTo>
                    <a:pt x="819991" y="1347258"/>
                    <a:pt x="824379" y="1338039"/>
                    <a:pt x="848566" y="1365250"/>
                  </a:cubicBezTo>
                  <a:cubicBezTo>
                    <a:pt x="860498" y="1378674"/>
                    <a:pt x="886666" y="1403350"/>
                    <a:pt x="886666" y="1403350"/>
                  </a:cubicBezTo>
                  <a:cubicBezTo>
                    <a:pt x="885840" y="1414916"/>
                    <a:pt x="857446" y="1497327"/>
                    <a:pt x="899366" y="1511300"/>
                  </a:cubicBezTo>
                  <a:lnTo>
                    <a:pt x="918416" y="1504950"/>
                  </a:lnTo>
                  <a:cubicBezTo>
                    <a:pt x="924766" y="1500717"/>
                    <a:pt x="932698" y="1498209"/>
                    <a:pt x="937466" y="1492250"/>
                  </a:cubicBezTo>
                  <a:cubicBezTo>
                    <a:pt x="941647" y="1487023"/>
                    <a:pt x="938589" y="1477381"/>
                    <a:pt x="943816" y="1473200"/>
                  </a:cubicBezTo>
                  <a:cubicBezTo>
                    <a:pt x="950631" y="1467748"/>
                    <a:pt x="960749" y="1468967"/>
                    <a:pt x="969216" y="1466850"/>
                  </a:cubicBezTo>
                  <a:cubicBezTo>
                    <a:pt x="977683" y="1468967"/>
                    <a:pt x="987354" y="1468359"/>
                    <a:pt x="994616" y="1473200"/>
                  </a:cubicBezTo>
                  <a:cubicBezTo>
                    <a:pt x="1000966" y="1477433"/>
                    <a:pt x="1000844" y="1488205"/>
                    <a:pt x="1007316" y="1492250"/>
                  </a:cubicBezTo>
                  <a:cubicBezTo>
                    <a:pt x="1018668" y="1499345"/>
                    <a:pt x="1045416" y="1504950"/>
                    <a:pt x="1045416" y="1504950"/>
                  </a:cubicBezTo>
                  <a:lnTo>
                    <a:pt x="1102566" y="1498600"/>
                  </a:lnTo>
                  <a:cubicBezTo>
                    <a:pt x="1117418" y="1496744"/>
                    <a:pt x="1132123" y="1493739"/>
                    <a:pt x="1147016" y="1492250"/>
                  </a:cubicBezTo>
                  <a:cubicBezTo>
                    <a:pt x="1174477" y="1489504"/>
                    <a:pt x="1202049" y="1488017"/>
                    <a:pt x="1229566" y="1485900"/>
                  </a:cubicBezTo>
                  <a:cubicBezTo>
                    <a:pt x="1241277" y="1468334"/>
                    <a:pt x="1243977" y="1467904"/>
                    <a:pt x="1248616" y="1447800"/>
                  </a:cubicBezTo>
                  <a:cubicBezTo>
                    <a:pt x="1253470" y="1426767"/>
                    <a:pt x="1242009" y="1393953"/>
                    <a:pt x="1261316" y="1384300"/>
                  </a:cubicBezTo>
                  <a:cubicBezTo>
                    <a:pt x="1292703" y="1368607"/>
                    <a:pt x="1277736" y="1374593"/>
                    <a:pt x="1305766" y="1365250"/>
                  </a:cubicBezTo>
                  <a:cubicBezTo>
                    <a:pt x="1318466" y="1367367"/>
                    <a:pt x="1332350" y="1365842"/>
                    <a:pt x="1343866" y="1371600"/>
                  </a:cubicBezTo>
                  <a:cubicBezTo>
                    <a:pt x="1350692" y="1375013"/>
                    <a:pt x="1348993" y="1389703"/>
                    <a:pt x="1356566" y="1390650"/>
                  </a:cubicBezTo>
                  <a:cubicBezTo>
                    <a:pt x="1369850" y="1392310"/>
                    <a:pt x="1394666" y="1377950"/>
                    <a:pt x="1394666" y="1377950"/>
                  </a:cubicBezTo>
                  <a:cubicBezTo>
                    <a:pt x="1436943" y="1335673"/>
                    <a:pt x="1391412" y="1369845"/>
                    <a:pt x="1432766" y="1365250"/>
                  </a:cubicBezTo>
                  <a:cubicBezTo>
                    <a:pt x="1446071" y="1363772"/>
                    <a:pt x="1470866" y="1352550"/>
                    <a:pt x="1470866" y="1352550"/>
                  </a:cubicBezTo>
                  <a:cubicBezTo>
                    <a:pt x="1479333" y="1354667"/>
                    <a:pt x="1487875" y="1356502"/>
                    <a:pt x="1496266" y="1358900"/>
                  </a:cubicBezTo>
                  <a:cubicBezTo>
                    <a:pt x="1502702" y="1360739"/>
                    <a:pt x="1508623" y="1365250"/>
                    <a:pt x="1515316" y="1365250"/>
                  </a:cubicBezTo>
                  <a:cubicBezTo>
                    <a:pt x="1526109" y="1365250"/>
                    <a:pt x="1536483" y="1361017"/>
                    <a:pt x="1547066" y="1358900"/>
                  </a:cubicBezTo>
                  <a:cubicBezTo>
                    <a:pt x="1551299" y="1352550"/>
                    <a:pt x="1559766" y="1347482"/>
                    <a:pt x="1559766" y="1339850"/>
                  </a:cubicBezTo>
                  <a:cubicBezTo>
                    <a:pt x="1559766" y="1318264"/>
                    <a:pt x="1553892" y="1296828"/>
                    <a:pt x="1547066" y="1276350"/>
                  </a:cubicBezTo>
                  <a:cubicBezTo>
                    <a:pt x="1544949" y="1270000"/>
                    <a:pt x="1544825" y="1262584"/>
                    <a:pt x="1540716" y="1257300"/>
                  </a:cubicBezTo>
                  <a:cubicBezTo>
                    <a:pt x="1517155" y="1227007"/>
                    <a:pt x="1504108" y="1228534"/>
                    <a:pt x="1489916" y="1200150"/>
                  </a:cubicBezTo>
                  <a:cubicBezTo>
                    <a:pt x="1486923" y="1194163"/>
                    <a:pt x="1485683" y="1187450"/>
                    <a:pt x="1483566" y="1181100"/>
                  </a:cubicBezTo>
                  <a:cubicBezTo>
                    <a:pt x="1484950" y="1170029"/>
                    <a:pt x="1486793" y="1128301"/>
                    <a:pt x="1496266" y="1111250"/>
                  </a:cubicBezTo>
                  <a:cubicBezTo>
                    <a:pt x="1503679" y="1097907"/>
                    <a:pt x="1521666" y="1073150"/>
                    <a:pt x="1521666" y="1073150"/>
                  </a:cubicBezTo>
                  <a:cubicBezTo>
                    <a:pt x="1523783" y="1060450"/>
                    <a:pt x="1525491" y="1047675"/>
                    <a:pt x="1528016" y="1035050"/>
                  </a:cubicBezTo>
                  <a:cubicBezTo>
                    <a:pt x="1531388" y="1018190"/>
                    <a:pt x="1540655" y="1006399"/>
                    <a:pt x="1528016" y="990600"/>
                  </a:cubicBezTo>
                  <a:cubicBezTo>
                    <a:pt x="1523248" y="984641"/>
                    <a:pt x="1515316" y="982133"/>
                    <a:pt x="1508966" y="977900"/>
                  </a:cubicBezTo>
                  <a:cubicBezTo>
                    <a:pt x="1506849" y="965200"/>
                    <a:pt x="1504120" y="952587"/>
                    <a:pt x="1502616" y="939800"/>
                  </a:cubicBezTo>
                  <a:cubicBezTo>
                    <a:pt x="1499884" y="916581"/>
                    <a:pt x="1507350" y="890535"/>
                    <a:pt x="1496266" y="869950"/>
                  </a:cubicBezTo>
                  <a:cubicBezTo>
                    <a:pt x="1489919" y="858163"/>
                    <a:pt x="1458166" y="857250"/>
                    <a:pt x="1458166" y="857250"/>
                  </a:cubicBezTo>
                  <a:cubicBezTo>
                    <a:pt x="1451816" y="850900"/>
                    <a:pt x="1443477" y="846050"/>
                    <a:pt x="1439116" y="838200"/>
                  </a:cubicBezTo>
                  <a:cubicBezTo>
                    <a:pt x="1432615" y="826498"/>
                    <a:pt x="1426416" y="800100"/>
                    <a:pt x="1426416" y="800100"/>
                  </a:cubicBezTo>
                  <a:cubicBezTo>
                    <a:pt x="1428533" y="785283"/>
                    <a:pt x="1428828" y="770090"/>
                    <a:pt x="1432766" y="755650"/>
                  </a:cubicBezTo>
                  <a:cubicBezTo>
                    <a:pt x="1435257" y="746518"/>
                    <a:pt x="1441737" y="738951"/>
                    <a:pt x="1445466" y="730250"/>
                  </a:cubicBezTo>
                  <a:cubicBezTo>
                    <a:pt x="1461240" y="693444"/>
                    <a:pt x="1440110" y="728759"/>
                    <a:pt x="1464516" y="692150"/>
                  </a:cubicBezTo>
                  <a:cubicBezTo>
                    <a:pt x="1454187" y="661162"/>
                    <a:pt x="1451035" y="640569"/>
                    <a:pt x="1426416" y="615950"/>
                  </a:cubicBezTo>
                  <a:cubicBezTo>
                    <a:pt x="1420066" y="609600"/>
                    <a:pt x="1415216" y="601261"/>
                    <a:pt x="1407366" y="596900"/>
                  </a:cubicBezTo>
                  <a:cubicBezTo>
                    <a:pt x="1395664" y="590399"/>
                    <a:pt x="1369266" y="584200"/>
                    <a:pt x="1369266" y="584200"/>
                  </a:cubicBezTo>
                  <a:cubicBezTo>
                    <a:pt x="1355222" y="570156"/>
                    <a:pt x="1346357" y="563781"/>
                    <a:pt x="1337516" y="546100"/>
                  </a:cubicBezTo>
                  <a:cubicBezTo>
                    <a:pt x="1331540" y="534148"/>
                    <a:pt x="1331701" y="516272"/>
                    <a:pt x="1318466" y="508000"/>
                  </a:cubicBezTo>
                  <a:cubicBezTo>
                    <a:pt x="1307114" y="500905"/>
                    <a:pt x="1293066" y="499533"/>
                    <a:pt x="1280366" y="495300"/>
                  </a:cubicBezTo>
                  <a:lnTo>
                    <a:pt x="1261316" y="488950"/>
                  </a:lnTo>
                  <a:cubicBezTo>
                    <a:pt x="1254966" y="484717"/>
                    <a:pt x="1247034" y="482209"/>
                    <a:pt x="1242266" y="476250"/>
                  </a:cubicBezTo>
                  <a:cubicBezTo>
                    <a:pt x="1230120" y="461067"/>
                    <a:pt x="1238252" y="447857"/>
                    <a:pt x="1242266" y="431800"/>
                  </a:cubicBezTo>
                  <a:cubicBezTo>
                    <a:pt x="1236331" y="413996"/>
                    <a:pt x="1220109" y="388058"/>
                    <a:pt x="1235916" y="368300"/>
                  </a:cubicBezTo>
                  <a:cubicBezTo>
                    <a:pt x="1240097" y="363073"/>
                    <a:pt x="1248814" y="364587"/>
                    <a:pt x="1254966" y="361950"/>
                  </a:cubicBezTo>
                  <a:cubicBezTo>
                    <a:pt x="1263667" y="358221"/>
                    <a:pt x="1272249" y="354120"/>
                    <a:pt x="1280366" y="349250"/>
                  </a:cubicBezTo>
                  <a:cubicBezTo>
                    <a:pt x="1293454" y="341397"/>
                    <a:pt x="1318466" y="323850"/>
                    <a:pt x="1318466" y="323850"/>
                  </a:cubicBezTo>
                  <a:cubicBezTo>
                    <a:pt x="1312414" y="281488"/>
                    <a:pt x="1305130" y="254891"/>
                    <a:pt x="1318466" y="209550"/>
                  </a:cubicBezTo>
                  <a:cubicBezTo>
                    <a:pt x="1322773" y="194907"/>
                    <a:pt x="1343866" y="171450"/>
                    <a:pt x="1343866" y="171450"/>
                  </a:cubicBezTo>
                  <a:cubicBezTo>
                    <a:pt x="1341749" y="158750"/>
                    <a:pt x="1347407" y="141592"/>
                    <a:pt x="1337516" y="133350"/>
                  </a:cubicBezTo>
                  <a:cubicBezTo>
                    <a:pt x="1329225" y="126441"/>
                    <a:pt x="1314285" y="133074"/>
                    <a:pt x="1305766" y="139700"/>
                  </a:cubicBezTo>
                  <a:cubicBezTo>
                    <a:pt x="1293718" y="149071"/>
                    <a:pt x="1280366" y="177800"/>
                    <a:pt x="1280366" y="177800"/>
                  </a:cubicBezTo>
                  <a:cubicBezTo>
                    <a:pt x="1280146" y="177745"/>
                    <a:pt x="1238953" y="168137"/>
                    <a:pt x="1235916" y="165100"/>
                  </a:cubicBezTo>
                  <a:cubicBezTo>
                    <a:pt x="1231183" y="160367"/>
                    <a:pt x="1231683" y="152400"/>
                    <a:pt x="1229566" y="146050"/>
                  </a:cubicBezTo>
                  <a:cubicBezTo>
                    <a:pt x="1231683" y="139700"/>
                    <a:pt x="1235916" y="133693"/>
                    <a:pt x="1235916" y="127000"/>
                  </a:cubicBezTo>
                  <a:cubicBezTo>
                    <a:pt x="1235916" y="107833"/>
                    <a:pt x="1237497" y="87299"/>
                    <a:pt x="1229566" y="69850"/>
                  </a:cubicBezTo>
                  <a:cubicBezTo>
                    <a:pt x="1225649" y="61232"/>
                    <a:pt x="1213448" y="59006"/>
                    <a:pt x="1204166" y="57150"/>
                  </a:cubicBezTo>
                  <a:cubicBezTo>
                    <a:pt x="1181241" y="52565"/>
                    <a:pt x="1157599" y="52917"/>
                    <a:pt x="1134316" y="50800"/>
                  </a:cubicBezTo>
                  <a:cubicBezTo>
                    <a:pt x="1127966" y="48683"/>
                    <a:pt x="1120493" y="48631"/>
                    <a:pt x="1115266" y="44450"/>
                  </a:cubicBezTo>
                  <a:cubicBezTo>
                    <a:pt x="1109307" y="39682"/>
                    <a:pt x="1107452" y="31263"/>
                    <a:pt x="1102566" y="25400"/>
                  </a:cubicBezTo>
                  <a:cubicBezTo>
                    <a:pt x="1084271" y="3446"/>
                    <a:pt x="1087945" y="7826"/>
                    <a:pt x="1064466" y="0"/>
                  </a:cubicBezTo>
                  <a:cubicBezTo>
                    <a:pt x="1058116" y="2117"/>
                    <a:pt x="1050985" y="2637"/>
                    <a:pt x="1045416" y="6350"/>
                  </a:cubicBezTo>
                  <a:cubicBezTo>
                    <a:pt x="1037944" y="11331"/>
                    <a:pt x="1033265" y="19651"/>
                    <a:pt x="1026366" y="25400"/>
                  </a:cubicBezTo>
                  <a:cubicBezTo>
                    <a:pt x="1020503" y="30286"/>
                    <a:pt x="1013666" y="33867"/>
                    <a:pt x="1007316" y="38100"/>
                  </a:cubicBezTo>
                  <a:lnTo>
                    <a:pt x="981916" y="76200"/>
                  </a:lnTo>
                  <a:cubicBezTo>
                    <a:pt x="974490" y="87339"/>
                    <a:pt x="973449" y="101600"/>
                    <a:pt x="969216" y="114300"/>
                  </a:cubicBezTo>
                  <a:lnTo>
                    <a:pt x="950166" y="171450"/>
                  </a:lnTo>
                  <a:cubicBezTo>
                    <a:pt x="947753" y="178690"/>
                    <a:pt x="937466" y="179917"/>
                    <a:pt x="931116" y="184150"/>
                  </a:cubicBezTo>
                  <a:cubicBezTo>
                    <a:pt x="926883" y="190500"/>
                    <a:pt x="924375" y="198432"/>
                    <a:pt x="918416" y="203200"/>
                  </a:cubicBezTo>
                  <a:cubicBezTo>
                    <a:pt x="903638" y="215022"/>
                    <a:pt x="889494" y="207637"/>
                    <a:pt x="873966" y="203200"/>
                  </a:cubicBezTo>
                  <a:cubicBezTo>
                    <a:pt x="867530" y="201361"/>
                    <a:pt x="861266" y="198967"/>
                    <a:pt x="854916" y="196850"/>
                  </a:cubicBezTo>
                  <a:cubicBezTo>
                    <a:pt x="848566" y="201083"/>
                    <a:pt x="841262" y="204154"/>
                    <a:pt x="835866" y="209550"/>
                  </a:cubicBezTo>
                  <a:cubicBezTo>
                    <a:pt x="830470" y="214946"/>
                    <a:pt x="830252" y="225766"/>
                    <a:pt x="823166" y="228600"/>
                  </a:cubicBezTo>
                  <a:cubicBezTo>
                    <a:pt x="816951" y="231086"/>
                    <a:pt x="810466" y="224367"/>
                    <a:pt x="804116" y="222250"/>
                  </a:cubicBezTo>
                  <a:cubicBezTo>
                    <a:pt x="772366" y="201083"/>
                    <a:pt x="791416" y="205317"/>
                    <a:pt x="746966" y="234950"/>
                  </a:cubicBezTo>
                  <a:lnTo>
                    <a:pt x="727916" y="247650"/>
                  </a:lnTo>
                  <a:lnTo>
                    <a:pt x="708866" y="260350"/>
                  </a:lnTo>
                  <a:cubicBezTo>
                    <a:pt x="665828" y="246004"/>
                    <a:pt x="718332" y="262243"/>
                    <a:pt x="645366" y="247650"/>
                  </a:cubicBezTo>
                  <a:cubicBezTo>
                    <a:pt x="638802" y="246337"/>
                    <a:pt x="632666" y="243417"/>
                    <a:pt x="626316" y="241300"/>
                  </a:cubicBezTo>
                  <a:cubicBezTo>
                    <a:pt x="621519" y="236503"/>
                    <a:pt x="598039" y="210532"/>
                    <a:pt x="588216" y="209550"/>
                  </a:cubicBezTo>
                  <a:cubicBezTo>
                    <a:pt x="573323" y="208061"/>
                    <a:pt x="558583" y="213783"/>
                    <a:pt x="543766" y="215900"/>
                  </a:cubicBezTo>
                  <a:cubicBezTo>
                    <a:pt x="477820" y="207657"/>
                    <a:pt x="507165" y="219016"/>
                    <a:pt x="454866" y="184150"/>
                  </a:cubicBezTo>
                  <a:lnTo>
                    <a:pt x="454866" y="184150"/>
                  </a:lnTo>
                  <a:lnTo>
                    <a:pt x="416766" y="171450"/>
                  </a:lnTo>
                  <a:cubicBezTo>
                    <a:pt x="387133" y="173567"/>
                    <a:pt x="357123" y="172637"/>
                    <a:pt x="327866" y="177800"/>
                  </a:cubicBezTo>
                  <a:cubicBezTo>
                    <a:pt x="298200" y="183035"/>
                    <a:pt x="315655" y="193063"/>
                    <a:pt x="302466" y="209550"/>
                  </a:cubicBezTo>
                  <a:cubicBezTo>
                    <a:pt x="287561" y="228181"/>
                    <a:pt x="258419" y="225821"/>
                    <a:pt x="238966" y="228600"/>
                  </a:cubicBezTo>
                  <a:cubicBezTo>
                    <a:pt x="234733" y="234950"/>
                    <a:pt x="233860" y="246891"/>
                    <a:pt x="226266" y="247650"/>
                  </a:cubicBezTo>
                  <a:cubicBezTo>
                    <a:pt x="208898" y="249387"/>
                    <a:pt x="175466" y="234950"/>
                    <a:pt x="175466" y="234950"/>
                  </a:cubicBezTo>
                  <a:cubicBezTo>
                    <a:pt x="169116" y="237067"/>
                    <a:pt x="161643" y="237119"/>
                    <a:pt x="156416" y="241300"/>
                  </a:cubicBezTo>
                  <a:cubicBezTo>
                    <a:pt x="150457" y="246068"/>
                    <a:pt x="148602" y="254487"/>
                    <a:pt x="143716" y="260350"/>
                  </a:cubicBezTo>
                  <a:cubicBezTo>
                    <a:pt x="137967" y="267249"/>
                    <a:pt x="131565" y="273651"/>
                    <a:pt x="124666" y="279400"/>
                  </a:cubicBezTo>
                  <a:cubicBezTo>
                    <a:pt x="118803" y="284286"/>
                    <a:pt x="112442" y="288687"/>
                    <a:pt x="105616" y="292100"/>
                  </a:cubicBezTo>
                  <a:cubicBezTo>
                    <a:pt x="89984" y="299916"/>
                    <a:pt x="63099" y="302361"/>
                    <a:pt x="48466" y="304800"/>
                  </a:cubicBezTo>
                  <a:cubicBezTo>
                    <a:pt x="42116" y="306917"/>
                    <a:pt x="35852" y="309311"/>
                    <a:pt x="29416" y="311150"/>
                  </a:cubicBezTo>
                  <a:cubicBezTo>
                    <a:pt x="21025" y="313548"/>
                    <a:pt x="9252" y="310518"/>
                    <a:pt x="4016" y="317500"/>
                  </a:cubicBezTo>
                  <a:cubicBezTo>
                    <a:pt x="0" y="322855"/>
                    <a:pt x="5633" y="331817"/>
                    <a:pt x="10366" y="336550"/>
                  </a:cubicBezTo>
                  <a:cubicBezTo>
                    <a:pt x="17059" y="343243"/>
                    <a:pt x="27547" y="344554"/>
                    <a:pt x="35766" y="349250"/>
                  </a:cubicBezTo>
                  <a:cubicBezTo>
                    <a:pt x="70233" y="368945"/>
                    <a:pt x="38939" y="356658"/>
                    <a:pt x="73866" y="368300"/>
                  </a:cubicBezTo>
                  <a:cubicBezTo>
                    <a:pt x="100207" y="364537"/>
                    <a:pt x="136425" y="355130"/>
                    <a:pt x="162766" y="368300"/>
                  </a:cubicBezTo>
                  <a:cubicBezTo>
                    <a:pt x="168753" y="371293"/>
                    <a:pt x="167277" y="380914"/>
                    <a:pt x="169116" y="387350"/>
                  </a:cubicBezTo>
                  <a:cubicBezTo>
                    <a:pt x="171514" y="395741"/>
                    <a:pt x="170014" y="405935"/>
                    <a:pt x="175466" y="412750"/>
                  </a:cubicBezTo>
                  <a:cubicBezTo>
                    <a:pt x="179647" y="417977"/>
                    <a:pt x="188080" y="417261"/>
                    <a:pt x="194516" y="419100"/>
                  </a:cubicBezTo>
                  <a:cubicBezTo>
                    <a:pt x="202907" y="421498"/>
                    <a:pt x="211449" y="423333"/>
                    <a:pt x="219916" y="425450"/>
                  </a:cubicBezTo>
                  <a:cubicBezTo>
                    <a:pt x="249759" y="455293"/>
                    <a:pt x="233985" y="437028"/>
                    <a:pt x="264366" y="482600"/>
                  </a:cubicBezTo>
                  <a:cubicBezTo>
                    <a:pt x="268079" y="488169"/>
                    <a:pt x="277066" y="486833"/>
                    <a:pt x="283416" y="488950"/>
                  </a:cubicBezTo>
                  <a:cubicBezTo>
                    <a:pt x="304583" y="486833"/>
                    <a:pt x="325891" y="485835"/>
                    <a:pt x="346916" y="482600"/>
                  </a:cubicBezTo>
                  <a:cubicBezTo>
                    <a:pt x="353532" y="481582"/>
                    <a:pt x="359273" y="476250"/>
                    <a:pt x="365966" y="476250"/>
                  </a:cubicBezTo>
                  <a:cubicBezTo>
                    <a:pt x="372659" y="476250"/>
                    <a:pt x="378666" y="480483"/>
                    <a:pt x="385016" y="482600"/>
                  </a:cubicBezTo>
                  <a:cubicBezTo>
                    <a:pt x="387133" y="491067"/>
                    <a:pt x="383560" y="504097"/>
                    <a:pt x="391366" y="508000"/>
                  </a:cubicBezTo>
                  <a:cubicBezTo>
                    <a:pt x="398192" y="511413"/>
                    <a:pt x="403590" y="498713"/>
                    <a:pt x="410416" y="495300"/>
                  </a:cubicBezTo>
                  <a:cubicBezTo>
                    <a:pt x="416403" y="492307"/>
                    <a:pt x="423116" y="491067"/>
                    <a:pt x="429466" y="488950"/>
                  </a:cubicBezTo>
                  <a:cubicBezTo>
                    <a:pt x="431583" y="495300"/>
                    <a:pt x="435816" y="501307"/>
                    <a:pt x="435816" y="508000"/>
                  </a:cubicBezTo>
                  <a:cubicBezTo>
                    <a:pt x="435816" y="520875"/>
                    <a:pt x="431769" y="533432"/>
                    <a:pt x="429466" y="546100"/>
                  </a:cubicBezTo>
                  <a:cubicBezTo>
                    <a:pt x="423336" y="579816"/>
                    <a:pt x="425579" y="570462"/>
                    <a:pt x="416766" y="596900"/>
                  </a:cubicBezTo>
                  <a:cubicBezTo>
                    <a:pt x="418883" y="603250"/>
                    <a:pt x="418935" y="610723"/>
                    <a:pt x="423116" y="615950"/>
                  </a:cubicBezTo>
                  <a:cubicBezTo>
                    <a:pt x="427884" y="621909"/>
                    <a:pt x="439332" y="621564"/>
                    <a:pt x="442166" y="628650"/>
                  </a:cubicBezTo>
                  <a:cubicBezTo>
                    <a:pt x="445823" y="637791"/>
                    <a:pt x="425368" y="661683"/>
                    <a:pt x="423116" y="666750"/>
                  </a:cubicBezTo>
                  <a:cubicBezTo>
                    <a:pt x="417679" y="678983"/>
                    <a:pt x="414649" y="692150"/>
                    <a:pt x="410416" y="704850"/>
                  </a:cubicBezTo>
                  <a:lnTo>
                    <a:pt x="404066" y="723900"/>
                  </a:lnTo>
                  <a:cubicBezTo>
                    <a:pt x="406183" y="732367"/>
                    <a:pt x="403314" y="744227"/>
                    <a:pt x="410416" y="749300"/>
                  </a:cubicBezTo>
                  <a:cubicBezTo>
                    <a:pt x="420893" y="756784"/>
                    <a:pt x="436302" y="751579"/>
                    <a:pt x="448516" y="755650"/>
                  </a:cubicBezTo>
                  <a:cubicBezTo>
                    <a:pt x="455756" y="758063"/>
                    <a:pt x="461216" y="764117"/>
                    <a:pt x="467566" y="768350"/>
                  </a:cubicBezTo>
                  <a:cubicBezTo>
                    <a:pt x="476379" y="794788"/>
                    <a:pt x="476761" y="785434"/>
                    <a:pt x="467566" y="819150"/>
                  </a:cubicBezTo>
                  <a:cubicBezTo>
                    <a:pt x="464044" y="832065"/>
                    <a:pt x="454866" y="857250"/>
                    <a:pt x="454866" y="857250"/>
                  </a:cubicBezTo>
                  <a:cubicBezTo>
                    <a:pt x="452749" y="891117"/>
                    <a:pt x="448516" y="924917"/>
                    <a:pt x="448516" y="958850"/>
                  </a:cubicBezTo>
                  <a:cubicBezTo>
                    <a:pt x="448516" y="976801"/>
                    <a:pt x="462586" y="1013759"/>
                    <a:pt x="467566" y="1028700"/>
                  </a:cubicBezTo>
                  <a:cubicBezTo>
                    <a:pt x="469979" y="1035940"/>
                    <a:pt x="476853" y="1040924"/>
                    <a:pt x="480266" y="1047750"/>
                  </a:cubicBezTo>
                  <a:cubicBezTo>
                    <a:pt x="492022" y="1071262"/>
                    <a:pt x="479344" y="1070265"/>
                    <a:pt x="505666" y="1092200"/>
                  </a:cubicBezTo>
                  <a:cubicBezTo>
                    <a:pt x="510808" y="1096485"/>
                    <a:pt x="518280" y="1096711"/>
                    <a:pt x="524716" y="1098550"/>
                  </a:cubicBezTo>
                  <a:cubicBezTo>
                    <a:pt x="551240" y="1106128"/>
                    <a:pt x="558277" y="1106260"/>
                    <a:pt x="588216" y="1111250"/>
                  </a:cubicBezTo>
                  <a:cubicBezTo>
                    <a:pt x="594566" y="1113367"/>
                    <a:pt x="600573" y="1117600"/>
                    <a:pt x="607266" y="1117600"/>
                  </a:cubicBezTo>
                  <a:cubicBezTo>
                    <a:pt x="641133" y="1117600"/>
                    <a:pt x="615733" y="1109133"/>
                    <a:pt x="632666" y="1092200"/>
                  </a:cubicBezTo>
                  <a:cubicBezTo>
                    <a:pt x="637399" y="1087467"/>
                    <a:pt x="645366" y="1087967"/>
                    <a:pt x="651716" y="1085850"/>
                  </a:cubicBezTo>
                  <a:cubicBezTo>
                    <a:pt x="658066" y="1090083"/>
                    <a:pt x="665998" y="1092591"/>
                    <a:pt x="670766" y="1098550"/>
                  </a:cubicBezTo>
                  <a:cubicBezTo>
                    <a:pt x="712083" y="1150196"/>
                    <a:pt x="636286" y="1083120"/>
                    <a:pt x="689816" y="1136650"/>
                  </a:cubicBezTo>
                  <a:cubicBezTo>
                    <a:pt x="695212" y="1142046"/>
                    <a:pt x="702040" y="1145937"/>
                    <a:pt x="708866" y="1149350"/>
                  </a:cubicBezTo>
                  <a:cubicBezTo>
                    <a:pt x="731751" y="1160792"/>
                    <a:pt x="773204" y="1160229"/>
                    <a:pt x="791416" y="1162050"/>
                  </a:cubicBezTo>
                  <a:cubicBezTo>
                    <a:pt x="795649" y="1168400"/>
                    <a:pt x="798720" y="1175704"/>
                    <a:pt x="804116" y="1181100"/>
                  </a:cubicBezTo>
                  <a:cubicBezTo>
                    <a:pt x="809512" y="1186496"/>
                    <a:pt x="817303" y="1188914"/>
                    <a:pt x="823166" y="1193800"/>
                  </a:cubicBezTo>
                  <a:cubicBezTo>
                    <a:pt x="830065" y="1199549"/>
                    <a:pt x="835866" y="1206500"/>
                    <a:pt x="842216" y="1212850"/>
                  </a:cubicBezTo>
                  <a:cubicBezTo>
                    <a:pt x="844333" y="1229783"/>
                    <a:pt x="845513" y="1246860"/>
                    <a:pt x="848566" y="1263650"/>
                  </a:cubicBezTo>
                  <a:cubicBezTo>
                    <a:pt x="849763" y="1270236"/>
                    <a:pt x="854916" y="1276007"/>
                    <a:pt x="854916" y="1282700"/>
                  </a:cubicBezTo>
                  <a:cubicBezTo>
                    <a:pt x="854916" y="1346516"/>
                    <a:pt x="848656" y="1276140"/>
                    <a:pt x="829516" y="1320800"/>
                  </a:cubicBezTo>
                  <a:cubicBezTo>
                    <a:pt x="825347" y="1330528"/>
                    <a:pt x="813641" y="1332442"/>
                    <a:pt x="816816" y="1339850"/>
                  </a:cubicBezTo>
                  <a:close/>
                </a:path>
              </a:pathLst>
            </a:custGeom>
            <a:grp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rtl="0" eaLnBrk="0" fontAlgn="base" hangingPunct="0">
                <a:spcBef>
                  <a:spcPct val="50000"/>
                </a:spcBef>
                <a:spcAft>
                  <a:spcPct val="0"/>
                </a:spcAft>
              </a:pPr>
              <a:endParaRPr lang="en-US" sz="900">
                <a:solidFill>
                  <a:srgbClr val="000000"/>
                </a:solidFill>
                <a:latin typeface="Arial" charset="0"/>
              </a:endParaRPr>
            </a:p>
          </p:txBody>
        </p:sp>
        <p:sp>
          <p:nvSpPr>
            <p:cNvPr id="72" name="Freeform 72">
              <a:extLst>
                <a:ext uri="{FF2B5EF4-FFF2-40B4-BE49-F238E27FC236}">
                  <a16:creationId xmlns:a16="http://schemas.microsoft.com/office/drawing/2014/main" id="{DA47C045-CE37-4DD6-8736-E5B6E37515AE}"/>
                </a:ext>
              </a:extLst>
            </p:cNvPr>
            <p:cNvSpPr/>
            <p:nvPr>
              <p:custDataLst>
                <p:tags r:id="rId27"/>
              </p:custDataLst>
            </p:nvPr>
          </p:nvSpPr>
          <p:spPr bwMode="gray">
            <a:xfrm>
              <a:off x="5751699" y="2609182"/>
              <a:ext cx="285750" cy="222918"/>
            </a:xfrm>
            <a:custGeom>
              <a:avLst/>
              <a:gdLst>
                <a:gd name="connsiteX0" fmla="*/ 57150 w 285750"/>
                <a:gd name="connsiteY0" fmla="*/ 26068 h 222918"/>
                <a:gd name="connsiteX1" fmla="*/ 44450 w 285750"/>
                <a:gd name="connsiteY1" fmla="*/ 45118 h 222918"/>
                <a:gd name="connsiteX2" fmla="*/ 25400 w 285750"/>
                <a:gd name="connsiteY2" fmla="*/ 57818 h 222918"/>
                <a:gd name="connsiteX3" fmla="*/ 19050 w 285750"/>
                <a:gd name="connsiteY3" fmla="*/ 76868 h 222918"/>
                <a:gd name="connsiteX4" fmla="*/ 12700 w 285750"/>
                <a:gd name="connsiteY4" fmla="*/ 146718 h 222918"/>
                <a:gd name="connsiteX5" fmla="*/ 0 w 285750"/>
                <a:gd name="connsiteY5" fmla="*/ 184818 h 222918"/>
                <a:gd name="connsiteX6" fmla="*/ 25400 w 285750"/>
                <a:gd name="connsiteY6" fmla="*/ 210218 h 222918"/>
                <a:gd name="connsiteX7" fmla="*/ 44450 w 285750"/>
                <a:gd name="connsiteY7" fmla="*/ 197518 h 222918"/>
                <a:gd name="connsiteX8" fmla="*/ 82550 w 285750"/>
                <a:gd name="connsiteY8" fmla="*/ 184818 h 222918"/>
                <a:gd name="connsiteX9" fmla="*/ 101600 w 285750"/>
                <a:gd name="connsiteY9" fmla="*/ 203868 h 222918"/>
                <a:gd name="connsiteX10" fmla="*/ 139700 w 285750"/>
                <a:gd name="connsiteY10" fmla="*/ 216568 h 222918"/>
                <a:gd name="connsiteX11" fmla="*/ 190500 w 285750"/>
                <a:gd name="connsiteY11" fmla="*/ 210218 h 222918"/>
                <a:gd name="connsiteX12" fmla="*/ 228600 w 285750"/>
                <a:gd name="connsiteY12" fmla="*/ 222918 h 222918"/>
                <a:gd name="connsiteX13" fmla="*/ 266700 w 285750"/>
                <a:gd name="connsiteY13" fmla="*/ 216568 h 222918"/>
                <a:gd name="connsiteX14" fmla="*/ 285750 w 285750"/>
                <a:gd name="connsiteY14" fmla="*/ 178468 h 222918"/>
                <a:gd name="connsiteX15" fmla="*/ 247650 w 285750"/>
                <a:gd name="connsiteY15" fmla="*/ 140368 h 222918"/>
                <a:gd name="connsiteX16" fmla="*/ 228600 w 285750"/>
                <a:gd name="connsiteY16" fmla="*/ 121318 h 222918"/>
                <a:gd name="connsiteX17" fmla="*/ 209550 w 285750"/>
                <a:gd name="connsiteY17" fmla="*/ 83218 h 222918"/>
                <a:gd name="connsiteX18" fmla="*/ 190500 w 285750"/>
                <a:gd name="connsiteY18" fmla="*/ 45118 h 222918"/>
                <a:gd name="connsiteX19" fmla="*/ 171450 w 285750"/>
                <a:gd name="connsiteY19" fmla="*/ 38768 h 222918"/>
                <a:gd name="connsiteX20" fmla="*/ 165100 w 285750"/>
                <a:gd name="connsiteY20" fmla="*/ 13368 h 222918"/>
                <a:gd name="connsiteX21" fmla="*/ 127000 w 285750"/>
                <a:gd name="connsiteY21" fmla="*/ 13368 h 222918"/>
                <a:gd name="connsiteX22" fmla="*/ 95250 w 285750"/>
                <a:gd name="connsiteY22" fmla="*/ 45118 h 222918"/>
                <a:gd name="connsiteX23" fmla="*/ 69850 w 285750"/>
                <a:gd name="connsiteY23" fmla="*/ 38768 h 222918"/>
                <a:gd name="connsiteX24" fmla="*/ 57150 w 285750"/>
                <a:gd name="connsiteY24" fmla="*/ 26068 h 222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85750" h="222918">
                  <a:moveTo>
                    <a:pt x="57150" y="26068"/>
                  </a:moveTo>
                  <a:cubicBezTo>
                    <a:pt x="52917" y="27126"/>
                    <a:pt x="49846" y="39722"/>
                    <a:pt x="44450" y="45118"/>
                  </a:cubicBezTo>
                  <a:cubicBezTo>
                    <a:pt x="39054" y="50514"/>
                    <a:pt x="30168" y="51859"/>
                    <a:pt x="25400" y="57818"/>
                  </a:cubicBezTo>
                  <a:cubicBezTo>
                    <a:pt x="21219" y="63045"/>
                    <a:pt x="21167" y="70518"/>
                    <a:pt x="19050" y="76868"/>
                  </a:cubicBezTo>
                  <a:cubicBezTo>
                    <a:pt x="16933" y="100151"/>
                    <a:pt x="16763" y="123694"/>
                    <a:pt x="12700" y="146718"/>
                  </a:cubicBezTo>
                  <a:cubicBezTo>
                    <a:pt x="10374" y="159901"/>
                    <a:pt x="0" y="184818"/>
                    <a:pt x="0" y="184818"/>
                  </a:cubicBezTo>
                  <a:cubicBezTo>
                    <a:pt x="4456" y="198186"/>
                    <a:pt x="4011" y="213783"/>
                    <a:pt x="25400" y="210218"/>
                  </a:cubicBezTo>
                  <a:cubicBezTo>
                    <a:pt x="32928" y="208963"/>
                    <a:pt x="37476" y="200618"/>
                    <a:pt x="44450" y="197518"/>
                  </a:cubicBezTo>
                  <a:cubicBezTo>
                    <a:pt x="56683" y="192081"/>
                    <a:pt x="82550" y="184818"/>
                    <a:pt x="82550" y="184818"/>
                  </a:cubicBezTo>
                  <a:cubicBezTo>
                    <a:pt x="88900" y="191168"/>
                    <a:pt x="93750" y="199507"/>
                    <a:pt x="101600" y="203868"/>
                  </a:cubicBezTo>
                  <a:cubicBezTo>
                    <a:pt x="113302" y="210369"/>
                    <a:pt x="139700" y="216568"/>
                    <a:pt x="139700" y="216568"/>
                  </a:cubicBezTo>
                  <a:cubicBezTo>
                    <a:pt x="165582" y="199313"/>
                    <a:pt x="154304" y="200346"/>
                    <a:pt x="190500" y="210218"/>
                  </a:cubicBezTo>
                  <a:cubicBezTo>
                    <a:pt x="203415" y="213740"/>
                    <a:pt x="228600" y="222918"/>
                    <a:pt x="228600" y="222918"/>
                  </a:cubicBezTo>
                  <a:cubicBezTo>
                    <a:pt x="241300" y="220801"/>
                    <a:pt x="255184" y="222326"/>
                    <a:pt x="266700" y="216568"/>
                  </a:cubicBezTo>
                  <a:cubicBezTo>
                    <a:pt x="276548" y="211644"/>
                    <a:pt x="282745" y="187484"/>
                    <a:pt x="285750" y="178468"/>
                  </a:cubicBezTo>
                  <a:lnTo>
                    <a:pt x="247650" y="140368"/>
                  </a:lnTo>
                  <a:lnTo>
                    <a:pt x="228600" y="121318"/>
                  </a:lnTo>
                  <a:cubicBezTo>
                    <a:pt x="212639" y="73435"/>
                    <a:pt x="234169" y="132457"/>
                    <a:pt x="209550" y="83218"/>
                  </a:cubicBezTo>
                  <a:cubicBezTo>
                    <a:pt x="201881" y="67880"/>
                    <a:pt x="205665" y="57250"/>
                    <a:pt x="190500" y="45118"/>
                  </a:cubicBezTo>
                  <a:cubicBezTo>
                    <a:pt x="185273" y="40937"/>
                    <a:pt x="177800" y="40885"/>
                    <a:pt x="171450" y="38768"/>
                  </a:cubicBezTo>
                  <a:cubicBezTo>
                    <a:pt x="169333" y="30301"/>
                    <a:pt x="170552" y="20183"/>
                    <a:pt x="165100" y="13368"/>
                  </a:cubicBezTo>
                  <a:cubicBezTo>
                    <a:pt x="154405" y="0"/>
                    <a:pt x="137695" y="9803"/>
                    <a:pt x="127000" y="13368"/>
                  </a:cubicBezTo>
                  <a:cubicBezTo>
                    <a:pt x="119870" y="24063"/>
                    <a:pt x="110846" y="42890"/>
                    <a:pt x="95250" y="45118"/>
                  </a:cubicBezTo>
                  <a:cubicBezTo>
                    <a:pt x="86610" y="46352"/>
                    <a:pt x="78317" y="40885"/>
                    <a:pt x="69850" y="38768"/>
                  </a:cubicBezTo>
                  <a:cubicBezTo>
                    <a:pt x="55976" y="17957"/>
                    <a:pt x="61383" y="25010"/>
                    <a:pt x="57150" y="26068"/>
                  </a:cubicBezTo>
                  <a:close/>
                </a:path>
              </a:pathLst>
            </a:custGeom>
            <a:grp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rtl="0" eaLnBrk="0" fontAlgn="base" hangingPunct="0">
                <a:spcBef>
                  <a:spcPct val="50000"/>
                </a:spcBef>
                <a:spcAft>
                  <a:spcPct val="0"/>
                </a:spcAft>
              </a:pPr>
              <a:endParaRPr lang="en-US" sz="900">
                <a:solidFill>
                  <a:srgbClr val="000000"/>
                </a:solidFill>
                <a:latin typeface="Arial" charset="0"/>
              </a:endParaRPr>
            </a:p>
          </p:txBody>
        </p:sp>
        <p:sp>
          <p:nvSpPr>
            <p:cNvPr id="73" name="Freeform 73">
              <a:extLst>
                <a:ext uri="{FF2B5EF4-FFF2-40B4-BE49-F238E27FC236}">
                  <a16:creationId xmlns:a16="http://schemas.microsoft.com/office/drawing/2014/main" id="{CE90C234-BFE3-4A77-957D-D26F8528B729}"/>
                </a:ext>
              </a:extLst>
            </p:cNvPr>
            <p:cNvSpPr/>
            <p:nvPr/>
          </p:nvSpPr>
          <p:spPr bwMode="gray">
            <a:xfrm>
              <a:off x="5256399" y="3333750"/>
              <a:ext cx="1377950" cy="1035050"/>
            </a:xfrm>
            <a:custGeom>
              <a:avLst/>
              <a:gdLst>
                <a:gd name="connsiteX0" fmla="*/ 63500 w 1377950"/>
                <a:gd name="connsiteY0" fmla="*/ 914400 h 1035050"/>
                <a:gd name="connsiteX1" fmla="*/ 114300 w 1377950"/>
                <a:gd name="connsiteY1" fmla="*/ 939800 h 1035050"/>
                <a:gd name="connsiteX2" fmla="*/ 133350 w 1377950"/>
                <a:gd name="connsiteY2" fmla="*/ 933450 h 1035050"/>
                <a:gd name="connsiteX3" fmla="*/ 171450 w 1377950"/>
                <a:gd name="connsiteY3" fmla="*/ 958850 h 1035050"/>
                <a:gd name="connsiteX4" fmla="*/ 177800 w 1377950"/>
                <a:gd name="connsiteY4" fmla="*/ 990600 h 1035050"/>
                <a:gd name="connsiteX5" fmla="*/ 190500 w 1377950"/>
                <a:gd name="connsiteY5" fmla="*/ 1035050 h 1035050"/>
                <a:gd name="connsiteX6" fmla="*/ 209550 w 1377950"/>
                <a:gd name="connsiteY6" fmla="*/ 1028700 h 1035050"/>
                <a:gd name="connsiteX7" fmla="*/ 228600 w 1377950"/>
                <a:gd name="connsiteY7" fmla="*/ 990600 h 1035050"/>
                <a:gd name="connsiteX8" fmla="*/ 222250 w 1377950"/>
                <a:gd name="connsiteY8" fmla="*/ 965200 h 1035050"/>
                <a:gd name="connsiteX9" fmla="*/ 254000 w 1377950"/>
                <a:gd name="connsiteY9" fmla="*/ 895350 h 1035050"/>
                <a:gd name="connsiteX10" fmla="*/ 273050 w 1377950"/>
                <a:gd name="connsiteY10" fmla="*/ 889000 h 1035050"/>
                <a:gd name="connsiteX11" fmla="*/ 292100 w 1377950"/>
                <a:gd name="connsiteY11" fmla="*/ 876300 h 1035050"/>
                <a:gd name="connsiteX12" fmla="*/ 336550 w 1377950"/>
                <a:gd name="connsiteY12" fmla="*/ 863600 h 1035050"/>
                <a:gd name="connsiteX13" fmla="*/ 374650 w 1377950"/>
                <a:gd name="connsiteY13" fmla="*/ 850900 h 1035050"/>
                <a:gd name="connsiteX14" fmla="*/ 412750 w 1377950"/>
                <a:gd name="connsiteY14" fmla="*/ 825500 h 1035050"/>
                <a:gd name="connsiteX15" fmla="*/ 431800 w 1377950"/>
                <a:gd name="connsiteY15" fmla="*/ 831850 h 1035050"/>
                <a:gd name="connsiteX16" fmla="*/ 469900 w 1377950"/>
                <a:gd name="connsiteY16" fmla="*/ 863600 h 1035050"/>
                <a:gd name="connsiteX17" fmla="*/ 495300 w 1377950"/>
                <a:gd name="connsiteY17" fmla="*/ 844550 h 1035050"/>
                <a:gd name="connsiteX18" fmla="*/ 514350 w 1377950"/>
                <a:gd name="connsiteY18" fmla="*/ 831850 h 1035050"/>
                <a:gd name="connsiteX19" fmla="*/ 520700 w 1377950"/>
                <a:gd name="connsiteY19" fmla="*/ 812800 h 1035050"/>
                <a:gd name="connsiteX20" fmla="*/ 584200 w 1377950"/>
                <a:gd name="connsiteY20" fmla="*/ 787400 h 1035050"/>
                <a:gd name="connsiteX21" fmla="*/ 603250 w 1377950"/>
                <a:gd name="connsiteY21" fmla="*/ 749300 h 1035050"/>
                <a:gd name="connsiteX22" fmla="*/ 622300 w 1377950"/>
                <a:gd name="connsiteY22" fmla="*/ 730250 h 1035050"/>
                <a:gd name="connsiteX23" fmla="*/ 647700 w 1377950"/>
                <a:gd name="connsiteY23" fmla="*/ 692150 h 1035050"/>
                <a:gd name="connsiteX24" fmla="*/ 679450 w 1377950"/>
                <a:gd name="connsiteY24" fmla="*/ 698500 h 1035050"/>
                <a:gd name="connsiteX25" fmla="*/ 698500 w 1377950"/>
                <a:gd name="connsiteY25" fmla="*/ 704850 h 1035050"/>
                <a:gd name="connsiteX26" fmla="*/ 717550 w 1377950"/>
                <a:gd name="connsiteY26" fmla="*/ 692150 h 1035050"/>
                <a:gd name="connsiteX27" fmla="*/ 742950 w 1377950"/>
                <a:gd name="connsiteY27" fmla="*/ 654050 h 1035050"/>
                <a:gd name="connsiteX28" fmla="*/ 749300 w 1377950"/>
                <a:gd name="connsiteY28" fmla="*/ 635000 h 1035050"/>
                <a:gd name="connsiteX29" fmla="*/ 787400 w 1377950"/>
                <a:gd name="connsiteY29" fmla="*/ 615950 h 1035050"/>
                <a:gd name="connsiteX30" fmla="*/ 869950 w 1377950"/>
                <a:gd name="connsiteY30" fmla="*/ 615950 h 1035050"/>
                <a:gd name="connsiteX31" fmla="*/ 889000 w 1377950"/>
                <a:gd name="connsiteY31" fmla="*/ 603250 h 1035050"/>
                <a:gd name="connsiteX32" fmla="*/ 895350 w 1377950"/>
                <a:gd name="connsiteY32" fmla="*/ 571500 h 1035050"/>
                <a:gd name="connsiteX33" fmla="*/ 920750 w 1377950"/>
                <a:gd name="connsiteY33" fmla="*/ 565150 h 1035050"/>
                <a:gd name="connsiteX34" fmla="*/ 965200 w 1377950"/>
                <a:gd name="connsiteY34" fmla="*/ 546100 h 1035050"/>
                <a:gd name="connsiteX35" fmla="*/ 1028700 w 1377950"/>
                <a:gd name="connsiteY35" fmla="*/ 533400 h 1035050"/>
                <a:gd name="connsiteX36" fmla="*/ 1066800 w 1377950"/>
                <a:gd name="connsiteY36" fmla="*/ 520700 h 1035050"/>
                <a:gd name="connsiteX37" fmla="*/ 1085850 w 1377950"/>
                <a:gd name="connsiteY37" fmla="*/ 508000 h 1035050"/>
                <a:gd name="connsiteX38" fmla="*/ 1092200 w 1377950"/>
                <a:gd name="connsiteY38" fmla="*/ 469900 h 1035050"/>
                <a:gd name="connsiteX39" fmla="*/ 1073150 w 1377950"/>
                <a:gd name="connsiteY39" fmla="*/ 457200 h 1035050"/>
                <a:gd name="connsiteX40" fmla="*/ 1054100 w 1377950"/>
                <a:gd name="connsiteY40" fmla="*/ 438150 h 1035050"/>
                <a:gd name="connsiteX41" fmla="*/ 1047750 w 1377950"/>
                <a:gd name="connsiteY41" fmla="*/ 381000 h 1035050"/>
                <a:gd name="connsiteX42" fmla="*/ 1085850 w 1377950"/>
                <a:gd name="connsiteY42" fmla="*/ 387350 h 1035050"/>
                <a:gd name="connsiteX43" fmla="*/ 1104900 w 1377950"/>
                <a:gd name="connsiteY43" fmla="*/ 406400 h 1035050"/>
                <a:gd name="connsiteX44" fmla="*/ 1123950 w 1377950"/>
                <a:gd name="connsiteY44" fmla="*/ 412750 h 1035050"/>
                <a:gd name="connsiteX45" fmla="*/ 1174750 w 1377950"/>
                <a:gd name="connsiteY45" fmla="*/ 406400 h 1035050"/>
                <a:gd name="connsiteX46" fmla="*/ 1187450 w 1377950"/>
                <a:gd name="connsiteY46" fmla="*/ 444500 h 1035050"/>
                <a:gd name="connsiteX47" fmla="*/ 1193800 w 1377950"/>
                <a:gd name="connsiteY47" fmla="*/ 463550 h 1035050"/>
                <a:gd name="connsiteX48" fmla="*/ 1200150 w 1377950"/>
                <a:gd name="connsiteY48" fmla="*/ 488950 h 1035050"/>
                <a:gd name="connsiteX49" fmla="*/ 1257300 w 1377950"/>
                <a:gd name="connsiteY49" fmla="*/ 533400 h 1035050"/>
                <a:gd name="connsiteX50" fmla="*/ 1289050 w 1377950"/>
                <a:gd name="connsiteY50" fmla="*/ 527050 h 1035050"/>
                <a:gd name="connsiteX51" fmla="*/ 1308100 w 1377950"/>
                <a:gd name="connsiteY51" fmla="*/ 520700 h 1035050"/>
                <a:gd name="connsiteX52" fmla="*/ 1314450 w 1377950"/>
                <a:gd name="connsiteY52" fmla="*/ 501650 h 1035050"/>
                <a:gd name="connsiteX53" fmla="*/ 1320800 w 1377950"/>
                <a:gd name="connsiteY53" fmla="*/ 419100 h 1035050"/>
                <a:gd name="connsiteX54" fmla="*/ 1333500 w 1377950"/>
                <a:gd name="connsiteY54" fmla="*/ 381000 h 1035050"/>
                <a:gd name="connsiteX55" fmla="*/ 1352550 w 1377950"/>
                <a:gd name="connsiteY55" fmla="*/ 342900 h 1035050"/>
                <a:gd name="connsiteX56" fmla="*/ 1365250 w 1377950"/>
                <a:gd name="connsiteY56" fmla="*/ 266700 h 1035050"/>
                <a:gd name="connsiteX57" fmla="*/ 1377950 w 1377950"/>
                <a:gd name="connsiteY57" fmla="*/ 222250 h 1035050"/>
                <a:gd name="connsiteX58" fmla="*/ 1358900 w 1377950"/>
                <a:gd name="connsiteY58" fmla="*/ 171450 h 1035050"/>
                <a:gd name="connsiteX59" fmla="*/ 1339850 w 1377950"/>
                <a:gd name="connsiteY59" fmla="*/ 158750 h 1035050"/>
                <a:gd name="connsiteX60" fmla="*/ 1327150 w 1377950"/>
                <a:gd name="connsiteY60" fmla="*/ 101600 h 1035050"/>
                <a:gd name="connsiteX61" fmla="*/ 1320800 w 1377950"/>
                <a:gd name="connsiteY61" fmla="*/ 82550 h 1035050"/>
                <a:gd name="connsiteX62" fmla="*/ 1282700 w 1377950"/>
                <a:gd name="connsiteY62" fmla="*/ 69850 h 1035050"/>
                <a:gd name="connsiteX63" fmla="*/ 1263650 w 1377950"/>
                <a:gd name="connsiteY63" fmla="*/ 63500 h 1035050"/>
                <a:gd name="connsiteX64" fmla="*/ 1244600 w 1377950"/>
                <a:gd name="connsiteY64" fmla="*/ 57150 h 1035050"/>
                <a:gd name="connsiteX65" fmla="*/ 1225550 w 1377950"/>
                <a:gd name="connsiteY65" fmla="*/ 44450 h 1035050"/>
                <a:gd name="connsiteX66" fmla="*/ 1206500 w 1377950"/>
                <a:gd name="connsiteY66" fmla="*/ 25400 h 1035050"/>
                <a:gd name="connsiteX67" fmla="*/ 1123950 w 1377950"/>
                <a:gd name="connsiteY67" fmla="*/ 19050 h 1035050"/>
                <a:gd name="connsiteX68" fmla="*/ 1085850 w 1377950"/>
                <a:gd name="connsiteY68" fmla="*/ 25400 h 1035050"/>
                <a:gd name="connsiteX69" fmla="*/ 1066800 w 1377950"/>
                <a:gd name="connsiteY69" fmla="*/ 44450 h 1035050"/>
                <a:gd name="connsiteX70" fmla="*/ 1047750 w 1377950"/>
                <a:gd name="connsiteY70" fmla="*/ 50800 h 1035050"/>
                <a:gd name="connsiteX71" fmla="*/ 1009650 w 1377950"/>
                <a:gd name="connsiteY71" fmla="*/ 44450 h 1035050"/>
                <a:gd name="connsiteX72" fmla="*/ 990600 w 1377950"/>
                <a:gd name="connsiteY72" fmla="*/ 31750 h 1035050"/>
                <a:gd name="connsiteX73" fmla="*/ 958850 w 1377950"/>
                <a:gd name="connsiteY73" fmla="*/ 38100 h 1035050"/>
                <a:gd name="connsiteX74" fmla="*/ 939800 w 1377950"/>
                <a:gd name="connsiteY74" fmla="*/ 50800 h 1035050"/>
                <a:gd name="connsiteX75" fmla="*/ 933450 w 1377950"/>
                <a:gd name="connsiteY75" fmla="*/ 69850 h 1035050"/>
                <a:gd name="connsiteX76" fmla="*/ 914400 w 1377950"/>
                <a:gd name="connsiteY76" fmla="*/ 107950 h 1035050"/>
                <a:gd name="connsiteX77" fmla="*/ 889000 w 1377950"/>
                <a:gd name="connsiteY77" fmla="*/ 146050 h 1035050"/>
                <a:gd name="connsiteX78" fmla="*/ 774700 w 1377950"/>
                <a:gd name="connsiteY78" fmla="*/ 152400 h 1035050"/>
                <a:gd name="connsiteX79" fmla="*/ 685800 w 1377950"/>
                <a:gd name="connsiteY79" fmla="*/ 158750 h 1035050"/>
                <a:gd name="connsiteX80" fmla="*/ 654050 w 1377950"/>
                <a:gd name="connsiteY80" fmla="*/ 133350 h 1035050"/>
                <a:gd name="connsiteX81" fmla="*/ 615950 w 1377950"/>
                <a:gd name="connsiteY81" fmla="*/ 146050 h 1035050"/>
                <a:gd name="connsiteX82" fmla="*/ 571500 w 1377950"/>
                <a:gd name="connsiteY82" fmla="*/ 165100 h 1035050"/>
                <a:gd name="connsiteX83" fmla="*/ 552450 w 1377950"/>
                <a:gd name="connsiteY83" fmla="*/ 152400 h 1035050"/>
                <a:gd name="connsiteX84" fmla="*/ 552450 w 1377950"/>
                <a:gd name="connsiteY84" fmla="*/ 95250 h 1035050"/>
                <a:gd name="connsiteX85" fmla="*/ 546100 w 1377950"/>
                <a:gd name="connsiteY85" fmla="*/ 50800 h 1035050"/>
                <a:gd name="connsiteX86" fmla="*/ 533400 w 1377950"/>
                <a:gd name="connsiteY86" fmla="*/ 31750 h 1035050"/>
                <a:gd name="connsiteX87" fmla="*/ 495300 w 1377950"/>
                <a:gd name="connsiteY87" fmla="*/ 19050 h 1035050"/>
                <a:gd name="connsiteX88" fmla="*/ 476250 w 1377950"/>
                <a:gd name="connsiteY88" fmla="*/ 6350 h 1035050"/>
                <a:gd name="connsiteX89" fmla="*/ 457200 w 1377950"/>
                <a:gd name="connsiteY89" fmla="*/ 12700 h 1035050"/>
                <a:gd name="connsiteX90" fmla="*/ 393700 w 1377950"/>
                <a:gd name="connsiteY90" fmla="*/ 19050 h 1035050"/>
                <a:gd name="connsiteX91" fmla="*/ 355600 w 1377950"/>
                <a:gd name="connsiteY91" fmla="*/ 6350 h 1035050"/>
                <a:gd name="connsiteX92" fmla="*/ 336550 w 1377950"/>
                <a:gd name="connsiteY92" fmla="*/ 0 h 1035050"/>
                <a:gd name="connsiteX93" fmla="*/ 298450 w 1377950"/>
                <a:gd name="connsiteY93" fmla="*/ 12700 h 1035050"/>
                <a:gd name="connsiteX94" fmla="*/ 285750 w 1377950"/>
                <a:gd name="connsiteY94" fmla="*/ 31750 h 1035050"/>
                <a:gd name="connsiteX95" fmla="*/ 215900 w 1377950"/>
                <a:gd name="connsiteY95" fmla="*/ 50800 h 1035050"/>
                <a:gd name="connsiteX96" fmla="*/ 196850 w 1377950"/>
                <a:gd name="connsiteY96" fmla="*/ 57150 h 1035050"/>
                <a:gd name="connsiteX97" fmla="*/ 146050 w 1377950"/>
                <a:gd name="connsiteY97" fmla="*/ 69850 h 1035050"/>
                <a:gd name="connsiteX98" fmla="*/ 101600 w 1377950"/>
                <a:gd name="connsiteY98" fmla="*/ 114300 h 1035050"/>
                <a:gd name="connsiteX99" fmla="*/ 101600 w 1377950"/>
                <a:gd name="connsiteY99" fmla="*/ 241300 h 1035050"/>
                <a:gd name="connsiteX100" fmla="*/ 114300 w 1377950"/>
                <a:gd name="connsiteY100" fmla="*/ 279400 h 1035050"/>
                <a:gd name="connsiteX101" fmla="*/ 127000 w 1377950"/>
                <a:gd name="connsiteY101" fmla="*/ 330200 h 1035050"/>
                <a:gd name="connsiteX102" fmla="*/ 133350 w 1377950"/>
                <a:gd name="connsiteY102" fmla="*/ 387350 h 1035050"/>
                <a:gd name="connsiteX103" fmla="*/ 152400 w 1377950"/>
                <a:gd name="connsiteY103" fmla="*/ 400050 h 1035050"/>
                <a:gd name="connsiteX104" fmla="*/ 234950 w 1377950"/>
                <a:gd name="connsiteY104" fmla="*/ 412750 h 1035050"/>
                <a:gd name="connsiteX105" fmla="*/ 273050 w 1377950"/>
                <a:gd name="connsiteY105" fmla="*/ 431800 h 1035050"/>
                <a:gd name="connsiteX106" fmla="*/ 285750 w 1377950"/>
                <a:gd name="connsiteY106" fmla="*/ 450850 h 1035050"/>
                <a:gd name="connsiteX107" fmla="*/ 292100 w 1377950"/>
                <a:gd name="connsiteY107" fmla="*/ 469900 h 1035050"/>
                <a:gd name="connsiteX108" fmla="*/ 311150 w 1377950"/>
                <a:gd name="connsiteY108" fmla="*/ 476250 h 1035050"/>
                <a:gd name="connsiteX109" fmla="*/ 323850 w 1377950"/>
                <a:gd name="connsiteY109" fmla="*/ 514350 h 1035050"/>
                <a:gd name="connsiteX110" fmla="*/ 304800 w 1377950"/>
                <a:gd name="connsiteY110" fmla="*/ 527050 h 1035050"/>
                <a:gd name="connsiteX111" fmla="*/ 266700 w 1377950"/>
                <a:gd name="connsiteY111" fmla="*/ 539750 h 1035050"/>
                <a:gd name="connsiteX112" fmla="*/ 247650 w 1377950"/>
                <a:gd name="connsiteY112" fmla="*/ 552450 h 1035050"/>
                <a:gd name="connsiteX113" fmla="*/ 241300 w 1377950"/>
                <a:gd name="connsiteY113" fmla="*/ 571500 h 1035050"/>
                <a:gd name="connsiteX114" fmla="*/ 165100 w 1377950"/>
                <a:gd name="connsiteY114" fmla="*/ 590550 h 1035050"/>
                <a:gd name="connsiteX115" fmla="*/ 146050 w 1377950"/>
                <a:gd name="connsiteY115" fmla="*/ 609600 h 1035050"/>
                <a:gd name="connsiteX116" fmla="*/ 158750 w 1377950"/>
                <a:gd name="connsiteY116" fmla="*/ 679450 h 1035050"/>
                <a:gd name="connsiteX117" fmla="*/ 171450 w 1377950"/>
                <a:gd name="connsiteY117" fmla="*/ 698500 h 1035050"/>
                <a:gd name="connsiteX118" fmla="*/ 165100 w 1377950"/>
                <a:gd name="connsiteY118" fmla="*/ 723900 h 1035050"/>
                <a:gd name="connsiteX119" fmla="*/ 127000 w 1377950"/>
                <a:gd name="connsiteY119" fmla="*/ 742950 h 1035050"/>
                <a:gd name="connsiteX120" fmla="*/ 95250 w 1377950"/>
                <a:gd name="connsiteY120" fmla="*/ 774700 h 1035050"/>
                <a:gd name="connsiteX121" fmla="*/ 63500 w 1377950"/>
                <a:gd name="connsiteY121" fmla="*/ 768350 h 1035050"/>
                <a:gd name="connsiteX122" fmla="*/ 19050 w 1377950"/>
                <a:gd name="connsiteY122" fmla="*/ 736600 h 1035050"/>
                <a:gd name="connsiteX123" fmla="*/ 6350 w 1377950"/>
                <a:gd name="connsiteY123" fmla="*/ 774700 h 1035050"/>
                <a:gd name="connsiteX124" fmla="*/ 0 w 1377950"/>
                <a:gd name="connsiteY124" fmla="*/ 793750 h 1035050"/>
                <a:gd name="connsiteX125" fmla="*/ 19050 w 1377950"/>
                <a:gd name="connsiteY125" fmla="*/ 806450 h 1035050"/>
                <a:gd name="connsiteX126" fmla="*/ 38100 w 1377950"/>
                <a:gd name="connsiteY126" fmla="*/ 844550 h 1035050"/>
                <a:gd name="connsiteX127" fmla="*/ 38100 w 1377950"/>
                <a:gd name="connsiteY127" fmla="*/ 914400 h 1035050"/>
                <a:gd name="connsiteX128" fmla="*/ 57150 w 1377950"/>
                <a:gd name="connsiteY128" fmla="*/ 927100 h 1035050"/>
                <a:gd name="connsiteX129" fmla="*/ 114300 w 1377950"/>
                <a:gd name="connsiteY129" fmla="*/ 939800 h 10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1377950" h="1035050">
                  <a:moveTo>
                    <a:pt x="63500" y="914400"/>
                  </a:moveTo>
                  <a:cubicBezTo>
                    <a:pt x="81464" y="927873"/>
                    <a:pt x="90522" y="939800"/>
                    <a:pt x="114300" y="939800"/>
                  </a:cubicBezTo>
                  <a:cubicBezTo>
                    <a:pt x="120993" y="939800"/>
                    <a:pt x="127000" y="935567"/>
                    <a:pt x="133350" y="933450"/>
                  </a:cubicBezTo>
                  <a:cubicBezTo>
                    <a:pt x="150283" y="939094"/>
                    <a:pt x="161937" y="939824"/>
                    <a:pt x="171450" y="958850"/>
                  </a:cubicBezTo>
                  <a:cubicBezTo>
                    <a:pt x="176277" y="968503"/>
                    <a:pt x="175459" y="980064"/>
                    <a:pt x="177800" y="990600"/>
                  </a:cubicBezTo>
                  <a:cubicBezTo>
                    <a:pt x="183116" y="1014520"/>
                    <a:pt x="183429" y="1013836"/>
                    <a:pt x="190500" y="1035050"/>
                  </a:cubicBezTo>
                  <a:cubicBezTo>
                    <a:pt x="196850" y="1032933"/>
                    <a:pt x="204323" y="1032881"/>
                    <a:pt x="209550" y="1028700"/>
                  </a:cubicBezTo>
                  <a:cubicBezTo>
                    <a:pt x="220741" y="1019748"/>
                    <a:pt x="224417" y="1003149"/>
                    <a:pt x="228600" y="990600"/>
                  </a:cubicBezTo>
                  <a:cubicBezTo>
                    <a:pt x="226483" y="982133"/>
                    <a:pt x="222250" y="973927"/>
                    <a:pt x="222250" y="965200"/>
                  </a:cubicBezTo>
                  <a:cubicBezTo>
                    <a:pt x="222250" y="947490"/>
                    <a:pt x="235827" y="901408"/>
                    <a:pt x="254000" y="895350"/>
                  </a:cubicBezTo>
                  <a:lnTo>
                    <a:pt x="273050" y="889000"/>
                  </a:lnTo>
                  <a:cubicBezTo>
                    <a:pt x="279400" y="884767"/>
                    <a:pt x="285274" y="879713"/>
                    <a:pt x="292100" y="876300"/>
                  </a:cubicBezTo>
                  <a:cubicBezTo>
                    <a:pt x="302770" y="870965"/>
                    <a:pt x="326377" y="866652"/>
                    <a:pt x="336550" y="863600"/>
                  </a:cubicBezTo>
                  <a:cubicBezTo>
                    <a:pt x="349372" y="859753"/>
                    <a:pt x="374650" y="850900"/>
                    <a:pt x="374650" y="850900"/>
                  </a:cubicBezTo>
                  <a:cubicBezTo>
                    <a:pt x="386104" y="839446"/>
                    <a:pt x="394370" y="825500"/>
                    <a:pt x="412750" y="825500"/>
                  </a:cubicBezTo>
                  <a:cubicBezTo>
                    <a:pt x="419443" y="825500"/>
                    <a:pt x="425450" y="829733"/>
                    <a:pt x="431800" y="831850"/>
                  </a:cubicBezTo>
                  <a:cubicBezTo>
                    <a:pt x="434141" y="834191"/>
                    <a:pt x="462164" y="864705"/>
                    <a:pt x="469900" y="863600"/>
                  </a:cubicBezTo>
                  <a:cubicBezTo>
                    <a:pt x="480377" y="862103"/>
                    <a:pt x="486688" y="850701"/>
                    <a:pt x="495300" y="844550"/>
                  </a:cubicBezTo>
                  <a:cubicBezTo>
                    <a:pt x="501510" y="840114"/>
                    <a:pt x="508000" y="836083"/>
                    <a:pt x="514350" y="831850"/>
                  </a:cubicBezTo>
                  <a:cubicBezTo>
                    <a:pt x="516467" y="825500"/>
                    <a:pt x="517707" y="818787"/>
                    <a:pt x="520700" y="812800"/>
                  </a:cubicBezTo>
                  <a:cubicBezTo>
                    <a:pt x="536955" y="780290"/>
                    <a:pt x="539044" y="793044"/>
                    <a:pt x="584200" y="787400"/>
                  </a:cubicBezTo>
                  <a:cubicBezTo>
                    <a:pt x="590564" y="768307"/>
                    <a:pt x="589573" y="765713"/>
                    <a:pt x="603250" y="749300"/>
                  </a:cubicBezTo>
                  <a:cubicBezTo>
                    <a:pt x="608999" y="742401"/>
                    <a:pt x="616787" y="737339"/>
                    <a:pt x="622300" y="730250"/>
                  </a:cubicBezTo>
                  <a:cubicBezTo>
                    <a:pt x="631671" y="718202"/>
                    <a:pt x="647700" y="692150"/>
                    <a:pt x="647700" y="692150"/>
                  </a:cubicBezTo>
                  <a:cubicBezTo>
                    <a:pt x="658283" y="694267"/>
                    <a:pt x="668979" y="695882"/>
                    <a:pt x="679450" y="698500"/>
                  </a:cubicBezTo>
                  <a:cubicBezTo>
                    <a:pt x="685944" y="700123"/>
                    <a:pt x="691898" y="705950"/>
                    <a:pt x="698500" y="704850"/>
                  </a:cubicBezTo>
                  <a:cubicBezTo>
                    <a:pt x="706028" y="703595"/>
                    <a:pt x="711200" y="696383"/>
                    <a:pt x="717550" y="692150"/>
                  </a:cubicBezTo>
                  <a:lnTo>
                    <a:pt x="742950" y="654050"/>
                  </a:lnTo>
                  <a:cubicBezTo>
                    <a:pt x="746663" y="648481"/>
                    <a:pt x="745119" y="640227"/>
                    <a:pt x="749300" y="635000"/>
                  </a:cubicBezTo>
                  <a:cubicBezTo>
                    <a:pt x="758252" y="623809"/>
                    <a:pt x="774851" y="620133"/>
                    <a:pt x="787400" y="615950"/>
                  </a:cubicBezTo>
                  <a:cubicBezTo>
                    <a:pt x="823727" y="623215"/>
                    <a:pt x="827662" y="627483"/>
                    <a:pt x="869950" y="615950"/>
                  </a:cubicBezTo>
                  <a:cubicBezTo>
                    <a:pt x="877313" y="613942"/>
                    <a:pt x="882650" y="607483"/>
                    <a:pt x="889000" y="603250"/>
                  </a:cubicBezTo>
                  <a:cubicBezTo>
                    <a:pt x="891117" y="592667"/>
                    <a:pt x="888441" y="579791"/>
                    <a:pt x="895350" y="571500"/>
                  </a:cubicBezTo>
                  <a:cubicBezTo>
                    <a:pt x="900937" y="564796"/>
                    <a:pt x="912578" y="568214"/>
                    <a:pt x="920750" y="565150"/>
                  </a:cubicBezTo>
                  <a:cubicBezTo>
                    <a:pt x="951150" y="553750"/>
                    <a:pt x="937868" y="552407"/>
                    <a:pt x="965200" y="546100"/>
                  </a:cubicBezTo>
                  <a:cubicBezTo>
                    <a:pt x="986233" y="541246"/>
                    <a:pt x="1008222" y="540226"/>
                    <a:pt x="1028700" y="533400"/>
                  </a:cubicBezTo>
                  <a:lnTo>
                    <a:pt x="1066800" y="520700"/>
                  </a:lnTo>
                  <a:cubicBezTo>
                    <a:pt x="1073150" y="516467"/>
                    <a:pt x="1080454" y="513396"/>
                    <a:pt x="1085850" y="508000"/>
                  </a:cubicBezTo>
                  <a:cubicBezTo>
                    <a:pt x="1098139" y="495711"/>
                    <a:pt x="1104580" y="485376"/>
                    <a:pt x="1092200" y="469900"/>
                  </a:cubicBezTo>
                  <a:cubicBezTo>
                    <a:pt x="1087432" y="463941"/>
                    <a:pt x="1079013" y="462086"/>
                    <a:pt x="1073150" y="457200"/>
                  </a:cubicBezTo>
                  <a:cubicBezTo>
                    <a:pt x="1066251" y="451451"/>
                    <a:pt x="1060450" y="444500"/>
                    <a:pt x="1054100" y="438150"/>
                  </a:cubicBezTo>
                  <a:cubicBezTo>
                    <a:pt x="1039283" y="393700"/>
                    <a:pt x="1037167" y="412750"/>
                    <a:pt x="1047750" y="381000"/>
                  </a:cubicBezTo>
                  <a:cubicBezTo>
                    <a:pt x="1060450" y="383117"/>
                    <a:pt x="1074085" y="382121"/>
                    <a:pt x="1085850" y="387350"/>
                  </a:cubicBezTo>
                  <a:cubicBezTo>
                    <a:pt x="1094056" y="390997"/>
                    <a:pt x="1097428" y="401419"/>
                    <a:pt x="1104900" y="406400"/>
                  </a:cubicBezTo>
                  <a:cubicBezTo>
                    <a:pt x="1110469" y="410113"/>
                    <a:pt x="1117600" y="410633"/>
                    <a:pt x="1123950" y="412750"/>
                  </a:cubicBezTo>
                  <a:cubicBezTo>
                    <a:pt x="1136525" y="406463"/>
                    <a:pt x="1159187" y="388244"/>
                    <a:pt x="1174750" y="406400"/>
                  </a:cubicBezTo>
                  <a:cubicBezTo>
                    <a:pt x="1183462" y="416564"/>
                    <a:pt x="1183217" y="431800"/>
                    <a:pt x="1187450" y="444500"/>
                  </a:cubicBezTo>
                  <a:cubicBezTo>
                    <a:pt x="1189567" y="450850"/>
                    <a:pt x="1192177" y="457056"/>
                    <a:pt x="1193800" y="463550"/>
                  </a:cubicBezTo>
                  <a:cubicBezTo>
                    <a:pt x="1195917" y="472017"/>
                    <a:pt x="1195145" y="481800"/>
                    <a:pt x="1200150" y="488950"/>
                  </a:cubicBezTo>
                  <a:cubicBezTo>
                    <a:pt x="1226222" y="526196"/>
                    <a:pt x="1227458" y="523453"/>
                    <a:pt x="1257300" y="533400"/>
                  </a:cubicBezTo>
                  <a:cubicBezTo>
                    <a:pt x="1267883" y="531283"/>
                    <a:pt x="1278579" y="529668"/>
                    <a:pt x="1289050" y="527050"/>
                  </a:cubicBezTo>
                  <a:cubicBezTo>
                    <a:pt x="1295544" y="525427"/>
                    <a:pt x="1303367" y="525433"/>
                    <a:pt x="1308100" y="520700"/>
                  </a:cubicBezTo>
                  <a:cubicBezTo>
                    <a:pt x="1312833" y="515967"/>
                    <a:pt x="1312333" y="508000"/>
                    <a:pt x="1314450" y="501650"/>
                  </a:cubicBezTo>
                  <a:cubicBezTo>
                    <a:pt x="1316567" y="474133"/>
                    <a:pt x="1316496" y="446360"/>
                    <a:pt x="1320800" y="419100"/>
                  </a:cubicBezTo>
                  <a:cubicBezTo>
                    <a:pt x="1322888" y="405877"/>
                    <a:pt x="1329267" y="393700"/>
                    <a:pt x="1333500" y="381000"/>
                  </a:cubicBezTo>
                  <a:cubicBezTo>
                    <a:pt x="1342263" y="354710"/>
                    <a:pt x="1336137" y="367519"/>
                    <a:pt x="1352550" y="342900"/>
                  </a:cubicBezTo>
                  <a:cubicBezTo>
                    <a:pt x="1366840" y="285740"/>
                    <a:pt x="1350385" y="355890"/>
                    <a:pt x="1365250" y="266700"/>
                  </a:cubicBezTo>
                  <a:cubicBezTo>
                    <a:pt x="1367908" y="250753"/>
                    <a:pt x="1372917" y="237349"/>
                    <a:pt x="1377950" y="222250"/>
                  </a:cubicBezTo>
                  <a:cubicBezTo>
                    <a:pt x="1373407" y="199533"/>
                    <a:pt x="1375251" y="187801"/>
                    <a:pt x="1358900" y="171450"/>
                  </a:cubicBezTo>
                  <a:cubicBezTo>
                    <a:pt x="1353504" y="166054"/>
                    <a:pt x="1346200" y="162983"/>
                    <a:pt x="1339850" y="158750"/>
                  </a:cubicBezTo>
                  <a:cubicBezTo>
                    <a:pt x="1325555" y="115866"/>
                    <a:pt x="1342051" y="168654"/>
                    <a:pt x="1327150" y="101600"/>
                  </a:cubicBezTo>
                  <a:cubicBezTo>
                    <a:pt x="1325698" y="95066"/>
                    <a:pt x="1326247" y="86441"/>
                    <a:pt x="1320800" y="82550"/>
                  </a:cubicBezTo>
                  <a:cubicBezTo>
                    <a:pt x="1309907" y="74769"/>
                    <a:pt x="1295400" y="74083"/>
                    <a:pt x="1282700" y="69850"/>
                  </a:cubicBezTo>
                  <a:lnTo>
                    <a:pt x="1263650" y="63500"/>
                  </a:lnTo>
                  <a:lnTo>
                    <a:pt x="1244600" y="57150"/>
                  </a:lnTo>
                  <a:cubicBezTo>
                    <a:pt x="1238250" y="52917"/>
                    <a:pt x="1231413" y="49336"/>
                    <a:pt x="1225550" y="44450"/>
                  </a:cubicBezTo>
                  <a:cubicBezTo>
                    <a:pt x="1218651" y="38701"/>
                    <a:pt x="1215212" y="27578"/>
                    <a:pt x="1206500" y="25400"/>
                  </a:cubicBezTo>
                  <a:cubicBezTo>
                    <a:pt x="1179726" y="18707"/>
                    <a:pt x="1151467" y="21167"/>
                    <a:pt x="1123950" y="19050"/>
                  </a:cubicBezTo>
                  <a:cubicBezTo>
                    <a:pt x="1111250" y="21167"/>
                    <a:pt x="1097615" y="20171"/>
                    <a:pt x="1085850" y="25400"/>
                  </a:cubicBezTo>
                  <a:cubicBezTo>
                    <a:pt x="1077644" y="29047"/>
                    <a:pt x="1074272" y="39469"/>
                    <a:pt x="1066800" y="44450"/>
                  </a:cubicBezTo>
                  <a:cubicBezTo>
                    <a:pt x="1061231" y="48163"/>
                    <a:pt x="1054100" y="48683"/>
                    <a:pt x="1047750" y="50800"/>
                  </a:cubicBezTo>
                  <a:cubicBezTo>
                    <a:pt x="1035050" y="48683"/>
                    <a:pt x="1021864" y="48521"/>
                    <a:pt x="1009650" y="44450"/>
                  </a:cubicBezTo>
                  <a:cubicBezTo>
                    <a:pt x="1002410" y="42037"/>
                    <a:pt x="998173" y="32697"/>
                    <a:pt x="990600" y="31750"/>
                  </a:cubicBezTo>
                  <a:cubicBezTo>
                    <a:pt x="979890" y="30411"/>
                    <a:pt x="969433" y="35983"/>
                    <a:pt x="958850" y="38100"/>
                  </a:cubicBezTo>
                  <a:cubicBezTo>
                    <a:pt x="952500" y="42333"/>
                    <a:pt x="944568" y="44841"/>
                    <a:pt x="939800" y="50800"/>
                  </a:cubicBezTo>
                  <a:cubicBezTo>
                    <a:pt x="935619" y="56027"/>
                    <a:pt x="936443" y="63863"/>
                    <a:pt x="933450" y="69850"/>
                  </a:cubicBezTo>
                  <a:cubicBezTo>
                    <a:pt x="917930" y="100890"/>
                    <a:pt x="922380" y="76028"/>
                    <a:pt x="914400" y="107950"/>
                  </a:cubicBezTo>
                  <a:cubicBezTo>
                    <a:pt x="907655" y="134932"/>
                    <a:pt x="917720" y="143315"/>
                    <a:pt x="889000" y="146050"/>
                  </a:cubicBezTo>
                  <a:cubicBezTo>
                    <a:pt x="851013" y="149668"/>
                    <a:pt x="812800" y="150283"/>
                    <a:pt x="774700" y="152400"/>
                  </a:cubicBezTo>
                  <a:cubicBezTo>
                    <a:pt x="711409" y="168223"/>
                    <a:pt x="741117" y="167969"/>
                    <a:pt x="685800" y="158750"/>
                  </a:cubicBezTo>
                  <a:cubicBezTo>
                    <a:pt x="677656" y="146534"/>
                    <a:pt x="673088" y="131235"/>
                    <a:pt x="654050" y="133350"/>
                  </a:cubicBezTo>
                  <a:cubicBezTo>
                    <a:pt x="640745" y="134828"/>
                    <a:pt x="615950" y="146050"/>
                    <a:pt x="615950" y="146050"/>
                  </a:cubicBezTo>
                  <a:cubicBezTo>
                    <a:pt x="603560" y="154310"/>
                    <a:pt x="588384" y="167512"/>
                    <a:pt x="571500" y="165100"/>
                  </a:cubicBezTo>
                  <a:cubicBezTo>
                    <a:pt x="563945" y="164021"/>
                    <a:pt x="558800" y="156633"/>
                    <a:pt x="552450" y="152400"/>
                  </a:cubicBezTo>
                  <a:cubicBezTo>
                    <a:pt x="538155" y="109516"/>
                    <a:pt x="552450" y="162304"/>
                    <a:pt x="552450" y="95250"/>
                  </a:cubicBezTo>
                  <a:cubicBezTo>
                    <a:pt x="552450" y="80283"/>
                    <a:pt x="550401" y="65136"/>
                    <a:pt x="546100" y="50800"/>
                  </a:cubicBezTo>
                  <a:cubicBezTo>
                    <a:pt x="543907" y="43490"/>
                    <a:pt x="539872" y="35795"/>
                    <a:pt x="533400" y="31750"/>
                  </a:cubicBezTo>
                  <a:cubicBezTo>
                    <a:pt x="522048" y="24655"/>
                    <a:pt x="495300" y="19050"/>
                    <a:pt x="495300" y="19050"/>
                  </a:cubicBezTo>
                  <a:cubicBezTo>
                    <a:pt x="488950" y="14817"/>
                    <a:pt x="483778" y="7605"/>
                    <a:pt x="476250" y="6350"/>
                  </a:cubicBezTo>
                  <a:cubicBezTo>
                    <a:pt x="469648" y="5250"/>
                    <a:pt x="463816" y="11682"/>
                    <a:pt x="457200" y="12700"/>
                  </a:cubicBezTo>
                  <a:cubicBezTo>
                    <a:pt x="436175" y="15935"/>
                    <a:pt x="414867" y="16933"/>
                    <a:pt x="393700" y="19050"/>
                  </a:cubicBezTo>
                  <a:lnTo>
                    <a:pt x="355600" y="6350"/>
                  </a:lnTo>
                  <a:lnTo>
                    <a:pt x="336550" y="0"/>
                  </a:lnTo>
                  <a:cubicBezTo>
                    <a:pt x="323850" y="4233"/>
                    <a:pt x="305876" y="1561"/>
                    <a:pt x="298450" y="12700"/>
                  </a:cubicBezTo>
                  <a:cubicBezTo>
                    <a:pt x="294217" y="19050"/>
                    <a:pt x="292222" y="27705"/>
                    <a:pt x="285750" y="31750"/>
                  </a:cubicBezTo>
                  <a:cubicBezTo>
                    <a:pt x="267586" y="43102"/>
                    <a:pt x="236449" y="45663"/>
                    <a:pt x="215900" y="50800"/>
                  </a:cubicBezTo>
                  <a:cubicBezTo>
                    <a:pt x="209406" y="52423"/>
                    <a:pt x="203308" y="55389"/>
                    <a:pt x="196850" y="57150"/>
                  </a:cubicBezTo>
                  <a:cubicBezTo>
                    <a:pt x="180011" y="61743"/>
                    <a:pt x="146050" y="69850"/>
                    <a:pt x="146050" y="69850"/>
                  </a:cubicBezTo>
                  <a:cubicBezTo>
                    <a:pt x="102381" y="98963"/>
                    <a:pt x="112777" y="80770"/>
                    <a:pt x="101600" y="114300"/>
                  </a:cubicBezTo>
                  <a:cubicBezTo>
                    <a:pt x="95079" y="172993"/>
                    <a:pt x="90575" y="178823"/>
                    <a:pt x="101600" y="241300"/>
                  </a:cubicBezTo>
                  <a:cubicBezTo>
                    <a:pt x="103926" y="254483"/>
                    <a:pt x="111053" y="266413"/>
                    <a:pt x="114300" y="279400"/>
                  </a:cubicBezTo>
                  <a:lnTo>
                    <a:pt x="127000" y="330200"/>
                  </a:lnTo>
                  <a:cubicBezTo>
                    <a:pt x="129117" y="349250"/>
                    <a:pt x="126800" y="369337"/>
                    <a:pt x="133350" y="387350"/>
                  </a:cubicBezTo>
                  <a:cubicBezTo>
                    <a:pt x="135958" y="394522"/>
                    <a:pt x="145574" y="396637"/>
                    <a:pt x="152400" y="400050"/>
                  </a:cubicBezTo>
                  <a:cubicBezTo>
                    <a:pt x="175285" y="411492"/>
                    <a:pt x="216738" y="410929"/>
                    <a:pt x="234950" y="412750"/>
                  </a:cubicBezTo>
                  <a:cubicBezTo>
                    <a:pt x="250444" y="417915"/>
                    <a:pt x="260740" y="419490"/>
                    <a:pt x="273050" y="431800"/>
                  </a:cubicBezTo>
                  <a:cubicBezTo>
                    <a:pt x="278446" y="437196"/>
                    <a:pt x="282337" y="444024"/>
                    <a:pt x="285750" y="450850"/>
                  </a:cubicBezTo>
                  <a:cubicBezTo>
                    <a:pt x="288743" y="456837"/>
                    <a:pt x="287367" y="465167"/>
                    <a:pt x="292100" y="469900"/>
                  </a:cubicBezTo>
                  <a:cubicBezTo>
                    <a:pt x="296833" y="474633"/>
                    <a:pt x="304800" y="474133"/>
                    <a:pt x="311150" y="476250"/>
                  </a:cubicBezTo>
                  <a:cubicBezTo>
                    <a:pt x="325343" y="490443"/>
                    <a:pt x="340187" y="493928"/>
                    <a:pt x="323850" y="514350"/>
                  </a:cubicBezTo>
                  <a:cubicBezTo>
                    <a:pt x="319082" y="520309"/>
                    <a:pt x="311774" y="523950"/>
                    <a:pt x="304800" y="527050"/>
                  </a:cubicBezTo>
                  <a:cubicBezTo>
                    <a:pt x="292567" y="532487"/>
                    <a:pt x="266700" y="539750"/>
                    <a:pt x="266700" y="539750"/>
                  </a:cubicBezTo>
                  <a:cubicBezTo>
                    <a:pt x="260350" y="543983"/>
                    <a:pt x="252418" y="546491"/>
                    <a:pt x="247650" y="552450"/>
                  </a:cubicBezTo>
                  <a:cubicBezTo>
                    <a:pt x="243469" y="557677"/>
                    <a:pt x="246747" y="567609"/>
                    <a:pt x="241300" y="571500"/>
                  </a:cubicBezTo>
                  <a:cubicBezTo>
                    <a:pt x="225987" y="582438"/>
                    <a:pt x="182742" y="587610"/>
                    <a:pt x="165100" y="590550"/>
                  </a:cubicBezTo>
                  <a:cubicBezTo>
                    <a:pt x="158750" y="596900"/>
                    <a:pt x="147656" y="600765"/>
                    <a:pt x="146050" y="609600"/>
                  </a:cubicBezTo>
                  <a:cubicBezTo>
                    <a:pt x="144299" y="619231"/>
                    <a:pt x="150507" y="662963"/>
                    <a:pt x="158750" y="679450"/>
                  </a:cubicBezTo>
                  <a:cubicBezTo>
                    <a:pt x="162163" y="686276"/>
                    <a:pt x="167217" y="692150"/>
                    <a:pt x="171450" y="698500"/>
                  </a:cubicBezTo>
                  <a:cubicBezTo>
                    <a:pt x="169333" y="706967"/>
                    <a:pt x="169941" y="716638"/>
                    <a:pt x="165100" y="723900"/>
                  </a:cubicBezTo>
                  <a:cubicBezTo>
                    <a:pt x="158066" y="734451"/>
                    <a:pt x="137867" y="739328"/>
                    <a:pt x="127000" y="742950"/>
                  </a:cubicBezTo>
                  <a:cubicBezTo>
                    <a:pt x="120073" y="753341"/>
                    <a:pt x="110644" y="772776"/>
                    <a:pt x="95250" y="774700"/>
                  </a:cubicBezTo>
                  <a:cubicBezTo>
                    <a:pt x="84540" y="776039"/>
                    <a:pt x="74083" y="770467"/>
                    <a:pt x="63500" y="768350"/>
                  </a:cubicBezTo>
                  <a:cubicBezTo>
                    <a:pt x="59958" y="764808"/>
                    <a:pt x="29080" y="729914"/>
                    <a:pt x="19050" y="736600"/>
                  </a:cubicBezTo>
                  <a:cubicBezTo>
                    <a:pt x="7911" y="744026"/>
                    <a:pt x="10583" y="762000"/>
                    <a:pt x="6350" y="774700"/>
                  </a:cubicBezTo>
                  <a:lnTo>
                    <a:pt x="0" y="793750"/>
                  </a:lnTo>
                  <a:cubicBezTo>
                    <a:pt x="6350" y="797983"/>
                    <a:pt x="13654" y="801054"/>
                    <a:pt x="19050" y="806450"/>
                  </a:cubicBezTo>
                  <a:cubicBezTo>
                    <a:pt x="31360" y="818760"/>
                    <a:pt x="32935" y="829056"/>
                    <a:pt x="38100" y="844550"/>
                  </a:cubicBezTo>
                  <a:cubicBezTo>
                    <a:pt x="31481" y="871026"/>
                    <a:pt x="24752" y="884366"/>
                    <a:pt x="38100" y="914400"/>
                  </a:cubicBezTo>
                  <a:cubicBezTo>
                    <a:pt x="41200" y="921374"/>
                    <a:pt x="50176" y="924000"/>
                    <a:pt x="57150" y="927100"/>
                  </a:cubicBezTo>
                  <a:cubicBezTo>
                    <a:pt x="90243" y="941808"/>
                    <a:pt x="87096" y="939800"/>
                    <a:pt x="114300" y="939800"/>
                  </a:cubicBezTo>
                </a:path>
              </a:pathLst>
            </a:custGeom>
            <a:grpFill/>
            <a:ln w="12700" cap="flat" cmpd="sng" algn="ctr">
              <a:solidFill>
                <a:schemeClr val="bg1"/>
              </a:solidFill>
              <a:prstDash val="solid"/>
              <a:round/>
              <a:headEnd type="none" w="med" len="med"/>
              <a:tailEnd type="none" w="med" len="med"/>
            </a:ln>
            <a:effectLst/>
          </p:spPr>
          <p:txBody>
            <a:bodyPr rtlCol="0" anchor="ctr"/>
            <a:lstStyle/>
            <a:p>
              <a:pPr algn="ctr" rtl="0" eaLnBrk="0" fontAlgn="base" hangingPunct="0">
                <a:spcBef>
                  <a:spcPct val="50000"/>
                </a:spcBef>
                <a:spcAft>
                  <a:spcPct val="0"/>
                </a:spcAft>
              </a:pPr>
              <a:endParaRPr lang="en-US" sz="900">
                <a:solidFill>
                  <a:srgbClr val="000000"/>
                </a:solidFill>
                <a:latin typeface="Arial" charset="0"/>
              </a:endParaRPr>
            </a:p>
          </p:txBody>
        </p:sp>
        <p:sp>
          <p:nvSpPr>
            <p:cNvPr id="74" name="Freeform 74">
              <a:extLst>
                <a:ext uri="{FF2B5EF4-FFF2-40B4-BE49-F238E27FC236}">
                  <a16:creationId xmlns:a16="http://schemas.microsoft.com/office/drawing/2014/main" id="{DA97259E-2112-43FF-BDF7-4C5A73F2F764}"/>
                </a:ext>
              </a:extLst>
            </p:cNvPr>
            <p:cNvSpPr/>
            <p:nvPr/>
          </p:nvSpPr>
          <p:spPr bwMode="gray">
            <a:xfrm>
              <a:off x="3708355" y="2233083"/>
              <a:ext cx="274864" cy="167217"/>
            </a:xfrm>
            <a:custGeom>
              <a:avLst/>
              <a:gdLst>
                <a:gd name="connsiteX0" fmla="*/ 2117 w 274864"/>
                <a:gd name="connsiteY0" fmla="*/ 2117 h 167217"/>
                <a:gd name="connsiteX1" fmla="*/ 78317 w 274864"/>
                <a:gd name="connsiteY1" fmla="*/ 40217 h 167217"/>
                <a:gd name="connsiteX2" fmla="*/ 103717 w 274864"/>
                <a:gd name="connsiteY2" fmla="*/ 116417 h 167217"/>
                <a:gd name="connsiteX3" fmla="*/ 141817 w 274864"/>
                <a:gd name="connsiteY3" fmla="*/ 141817 h 167217"/>
                <a:gd name="connsiteX4" fmla="*/ 230717 w 274864"/>
                <a:gd name="connsiteY4" fmla="*/ 167217 h 167217"/>
                <a:gd name="connsiteX5" fmla="*/ 268817 w 274864"/>
                <a:gd name="connsiteY5" fmla="*/ 129117 h 167217"/>
                <a:gd name="connsiteX6" fmla="*/ 205317 w 274864"/>
                <a:gd name="connsiteY6" fmla="*/ 78317 h 167217"/>
                <a:gd name="connsiteX7" fmla="*/ 91017 w 274864"/>
                <a:gd name="connsiteY7" fmla="*/ 27517 h 167217"/>
                <a:gd name="connsiteX8" fmla="*/ 2117 w 274864"/>
                <a:gd name="connsiteY8" fmla="*/ 2117 h 16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864" h="167217">
                  <a:moveTo>
                    <a:pt x="2117" y="2117"/>
                  </a:moveTo>
                  <a:cubicBezTo>
                    <a:pt x="0" y="4234"/>
                    <a:pt x="65359" y="19485"/>
                    <a:pt x="78317" y="40217"/>
                  </a:cubicBezTo>
                  <a:cubicBezTo>
                    <a:pt x="92507" y="62921"/>
                    <a:pt x="81440" y="101565"/>
                    <a:pt x="103717" y="116417"/>
                  </a:cubicBezTo>
                  <a:cubicBezTo>
                    <a:pt x="116417" y="124884"/>
                    <a:pt x="128165" y="134991"/>
                    <a:pt x="141817" y="141817"/>
                  </a:cubicBezTo>
                  <a:cubicBezTo>
                    <a:pt x="160037" y="150927"/>
                    <a:pt x="214441" y="163148"/>
                    <a:pt x="230717" y="167217"/>
                  </a:cubicBezTo>
                  <a:cubicBezTo>
                    <a:pt x="243417" y="154517"/>
                    <a:pt x="265864" y="146833"/>
                    <a:pt x="268817" y="129117"/>
                  </a:cubicBezTo>
                  <a:cubicBezTo>
                    <a:pt x="274864" y="92836"/>
                    <a:pt x="223804" y="84479"/>
                    <a:pt x="205317" y="78317"/>
                  </a:cubicBezTo>
                  <a:cubicBezTo>
                    <a:pt x="159639" y="9800"/>
                    <a:pt x="202231" y="53182"/>
                    <a:pt x="91017" y="27517"/>
                  </a:cubicBezTo>
                  <a:cubicBezTo>
                    <a:pt x="64929" y="21497"/>
                    <a:pt x="4234" y="0"/>
                    <a:pt x="2117" y="2117"/>
                  </a:cubicBezTo>
                  <a:close/>
                </a:path>
              </a:pathLst>
            </a:custGeom>
            <a:grpFill/>
            <a:ln w="12700" cap="flat" cmpd="sng" algn="ctr">
              <a:solidFill>
                <a:schemeClr val="bg1"/>
              </a:solidFill>
              <a:prstDash val="solid"/>
              <a:round/>
              <a:headEnd type="none" w="med" len="med"/>
              <a:tailEnd type="none" w="med" len="med"/>
            </a:ln>
            <a:effectLst/>
          </p:spPr>
          <p:txBody>
            <a:bodyPr vert="horz" wrap="none" lIns="40500" tIns="40500" rIns="40500" bIns="40500" numCol="1" rtlCol="0" anchor="ctr" anchorCtr="0" compatLnSpc="1">
              <a:prstTxWarp prst="textNoShape">
                <a:avLst/>
              </a:prstTxWarp>
            </a:bodyPr>
            <a:lstStyle/>
            <a:p>
              <a:pPr algn="ctr" rtl="0" eaLnBrk="0" fontAlgn="base" hangingPunct="0">
                <a:spcBef>
                  <a:spcPct val="50000"/>
                </a:spcBef>
                <a:spcAft>
                  <a:spcPct val="0"/>
                </a:spcAft>
              </a:pPr>
              <a:endParaRPr lang="en-US" sz="900">
                <a:solidFill>
                  <a:srgbClr val="000000"/>
                </a:solidFill>
                <a:latin typeface="Arial" charset="0"/>
              </a:endParaRPr>
            </a:p>
          </p:txBody>
        </p:sp>
      </p:grpSp>
      <p:sp>
        <p:nvSpPr>
          <p:cNvPr id="76" name="Freeform 10">
            <a:extLst>
              <a:ext uri="{FF2B5EF4-FFF2-40B4-BE49-F238E27FC236}">
                <a16:creationId xmlns:a16="http://schemas.microsoft.com/office/drawing/2014/main" id="{16305CA3-DB36-4EF1-9AC0-F076C4A9B826}"/>
              </a:ext>
            </a:extLst>
          </p:cNvPr>
          <p:cNvSpPr>
            <a:spLocks noChangeAspect="1"/>
          </p:cNvSpPr>
          <p:nvPr/>
        </p:nvSpPr>
        <p:spPr bwMode="gray">
          <a:xfrm>
            <a:off x="3705721" y="3725214"/>
            <a:ext cx="2519678" cy="1737081"/>
          </a:xfrm>
          <a:custGeom>
            <a:avLst/>
            <a:gdLst>
              <a:gd name="T0" fmla="*/ 2167 w 2167"/>
              <a:gd name="T1" fmla="*/ 822 h 1380"/>
              <a:gd name="T2" fmla="*/ 2096 w 2167"/>
              <a:gd name="T3" fmla="*/ 878 h 1380"/>
              <a:gd name="T4" fmla="*/ 2018 w 2167"/>
              <a:gd name="T5" fmla="*/ 829 h 1380"/>
              <a:gd name="T6" fmla="*/ 2001 w 2167"/>
              <a:gd name="T7" fmla="*/ 943 h 1380"/>
              <a:gd name="T8" fmla="*/ 1991 w 2167"/>
              <a:gd name="T9" fmla="*/ 1096 h 1380"/>
              <a:gd name="T10" fmla="*/ 1917 w 2167"/>
              <a:gd name="T11" fmla="*/ 1034 h 1380"/>
              <a:gd name="T12" fmla="*/ 1846 w 2167"/>
              <a:gd name="T13" fmla="*/ 1012 h 1380"/>
              <a:gd name="T14" fmla="*/ 1759 w 2167"/>
              <a:gd name="T15" fmla="*/ 1056 h 1380"/>
              <a:gd name="T16" fmla="*/ 1655 w 2167"/>
              <a:gd name="T17" fmla="*/ 970 h 1380"/>
              <a:gd name="T18" fmla="*/ 1592 w 2167"/>
              <a:gd name="T19" fmla="*/ 959 h 1380"/>
              <a:gd name="T20" fmla="*/ 1561 w 2167"/>
              <a:gd name="T21" fmla="*/ 1121 h 1380"/>
              <a:gd name="T22" fmla="*/ 1479 w 2167"/>
              <a:gd name="T23" fmla="*/ 1245 h 1380"/>
              <a:gd name="T24" fmla="*/ 1481 w 2167"/>
              <a:gd name="T25" fmla="*/ 1362 h 1380"/>
              <a:gd name="T26" fmla="*/ 1409 w 2167"/>
              <a:gd name="T27" fmla="*/ 1352 h 1380"/>
              <a:gd name="T28" fmla="*/ 1350 w 2167"/>
              <a:gd name="T29" fmla="*/ 1243 h 1380"/>
              <a:gd name="T30" fmla="*/ 1304 w 2167"/>
              <a:gd name="T31" fmla="*/ 1187 h 1380"/>
              <a:gd name="T32" fmla="*/ 1205 w 2167"/>
              <a:gd name="T33" fmla="*/ 1103 h 1380"/>
              <a:gd name="T34" fmla="*/ 1178 w 2167"/>
              <a:gd name="T35" fmla="*/ 951 h 1380"/>
              <a:gd name="T36" fmla="*/ 1093 w 2167"/>
              <a:gd name="T37" fmla="*/ 1037 h 1380"/>
              <a:gd name="T38" fmla="*/ 1075 w 2167"/>
              <a:gd name="T39" fmla="*/ 1129 h 1380"/>
              <a:gd name="T40" fmla="*/ 991 w 2167"/>
              <a:gd name="T41" fmla="*/ 1240 h 1380"/>
              <a:gd name="T42" fmla="*/ 882 w 2167"/>
              <a:gd name="T43" fmla="*/ 1314 h 1380"/>
              <a:gd name="T44" fmla="*/ 792 w 2167"/>
              <a:gd name="T45" fmla="*/ 1282 h 1380"/>
              <a:gd name="T46" fmla="*/ 703 w 2167"/>
              <a:gd name="T47" fmla="*/ 1321 h 1380"/>
              <a:gd name="T48" fmla="*/ 609 w 2167"/>
              <a:gd name="T49" fmla="*/ 1349 h 1380"/>
              <a:gd name="T50" fmla="*/ 530 w 2167"/>
              <a:gd name="T51" fmla="*/ 1330 h 1380"/>
              <a:gd name="T52" fmla="*/ 444 w 2167"/>
              <a:gd name="T53" fmla="*/ 1215 h 1380"/>
              <a:gd name="T54" fmla="*/ 388 w 2167"/>
              <a:gd name="T55" fmla="*/ 1133 h 1380"/>
              <a:gd name="T56" fmla="*/ 396 w 2167"/>
              <a:gd name="T57" fmla="*/ 1002 h 1380"/>
              <a:gd name="T58" fmla="*/ 292 w 2167"/>
              <a:gd name="T59" fmla="*/ 943 h 1380"/>
              <a:gd name="T60" fmla="*/ 183 w 2167"/>
              <a:gd name="T61" fmla="*/ 984 h 1380"/>
              <a:gd name="T62" fmla="*/ 182 w 2167"/>
              <a:gd name="T63" fmla="*/ 1055 h 1380"/>
              <a:gd name="T64" fmla="*/ 92 w 2167"/>
              <a:gd name="T65" fmla="*/ 1152 h 1380"/>
              <a:gd name="T66" fmla="*/ 5 w 2167"/>
              <a:gd name="T67" fmla="*/ 1141 h 1380"/>
              <a:gd name="T68" fmla="*/ 65 w 2167"/>
              <a:gd name="T69" fmla="*/ 1062 h 1380"/>
              <a:gd name="T70" fmla="*/ 75 w 2167"/>
              <a:gd name="T71" fmla="*/ 891 h 1380"/>
              <a:gd name="T72" fmla="*/ 192 w 2167"/>
              <a:gd name="T73" fmla="*/ 743 h 1380"/>
              <a:gd name="T74" fmla="*/ 247 w 2167"/>
              <a:gd name="T75" fmla="*/ 638 h 1380"/>
              <a:gd name="T76" fmla="*/ 310 w 2167"/>
              <a:gd name="T77" fmla="*/ 564 h 1380"/>
              <a:gd name="T78" fmla="*/ 406 w 2167"/>
              <a:gd name="T79" fmla="*/ 471 h 1380"/>
              <a:gd name="T80" fmla="*/ 485 w 2167"/>
              <a:gd name="T81" fmla="*/ 359 h 1380"/>
              <a:gd name="T82" fmla="*/ 486 w 2167"/>
              <a:gd name="T83" fmla="*/ 321 h 1380"/>
              <a:gd name="T84" fmla="*/ 494 w 2167"/>
              <a:gd name="T85" fmla="*/ 243 h 1380"/>
              <a:gd name="T86" fmla="*/ 595 w 2167"/>
              <a:gd name="T87" fmla="*/ 214 h 1380"/>
              <a:gd name="T88" fmla="*/ 684 w 2167"/>
              <a:gd name="T89" fmla="*/ 256 h 1380"/>
              <a:gd name="T90" fmla="*/ 772 w 2167"/>
              <a:gd name="T91" fmla="*/ 161 h 1380"/>
              <a:gd name="T92" fmla="*/ 845 w 2167"/>
              <a:gd name="T93" fmla="*/ 188 h 1380"/>
              <a:gd name="T94" fmla="*/ 946 w 2167"/>
              <a:gd name="T95" fmla="*/ 161 h 1380"/>
              <a:gd name="T96" fmla="*/ 1047 w 2167"/>
              <a:gd name="T97" fmla="*/ 149 h 1380"/>
              <a:gd name="T98" fmla="*/ 1161 w 2167"/>
              <a:gd name="T99" fmla="*/ 165 h 1380"/>
              <a:gd name="T100" fmla="*/ 1198 w 2167"/>
              <a:gd name="T101" fmla="*/ 43 h 1380"/>
              <a:gd name="T102" fmla="*/ 1258 w 2167"/>
              <a:gd name="T103" fmla="*/ 1 h 1380"/>
              <a:gd name="T104" fmla="*/ 1334 w 2167"/>
              <a:gd name="T105" fmla="*/ 78 h 1380"/>
              <a:gd name="T106" fmla="*/ 1431 w 2167"/>
              <a:gd name="T107" fmla="*/ 94 h 1380"/>
              <a:gd name="T108" fmla="*/ 1551 w 2167"/>
              <a:gd name="T109" fmla="*/ 100 h 1380"/>
              <a:gd name="T110" fmla="*/ 1706 w 2167"/>
              <a:gd name="T111" fmla="*/ 188 h 1380"/>
              <a:gd name="T112" fmla="*/ 1763 w 2167"/>
              <a:gd name="T113" fmla="*/ 278 h 1380"/>
              <a:gd name="T114" fmla="*/ 1692 w 2167"/>
              <a:gd name="T115" fmla="*/ 450 h 1380"/>
              <a:gd name="T116" fmla="*/ 1780 w 2167"/>
              <a:gd name="T117" fmla="*/ 519 h 1380"/>
              <a:gd name="T118" fmla="*/ 1875 w 2167"/>
              <a:gd name="T119" fmla="*/ 594 h 1380"/>
              <a:gd name="T120" fmla="*/ 1993 w 2167"/>
              <a:gd name="T121" fmla="*/ 640 h 1380"/>
              <a:gd name="T122" fmla="*/ 2111 w 2167"/>
              <a:gd name="T123" fmla="*/ 546 h 1380"/>
              <a:gd name="T124" fmla="*/ 2145 w 2167"/>
              <a:gd name="T125" fmla="*/ 662 h 138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167"/>
              <a:gd name="T190" fmla="*/ 0 h 1380"/>
              <a:gd name="T191" fmla="*/ 2167 w 2167"/>
              <a:gd name="T192" fmla="*/ 1380 h 138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167" h="1380">
                <a:moveTo>
                  <a:pt x="2126" y="760"/>
                </a:moveTo>
                <a:lnTo>
                  <a:pt x="2123" y="762"/>
                </a:lnTo>
                <a:lnTo>
                  <a:pt x="2119" y="769"/>
                </a:lnTo>
                <a:lnTo>
                  <a:pt x="2120" y="779"/>
                </a:lnTo>
                <a:lnTo>
                  <a:pt x="2129" y="789"/>
                </a:lnTo>
                <a:lnTo>
                  <a:pt x="2136" y="792"/>
                </a:lnTo>
                <a:lnTo>
                  <a:pt x="2143" y="796"/>
                </a:lnTo>
                <a:lnTo>
                  <a:pt x="2149" y="798"/>
                </a:lnTo>
                <a:lnTo>
                  <a:pt x="2154" y="800"/>
                </a:lnTo>
                <a:lnTo>
                  <a:pt x="2159" y="804"/>
                </a:lnTo>
                <a:lnTo>
                  <a:pt x="2164" y="807"/>
                </a:lnTo>
                <a:lnTo>
                  <a:pt x="2166" y="813"/>
                </a:lnTo>
                <a:lnTo>
                  <a:pt x="2167" y="819"/>
                </a:lnTo>
                <a:lnTo>
                  <a:pt x="2167" y="820"/>
                </a:lnTo>
                <a:lnTo>
                  <a:pt x="2167" y="821"/>
                </a:lnTo>
                <a:lnTo>
                  <a:pt x="2167" y="822"/>
                </a:lnTo>
                <a:lnTo>
                  <a:pt x="2166" y="823"/>
                </a:lnTo>
                <a:lnTo>
                  <a:pt x="2166" y="825"/>
                </a:lnTo>
                <a:lnTo>
                  <a:pt x="2166" y="826"/>
                </a:lnTo>
                <a:lnTo>
                  <a:pt x="2166" y="827"/>
                </a:lnTo>
                <a:lnTo>
                  <a:pt x="2166" y="828"/>
                </a:lnTo>
                <a:lnTo>
                  <a:pt x="2161" y="849"/>
                </a:lnTo>
                <a:lnTo>
                  <a:pt x="2155" y="867"/>
                </a:lnTo>
                <a:lnTo>
                  <a:pt x="2147" y="880"/>
                </a:lnTo>
                <a:lnTo>
                  <a:pt x="2138" y="885"/>
                </a:lnTo>
                <a:lnTo>
                  <a:pt x="2132" y="885"/>
                </a:lnTo>
                <a:lnTo>
                  <a:pt x="2127" y="883"/>
                </a:lnTo>
                <a:lnTo>
                  <a:pt x="2121" y="882"/>
                </a:lnTo>
                <a:lnTo>
                  <a:pt x="2115" y="880"/>
                </a:lnTo>
                <a:lnTo>
                  <a:pt x="2109" y="879"/>
                </a:lnTo>
                <a:lnTo>
                  <a:pt x="2102" y="878"/>
                </a:lnTo>
                <a:lnTo>
                  <a:pt x="2096" y="878"/>
                </a:lnTo>
                <a:lnTo>
                  <a:pt x="2089" y="878"/>
                </a:lnTo>
                <a:lnTo>
                  <a:pt x="2082" y="879"/>
                </a:lnTo>
                <a:lnTo>
                  <a:pt x="2075" y="878"/>
                </a:lnTo>
                <a:lnTo>
                  <a:pt x="2070" y="876"/>
                </a:lnTo>
                <a:lnTo>
                  <a:pt x="2067" y="875"/>
                </a:lnTo>
                <a:lnTo>
                  <a:pt x="2063" y="873"/>
                </a:lnTo>
                <a:lnTo>
                  <a:pt x="2060" y="871"/>
                </a:lnTo>
                <a:lnTo>
                  <a:pt x="2058" y="868"/>
                </a:lnTo>
                <a:lnTo>
                  <a:pt x="2054" y="866"/>
                </a:lnTo>
                <a:lnTo>
                  <a:pt x="2046" y="861"/>
                </a:lnTo>
                <a:lnTo>
                  <a:pt x="2037" y="856"/>
                </a:lnTo>
                <a:lnTo>
                  <a:pt x="2030" y="850"/>
                </a:lnTo>
                <a:lnTo>
                  <a:pt x="2026" y="844"/>
                </a:lnTo>
                <a:lnTo>
                  <a:pt x="2026" y="837"/>
                </a:lnTo>
                <a:lnTo>
                  <a:pt x="2024" y="833"/>
                </a:lnTo>
                <a:lnTo>
                  <a:pt x="2018" y="829"/>
                </a:lnTo>
                <a:lnTo>
                  <a:pt x="2008" y="832"/>
                </a:lnTo>
                <a:lnTo>
                  <a:pt x="2001" y="835"/>
                </a:lnTo>
                <a:lnTo>
                  <a:pt x="1993" y="840"/>
                </a:lnTo>
                <a:lnTo>
                  <a:pt x="1986" y="845"/>
                </a:lnTo>
                <a:lnTo>
                  <a:pt x="1979" y="852"/>
                </a:lnTo>
                <a:lnTo>
                  <a:pt x="1972" y="861"/>
                </a:lnTo>
                <a:lnTo>
                  <a:pt x="1968" y="871"/>
                </a:lnTo>
                <a:lnTo>
                  <a:pt x="1964" y="880"/>
                </a:lnTo>
                <a:lnTo>
                  <a:pt x="1962" y="890"/>
                </a:lnTo>
                <a:lnTo>
                  <a:pt x="1960" y="910"/>
                </a:lnTo>
                <a:lnTo>
                  <a:pt x="1960" y="925"/>
                </a:lnTo>
                <a:lnTo>
                  <a:pt x="1965" y="936"/>
                </a:lnTo>
                <a:lnTo>
                  <a:pt x="1977" y="940"/>
                </a:lnTo>
                <a:lnTo>
                  <a:pt x="1990" y="939"/>
                </a:lnTo>
                <a:lnTo>
                  <a:pt x="1996" y="940"/>
                </a:lnTo>
                <a:lnTo>
                  <a:pt x="2001" y="943"/>
                </a:lnTo>
                <a:lnTo>
                  <a:pt x="2008" y="955"/>
                </a:lnTo>
                <a:lnTo>
                  <a:pt x="2014" y="970"/>
                </a:lnTo>
                <a:lnTo>
                  <a:pt x="2011" y="980"/>
                </a:lnTo>
                <a:lnTo>
                  <a:pt x="2006" y="988"/>
                </a:lnTo>
                <a:lnTo>
                  <a:pt x="1999" y="992"/>
                </a:lnTo>
                <a:lnTo>
                  <a:pt x="1993" y="997"/>
                </a:lnTo>
                <a:lnTo>
                  <a:pt x="1991" y="1009"/>
                </a:lnTo>
                <a:lnTo>
                  <a:pt x="1994" y="1022"/>
                </a:lnTo>
                <a:lnTo>
                  <a:pt x="2002" y="1032"/>
                </a:lnTo>
                <a:lnTo>
                  <a:pt x="2013" y="1045"/>
                </a:lnTo>
                <a:lnTo>
                  <a:pt x="2020" y="1060"/>
                </a:lnTo>
                <a:lnTo>
                  <a:pt x="2020" y="1076"/>
                </a:lnTo>
                <a:lnTo>
                  <a:pt x="2011" y="1088"/>
                </a:lnTo>
                <a:lnTo>
                  <a:pt x="2005" y="1092"/>
                </a:lnTo>
                <a:lnTo>
                  <a:pt x="1998" y="1094"/>
                </a:lnTo>
                <a:lnTo>
                  <a:pt x="1991" y="1096"/>
                </a:lnTo>
                <a:lnTo>
                  <a:pt x="1985" y="1098"/>
                </a:lnTo>
                <a:lnTo>
                  <a:pt x="1979" y="1098"/>
                </a:lnTo>
                <a:lnTo>
                  <a:pt x="1975" y="1098"/>
                </a:lnTo>
                <a:lnTo>
                  <a:pt x="1972" y="1098"/>
                </a:lnTo>
                <a:lnTo>
                  <a:pt x="1971" y="1098"/>
                </a:lnTo>
                <a:lnTo>
                  <a:pt x="1967" y="1098"/>
                </a:lnTo>
                <a:lnTo>
                  <a:pt x="1956" y="1098"/>
                </a:lnTo>
                <a:lnTo>
                  <a:pt x="1945" y="1094"/>
                </a:lnTo>
                <a:lnTo>
                  <a:pt x="1940" y="1088"/>
                </a:lnTo>
                <a:lnTo>
                  <a:pt x="1941" y="1080"/>
                </a:lnTo>
                <a:lnTo>
                  <a:pt x="1942" y="1073"/>
                </a:lnTo>
                <a:lnTo>
                  <a:pt x="1941" y="1066"/>
                </a:lnTo>
                <a:lnTo>
                  <a:pt x="1934" y="1060"/>
                </a:lnTo>
                <a:lnTo>
                  <a:pt x="1925" y="1052"/>
                </a:lnTo>
                <a:lnTo>
                  <a:pt x="1919" y="1042"/>
                </a:lnTo>
                <a:lnTo>
                  <a:pt x="1917" y="1034"/>
                </a:lnTo>
                <a:lnTo>
                  <a:pt x="1916" y="1026"/>
                </a:lnTo>
                <a:lnTo>
                  <a:pt x="1916" y="1019"/>
                </a:lnTo>
                <a:lnTo>
                  <a:pt x="1915" y="1013"/>
                </a:lnTo>
                <a:lnTo>
                  <a:pt x="1911" y="1008"/>
                </a:lnTo>
                <a:lnTo>
                  <a:pt x="1903" y="1004"/>
                </a:lnTo>
                <a:lnTo>
                  <a:pt x="1897" y="1004"/>
                </a:lnTo>
                <a:lnTo>
                  <a:pt x="1892" y="1004"/>
                </a:lnTo>
                <a:lnTo>
                  <a:pt x="1886" y="1005"/>
                </a:lnTo>
                <a:lnTo>
                  <a:pt x="1880" y="1007"/>
                </a:lnTo>
                <a:lnTo>
                  <a:pt x="1874" y="1008"/>
                </a:lnTo>
                <a:lnTo>
                  <a:pt x="1870" y="1009"/>
                </a:lnTo>
                <a:lnTo>
                  <a:pt x="1864" y="1009"/>
                </a:lnTo>
                <a:lnTo>
                  <a:pt x="1859" y="1008"/>
                </a:lnTo>
                <a:lnTo>
                  <a:pt x="1855" y="1008"/>
                </a:lnTo>
                <a:lnTo>
                  <a:pt x="1850" y="1009"/>
                </a:lnTo>
                <a:lnTo>
                  <a:pt x="1846" y="1012"/>
                </a:lnTo>
                <a:lnTo>
                  <a:pt x="1841" y="1015"/>
                </a:lnTo>
                <a:lnTo>
                  <a:pt x="1836" y="1018"/>
                </a:lnTo>
                <a:lnTo>
                  <a:pt x="1831" y="1022"/>
                </a:lnTo>
                <a:lnTo>
                  <a:pt x="1825" y="1023"/>
                </a:lnTo>
                <a:lnTo>
                  <a:pt x="1819" y="1023"/>
                </a:lnTo>
                <a:lnTo>
                  <a:pt x="1810" y="1023"/>
                </a:lnTo>
                <a:lnTo>
                  <a:pt x="1806" y="1025"/>
                </a:lnTo>
                <a:lnTo>
                  <a:pt x="1804" y="1031"/>
                </a:lnTo>
                <a:lnTo>
                  <a:pt x="1804" y="1039"/>
                </a:lnTo>
                <a:lnTo>
                  <a:pt x="1803" y="1047"/>
                </a:lnTo>
                <a:lnTo>
                  <a:pt x="1799" y="1053"/>
                </a:lnTo>
                <a:lnTo>
                  <a:pt x="1793" y="1056"/>
                </a:lnTo>
                <a:lnTo>
                  <a:pt x="1782" y="1057"/>
                </a:lnTo>
                <a:lnTo>
                  <a:pt x="1775" y="1057"/>
                </a:lnTo>
                <a:lnTo>
                  <a:pt x="1768" y="1056"/>
                </a:lnTo>
                <a:lnTo>
                  <a:pt x="1759" y="1056"/>
                </a:lnTo>
                <a:lnTo>
                  <a:pt x="1750" y="1055"/>
                </a:lnTo>
                <a:lnTo>
                  <a:pt x="1741" y="1054"/>
                </a:lnTo>
                <a:lnTo>
                  <a:pt x="1731" y="1053"/>
                </a:lnTo>
                <a:lnTo>
                  <a:pt x="1725" y="1052"/>
                </a:lnTo>
                <a:lnTo>
                  <a:pt x="1718" y="1050"/>
                </a:lnTo>
                <a:lnTo>
                  <a:pt x="1712" y="1048"/>
                </a:lnTo>
                <a:lnTo>
                  <a:pt x="1706" y="1045"/>
                </a:lnTo>
                <a:lnTo>
                  <a:pt x="1700" y="1040"/>
                </a:lnTo>
                <a:lnTo>
                  <a:pt x="1696" y="1034"/>
                </a:lnTo>
                <a:lnTo>
                  <a:pt x="1690" y="1028"/>
                </a:lnTo>
                <a:lnTo>
                  <a:pt x="1685" y="1022"/>
                </a:lnTo>
                <a:lnTo>
                  <a:pt x="1681" y="1016"/>
                </a:lnTo>
                <a:lnTo>
                  <a:pt x="1677" y="1011"/>
                </a:lnTo>
                <a:lnTo>
                  <a:pt x="1669" y="1000"/>
                </a:lnTo>
                <a:lnTo>
                  <a:pt x="1661" y="985"/>
                </a:lnTo>
                <a:lnTo>
                  <a:pt x="1655" y="970"/>
                </a:lnTo>
                <a:lnTo>
                  <a:pt x="1655" y="955"/>
                </a:lnTo>
                <a:lnTo>
                  <a:pt x="1658" y="942"/>
                </a:lnTo>
                <a:lnTo>
                  <a:pt x="1657" y="933"/>
                </a:lnTo>
                <a:lnTo>
                  <a:pt x="1653" y="929"/>
                </a:lnTo>
                <a:lnTo>
                  <a:pt x="1650" y="934"/>
                </a:lnTo>
                <a:lnTo>
                  <a:pt x="1644" y="939"/>
                </a:lnTo>
                <a:lnTo>
                  <a:pt x="1636" y="939"/>
                </a:lnTo>
                <a:lnTo>
                  <a:pt x="1625" y="934"/>
                </a:lnTo>
                <a:lnTo>
                  <a:pt x="1619" y="927"/>
                </a:lnTo>
                <a:lnTo>
                  <a:pt x="1613" y="923"/>
                </a:lnTo>
                <a:lnTo>
                  <a:pt x="1605" y="920"/>
                </a:lnTo>
                <a:lnTo>
                  <a:pt x="1598" y="924"/>
                </a:lnTo>
                <a:lnTo>
                  <a:pt x="1594" y="931"/>
                </a:lnTo>
                <a:lnTo>
                  <a:pt x="1592" y="940"/>
                </a:lnTo>
                <a:lnTo>
                  <a:pt x="1591" y="949"/>
                </a:lnTo>
                <a:lnTo>
                  <a:pt x="1592" y="959"/>
                </a:lnTo>
                <a:lnTo>
                  <a:pt x="1597" y="971"/>
                </a:lnTo>
                <a:lnTo>
                  <a:pt x="1602" y="986"/>
                </a:lnTo>
                <a:lnTo>
                  <a:pt x="1607" y="1004"/>
                </a:lnTo>
                <a:lnTo>
                  <a:pt x="1608" y="1022"/>
                </a:lnTo>
                <a:lnTo>
                  <a:pt x="1607" y="1035"/>
                </a:lnTo>
                <a:lnTo>
                  <a:pt x="1605" y="1041"/>
                </a:lnTo>
                <a:lnTo>
                  <a:pt x="1601" y="1049"/>
                </a:lnTo>
                <a:lnTo>
                  <a:pt x="1597" y="1058"/>
                </a:lnTo>
                <a:lnTo>
                  <a:pt x="1592" y="1069"/>
                </a:lnTo>
                <a:lnTo>
                  <a:pt x="1586" y="1079"/>
                </a:lnTo>
                <a:lnTo>
                  <a:pt x="1582" y="1088"/>
                </a:lnTo>
                <a:lnTo>
                  <a:pt x="1576" y="1096"/>
                </a:lnTo>
                <a:lnTo>
                  <a:pt x="1572" y="1103"/>
                </a:lnTo>
                <a:lnTo>
                  <a:pt x="1569" y="1109"/>
                </a:lnTo>
                <a:lnTo>
                  <a:pt x="1564" y="1115"/>
                </a:lnTo>
                <a:lnTo>
                  <a:pt x="1561" y="1121"/>
                </a:lnTo>
                <a:lnTo>
                  <a:pt x="1556" y="1126"/>
                </a:lnTo>
                <a:lnTo>
                  <a:pt x="1552" y="1132"/>
                </a:lnTo>
                <a:lnTo>
                  <a:pt x="1546" y="1138"/>
                </a:lnTo>
                <a:lnTo>
                  <a:pt x="1541" y="1142"/>
                </a:lnTo>
                <a:lnTo>
                  <a:pt x="1536" y="1147"/>
                </a:lnTo>
                <a:lnTo>
                  <a:pt x="1524" y="1154"/>
                </a:lnTo>
                <a:lnTo>
                  <a:pt x="1516" y="1160"/>
                </a:lnTo>
                <a:lnTo>
                  <a:pt x="1510" y="1168"/>
                </a:lnTo>
                <a:lnTo>
                  <a:pt x="1508" y="1177"/>
                </a:lnTo>
                <a:lnTo>
                  <a:pt x="1507" y="1191"/>
                </a:lnTo>
                <a:lnTo>
                  <a:pt x="1502" y="1207"/>
                </a:lnTo>
                <a:lnTo>
                  <a:pt x="1495" y="1220"/>
                </a:lnTo>
                <a:lnTo>
                  <a:pt x="1486" y="1227"/>
                </a:lnTo>
                <a:lnTo>
                  <a:pt x="1479" y="1231"/>
                </a:lnTo>
                <a:lnTo>
                  <a:pt x="1478" y="1239"/>
                </a:lnTo>
                <a:lnTo>
                  <a:pt x="1479" y="1245"/>
                </a:lnTo>
                <a:lnTo>
                  <a:pt x="1480" y="1248"/>
                </a:lnTo>
                <a:lnTo>
                  <a:pt x="1478" y="1252"/>
                </a:lnTo>
                <a:lnTo>
                  <a:pt x="1473" y="1260"/>
                </a:lnTo>
                <a:lnTo>
                  <a:pt x="1472" y="1271"/>
                </a:lnTo>
                <a:lnTo>
                  <a:pt x="1477" y="1285"/>
                </a:lnTo>
                <a:lnTo>
                  <a:pt x="1484" y="1296"/>
                </a:lnTo>
                <a:lnTo>
                  <a:pt x="1488" y="1303"/>
                </a:lnTo>
                <a:lnTo>
                  <a:pt x="1492" y="1306"/>
                </a:lnTo>
                <a:lnTo>
                  <a:pt x="1499" y="1311"/>
                </a:lnTo>
                <a:lnTo>
                  <a:pt x="1504" y="1315"/>
                </a:lnTo>
                <a:lnTo>
                  <a:pt x="1506" y="1320"/>
                </a:lnTo>
                <a:lnTo>
                  <a:pt x="1503" y="1326"/>
                </a:lnTo>
                <a:lnTo>
                  <a:pt x="1499" y="1331"/>
                </a:lnTo>
                <a:lnTo>
                  <a:pt x="1493" y="1341"/>
                </a:lnTo>
                <a:lnTo>
                  <a:pt x="1487" y="1351"/>
                </a:lnTo>
                <a:lnTo>
                  <a:pt x="1481" y="1362"/>
                </a:lnTo>
                <a:lnTo>
                  <a:pt x="1477" y="1372"/>
                </a:lnTo>
                <a:lnTo>
                  <a:pt x="1472" y="1377"/>
                </a:lnTo>
                <a:lnTo>
                  <a:pt x="1468" y="1380"/>
                </a:lnTo>
                <a:lnTo>
                  <a:pt x="1462" y="1380"/>
                </a:lnTo>
                <a:lnTo>
                  <a:pt x="1451" y="1379"/>
                </a:lnTo>
                <a:lnTo>
                  <a:pt x="1446" y="1377"/>
                </a:lnTo>
                <a:lnTo>
                  <a:pt x="1439" y="1375"/>
                </a:lnTo>
                <a:lnTo>
                  <a:pt x="1432" y="1374"/>
                </a:lnTo>
                <a:lnTo>
                  <a:pt x="1425" y="1373"/>
                </a:lnTo>
                <a:lnTo>
                  <a:pt x="1418" y="1372"/>
                </a:lnTo>
                <a:lnTo>
                  <a:pt x="1413" y="1371"/>
                </a:lnTo>
                <a:lnTo>
                  <a:pt x="1410" y="1369"/>
                </a:lnTo>
                <a:lnTo>
                  <a:pt x="1409" y="1369"/>
                </a:lnTo>
                <a:lnTo>
                  <a:pt x="1409" y="1367"/>
                </a:lnTo>
                <a:lnTo>
                  <a:pt x="1409" y="1361"/>
                </a:lnTo>
                <a:lnTo>
                  <a:pt x="1409" y="1352"/>
                </a:lnTo>
                <a:lnTo>
                  <a:pt x="1409" y="1341"/>
                </a:lnTo>
                <a:lnTo>
                  <a:pt x="1408" y="1328"/>
                </a:lnTo>
                <a:lnTo>
                  <a:pt x="1403" y="1314"/>
                </a:lnTo>
                <a:lnTo>
                  <a:pt x="1397" y="1301"/>
                </a:lnTo>
                <a:lnTo>
                  <a:pt x="1390" y="1292"/>
                </a:lnTo>
                <a:lnTo>
                  <a:pt x="1386" y="1288"/>
                </a:lnTo>
                <a:lnTo>
                  <a:pt x="1380" y="1283"/>
                </a:lnTo>
                <a:lnTo>
                  <a:pt x="1373" y="1278"/>
                </a:lnTo>
                <a:lnTo>
                  <a:pt x="1367" y="1273"/>
                </a:lnTo>
                <a:lnTo>
                  <a:pt x="1360" y="1268"/>
                </a:lnTo>
                <a:lnTo>
                  <a:pt x="1355" y="1265"/>
                </a:lnTo>
                <a:lnTo>
                  <a:pt x="1351" y="1262"/>
                </a:lnTo>
                <a:lnTo>
                  <a:pt x="1350" y="1261"/>
                </a:lnTo>
                <a:lnTo>
                  <a:pt x="1349" y="1259"/>
                </a:lnTo>
                <a:lnTo>
                  <a:pt x="1349" y="1252"/>
                </a:lnTo>
                <a:lnTo>
                  <a:pt x="1350" y="1243"/>
                </a:lnTo>
                <a:lnTo>
                  <a:pt x="1356" y="1233"/>
                </a:lnTo>
                <a:lnTo>
                  <a:pt x="1365" y="1223"/>
                </a:lnTo>
                <a:lnTo>
                  <a:pt x="1371" y="1213"/>
                </a:lnTo>
                <a:lnTo>
                  <a:pt x="1372" y="1206"/>
                </a:lnTo>
                <a:lnTo>
                  <a:pt x="1365" y="1202"/>
                </a:lnTo>
                <a:lnTo>
                  <a:pt x="1359" y="1202"/>
                </a:lnTo>
                <a:lnTo>
                  <a:pt x="1354" y="1201"/>
                </a:lnTo>
                <a:lnTo>
                  <a:pt x="1348" y="1199"/>
                </a:lnTo>
                <a:lnTo>
                  <a:pt x="1343" y="1198"/>
                </a:lnTo>
                <a:lnTo>
                  <a:pt x="1337" y="1197"/>
                </a:lnTo>
                <a:lnTo>
                  <a:pt x="1333" y="1194"/>
                </a:lnTo>
                <a:lnTo>
                  <a:pt x="1327" y="1193"/>
                </a:lnTo>
                <a:lnTo>
                  <a:pt x="1322" y="1193"/>
                </a:lnTo>
                <a:lnTo>
                  <a:pt x="1317" y="1192"/>
                </a:lnTo>
                <a:lnTo>
                  <a:pt x="1311" y="1191"/>
                </a:lnTo>
                <a:lnTo>
                  <a:pt x="1304" y="1187"/>
                </a:lnTo>
                <a:lnTo>
                  <a:pt x="1296" y="1184"/>
                </a:lnTo>
                <a:lnTo>
                  <a:pt x="1288" y="1180"/>
                </a:lnTo>
                <a:lnTo>
                  <a:pt x="1281" y="1177"/>
                </a:lnTo>
                <a:lnTo>
                  <a:pt x="1275" y="1174"/>
                </a:lnTo>
                <a:lnTo>
                  <a:pt x="1269" y="1171"/>
                </a:lnTo>
                <a:lnTo>
                  <a:pt x="1265" y="1168"/>
                </a:lnTo>
                <a:lnTo>
                  <a:pt x="1259" y="1161"/>
                </a:lnTo>
                <a:lnTo>
                  <a:pt x="1253" y="1153"/>
                </a:lnTo>
                <a:lnTo>
                  <a:pt x="1248" y="1144"/>
                </a:lnTo>
                <a:lnTo>
                  <a:pt x="1242" y="1133"/>
                </a:lnTo>
                <a:lnTo>
                  <a:pt x="1235" y="1125"/>
                </a:lnTo>
                <a:lnTo>
                  <a:pt x="1229" y="1117"/>
                </a:lnTo>
                <a:lnTo>
                  <a:pt x="1223" y="1113"/>
                </a:lnTo>
                <a:lnTo>
                  <a:pt x="1218" y="1109"/>
                </a:lnTo>
                <a:lnTo>
                  <a:pt x="1211" y="1107"/>
                </a:lnTo>
                <a:lnTo>
                  <a:pt x="1205" y="1103"/>
                </a:lnTo>
                <a:lnTo>
                  <a:pt x="1199" y="1100"/>
                </a:lnTo>
                <a:lnTo>
                  <a:pt x="1193" y="1096"/>
                </a:lnTo>
                <a:lnTo>
                  <a:pt x="1189" y="1093"/>
                </a:lnTo>
                <a:lnTo>
                  <a:pt x="1185" y="1087"/>
                </a:lnTo>
                <a:lnTo>
                  <a:pt x="1183" y="1081"/>
                </a:lnTo>
                <a:lnTo>
                  <a:pt x="1181" y="1068"/>
                </a:lnTo>
                <a:lnTo>
                  <a:pt x="1178" y="1054"/>
                </a:lnTo>
                <a:lnTo>
                  <a:pt x="1178" y="1040"/>
                </a:lnTo>
                <a:lnTo>
                  <a:pt x="1181" y="1026"/>
                </a:lnTo>
                <a:lnTo>
                  <a:pt x="1185" y="1012"/>
                </a:lnTo>
                <a:lnTo>
                  <a:pt x="1189" y="1000"/>
                </a:lnTo>
                <a:lnTo>
                  <a:pt x="1191" y="987"/>
                </a:lnTo>
                <a:lnTo>
                  <a:pt x="1192" y="973"/>
                </a:lnTo>
                <a:lnTo>
                  <a:pt x="1190" y="962"/>
                </a:lnTo>
                <a:lnTo>
                  <a:pt x="1185" y="955"/>
                </a:lnTo>
                <a:lnTo>
                  <a:pt x="1178" y="951"/>
                </a:lnTo>
                <a:lnTo>
                  <a:pt x="1171" y="952"/>
                </a:lnTo>
                <a:lnTo>
                  <a:pt x="1162" y="956"/>
                </a:lnTo>
                <a:lnTo>
                  <a:pt x="1152" y="961"/>
                </a:lnTo>
                <a:lnTo>
                  <a:pt x="1145" y="967"/>
                </a:lnTo>
                <a:lnTo>
                  <a:pt x="1143" y="977"/>
                </a:lnTo>
                <a:lnTo>
                  <a:pt x="1144" y="986"/>
                </a:lnTo>
                <a:lnTo>
                  <a:pt x="1143" y="995"/>
                </a:lnTo>
                <a:lnTo>
                  <a:pt x="1137" y="1002"/>
                </a:lnTo>
                <a:lnTo>
                  <a:pt x="1128" y="1008"/>
                </a:lnTo>
                <a:lnTo>
                  <a:pt x="1122" y="1010"/>
                </a:lnTo>
                <a:lnTo>
                  <a:pt x="1116" y="1013"/>
                </a:lnTo>
                <a:lnTo>
                  <a:pt x="1110" y="1018"/>
                </a:lnTo>
                <a:lnTo>
                  <a:pt x="1105" y="1023"/>
                </a:lnTo>
                <a:lnTo>
                  <a:pt x="1100" y="1027"/>
                </a:lnTo>
                <a:lnTo>
                  <a:pt x="1095" y="1032"/>
                </a:lnTo>
                <a:lnTo>
                  <a:pt x="1093" y="1037"/>
                </a:lnTo>
                <a:lnTo>
                  <a:pt x="1091" y="1041"/>
                </a:lnTo>
                <a:lnTo>
                  <a:pt x="1086" y="1049"/>
                </a:lnTo>
                <a:lnTo>
                  <a:pt x="1079" y="1055"/>
                </a:lnTo>
                <a:lnTo>
                  <a:pt x="1069" y="1058"/>
                </a:lnTo>
                <a:lnTo>
                  <a:pt x="1060" y="1060"/>
                </a:lnTo>
                <a:lnTo>
                  <a:pt x="1052" y="1061"/>
                </a:lnTo>
                <a:lnTo>
                  <a:pt x="1045" y="1065"/>
                </a:lnTo>
                <a:lnTo>
                  <a:pt x="1044" y="1072"/>
                </a:lnTo>
                <a:lnTo>
                  <a:pt x="1047" y="1081"/>
                </a:lnTo>
                <a:lnTo>
                  <a:pt x="1052" y="1088"/>
                </a:lnTo>
                <a:lnTo>
                  <a:pt x="1056" y="1095"/>
                </a:lnTo>
                <a:lnTo>
                  <a:pt x="1062" y="1102"/>
                </a:lnTo>
                <a:lnTo>
                  <a:pt x="1067" y="1109"/>
                </a:lnTo>
                <a:lnTo>
                  <a:pt x="1071" y="1116"/>
                </a:lnTo>
                <a:lnTo>
                  <a:pt x="1074" y="1123"/>
                </a:lnTo>
                <a:lnTo>
                  <a:pt x="1075" y="1129"/>
                </a:lnTo>
                <a:lnTo>
                  <a:pt x="1072" y="1134"/>
                </a:lnTo>
                <a:lnTo>
                  <a:pt x="1065" y="1144"/>
                </a:lnTo>
                <a:lnTo>
                  <a:pt x="1057" y="1153"/>
                </a:lnTo>
                <a:lnTo>
                  <a:pt x="1052" y="1162"/>
                </a:lnTo>
                <a:lnTo>
                  <a:pt x="1047" y="1171"/>
                </a:lnTo>
                <a:lnTo>
                  <a:pt x="1045" y="1180"/>
                </a:lnTo>
                <a:lnTo>
                  <a:pt x="1040" y="1186"/>
                </a:lnTo>
                <a:lnTo>
                  <a:pt x="1034" y="1190"/>
                </a:lnTo>
                <a:lnTo>
                  <a:pt x="1026" y="1190"/>
                </a:lnTo>
                <a:lnTo>
                  <a:pt x="1016" y="1190"/>
                </a:lnTo>
                <a:lnTo>
                  <a:pt x="1008" y="1193"/>
                </a:lnTo>
                <a:lnTo>
                  <a:pt x="1003" y="1202"/>
                </a:lnTo>
                <a:lnTo>
                  <a:pt x="1007" y="1215"/>
                </a:lnTo>
                <a:lnTo>
                  <a:pt x="1003" y="1218"/>
                </a:lnTo>
                <a:lnTo>
                  <a:pt x="997" y="1229"/>
                </a:lnTo>
                <a:lnTo>
                  <a:pt x="991" y="1240"/>
                </a:lnTo>
                <a:lnTo>
                  <a:pt x="986" y="1252"/>
                </a:lnTo>
                <a:lnTo>
                  <a:pt x="981" y="1260"/>
                </a:lnTo>
                <a:lnTo>
                  <a:pt x="976" y="1265"/>
                </a:lnTo>
                <a:lnTo>
                  <a:pt x="968" y="1268"/>
                </a:lnTo>
                <a:lnTo>
                  <a:pt x="958" y="1267"/>
                </a:lnTo>
                <a:lnTo>
                  <a:pt x="949" y="1265"/>
                </a:lnTo>
                <a:lnTo>
                  <a:pt x="941" y="1265"/>
                </a:lnTo>
                <a:lnTo>
                  <a:pt x="936" y="1269"/>
                </a:lnTo>
                <a:lnTo>
                  <a:pt x="934" y="1280"/>
                </a:lnTo>
                <a:lnTo>
                  <a:pt x="932" y="1292"/>
                </a:lnTo>
                <a:lnTo>
                  <a:pt x="925" y="1303"/>
                </a:lnTo>
                <a:lnTo>
                  <a:pt x="915" y="1309"/>
                </a:lnTo>
                <a:lnTo>
                  <a:pt x="901" y="1313"/>
                </a:lnTo>
                <a:lnTo>
                  <a:pt x="894" y="1314"/>
                </a:lnTo>
                <a:lnTo>
                  <a:pt x="887" y="1314"/>
                </a:lnTo>
                <a:lnTo>
                  <a:pt x="882" y="1314"/>
                </a:lnTo>
                <a:lnTo>
                  <a:pt x="878" y="1313"/>
                </a:lnTo>
                <a:lnTo>
                  <a:pt x="874" y="1312"/>
                </a:lnTo>
                <a:lnTo>
                  <a:pt x="870" y="1312"/>
                </a:lnTo>
                <a:lnTo>
                  <a:pt x="865" y="1311"/>
                </a:lnTo>
                <a:lnTo>
                  <a:pt x="860" y="1311"/>
                </a:lnTo>
                <a:lnTo>
                  <a:pt x="850" y="1309"/>
                </a:lnTo>
                <a:lnTo>
                  <a:pt x="841" y="1307"/>
                </a:lnTo>
                <a:lnTo>
                  <a:pt x="834" y="1304"/>
                </a:lnTo>
                <a:lnTo>
                  <a:pt x="829" y="1298"/>
                </a:lnTo>
                <a:lnTo>
                  <a:pt x="825" y="1292"/>
                </a:lnTo>
                <a:lnTo>
                  <a:pt x="819" y="1288"/>
                </a:lnTo>
                <a:lnTo>
                  <a:pt x="812" y="1286"/>
                </a:lnTo>
                <a:lnTo>
                  <a:pt x="805" y="1285"/>
                </a:lnTo>
                <a:lnTo>
                  <a:pt x="800" y="1285"/>
                </a:lnTo>
                <a:lnTo>
                  <a:pt x="797" y="1283"/>
                </a:lnTo>
                <a:lnTo>
                  <a:pt x="792" y="1282"/>
                </a:lnTo>
                <a:lnTo>
                  <a:pt x="788" y="1280"/>
                </a:lnTo>
                <a:lnTo>
                  <a:pt x="783" y="1277"/>
                </a:lnTo>
                <a:lnTo>
                  <a:pt x="779" y="1276"/>
                </a:lnTo>
                <a:lnTo>
                  <a:pt x="774" y="1275"/>
                </a:lnTo>
                <a:lnTo>
                  <a:pt x="771" y="1276"/>
                </a:lnTo>
                <a:lnTo>
                  <a:pt x="761" y="1280"/>
                </a:lnTo>
                <a:lnTo>
                  <a:pt x="752" y="1284"/>
                </a:lnTo>
                <a:lnTo>
                  <a:pt x="743" y="1288"/>
                </a:lnTo>
                <a:lnTo>
                  <a:pt x="739" y="1289"/>
                </a:lnTo>
                <a:lnTo>
                  <a:pt x="738" y="1292"/>
                </a:lnTo>
                <a:lnTo>
                  <a:pt x="734" y="1299"/>
                </a:lnTo>
                <a:lnTo>
                  <a:pt x="727" y="1307"/>
                </a:lnTo>
                <a:lnTo>
                  <a:pt x="718" y="1313"/>
                </a:lnTo>
                <a:lnTo>
                  <a:pt x="713" y="1315"/>
                </a:lnTo>
                <a:lnTo>
                  <a:pt x="708" y="1319"/>
                </a:lnTo>
                <a:lnTo>
                  <a:pt x="703" y="1321"/>
                </a:lnTo>
                <a:lnTo>
                  <a:pt x="697" y="1324"/>
                </a:lnTo>
                <a:lnTo>
                  <a:pt x="691" y="1326"/>
                </a:lnTo>
                <a:lnTo>
                  <a:pt x="685" y="1327"/>
                </a:lnTo>
                <a:lnTo>
                  <a:pt x="678" y="1327"/>
                </a:lnTo>
                <a:lnTo>
                  <a:pt x="671" y="1326"/>
                </a:lnTo>
                <a:lnTo>
                  <a:pt x="665" y="1324"/>
                </a:lnTo>
                <a:lnTo>
                  <a:pt x="659" y="1323"/>
                </a:lnTo>
                <a:lnTo>
                  <a:pt x="652" y="1324"/>
                </a:lnTo>
                <a:lnTo>
                  <a:pt x="647" y="1326"/>
                </a:lnTo>
                <a:lnTo>
                  <a:pt x="641" y="1328"/>
                </a:lnTo>
                <a:lnTo>
                  <a:pt x="637" y="1330"/>
                </a:lnTo>
                <a:lnTo>
                  <a:pt x="632" y="1333"/>
                </a:lnTo>
                <a:lnTo>
                  <a:pt x="629" y="1335"/>
                </a:lnTo>
                <a:lnTo>
                  <a:pt x="622" y="1339"/>
                </a:lnTo>
                <a:lnTo>
                  <a:pt x="616" y="1344"/>
                </a:lnTo>
                <a:lnTo>
                  <a:pt x="609" y="1349"/>
                </a:lnTo>
                <a:lnTo>
                  <a:pt x="601" y="1353"/>
                </a:lnTo>
                <a:lnTo>
                  <a:pt x="597" y="1356"/>
                </a:lnTo>
                <a:lnTo>
                  <a:pt x="593" y="1356"/>
                </a:lnTo>
                <a:lnTo>
                  <a:pt x="590" y="1356"/>
                </a:lnTo>
                <a:lnTo>
                  <a:pt x="586" y="1354"/>
                </a:lnTo>
                <a:lnTo>
                  <a:pt x="583" y="1353"/>
                </a:lnTo>
                <a:lnTo>
                  <a:pt x="578" y="1353"/>
                </a:lnTo>
                <a:lnTo>
                  <a:pt x="572" y="1352"/>
                </a:lnTo>
                <a:lnTo>
                  <a:pt x="567" y="1353"/>
                </a:lnTo>
                <a:lnTo>
                  <a:pt x="560" y="1353"/>
                </a:lnTo>
                <a:lnTo>
                  <a:pt x="554" y="1352"/>
                </a:lnTo>
                <a:lnTo>
                  <a:pt x="547" y="1350"/>
                </a:lnTo>
                <a:lnTo>
                  <a:pt x="542" y="1345"/>
                </a:lnTo>
                <a:lnTo>
                  <a:pt x="537" y="1341"/>
                </a:lnTo>
                <a:lnTo>
                  <a:pt x="533" y="1336"/>
                </a:lnTo>
                <a:lnTo>
                  <a:pt x="530" y="1330"/>
                </a:lnTo>
                <a:lnTo>
                  <a:pt x="526" y="1326"/>
                </a:lnTo>
                <a:lnTo>
                  <a:pt x="522" y="1316"/>
                </a:lnTo>
                <a:lnTo>
                  <a:pt x="517" y="1308"/>
                </a:lnTo>
                <a:lnTo>
                  <a:pt x="512" y="1300"/>
                </a:lnTo>
                <a:lnTo>
                  <a:pt x="508" y="1292"/>
                </a:lnTo>
                <a:lnTo>
                  <a:pt x="506" y="1285"/>
                </a:lnTo>
                <a:lnTo>
                  <a:pt x="504" y="1281"/>
                </a:lnTo>
                <a:lnTo>
                  <a:pt x="502" y="1275"/>
                </a:lnTo>
                <a:lnTo>
                  <a:pt x="495" y="1263"/>
                </a:lnTo>
                <a:lnTo>
                  <a:pt x="488" y="1248"/>
                </a:lnTo>
                <a:lnTo>
                  <a:pt x="481" y="1235"/>
                </a:lnTo>
                <a:lnTo>
                  <a:pt x="474" y="1224"/>
                </a:lnTo>
                <a:lnTo>
                  <a:pt x="465" y="1221"/>
                </a:lnTo>
                <a:lnTo>
                  <a:pt x="458" y="1220"/>
                </a:lnTo>
                <a:lnTo>
                  <a:pt x="451" y="1218"/>
                </a:lnTo>
                <a:lnTo>
                  <a:pt x="444" y="1215"/>
                </a:lnTo>
                <a:lnTo>
                  <a:pt x="439" y="1210"/>
                </a:lnTo>
                <a:lnTo>
                  <a:pt x="433" y="1206"/>
                </a:lnTo>
                <a:lnTo>
                  <a:pt x="429" y="1201"/>
                </a:lnTo>
                <a:lnTo>
                  <a:pt x="428" y="1195"/>
                </a:lnTo>
                <a:lnTo>
                  <a:pt x="431" y="1190"/>
                </a:lnTo>
                <a:lnTo>
                  <a:pt x="436" y="1180"/>
                </a:lnTo>
                <a:lnTo>
                  <a:pt x="440" y="1174"/>
                </a:lnTo>
                <a:lnTo>
                  <a:pt x="438" y="1169"/>
                </a:lnTo>
                <a:lnTo>
                  <a:pt x="427" y="1168"/>
                </a:lnTo>
                <a:lnTo>
                  <a:pt x="420" y="1167"/>
                </a:lnTo>
                <a:lnTo>
                  <a:pt x="412" y="1163"/>
                </a:lnTo>
                <a:lnTo>
                  <a:pt x="405" y="1159"/>
                </a:lnTo>
                <a:lnTo>
                  <a:pt x="398" y="1153"/>
                </a:lnTo>
                <a:lnTo>
                  <a:pt x="393" y="1146"/>
                </a:lnTo>
                <a:lnTo>
                  <a:pt x="389" y="1139"/>
                </a:lnTo>
                <a:lnTo>
                  <a:pt x="388" y="1133"/>
                </a:lnTo>
                <a:lnTo>
                  <a:pt x="390" y="1128"/>
                </a:lnTo>
                <a:lnTo>
                  <a:pt x="396" y="1121"/>
                </a:lnTo>
                <a:lnTo>
                  <a:pt x="401" y="1116"/>
                </a:lnTo>
                <a:lnTo>
                  <a:pt x="402" y="1110"/>
                </a:lnTo>
                <a:lnTo>
                  <a:pt x="403" y="1100"/>
                </a:lnTo>
                <a:lnTo>
                  <a:pt x="403" y="1090"/>
                </a:lnTo>
                <a:lnTo>
                  <a:pt x="404" y="1083"/>
                </a:lnTo>
                <a:lnTo>
                  <a:pt x="405" y="1078"/>
                </a:lnTo>
                <a:lnTo>
                  <a:pt x="409" y="1072"/>
                </a:lnTo>
                <a:lnTo>
                  <a:pt x="413" y="1064"/>
                </a:lnTo>
                <a:lnTo>
                  <a:pt x="416" y="1056"/>
                </a:lnTo>
                <a:lnTo>
                  <a:pt x="414" y="1048"/>
                </a:lnTo>
                <a:lnTo>
                  <a:pt x="409" y="1039"/>
                </a:lnTo>
                <a:lnTo>
                  <a:pt x="402" y="1027"/>
                </a:lnTo>
                <a:lnTo>
                  <a:pt x="397" y="1015"/>
                </a:lnTo>
                <a:lnTo>
                  <a:pt x="396" y="1002"/>
                </a:lnTo>
                <a:lnTo>
                  <a:pt x="397" y="992"/>
                </a:lnTo>
                <a:lnTo>
                  <a:pt x="401" y="984"/>
                </a:lnTo>
                <a:lnTo>
                  <a:pt x="403" y="977"/>
                </a:lnTo>
                <a:lnTo>
                  <a:pt x="403" y="971"/>
                </a:lnTo>
                <a:lnTo>
                  <a:pt x="394" y="964"/>
                </a:lnTo>
                <a:lnTo>
                  <a:pt x="386" y="961"/>
                </a:lnTo>
                <a:lnTo>
                  <a:pt x="374" y="957"/>
                </a:lnTo>
                <a:lnTo>
                  <a:pt x="361" y="954"/>
                </a:lnTo>
                <a:lnTo>
                  <a:pt x="349" y="950"/>
                </a:lnTo>
                <a:lnTo>
                  <a:pt x="335" y="948"/>
                </a:lnTo>
                <a:lnTo>
                  <a:pt x="323" y="946"/>
                </a:lnTo>
                <a:lnTo>
                  <a:pt x="314" y="943"/>
                </a:lnTo>
                <a:lnTo>
                  <a:pt x="307" y="943"/>
                </a:lnTo>
                <a:lnTo>
                  <a:pt x="303" y="943"/>
                </a:lnTo>
                <a:lnTo>
                  <a:pt x="297" y="943"/>
                </a:lnTo>
                <a:lnTo>
                  <a:pt x="292" y="943"/>
                </a:lnTo>
                <a:lnTo>
                  <a:pt x="287" y="943"/>
                </a:lnTo>
                <a:lnTo>
                  <a:pt x="281" y="944"/>
                </a:lnTo>
                <a:lnTo>
                  <a:pt x="275" y="946"/>
                </a:lnTo>
                <a:lnTo>
                  <a:pt x="269" y="948"/>
                </a:lnTo>
                <a:lnTo>
                  <a:pt x="264" y="952"/>
                </a:lnTo>
                <a:lnTo>
                  <a:pt x="258" y="957"/>
                </a:lnTo>
                <a:lnTo>
                  <a:pt x="250" y="961"/>
                </a:lnTo>
                <a:lnTo>
                  <a:pt x="243" y="964"/>
                </a:lnTo>
                <a:lnTo>
                  <a:pt x="235" y="966"/>
                </a:lnTo>
                <a:lnTo>
                  <a:pt x="226" y="969"/>
                </a:lnTo>
                <a:lnTo>
                  <a:pt x="217" y="971"/>
                </a:lnTo>
                <a:lnTo>
                  <a:pt x="209" y="972"/>
                </a:lnTo>
                <a:lnTo>
                  <a:pt x="202" y="973"/>
                </a:lnTo>
                <a:lnTo>
                  <a:pt x="196" y="975"/>
                </a:lnTo>
                <a:lnTo>
                  <a:pt x="189" y="979"/>
                </a:lnTo>
                <a:lnTo>
                  <a:pt x="183" y="984"/>
                </a:lnTo>
                <a:lnTo>
                  <a:pt x="177" y="988"/>
                </a:lnTo>
                <a:lnTo>
                  <a:pt x="171" y="993"/>
                </a:lnTo>
                <a:lnTo>
                  <a:pt x="167" y="997"/>
                </a:lnTo>
                <a:lnTo>
                  <a:pt x="162" y="1002"/>
                </a:lnTo>
                <a:lnTo>
                  <a:pt x="159" y="1004"/>
                </a:lnTo>
                <a:lnTo>
                  <a:pt x="152" y="1011"/>
                </a:lnTo>
                <a:lnTo>
                  <a:pt x="146" y="1023"/>
                </a:lnTo>
                <a:lnTo>
                  <a:pt x="144" y="1034"/>
                </a:lnTo>
                <a:lnTo>
                  <a:pt x="149" y="1045"/>
                </a:lnTo>
                <a:lnTo>
                  <a:pt x="154" y="1048"/>
                </a:lnTo>
                <a:lnTo>
                  <a:pt x="160" y="1050"/>
                </a:lnTo>
                <a:lnTo>
                  <a:pt x="166" y="1052"/>
                </a:lnTo>
                <a:lnTo>
                  <a:pt x="170" y="1053"/>
                </a:lnTo>
                <a:lnTo>
                  <a:pt x="175" y="1053"/>
                </a:lnTo>
                <a:lnTo>
                  <a:pt x="179" y="1053"/>
                </a:lnTo>
                <a:lnTo>
                  <a:pt x="182" y="1055"/>
                </a:lnTo>
                <a:lnTo>
                  <a:pt x="184" y="1057"/>
                </a:lnTo>
                <a:lnTo>
                  <a:pt x="185" y="1066"/>
                </a:lnTo>
                <a:lnTo>
                  <a:pt x="182" y="1078"/>
                </a:lnTo>
                <a:lnTo>
                  <a:pt x="175" y="1090"/>
                </a:lnTo>
                <a:lnTo>
                  <a:pt x="162" y="1100"/>
                </a:lnTo>
                <a:lnTo>
                  <a:pt x="154" y="1104"/>
                </a:lnTo>
                <a:lnTo>
                  <a:pt x="147" y="1108"/>
                </a:lnTo>
                <a:lnTo>
                  <a:pt x="140" y="1110"/>
                </a:lnTo>
                <a:lnTo>
                  <a:pt x="134" y="1113"/>
                </a:lnTo>
                <a:lnTo>
                  <a:pt x="130" y="1116"/>
                </a:lnTo>
                <a:lnTo>
                  <a:pt x="125" y="1118"/>
                </a:lnTo>
                <a:lnTo>
                  <a:pt x="122" y="1123"/>
                </a:lnTo>
                <a:lnTo>
                  <a:pt x="118" y="1128"/>
                </a:lnTo>
                <a:lnTo>
                  <a:pt x="111" y="1138"/>
                </a:lnTo>
                <a:lnTo>
                  <a:pt x="101" y="1146"/>
                </a:lnTo>
                <a:lnTo>
                  <a:pt x="92" y="1152"/>
                </a:lnTo>
                <a:lnTo>
                  <a:pt x="88" y="1153"/>
                </a:lnTo>
                <a:lnTo>
                  <a:pt x="87" y="1153"/>
                </a:lnTo>
                <a:lnTo>
                  <a:pt x="85" y="1151"/>
                </a:lnTo>
                <a:lnTo>
                  <a:pt x="80" y="1149"/>
                </a:lnTo>
                <a:lnTo>
                  <a:pt x="76" y="1147"/>
                </a:lnTo>
                <a:lnTo>
                  <a:pt x="70" y="1146"/>
                </a:lnTo>
                <a:lnTo>
                  <a:pt x="63" y="1145"/>
                </a:lnTo>
                <a:lnTo>
                  <a:pt x="56" y="1145"/>
                </a:lnTo>
                <a:lnTo>
                  <a:pt x="50" y="1147"/>
                </a:lnTo>
                <a:lnTo>
                  <a:pt x="45" y="1148"/>
                </a:lnTo>
                <a:lnTo>
                  <a:pt x="38" y="1149"/>
                </a:lnTo>
                <a:lnTo>
                  <a:pt x="30" y="1149"/>
                </a:lnTo>
                <a:lnTo>
                  <a:pt x="23" y="1148"/>
                </a:lnTo>
                <a:lnTo>
                  <a:pt x="16" y="1147"/>
                </a:lnTo>
                <a:lnTo>
                  <a:pt x="10" y="1145"/>
                </a:lnTo>
                <a:lnTo>
                  <a:pt x="5" y="1141"/>
                </a:lnTo>
                <a:lnTo>
                  <a:pt x="2" y="1137"/>
                </a:lnTo>
                <a:lnTo>
                  <a:pt x="0" y="1129"/>
                </a:lnTo>
                <a:lnTo>
                  <a:pt x="1" y="1121"/>
                </a:lnTo>
                <a:lnTo>
                  <a:pt x="2" y="1113"/>
                </a:lnTo>
                <a:lnTo>
                  <a:pt x="2" y="1103"/>
                </a:lnTo>
                <a:lnTo>
                  <a:pt x="3" y="1092"/>
                </a:lnTo>
                <a:lnTo>
                  <a:pt x="10" y="1080"/>
                </a:lnTo>
                <a:lnTo>
                  <a:pt x="20" y="1070"/>
                </a:lnTo>
                <a:lnTo>
                  <a:pt x="32" y="1066"/>
                </a:lnTo>
                <a:lnTo>
                  <a:pt x="38" y="1066"/>
                </a:lnTo>
                <a:lnTo>
                  <a:pt x="45" y="1066"/>
                </a:lnTo>
                <a:lnTo>
                  <a:pt x="50" y="1066"/>
                </a:lnTo>
                <a:lnTo>
                  <a:pt x="55" y="1066"/>
                </a:lnTo>
                <a:lnTo>
                  <a:pt x="60" y="1065"/>
                </a:lnTo>
                <a:lnTo>
                  <a:pt x="63" y="1064"/>
                </a:lnTo>
                <a:lnTo>
                  <a:pt x="65" y="1062"/>
                </a:lnTo>
                <a:lnTo>
                  <a:pt x="67" y="1057"/>
                </a:lnTo>
                <a:lnTo>
                  <a:pt x="67" y="1049"/>
                </a:lnTo>
                <a:lnTo>
                  <a:pt x="68" y="1042"/>
                </a:lnTo>
                <a:lnTo>
                  <a:pt x="70" y="1037"/>
                </a:lnTo>
                <a:lnTo>
                  <a:pt x="72" y="1030"/>
                </a:lnTo>
                <a:lnTo>
                  <a:pt x="77" y="1019"/>
                </a:lnTo>
                <a:lnTo>
                  <a:pt x="84" y="1005"/>
                </a:lnTo>
                <a:lnTo>
                  <a:pt x="86" y="993"/>
                </a:lnTo>
                <a:lnTo>
                  <a:pt x="79" y="982"/>
                </a:lnTo>
                <a:lnTo>
                  <a:pt x="69" y="972"/>
                </a:lnTo>
                <a:lnTo>
                  <a:pt x="64" y="958"/>
                </a:lnTo>
                <a:lnTo>
                  <a:pt x="63" y="941"/>
                </a:lnTo>
                <a:lnTo>
                  <a:pt x="63" y="925"/>
                </a:lnTo>
                <a:lnTo>
                  <a:pt x="64" y="911"/>
                </a:lnTo>
                <a:lnTo>
                  <a:pt x="69" y="899"/>
                </a:lnTo>
                <a:lnTo>
                  <a:pt x="75" y="891"/>
                </a:lnTo>
                <a:lnTo>
                  <a:pt x="81" y="885"/>
                </a:lnTo>
                <a:lnTo>
                  <a:pt x="87" y="879"/>
                </a:lnTo>
                <a:lnTo>
                  <a:pt x="91" y="873"/>
                </a:lnTo>
                <a:lnTo>
                  <a:pt x="90" y="868"/>
                </a:lnTo>
                <a:lnTo>
                  <a:pt x="85" y="863"/>
                </a:lnTo>
                <a:lnTo>
                  <a:pt x="80" y="855"/>
                </a:lnTo>
                <a:lnTo>
                  <a:pt x="79" y="844"/>
                </a:lnTo>
                <a:lnTo>
                  <a:pt x="83" y="834"/>
                </a:lnTo>
                <a:lnTo>
                  <a:pt x="91" y="826"/>
                </a:lnTo>
                <a:lnTo>
                  <a:pt x="99" y="820"/>
                </a:lnTo>
                <a:lnTo>
                  <a:pt x="111" y="810"/>
                </a:lnTo>
                <a:lnTo>
                  <a:pt x="128" y="797"/>
                </a:lnTo>
                <a:lnTo>
                  <a:pt x="145" y="782"/>
                </a:lnTo>
                <a:lnTo>
                  <a:pt x="162" y="767"/>
                </a:lnTo>
                <a:lnTo>
                  <a:pt x="178" y="754"/>
                </a:lnTo>
                <a:lnTo>
                  <a:pt x="192" y="743"/>
                </a:lnTo>
                <a:lnTo>
                  <a:pt x="202" y="736"/>
                </a:lnTo>
                <a:lnTo>
                  <a:pt x="211" y="731"/>
                </a:lnTo>
                <a:lnTo>
                  <a:pt x="217" y="728"/>
                </a:lnTo>
                <a:lnTo>
                  <a:pt x="223" y="724"/>
                </a:lnTo>
                <a:lnTo>
                  <a:pt x="229" y="722"/>
                </a:lnTo>
                <a:lnTo>
                  <a:pt x="232" y="720"/>
                </a:lnTo>
                <a:lnTo>
                  <a:pt x="235" y="716"/>
                </a:lnTo>
                <a:lnTo>
                  <a:pt x="236" y="713"/>
                </a:lnTo>
                <a:lnTo>
                  <a:pt x="236" y="708"/>
                </a:lnTo>
                <a:lnTo>
                  <a:pt x="235" y="699"/>
                </a:lnTo>
                <a:lnTo>
                  <a:pt x="236" y="690"/>
                </a:lnTo>
                <a:lnTo>
                  <a:pt x="238" y="681"/>
                </a:lnTo>
                <a:lnTo>
                  <a:pt x="243" y="669"/>
                </a:lnTo>
                <a:lnTo>
                  <a:pt x="246" y="656"/>
                </a:lnTo>
                <a:lnTo>
                  <a:pt x="249" y="646"/>
                </a:lnTo>
                <a:lnTo>
                  <a:pt x="247" y="638"/>
                </a:lnTo>
                <a:lnTo>
                  <a:pt x="243" y="632"/>
                </a:lnTo>
                <a:lnTo>
                  <a:pt x="238" y="623"/>
                </a:lnTo>
                <a:lnTo>
                  <a:pt x="239" y="610"/>
                </a:lnTo>
                <a:lnTo>
                  <a:pt x="243" y="597"/>
                </a:lnTo>
                <a:lnTo>
                  <a:pt x="249" y="586"/>
                </a:lnTo>
                <a:lnTo>
                  <a:pt x="252" y="583"/>
                </a:lnTo>
                <a:lnTo>
                  <a:pt x="257" y="579"/>
                </a:lnTo>
                <a:lnTo>
                  <a:pt x="261" y="576"/>
                </a:lnTo>
                <a:lnTo>
                  <a:pt x="266" y="574"/>
                </a:lnTo>
                <a:lnTo>
                  <a:pt x="272" y="571"/>
                </a:lnTo>
                <a:lnTo>
                  <a:pt x="277" y="569"/>
                </a:lnTo>
                <a:lnTo>
                  <a:pt x="283" y="568"/>
                </a:lnTo>
                <a:lnTo>
                  <a:pt x="289" y="568"/>
                </a:lnTo>
                <a:lnTo>
                  <a:pt x="295" y="568"/>
                </a:lnTo>
                <a:lnTo>
                  <a:pt x="302" y="565"/>
                </a:lnTo>
                <a:lnTo>
                  <a:pt x="310" y="564"/>
                </a:lnTo>
                <a:lnTo>
                  <a:pt x="317" y="561"/>
                </a:lnTo>
                <a:lnTo>
                  <a:pt x="325" y="556"/>
                </a:lnTo>
                <a:lnTo>
                  <a:pt x="330" y="552"/>
                </a:lnTo>
                <a:lnTo>
                  <a:pt x="336" y="546"/>
                </a:lnTo>
                <a:lnTo>
                  <a:pt x="341" y="539"/>
                </a:lnTo>
                <a:lnTo>
                  <a:pt x="345" y="532"/>
                </a:lnTo>
                <a:lnTo>
                  <a:pt x="351" y="524"/>
                </a:lnTo>
                <a:lnTo>
                  <a:pt x="358" y="515"/>
                </a:lnTo>
                <a:lnTo>
                  <a:pt x="366" y="507"/>
                </a:lnTo>
                <a:lnTo>
                  <a:pt x="373" y="499"/>
                </a:lnTo>
                <a:lnTo>
                  <a:pt x="380" y="492"/>
                </a:lnTo>
                <a:lnTo>
                  <a:pt x="386" y="485"/>
                </a:lnTo>
                <a:lnTo>
                  <a:pt x="390" y="480"/>
                </a:lnTo>
                <a:lnTo>
                  <a:pt x="395" y="477"/>
                </a:lnTo>
                <a:lnTo>
                  <a:pt x="399" y="473"/>
                </a:lnTo>
                <a:lnTo>
                  <a:pt x="406" y="471"/>
                </a:lnTo>
                <a:lnTo>
                  <a:pt x="413" y="468"/>
                </a:lnTo>
                <a:lnTo>
                  <a:pt x="419" y="464"/>
                </a:lnTo>
                <a:lnTo>
                  <a:pt x="426" y="461"/>
                </a:lnTo>
                <a:lnTo>
                  <a:pt x="431" y="457"/>
                </a:lnTo>
                <a:lnTo>
                  <a:pt x="434" y="453"/>
                </a:lnTo>
                <a:lnTo>
                  <a:pt x="438" y="447"/>
                </a:lnTo>
                <a:lnTo>
                  <a:pt x="442" y="440"/>
                </a:lnTo>
                <a:lnTo>
                  <a:pt x="448" y="432"/>
                </a:lnTo>
                <a:lnTo>
                  <a:pt x="454" y="424"/>
                </a:lnTo>
                <a:lnTo>
                  <a:pt x="461" y="415"/>
                </a:lnTo>
                <a:lnTo>
                  <a:pt x="467" y="407"/>
                </a:lnTo>
                <a:lnTo>
                  <a:pt x="472" y="400"/>
                </a:lnTo>
                <a:lnTo>
                  <a:pt x="477" y="394"/>
                </a:lnTo>
                <a:lnTo>
                  <a:pt x="481" y="382"/>
                </a:lnTo>
                <a:lnTo>
                  <a:pt x="482" y="370"/>
                </a:lnTo>
                <a:lnTo>
                  <a:pt x="485" y="359"/>
                </a:lnTo>
                <a:lnTo>
                  <a:pt x="493" y="355"/>
                </a:lnTo>
                <a:lnTo>
                  <a:pt x="499" y="354"/>
                </a:lnTo>
                <a:lnTo>
                  <a:pt x="506" y="352"/>
                </a:lnTo>
                <a:lnTo>
                  <a:pt x="512" y="349"/>
                </a:lnTo>
                <a:lnTo>
                  <a:pt x="518" y="346"/>
                </a:lnTo>
                <a:lnTo>
                  <a:pt x="524" y="341"/>
                </a:lnTo>
                <a:lnTo>
                  <a:pt x="529" y="337"/>
                </a:lnTo>
                <a:lnTo>
                  <a:pt x="532" y="333"/>
                </a:lnTo>
                <a:lnTo>
                  <a:pt x="533" y="329"/>
                </a:lnTo>
                <a:lnTo>
                  <a:pt x="530" y="324"/>
                </a:lnTo>
                <a:lnTo>
                  <a:pt x="522" y="320"/>
                </a:lnTo>
                <a:lnTo>
                  <a:pt x="511" y="320"/>
                </a:lnTo>
                <a:lnTo>
                  <a:pt x="502" y="324"/>
                </a:lnTo>
                <a:lnTo>
                  <a:pt x="496" y="325"/>
                </a:lnTo>
                <a:lnTo>
                  <a:pt x="492" y="324"/>
                </a:lnTo>
                <a:lnTo>
                  <a:pt x="486" y="321"/>
                </a:lnTo>
                <a:lnTo>
                  <a:pt x="477" y="324"/>
                </a:lnTo>
                <a:lnTo>
                  <a:pt x="471" y="325"/>
                </a:lnTo>
                <a:lnTo>
                  <a:pt x="464" y="326"/>
                </a:lnTo>
                <a:lnTo>
                  <a:pt x="458" y="326"/>
                </a:lnTo>
                <a:lnTo>
                  <a:pt x="453" y="325"/>
                </a:lnTo>
                <a:lnTo>
                  <a:pt x="448" y="321"/>
                </a:lnTo>
                <a:lnTo>
                  <a:pt x="446" y="318"/>
                </a:lnTo>
                <a:lnTo>
                  <a:pt x="446" y="312"/>
                </a:lnTo>
                <a:lnTo>
                  <a:pt x="449" y="305"/>
                </a:lnTo>
                <a:lnTo>
                  <a:pt x="453" y="297"/>
                </a:lnTo>
                <a:lnTo>
                  <a:pt x="457" y="287"/>
                </a:lnTo>
                <a:lnTo>
                  <a:pt x="464" y="276"/>
                </a:lnTo>
                <a:lnTo>
                  <a:pt x="474" y="265"/>
                </a:lnTo>
                <a:lnTo>
                  <a:pt x="484" y="255"/>
                </a:lnTo>
                <a:lnTo>
                  <a:pt x="491" y="249"/>
                </a:lnTo>
                <a:lnTo>
                  <a:pt x="494" y="243"/>
                </a:lnTo>
                <a:lnTo>
                  <a:pt x="495" y="237"/>
                </a:lnTo>
                <a:lnTo>
                  <a:pt x="496" y="234"/>
                </a:lnTo>
                <a:lnTo>
                  <a:pt x="499" y="229"/>
                </a:lnTo>
                <a:lnTo>
                  <a:pt x="502" y="223"/>
                </a:lnTo>
                <a:lnTo>
                  <a:pt x="508" y="219"/>
                </a:lnTo>
                <a:lnTo>
                  <a:pt x="515" y="215"/>
                </a:lnTo>
                <a:lnTo>
                  <a:pt x="522" y="213"/>
                </a:lnTo>
                <a:lnTo>
                  <a:pt x="530" y="213"/>
                </a:lnTo>
                <a:lnTo>
                  <a:pt x="539" y="215"/>
                </a:lnTo>
                <a:lnTo>
                  <a:pt x="548" y="218"/>
                </a:lnTo>
                <a:lnTo>
                  <a:pt x="556" y="218"/>
                </a:lnTo>
                <a:lnTo>
                  <a:pt x="565" y="217"/>
                </a:lnTo>
                <a:lnTo>
                  <a:pt x="573" y="214"/>
                </a:lnTo>
                <a:lnTo>
                  <a:pt x="580" y="213"/>
                </a:lnTo>
                <a:lnTo>
                  <a:pt x="588" y="213"/>
                </a:lnTo>
                <a:lnTo>
                  <a:pt x="595" y="214"/>
                </a:lnTo>
                <a:lnTo>
                  <a:pt x="601" y="219"/>
                </a:lnTo>
                <a:lnTo>
                  <a:pt x="606" y="225"/>
                </a:lnTo>
                <a:lnTo>
                  <a:pt x="609" y="230"/>
                </a:lnTo>
                <a:lnTo>
                  <a:pt x="613" y="236"/>
                </a:lnTo>
                <a:lnTo>
                  <a:pt x="615" y="242"/>
                </a:lnTo>
                <a:lnTo>
                  <a:pt x="618" y="246"/>
                </a:lnTo>
                <a:lnTo>
                  <a:pt x="623" y="251"/>
                </a:lnTo>
                <a:lnTo>
                  <a:pt x="629" y="253"/>
                </a:lnTo>
                <a:lnTo>
                  <a:pt x="638" y="256"/>
                </a:lnTo>
                <a:lnTo>
                  <a:pt x="647" y="257"/>
                </a:lnTo>
                <a:lnTo>
                  <a:pt x="655" y="257"/>
                </a:lnTo>
                <a:lnTo>
                  <a:pt x="662" y="257"/>
                </a:lnTo>
                <a:lnTo>
                  <a:pt x="669" y="257"/>
                </a:lnTo>
                <a:lnTo>
                  <a:pt x="674" y="257"/>
                </a:lnTo>
                <a:lnTo>
                  <a:pt x="679" y="256"/>
                </a:lnTo>
                <a:lnTo>
                  <a:pt x="684" y="256"/>
                </a:lnTo>
                <a:lnTo>
                  <a:pt x="690" y="256"/>
                </a:lnTo>
                <a:lnTo>
                  <a:pt x="700" y="255"/>
                </a:lnTo>
                <a:lnTo>
                  <a:pt x="706" y="252"/>
                </a:lnTo>
                <a:lnTo>
                  <a:pt x="708" y="246"/>
                </a:lnTo>
                <a:lnTo>
                  <a:pt x="706" y="237"/>
                </a:lnTo>
                <a:lnTo>
                  <a:pt x="705" y="226"/>
                </a:lnTo>
                <a:lnTo>
                  <a:pt x="709" y="218"/>
                </a:lnTo>
                <a:lnTo>
                  <a:pt x="719" y="214"/>
                </a:lnTo>
                <a:lnTo>
                  <a:pt x="730" y="215"/>
                </a:lnTo>
                <a:lnTo>
                  <a:pt x="742" y="213"/>
                </a:lnTo>
                <a:lnTo>
                  <a:pt x="751" y="200"/>
                </a:lnTo>
                <a:lnTo>
                  <a:pt x="757" y="184"/>
                </a:lnTo>
                <a:lnTo>
                  <a:pt x="761" y="172"/>
                </a:lnTo>
                <a:lnTo>
                  <a:pt x="764" y="168"/>
                </a:lnTo>
                <a:lnTo>
                  <a:pt x="767" y="165"/>
                </a:lnTo>
                <a:lnTo>
                  <a:pt x="772" y="161"/>
                </a:lnTo>
                <a:lnTo>
                  <a:pt x="776" y="159"/>
                </a:lnTo>
                <a:lnTo>
                  <a:pt x="782" y="158"/>
                </a:lnTo>
                <a:lnTo>
                  <a:pt x="788" y="155"/>
                </a:lnTo>
                <a:lnTo>
                  <a:pt x="794" y="154"/>
                </a:lnTo>
                <a:lnTo>
                  <a:pt x="798" y="153"/>
                </a:lnTo>
                <a:lnTo>
                  <a:pt x="804" y="152"/>
                </a:lnTo>
                <a:lnTo>
                  <a:pt x="811" y="150"/>
                </a:lnTo>
                <a:lnTo>
                  <a:pt x="819" y="149"/>
                </a:lnTo>
                <a:lnTo>
                  <a:pt x="827" y="147"/>
                </a:lnTo>
                <a:lnTo>
                  <a:pt x="833" y="149"/>
                </a:lnTo>
                <a:lnTo>
                  <a:pt x="837" y="151"/>
                </a:lnTo>
                <a:lnTo>
                  <a:pt x="840" y="155"/>
                </a:lnTo>
                <a:lnTo>
                  <a:pt x="838" y="162"/>
                </a:lnTo>
                <a:lnTo>
                  <a:pt x="835" y="177"/>
                </a:lnTo>
                <a:lnTo>
                  <a:pt x="838" y="185"/>
                </a:lnTo>
                <a:lnTo>
                  <a:pt x="845" y="188"/>
                </a:lnTo>
                <a:lnTo>
                  <a:pt x="853" y="184"/>
                </a:lnTo>
                <a:lnTo>
                  <a:pt x="858" y="182"/>
                </a:lnTo>
                <a:lnTo>
                  <a:pt x="863" y="180"/>
                </a:lnTo>
                <a:lnTo>
                  <a:pt x="867" y="176"/>
                </a:lnTo>
                <a:lnTo>
                  <a:pt x="871" y="174"/>
                </a:lnTo>
                <a:lnTo>
                  <a:pt x="875" y="170"/>
                </a:lnTo>
                <a:lnTo>
                  <a:pt x="880" y="168"/>
                </a:lnTo>
                <a:lnTo>
                  <a:pt x="886" y="165"/>
                </a:lnTo>
                <a:lnTo>
                  <a:pt x="891" y="162"/>
                </a:lnTo>
                <a:lnTo>
                  <a:pt x="898" y="160"/>
                </a:lnTo>
                <a:lnTo>
                  <a:pt x="906" y="159"/>
                </a:lnTo>
                <a:lnTo>
                  <a:pt x="916" y="157"/>
                </a:lnTo>
                <a:lnTo>
                  <a:pt x="925" y="157"/>
                </a:lnTo>
                <a:lnTo>
                  <a:pt x="934" y="157"/>
                </a:lnTo>
                <a:lnTo>
                  <a:pt x="941" y="158"/>
                </a:lnTo>
                <a:lnTo>
                  <a:pt x="946" y="161"/>
                </a:lnTo>
                <a:lnTo>
                  <a:pt x="948" y="166"/>
                </a:lnTo>
                <a:lnTo>
                  <a:pt x="949" y="170"/>
                </a:lnTo>
                <a:lnTo>
                  <a:pt x="953" y="173"/>
                </a:lnTo>
                <a:lnTo>
                  <a:pt x="958" y="174"/>
                </a:lnTo>
                <a:lnTo>
                  <a:pt x="965" y="173"/>
                </a:lnTo>
                <a:lnTo>
                  <a:pt x="972" y="172"/>
                </a:lnTo>
                <a:lnTo>
                  <a:pt x="981" y="170"/>
                </a:lnTo>
                <a:lnTo>
                  <a:pt x="989" y="169"/>
                </a:lnTo>
                <a:lnTo>
                  <a:pt x="997" y="169"/>
                </a:lnTo>
                <a:lnTo>
                  <a:pt x="1006" y="168"/>
                </a:lnTo>
                <a:lnTo>
                  <a:pt x="1014" y="166"/>
                </a:lnTo>
                <a:lnTo>
                  <a:pt x="1022" y="162"/>
                </a:lnTo>
                <a:lnTo>
                  <a:pt x="1029" y="158"/>
                </a:lnTo>
                <a:lnTo>
                  <a:pt x="1036" y="154"/>
                </a:lnTo>
                <a:lnTo>
                  <a:pt x="1041" y="151"/>
                </a:lnTo>
                <a:lnTo>
                  <a:pt x="1047" y="149"/>
                </a:lnTo>
                <a:lnTo>
                  <a:pt x="1051" y="147"/>
                </a:lnTo>
                <a:lnTo>
                  <a:pt x="1054" y="146"/>
                </a:lnTo>
                <a:lnTo>
                  <a:pt x="1059" y="145"/>
                </a:lnTo>
                <a:lnTo>
                  <a:pt x="1064" y="142"/>
                </a:lnTo>
                <a:lnTo>
                  <a:pt x="1071" y="139"/>
                </a:lnTo>
                <a:lnTo>
                  <a:pt x="1078" y="137"/>
                </a:lnTo>
                <a:lnTo>
                  <a:pt x="1086" y="136"/>
                </a:lnTo>
                <a:lnTo>
                  <a:pt x="1094" y="136"/>
                </a:lnTo>
                <a:lnTo>
                  <a:pt x="1104" y="138"/>
                </a:lnTo>
                <a:lnTo>
                  <a:pt x="1113" y="142"/>
                </a:lnTo>
                <a:lnTo>
                  <a:pt x="1122" y="146"/>
                </a:lnTo>
                <a:lnTo>
                  <a:pt x="1130" y="151"/>
                </a:lnTo>
                <a:lnTo>
                  <a:pt x="1139" y="155"/>
                </a:lnTo>
                <a:lnTo>
                  <a:pt x="1147" y="160"/>
                </a:lnTo>
                <a:lnTo>
                  <a:pt x="1154" y="162"/>
                </a:lnTo>
                <a:lnTo>
                  <a:pt x="1161" y="165"/>
                </a:lnTo>
                <a:lnTo>
                  <a:pt x="1168" y="166"/>
                </a:lnTo>
                <a:lnTo>
                  <a:pt x="1180" y="165"/>
                </a:lnTo>
                <a:lnTo>
                  <a:pt x="1188" y="161"/>
                </a:lnTo>
                <a:lnTo>
                  <a:pt x="1192" y="154"/>
                </a:lnTo>
                <a:lnTo>
                  <a:pt x="1190" y="144"/>
                </a:lnTo>
                <a:lnTo>
                  <a:pt x="1183" y="135"/>
                </a:lnTo>
                <a:lnTo>
                  <a:pt x="1178" y="129"/>
                </a:lnTo>
                <a:lnTo>
                  <a:pt x="1174" y="124"/>
                </a:lnTo>
                <a:lnTo>
                  <a:pt x="1171" y="116"/>
                </a:lnTo>
                <a:lnTo>
                  <a:pt x="1168" y="106"/>
                </a:lnTo>
                <a:lnTo>
                  <a:pt x="1166" y="93"/>
                </a:lnTo>
                <a:lnTo>
                  <a:pt x="1168" y="79"/>
                </a:lnTo>
                <a:lnTo>
                  <a:pt x="1177" y="64"/>
                </a:lnTo>
                <a:lnTo>
                  <a:pt x="1184" y="56"/>
                </a:lnTo>
                <a:lnTo>
                  <a:pt x="1191" y="50"/>
                </a:lnTo>
                <a:lnTo>
                  <a:pt x="1198" y="43"/>
                </a:lnTo>
                <a:lnTo>
                  <a:pt x="1204" y="37"/>
                </a:lnTo>
                <a:lnTo>
                  <a:pt x="1211" y="32"/>
                </a:lnTo>
                <a:lnTo>
                  <a:pt x="1216" y="29"/>
                </a:lnTo>
                <a:lnTo>
                  <a:pt x="1222" y="25"/>
                </a:lnTo>
                <a:lnTo>
                  <a:pt x="1227" y="24"/>
                </a:lnTo>
                <a:lnTo>
                  <a:pt x="1233" y="21"/>
                </a:lnTo>
                <a:lnTo>
                  <a:pt x="1236" y="14"/>
                </a:lnTo>
                <a:lnTo>
                  <a:pt x="1241" y="7"/>
                </a:lnTo>
                <a:lnTo>
                  <a:pt x="1246" y="1"/>
                </a:lnTo>
                <a:lnTo>
                  <a:pt x="1248" y="1"/>
                </a:lnTo>
                <a:lnTo>
                  <a:pt x="1249" y="0"/>
                </a:lnTo>
                <a:lnTo>
                  <a:pt x="1251" y="0"/>
                </a:lnTo>
                <a:lnTo>
                  <a:pt x="1252" y="0"/>
                </a:lnTo>
                <a:lnTo>
                  <a:pt x="1254" y="0"/>
                </a:lnTo>
                <a:lnTo>
                  <a:pt x="1256" y="1"/>
                </a:lnTo>
                <a:lnTo>
                  <a:pt x="1258" y="1"/>
                </a:lnTo>
                <a:lnTo>
                  <a:pt x="1260" y="2"/>
                </a:lnTo>
                <a:lnTo>
                  <a:pt x="1269" y="6"/>
                </a:lnTo>
                <a:lnTo>
                  <a:pt x="1277" y="8"/>
                </a:lnTo>
                <a:lnTo>
                  <a:pt x="1284" y="12"/>
                </a:lnTo>
                <a:lnTo>
                  <a:pt x="1290" y="14"/>
                </a:lnTo>
                <a:lnTo>
                  <a:pt x="1297" y="18"/>
                </a:lnTo>
                <a:lnTo>
                  <a:pt x="1303" y="22"/>
                </a:lnTo>
                <a:lnTo>
                  <a:pt x="1310" y="28"/>
                </a:lnTo>
                <a:lnTo>
                  <a:pt x="1317" y="33"/>
                </a:lnTo>
                <a:lnTo>
                  <a:pt x="1327" y="45"/>
                </a:lnTo>
                <a:lnTo>
                  <a:pt x="1330" y="53"/>
                </a:lnTo>
                <a:lnTo>
                  <a:pt x="1330" y="60"/>
                </a:lnTo>
                <a:lnTo>
                  <a:pt x="1328" y="67"/>
                </a:lnTo>
                <a:lnTo>
                  <a:pt x="1328" y="73"/>
                </a:lnTo>
                <a:lnTo>
                  <a:pt x="1330" y="76"/>
                </a:lnTo>
                <a:lnTo>
                  <a:pt x="1334" y="78"/>
                </a:lnTo>
                <a:lnTo>
                  <a:pt x="1335" y="79"/>
                </a:lnTo>
                <a:lnTo>
                  <a:pt x="1337" y="75"/>
                </a:lnTo>
                <a:lnTo>
                  <a:pt x="1342" y="67"/>
                </a:lnTo>
                <a:lnTo>
                  <a:pt x="1351" y="60"/>
                </a:lnTo>
                <a:lnTo>
                  <a:pt x="1363" y="61"/>
                </a:lnTo>
                <a:lnTo>
                  <a:pt x="1375" y="68"/>
                </a:lnTo>
                <a:lnTo>
                  <a:pt x="1383" y="74"/>
                </a:lnTo>
                <a:lnTo>
                  <a:pt x="1389" y="82"/>
                </a:lnTo>
                <a:lnTo>
                  <a:pt x="1390" y="92"/>
                </a:lnTo>
                <a:lnTo>
                  <a:pt x="1393" y="100"/>
                </a:lnTo>
                <a:lnTo>
                  <a:pt x="1400" y="104"/>
                </a:lnTo>
                <a:lnTo>
                  <a:pt x="1407" y="103"/>
                </a:lnTo>
                <a:lnTo>
                  <a:pt x="1415" y="101"/>
                </a:lnTo>
                <a:lnTo>
                  <a:pt x="1419" y="100"/>
                </a:lnTo>
                <a:lnTo>
                  <a:pt x="1424" y="98"/>
                </a:lnTo>
                <a:lnTo>
                  <a:pt x="1431" y="94"/>
                </a:lnTo>
                <a:lnTo>
                  <a:pt x="1439" y="92"/>
                </a:lnTo>
                <a:lnTo>
                  <a:pt x="1447" y="90"/>
                </a:lnTo>
                <a:lnTo>
                  <a:pt x="1455" y="89"/>
                </a:lnTo>
                <a:lnTo>
                  <a:pt x="1464" y="88"/>
                </a:lnTo>
                <a:lnTo>
                  <a:pt x="1473" y="89"/>
                </a:lnTo>
                <a:lnTo>
                  <a:pt x="1483" y="90"/>
                </a:lnTo>
                <a:lnTo>
                  <a:pt x="1492" y="92"/>
                </a:lnTo>
                <a:lnTo>
                  <a:pt x="1501" y="94"/>
                </a:lnTo>
                <a:lnTo>
                  <a:pt x="1509" y="97"/>
                </a:lnTo>
                <a:lnTo>
                  <a:pt x="1517" y="98"/>
                </a:lnTo>
                <a:lnTo>
                  <a:pt x="1524" y="100"/>
                </a:lnTo>
                <a:lnTo>
                  <a:pt x="1530" y="101"/>
                </a:lnTo>
                <a:lnTo>
                  <a:pt x="1536" y="101"/>
                </a:lnTo>
                <a:lnTo>
                  <a:pt x="1540" y="101"/>
                </a:lnTo>
                <a:lnTo>
                  <a:pt x="1546" y="100"/>
                </a:lnTo>
                <a:lnTo>
                  <a:pt x="1551" y="100"/>
                </a:lnTo>
                <a:lnTo>
                  <a:pt x="1556" y="99"/>
                </a:lnTo>
                <a:lnTo>
                  <a:pt x="1562" y="100"/>
                </a:lnTo>
                <a:lnTo>
                  <a:pt x="1569" y="101"/>
                </a:lnTo>
                <a:lnTo>
                  <a:pt x="1575" y="104"/>
                </a:lnTo>
                <a:lnTo>
                  <a:pt x="1582" y="107"/>
                </a:lnTo>
                <a:lnTo>
                  <a:pt x="1590" y="112"/>
                </a:lnTo>
                <a:lnTo>
                  <a:pt x="1598" y="116"/>
                </a:lnTo>
                <a:lnTo>
                  <a:pt x="1608" y="121"/>
                </a:lnTo>
                <a:lnTo>
                  <a:pt x="1620" y="127"/>
                </a:lnTo>
                <a:lnTo>
                  <a:pt x="1632" y="132"/>
                </a:lnTo>
                <a:lnTo>
                  <a:pt x="1645" y="141"/>
                </a:lnTo>
                <a:lnTo>
                  <a:pt x="1659" y="150"/>
                </a:lnTo>
                <a:lnTo>
                  <a:pt x="1674" y="160"/>
                </a:lnTo>
                <a:lnTo>
                  <a:pt x="1688" y="170"/>
                </a:lnTo>
                <a:lnTo>
                  <a:pt x="1698" y="180"/>
                </a:lnTo>
                <a:lnTo>
                  <a:pt x="1706" y="188"/>
                </a:lnTo>
                <a:lnTo>
                  <a:pt x="1712" y="195"/>
                </a:lnTo>
                <a:lnTo>
                  <a:pt x="1716" y="200"/>
                </a:lnTo>
                <a:lnTo>
                  <a:pt x="1720" y="206"/>
                </a:lnTo>
                <a:lnTo>
                  <a:pt x="1723" y="211"/>
                </a:lnTo>
                <a:lnTo>
                  <a:pt x="1727" y="215"/>
                </a:lnTo>
                <a:lnTo>
                  <a:pt x="1731" y="220"/>
                </a:lnTo>
                <a:lnTo>
                  <a:pt x="1736" y="225"/>
                </a:lnTo>
                <a:lnTo>
                  <a:pt x="1742" y="229"/>
                </a:lnTo>
                <a:lnTo>
                  <a:pt x="1748" y="234"/>
                </a:lnTo>
                <a:lnTo>
                  <a:pt x="1753" y="238"/>
                </a:lnTo>
                <a:lnTo>
                  <a:pt x="1757" y="243"/>
                </a:lnTo>
                <a:lnTo>
                  <a:pt x="1760" y="248"/>
                </a:lnTo>
                <a:lnTo>
                  <a:pt x="1761" y="252"/>
                </a:lnTo>
                <a:lnTo>
                  <a:pt x="1761" y="261"/>
                </a:lnTo>
                <a:lnTo>
                  <a:pt x="1761" y="269"/>
                </a:lnTo>
                <a:lnTo>
                  <a:pt x="1763" y="278"/>
                </a:lnTo>
                <a:lnTo>
                  <a:pt x="1767" y="287"/>
                </a:lnTo>
                <a:lnTo>
                  <a:pt x="1772" y="296"/>
                </a:lnTo>
                <a:lnTo>
                  <a:pt x="1772" y="304"/>
                </a:lnTo>
                <a:lnTo>
                  <a:pt x="1766" y="311"/>
                </a:lnTo>
                <a:lnTo>
                  <a:pt x="1755" y="317"/>
                </a:lnTo>
                <a:lnTo>
                  <a:pt x="1744" y="326"/>
                </a:lnTo>
                <a:lnTo>
                  <a:pt x="1737" y="341"/>
                </a:lnTo>
                <a:lnTo>
                  <a:pt x="1733" y="356"/>
                </a:lnTo>
                <a:lnTo>
                  <a:pt x="1727" y="366"/>
                </a:lnTo>
                <a:lnTo>
                  <a:pt x="1719" y="371"/>
                </a:lnTo>
                <a:lnTo>
                  <a:pt x="1711" y="374"/>
                </a:lnTo>
                <a:lnTo>
                  <a:pt x="1703" y="382"/>
                </a:lnTo>
                <a:lnTo>
                  <a:pt x="1696" y="397"/>
                </a:lnTo>
                <a:lnTo>
                  <a:pt x="1692" y="417"/>
                </a:lnTo>
                <a:lnTo>
                  <a:pt x="1691" y="435"/>
                </a:lnTo>
                <a:lnTo>
                  <a:pt x="1692" y="450"/>
                </a:lnTo>
                <a:lnTo>
                  <a:pt x="1699" y="462"/>
                </a:lnTo>
                <a:lnTo>
                  <a:pt x="1705" y="472"/>
                </a:lnTo>
                <a:lnTo>
                  <a:pt x="1705" y="485"/>
                </a:lnTo>
                <a:lnTo>
                  <a:pt x="1705" y="496"/>
                </a:lnTo>
                <a:lnTo>
                  <a:pt x="1708" y="506"/>
                </a:lnTo>
                <a:lnTo>
                  <a:pt x="1713" y="508"/>
                </a:lnTo>
                <a:lnTo>
                  <a:pt x="1719" y="508"/>
                </a:lnTo>
                <a:lnTo>
                  <a:pt x="1726" y="507"/>
                </a:lnTo>
                <a:lnTo>
                  <a:pt x="1734" y="506"/>
                </a:lnTo>
                <a:lnTo>
                  <a:pt x="1742" y="504"/>
                </a:lnTo>
                <a:lnTo>
                  <a:pt x="1749" y="503"/>
                </a:lnTo>
                <a:lnTo>
                  <a:pt x="1756" y="503"/>
                </a:lnTo>
                <a:lnTo>
                  <a:pt x="1761" y="506"/>
                </a:lnTo>
                <a:lnTo>
                  <a:pt x="1767" y="511"/>
                </a:lnTo>
                <a:lnTo>
                  <a:pt x="1772" y="516"/>
                </a:lnTo>
                <a:lnTo>
                  <a:pt x="1780" y="519"/>
                </a:lnTo>
                <a:lnTo>
                  <a:pt x="1795" y="521"/>
                </a:lnTo>
                <a:lnTo>
                  <a:pt x="1804" y="522"/>
                </a:lnTo>
                <a:lnTo>
                  <a:pt x="1812" y="524"/>
                </a:lnTo>
                <a:lnTo>
                  <a:pt x="1818" y="529"/>
                </a:lnTo>
                <a:lnTo>
                  <a:pt x="1824" y="533"/>
                </a:lnTo>
                <a:lnTo>
                  <a:pt x="1827" y="537"/>
                </a:lnTo>
                <a:lnTo>
                  <a:pt x="1832" y="540"/>
                </a:lnTo>
                <a:lnTo>
                  <a:pt x="1835" y="542"/>
                </a:lnTo>
                <a:lnTo>
                  <a:pt x="1839" y="542"/>
                </a:lnTo>
                <a:lnTo>
                  <a:pt x="1847" y="539"/>
                </a:lnTo>
                <a:lnTo>
                  <a:pt x="1857" y="538"/>
                </a:lnTo>
                <a:lnTo>
                  <a:pt x="1865" y="540"/>
                </a:lnTo>
                <a:lnTo>
                  <a:pt x="1869" y="552"/>
                </a:lnTo>
                <a:lnTo>
                  <a:pt x="1869" y="568"/>
                </a:lnTo>
                <a:lnTo>
                  <a:pt x="1870" y="582"/>
                </a:lnTo>
                <a:lnTo>
                  <a:pt x="1875" y="594"/>
                </a:lnTo>
                <a:lnTo>
                  <a:pt x="1890" y="605"/>
                </a:lnTo>
                <a:lnTo>
                  <a:pt x="1900" y="608"/>
                </a:lnTo>
                <a:lnTo>
                  <a:pt x="1909" y="612"/>
                </a:lnTo>
                <a:lnTo>
                  <a:pt x="1916" y="615"/>
                </a:lnTo>
                <a:lnTo>
                  <a:pt x="1924" y="618"/>
                </a:lnTo>
                <a:lnTo>
                  <a:pt x="1930" y="622"/>
                </a:lnTo>
                <a:lnTo>
                  <a:pt x="1937" y="625"/>
                </a:lnTo>
                <a:lnTo>
                  <a:pt x="1942" y="630"/>
                </a:lnTo>
                <a:lnTo>
                  <a:pt x="1949" y="636"/>
                </a:lnTo>
                <a:lnTo>
                  <a:pt x="1956" y="640"/>
                </a:lnTo>
                <a:lnTo>
                  <a:pt x="1963" y="644"/>
                </a:lnTo>
                <a:lnTo>
                  <a:pt x="1969" y="645"/>
                </a:lnTo>
                <a:lnTo>
                  <a:pt x="1976" y="645"/>
                </a:lnTo>
                <a:lnTo>
                  <a:pt x="1981" y="644"/>
                </a:lnTo>
                <a:lnTo>
                  <a:pt x="1987" y="643"/>
                </a:lnTo>
                <a:lnTo>
                  <a:pt x="1993" y="640"/>
                </a:lnTo>
                <a:lnTo>
                  <a:pt x="1999" y="638"/>
                </a:lnTo>
                <a:lnTo>
                  <a:pt x="2009" y="629"/>
                </a:lnTo>
                <a:lnTo>
                  <a:pt x="2017" y="615"/>
                </a:lnTo>
                <a:lnTo>
                  <a:pt x="2024" y="601"/>
                </a:lnTo>
                <a:lnTo>
                  <a:pt x="2032" y="595"/>
                </a:lnTo>
                <a:lnTo>
                  <a:pt x="2040" y="594"/>
                </a:lnTo>
                <a:lnTo>
                  <a:pt x="2045" y="590"/>
                </a:lnTo>
                <a:lnTo>
                  <a:pt x="2049" y="582"/>
                </a:lnTo>
                <a:lnTo>
                  <a:pt x="2058" y="570"/>
                </a:lnTo>
                <a:lnTo>
                  <a:pt x="2063" y="563"/>
                </a:lnTo>
                <a:lnTo>
                  <a:pt x="2070" y="557"/>
                </a:lnTo>
                <a:lnTo>
                  <a:pt x="2078" y="553"/>
                </a:lnTo>
                <a:lnTo>
                  <a:pt x="2087" y="548"/>
                </a:lnTo>
                <a:lnTo>
                  <a:pt x="2096" y="546"/>
                </a:lnTo>
                <a:lnTo>
                  <a:pt x="2104" y="545"/>
                </a:lnTo>
                <a:lnTo>
                  <a:pt x="2111" y="546"/>
                </a:lnTo>
                <a:lnTo>
                  <a:pt x="2116" y="548"/>
                </a:lnTo>
                <a:lnTo>
                  <a:pt x="2124" y="559"/>
                </a:lnTo>
                <a:lnTo>
                  <a:pt x="2131" y="570"/>
                </a:lnTo>
                <a:lnTo>
                  <a:pt x="2138" y="580"/>
                </a:lnTo>
                <a:lnTo>
                  <a:pt x="2150" y="586"/>
                </a:lnTo>
                <a:lnTo>
                  <a:pt x="2153" y="586"/>
                </a:lnTo>
                <a:lnTo>
                  <a:pt x="2155" y="587"/>
                </a:lnTo>
                <a:lnTo>
                  <a:pt x="2157" y="590"/>
                </a:lnTo>
                <a:lnTo>
                  <a:pt x="2158" y="592"/>
                </a:lnTo>
                <a:lnTo>
                  <a:pt x="2157" y="600"/>
                </a:lnTo>
                <a:lnTo>
                  <a:pt x="2153" y="609"/>
                </a:lnTo>
                <a:lnTo>
                  <a:pt x="2150" y="620"/>
                </a:lnTo>
                <a:lnTo>
                  <a:pt x="2147" y="629"/>
                </a:lnTo>
                <a:lnTo>
                  <a:pt x="2147" y="640"/>
                </a:lnTo>
                <a:lnTo>
                  <a:pt x="2147" y="651"/>
                </a:lnTo>
                <a:lnTo>
                  <a:pt x="2145" y="662"/>
                </a:lnTo>
                <a:lnTo>
                  <a:pt x="2140" y="678"/>
                </a:lnTo>
                <a:lnTo>
                  <a:pt x="2137" y="691"/>
                </a:lnTo>
                <a:lnTo>
                  <a:pt x="2137" y="697"/>
                </a:lnTo>
                <a:lnTo>
                  <a:pt x="2138" y="704"/>
                </a:lnTo>
                <a:lnTo>
                  <a:pt x="2138" y="718"/>
                </a:lnTo>
                <a:lnTo>
                  <a:pt x="2135" y="736"/>
                </a:lnTo>
                <a:lnTo>
                  <a:pt x="2130" y="749"/>
                </a:lnTo>
                <a:lnTo>
                  <a:pt x="2127" y="758"/>
                </a:lnTo>
                <a:lnTo>
                  <a:pt x="2126" y="760"/>
                </a:lnTo>
                <a:close/>
              </a:path>
            </a:pathLst>
          </a:custGeom>
          <a:solidFill>
            <a:schemeClr val="accent1"/>
          </a:solidFill>
          <a:ln w="12700">
            <a:solidFill>
              <a:schemeClr val="bg1"/>
            </a:solidFill>
            <a:round/>
            <a:headEnd/>
            <a:tailEnd/>
          </a:ln>
        </p:spPr>
        <p:txBody>
          <a:bodyPr/>
          <a:lstStyle/>
          <a:p>
            <a:pPr>
              <a:defRPr/>
            </a:pPr>
            <a:endParaRPr lang="en-US" sz="1350"/>
          </a:p>
        </p:txBody>
      </p:sp>
      <p:sp>
        <p:nvSpPr>
          <p:cNvPr id="79" name="Rectangle 75">
            <a:extLst>
              <a:ext uri="{FF2B5EF4-FFF2-40B4-BE49-F238E27FC236}">
                <a16:creationId xmlns:a16="http://schemas.microsoft.com/office/drawing/2014/main" id="{D8B1D37D-B713-4124-B937-030E8B9242AA}"/>
              </a:ext>
            </a:extLst>
          </p:cNvPr>
          <p:cNvSpPr/>
          <p:nvPr/>
        </p:nvSpPr>
        <p:spPr>
          <a:xfrm>
            <a:off x="2251261" y="2741637"/>
            <a:ext cx="386552" cy="370019"/>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nl-NL" sz="1350" dirty="0"/>
              <a:t>A</a:t>
            </a:r>
            <a:endParaRPr lang="en-US" sz="1350" dirty="0"/>
          </a:p>
        </p:txBody>
      </p:sp>
      <p:pic>
        <p:nvPicPr>
          <p:cNvPr id="80" name="Picture 51" descr="\\Cagmasrv1\sso$\Gestion_Deloitte\Global_Brand\- Templates\Icons\Iconography Deloitte\Icon_People_man_Green.png">
            <a:extLst>
              <a:ext uri="{FF2B5EF4-FFF2-40B4-BE49-F238E27FC236}">
                <a16:creationId xmlns:a16="http://schemas.microsoft.com/office/drawing/2014/main" id="{A52F82FF-8FE5-46A3-8264-7998EF247BC8}"/>
              </a:ext>
            </a:extLst>
          </p:cNvPr>
          <p:cNvPicPr>
            <a:picLocks noChangeAspect="1" noChangeArrowheads="1"/>
          </p:cNvPicPr>
          <p:nvPr/>
        </p:nvPicPr>
        <p:blipFill>
          <a:blip r:embed="rId30" cstate="print">
            <a:biLevel thresh="75000"/>
            <a:extLst>
              <a:ext uri="{28A0092B-C50C-407E-A947-70E740481C1C}">
                <a14:useLocalDpi xmlns:a14="http://schemas.microsoft.com/office/drawing/2010/main" val="0"/>
              </a:ext>
            </a:extLst>
          </a:blip>
          <a:srcRect/>
          <a:stretch>
            <a:fillRect/>
          </a:stretch>
        </p:blipFill>
        <p:spPr bwMode="auto">
          <a:xfrm>
            <a:off x="2739322" y="3064857"/>
            <a:ext cx="190242" cy="49563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81" name="Picture 51" descr="\\Cagmasrv1\sso$\Gestion_Deloitte\Global_Brand\- Templates\Icons\Iconography Deloitte\Icon_People_man_Green.png">
            <a:extLst>
              <a:ext uri="{FF2B5EF4-FFF2-40B4-BE49-F238E27FC236}">
                <a16:creationId xmlns:a16="http://schemas.microsoft.com/office/drawing/2014/main" id="{76196837-C1D4-4EBD-89B6-BAF4634BB6F5}"/>
              </a:ext>
            </a:extLst>
          </p:cNvPr>
          <p:cNvPicPr>
            <a:picLocks noChangeAspect="1" noChangeArrowheads="1"/>
          </p:cNvPicPr>
          <p:nvPr/>
        </p:nvPicPr>
        <p:blipFill>
          <a:blip r:embed="rId30" cstate="print">
            <a:biLevel thresh="75000"/>
            <a:extLst>
              <a:ext uri="{28A0092B-C50C-407E-A947-70E740481C1C}">
                <a14:useLocalDpi xmlns:a14="http://schemas.microsoft.com/office/drawing/2010/main" val="0"/>
              </a:ext>
            </a:extLst>
          </a:blip>
          <a:srcRect/>
          <a:stretch>
            <a:fillRect/>
          </a:stretch>
        </p:blipFill>
        <p:spPr bwMode="auto">
          <a:xfrm>
            <a:off x="2241877" y="3864070"/>
            <a:ext cx="190242" cy="495630"/>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51" descr="\\Cagmasrv1\sso$\Gestion_Deloitte\Global_Brand\- Templates\Icons\Iconography Deloitte\Icon_People_man_Green.png">
            <a:extLst>
              <a:ext uri="{FF2B5EF4-FFF2-40B4-BE49-F238E27FC236}">
                <a16:creationId xmlns:a16="http://schemas.microsoft.com/office/drawing/2014/main" id="{AD8269E4-8571-436C-B4C2-4969AF8CDD50}"/>
              </a:ext>
            </a:extLst>
          </p:cNvPr>
          <p:cNvPicPr>
            <a:picLocks noChangeAspect="1" noChangeArrowheads="1"/>
          </p:cNvPicPr>
          <p:nvPr/>
        </p:nvPicPr>
        <p:blipFill>
          <a:blip r:embed="rId30" cstate="print">
            <a:biLevel thresh="75000"/>
            <a:extLst>
              <a:ext uri="{28A0092B-C50C-407E-A947-70E740481C1C}">
                <a14:useLocalDpi xmlns:a14="http://schemas.microsoft.com/office/drawing/2010/main" val="0"/>
              </a:ext>
            </a:extLst>
          </a:blip>
          <a:srcRect/>
          <a:stretch>
            <a:fillRect/>
          </a:stretch>
        </p:blipFill>
        <p:spPr bwMode="auto">
          <a:xfrm>
            <a:off x="5903472" y="2322132"/>
            <a:ext cx="190242" cy="495630"/>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51" descr="\\Cagmasrv1\sso$\Gestion_Deloitte\Global_Brand\- Templates\Icons\Iconography Deloitte\Icon_People_man_Green.png">
            <a:extLst>
              <a:ext uri="{FF2B5EF4-FFF2-40B4-BE49-F238E27FC236}">
                <a16:creationId xmlns:a16="http://schemas.microsoft.com/office/drawing/2014/main" id="{8E41AE87-7EE3-4087-A8B7-90A4D8D96021}"/>
              </a:ext>
            </a:extLst>
          </p:cNvPr>
          <p:cNvPicPr>
            <a:picLocks noChangeAspect="1" noChangeArrowheads="1"/>
          </p:cNvPicPr>
          <p:nvPr/>
        </p:nvPicPr>
        <p:blipFill>
          <a:blip r:embed="rId30" cstate="print">
            <a:biLevel thresh="75000"/>
            <a:extLst>
              <a:ext uri="{28A0092B-C50C-407E-A947-70E740481C1C}">
                <a14:useLocalDpi xmlns:a14="http://schemas.microsoft.com/office/drawing/2010/main" val="0"/>
              </a:ext>
            </a:extLst>
          </a:blip>
          <a:srcRect/>
          <a:stretch>
            <a:fillRect/>
          </a:stretch>
        </p:blipFill>
        <p:spPr bwMode="auto">
          <a:xfrm>
            <a:off x="5064671" y="4080031"/>
            <a:ext cx="190242" cy="495630"/>
          </a:xfrm>
          <a:prstGeom prst="rect">
            <a:avLst/>
          </a:prstGeom>
          <a:noFill/>
          <a:extLst>
            <a:ext uri="{909E8E84-426E-40DD-AFC4-6F175D3DCCD1}">
              <a14:hiddenFill xmlns:a14="http://schemas.microsoft.com/office/drawing/2010/main">
                <a:solidFill>
                  <a:srgbClr val="FFFFFF"/>
                </a:solidFill>
              </a14:hiddenFill>
            </a:ext>
          </a:extLst>
        </p:spPr>
      </p:pic>
      <p:cxnSp>
        <p:nvCxnSpPr>
          <p:cNvPr id="84" name="Straight Arrow Connector 81">
            <a:extLst>
              <a:ext uri="{FF2B5EF4-FFF2-40B4-BE49-F238E27FC236}">
                <a16:creationId xmlns:a16="http://schemas.microsoft.com/office/drawing/2014/main" id="{956B9F37-F76C-4F73-A332-87A6017EFB36}"/>
              </a:ext>
            </a:extLst>
          </p:cNvPr>
          <p:cNvCxnSpPr>
            <a:stCxn id="79" idx="2"/>
          </p:cNvCxnSpPr>
          <p:nvPr/>
        </p:nvCxnSpPr>
        <p:spPr>
          <a:xfrm>
            <a:off x="2444537" y="3111656"/>
            <a:ext cx="199714" cy="185372"/>
          </a:xfrm>
          <a:prstGeom prst="straightConnector1">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2">
            <a:extLst>
              <a:ext uri="{FF2B5EF4-FFF2-40B4-BE49-F238E27FC236}">
                <a16:creationId xmlns:a16="http://schemas.microsoft.com/office/drawing/2014/main" id="{9B9D2B18-F264-415D-9123-F04BD260D11A}"/>
              </a:ext>
            </a:extLst>
          </p:cNvPr>
          <p:cNvCxnSpPr/>
          <p:nvPr/>
        </p:nvCxnSpPr>
        <p:spPr>
          <a:xfrm>
            <a:off x="2303137" y="3100914"/>
            <a:ext cx="45560" cy="743996"/>
          </a:xfrm>
          <a:prstGeom prst="straightConnector1">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3">
            <a:extLst>
              <a:ext uri="{FF2B5EF4-FFF2-40B4-BE49-F238E27FC236}">
                <a16:creationId xmlns:a16="http://schemas.microsoft.com/office/drawing/2014/main" id="{56261A06-C70B-41D4-A5F3-F1778919FDEA}"/>
              </a:ext>
            </a:extLst>
          </p:cNvPr>
          <p:cNvCxnSpPr/>
          <p:nvPr/>
        </p:nvCxnSpPr>
        <p:spPr>
          <a:xfrm>
            <a:off x="2327993" y="3111099"/>
            <a:ext cx="757376" cy="1657410"/>
          </a:xfrm>
          <a:prstGeom prst="straightConnector1">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4">
            <a:extLst>
              <a:ext uri="{FF2B5EF4-FFF2-40B4-BE49-F238E27FC236}">
                <a16:creationId xmlns:a16="http://schemas.microsoft.com/office/drawing/2014/main" id="{40AB7C35-5A70-4D3A-A193-B410099892F5}"/>
              </a:ext>
            </a:extLst>
          </p:cNvPr>
          <p:cNvCxnSpPr>
            <a:stCxn id="79" idx="3"/>
          </p:cNvCxnSpPr>
          <p:nvPr/>
        </p:nvCxnSpPr>
        <p:spPr>
          <a:xfrm flipV="1">
            <a:off x="2637813" y="2571238"/>
            <a:ext cx="3184934" cy="355409"/>
          </a:xfrm>
          <a:prstGeom prst="straightConnector1">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5">
            <a:extLst>
              <a:ext uri="{FF2B5EF4-FFF2-40B4-BE49-F238E27FC236}">
                <a16:creationId xmlns:a16="http://schemas.microsoft.com/office/drawing/2014/main" id="{DC949A88-2C4F-46EE-AB6B-7BFFEF4AFE41}"/>
              </a:ext>
            </a:extLst>
          </p:cNvPr>
          <p:cNvCxnSpPr>
            <a:stCxn id="79" idx="3"/>
          </p:cNvCxnSpPr>
          <p:nvPr/>
        </p:nvCxnSpPr>
        <p:spPr>
          <a:xfrm>
            <a:off x="2637813" y="2926647"/>
            <a:ext cx="2422205" cy="1282199"/>
          </a:xfrm>
          <a:prstGeom prst="straightConnector1">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pic>
        <p:nvPicPr>
          <p:cNvPr id="92" name="Picture 51" descr="\\Cagmasrv1\sso$\Gestion_Deloitte\Global_Brand\- Templates\Icons\Iconography Deloitte\Icon_People_man_Green.png">
            <a:extLst>
              <a:ext uri="{FF2B5EF4-FFF2-40B4-BE49-F238E27FC236}">
                <a16:creationId xmlns:a16="http://schemas.microsoft.com/office/drawing/2014/main" id="{4586BD7F-0352-41E7-BA13-028C6F6695B2}"/>
              </a:ext>
            </a:extLst>
          </p:cNvPr>
          <p:cNvPicPr>
            <a:picLocks noChangeAspect="1" noChangeArrowheads="1"/>
          </p:cNvPicPr>
          <p:nvPr/>
        </p:nvPicPr>
        <p:blipFill>
          <a:blip r:embed="rId30" cstate="print">
            <a:biLevel thresh="75000"/>
            <a:extLst>
              <a:ext uri="{28A0092B-C50C-407E-A947-70E740481C1C}">
                <a14:useLocalDpi xmlns:a14="http://schemas.microsoft.com/office/drawing/2010/main" val="0"/>
              </a:ext>
            </a:extLst>
          </a:blip>
          <a:srcRect/>
          <a:stretch>
            <a:fillRect/>
          </a:stretch>
        </p:blipFill>
        <p:spPr bwMode="auto">
          <a:xfrm>
            <a:off x="3086113" y="4783702"/>
            <a:ext cx="190242" cy="4956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8500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1487821D-AEB5-467B-A515-B2BCF021FFDC}"/>
              </a:ext>
            </a:extLst>
          </p:cNvPr>
          <p:cNvSpPr>
            <a:spLocks noGrp="1"/>
          </p:cNvSpPr>
          <p:nvPr>
            <p:ph type="title"/>
          </p:nvPr>
        </p:nvSpPr>
        <p:spPr>
          <a:xfrm>
            <a:off x="1181884" y="86028"/>
            <a:ext cx="10901675" cy="565535"/>
          </a:xfrm>
        </p:spPr>
        <p:txBody>
          <a:bodyPr/>
          <a:lstStyle/>
          <a:p>
            <a:r>
              <a:rPr lang="nl-NL" dirty="0"/>
              <a:t>Bewijslast</a:t>
            </a:r>
          </a:p>
        </p:txBody>
      </p:sp>
      <p:pic>
        <p:nvPicPr>
          <p:cNvPr id="1027" name="Picture 3" descr="Afbeeldingsresultaat voor factuuradres">
            <a:hlinkClick r:id="rId3"/>
            <a:extLst>
              <a:ext uri="{FF2B5EF4-FFF2-40B4-BE49-F238E27FC236}">
                <a16:creationId xmlns:a16="http://schemas.microsoft.com/office/drawing/2014/main" id="{CDD07CEF-07BE-4733-BE62-145BDFC4EA7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0583" y="1896987"/>
            <a:ext cx="3562350" cy="1285875"/>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descr="Afbeeldingsresultaat voor IP adres">
            <a:hlinkClick r:id="rId5"/>
            <a:extLst>
              <a:ext uri="{FF2B5EF4-FFF2-40B4-BE49-F238E27FC236}">
                <a16:creationId xmlns:a16="http://schemas.microsoft.com/office/drawing/2014/main" id="{ABF997F7-056E-44E3-A620-102F09A5AFFA}"/>
              </a:ext>
            </a:extLst>
          </p:cNvPr>
          <p:cNvPicPr>
            <a:picLocks noGrp="1" noChangeAspect="1" noChangeArrowheads="1"/>
          </p:cNvPicPr>
          <p:nvPr>
            <p:ph idx="1"/>
          </p:nvPr>
        </p:nvPicPr>
        <p:blipFill>
          <a:blip r:embed="rId6">
            <a:extLst>
              <a:ext uri="{28A0092B-C50C-407E-A947-70E740481C1C}">
                <a14:useLocalDpi xmlns:a14="http://schemas.microsoft.com/office/drawing/2010/main" val="0"/>
              </a:ext>
            </a:extLst>
          </a:blip>
          <a:srcRect/>
          <a:stretch>
            <a:fillRect/>
          </a:stretch>
        </p:blipFill>
        <p:spPr bwMode="auto">
          <a:xfrm>
            <a:off x="4261644" y="3512344"/>
            <a:ext cx="3705225" cy="1228725"/>
          </a:xfrm>
          <a:prstGeom prst="rect">
            <a:avLst/>
          </a:prstGeom>
          <a:noFill/>
          <a:extLst>
            <a:ext uri="{909E8E84-426E-40DD-AFC4-6F175D3DCCD1}">
              <a14:hiddenFill xmlns:a14="http://schemas.microsoft.com/office/drawing/2010/main">
                <a:solidFill>
                  <a:srgbClr val="FFFFFF"/>
                </a:solidFill>
              </a14:hiddenFill>
            </a:ext>
          </a:extLst>
        </p:spPr>
      </p:pic>
      <p:pic>
        <p:nvPicPr>
          <p:cNvPr id="1031" name="Picture 7" descr="Afbeeldingsresultaat voor bankrekeningnummer">
            <a:hlinkClick r:id="rId7"/>
            <a:extLst>
              <a:ext uri="{FF2B5EF4-FFF2-40B4-BE49-F238E27FC236}">
                <a16:creationId xmlns:a16="http://schemas.microsoft.com/office/drawing/2014/main" id="{8CB04FA4-6AE7-4D3B-ACC6-F5B8C8EA34D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875039" y="1567505"/>
            <a:ext cx="3486150" cy="1314450"/>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9" descr="Afbeeldingsresultaat voor mobiele landencode simkaart">
            <a:hlinkClick r:id="rId9"/>
            <a:extLst>
              <a:ext uri="{FF2B5EF4-FFF2-40B4-BE49-F238E27FC236}">
                <a16:creationId xmlns:a16="http://schemas.microsoft.com/office/drawing/2014/main" id="{8938ECAE-7E95-4DB8-BFAA-F95E3D39821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706687" y="3764756"/>
            <a:ext cx="2343150" cy="1952625"/>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descr="Afbeeldingsresultaat voor plaats vaste lijn telefoon">
            <a:hlinkClick r:id="rId11"/>
            <a:extLst>
              <a:ext uri="{FF2B5EF4-FFF2-40B4-BE49-F238E27FC236}">
                <a16:creationId xmlns:a16="http://schemas.microsoft.com/office/drawing/2014/main" id="{1BEE16C0-3D56-490C-8B71-25332DD6668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475439" y="142979"/>
            <a:ext cx="3143250" cy="1457325"/>
          </a:xfrm>
          <a:prstGeom prst="rect">
            <a:avLst/>
          </a:prstGeom>
          <a:noFill/>
          <a:extLst>
            <a:ext uri="{909E8E84-426E-40DD-AFC4-6F175D3DCCD1}">
              <a14:hiddenFill xmlns:a14="http://schemas.microsoft.com/office/drawing/2010/main">
                <a:solidFill>
                  <a:srgbClr val="FFFFFF"/>
                </a:solidFill>
              </a14:hiddenFill>
            </a:ext>
          </a:extLst>
        </p:spPr>
      </p:pic>
      <p:pic>
        <p:nvPicPr>
          <p:cNvPr id="5" name="Afbeelding 4">
            <a:extLst>
              <a:ext uri="{FF2B5EF4-FFF2-40B4-BE49-F238E27FC236}">
                <a16:creationId xmlns:a16="http://schemas.microsoft.com/office/drawing/2014/main" id="{CD17D047-F2D2-4A31-91F2-8CD008C20E2D}"/>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907487" y="3206282"/>
            <a:ext cx="2847975" cy="2847975"/>
          </a:xfrm>
          <a:prstGeom prst="rect">
            <a:avLst/>
          </a:prstGeom>
        </p:spPr>
      </p:pic>
    </p:spTree>
    <p:extLst>
      <p:ext uri="{BB962C8B-B14F-4D97-AF65-F5344CB8AC3E}">
        <p14:creationId xmlns:p14="http://schemas.microsoft.com/office/powerpoint/2010/main" val="9581434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tekst 2">
            <a:extLst>
              <a:ext uri="{FF2B5EF4-FFF2-40B4-BE49-F238E27FC236}">
                <a16:creationId xmlns:a16="http://schemas.microsoft.com/office/drawing/2014/main" id="{415ACD76-2645-419C-963D-B4B455B13934}"/>
              </a:ext>
            </a:extLst>
          </p:cNvPr>
          <p:cNvSpPr>
            <a:spLocks noGrp="1"/>
          </p:cNvSpPr>
          <p:nvPr>
            <p:ph type="body" idx="14"/>
          </p:nvPr>
        </p:nvSpPr>
        <p:spPr>
          <a:xfrm>
            <a:off x="664109" y="1001348"/>
            <a:ext cx="10870131" cy="317758"/>
          </a:xfrm>
        </p:spPr>
        <p:txBody>
          <a:bodyPr/>
          <a:lstStyle/>
          <a:p>
            <a:r>
              <a:rPr lang="nl-NL" dirty="0">
                <a:solidFill>
                  <a:schemeClr val="bg2">
                    <a:lumMod val="50000"/>
                  </a:schemeClr>
                </a:solidFill>
              </a:rPr>
              <a:t>Huidig regime</a:t>
            </a:r>
          </a:p>
          <a:p>
            <a:endParaRPr lang="nl-NL" dirty="0"/>
          </a:p>
        </p:txBody>
      </p:sp>
      <p:sp>
        <p:nvSpPr>
          <p:cNvPr id="24" name="TextBox 35">
            <a:extLst>
              <a:ext uri="{FF2B5EF4-FFF2-40B4-BE49-F238E27FC236}">
                <a16:creationId xmlns:a16="http://schemas.microsoft.com/office/drawing/2014/main" id="{726B9E62-9A25-4D27-93A7-45949E757CF1}"/>
              </a:ext>
            </a:extLst>
          </p:cNvPr>
          <p:cNvSpPr txBox="1"/>
          <p:nvPr/>
        </p:nvSpPr>
        <p:spPr>
          <a:xfrm>
            <a:off x="477059" y="1392949"/>
            <a:ext cx="3611759" cy="707886"/>
          </a:xfrm>
          <a:prstGeom prst="rect">
            <a:avLst/>
          </a:prstGeom>
          <a:noFill/>
        </p:spPr>
        <p:txBody>
          <a:bodyPr wrap="square" lIns="0" tIns="0" rIns="0" bIns="0" rtlCol="0">
            <a:spAutoFit/>
          </a:bodyPr>
          <a:lstStyle/>
          <a:p>
            <a:pPr marL="285750" indent="-285750">
              <a:spcBef>
                <a:spcPts val="600"/>
              </a:spcBef>
              <a:buClr>
                <a:schemeClr val="tx2"/>
              </a:buClr>
              <a:buFont typeface="Arial" panose="020B0604020202020204" pitchFamily="34" charset="0"/>
              <a:buChar char="•"/>
            </a:pPr>
            <a:r>
              <a:rPr lang="nl-NL" sz="1200" dirty="0">
                <a:solidFill>
                  <a:schemeClr val="tx1"/>
                </a:solidFill>
              </a:rPr>
              <a:t>Oorsprongslandbeginsel</a:t>
            </a:r>
            <a:endParaRPr lang="nl-NL" sz="1200" dirty="0"/>
          </a:p>
          <a:p>
            <a:pPr marL="285750" indent="-285750">
              <a:spcBef>
                <a:spcPts val="600"/>
              </a:spcBef>
              <a:buClr>
                <a:schemeClr val="tx2"/>
              </a:buClr>
              <a:buFont typeface="Arial" panose="020B0604020202020204" pitchFamily="34" charset="0"/>
              <a:buChar char="•"/>
            </a:pPr>
            <a:r>
              <a:rPr lang="nl-NL" sz="1200" dirty="0">
                <a:solidFill>
                  <a:schemeClr val="tx1"/>
                </a:solidFill>
              </a:rPr>
              <a:t>Drempels </a:t>
            </a:r>
            <a:endParaRPr lang="nl-NL" sz="1200" dirty="0">
              <a:sym typeface="Wingdings" panose="05000000000000000000" pitchFamily="2" charset="2"/>
            </a:endParaRPr>
          </a:p>
          <a:p>
            <a:pPr marL="285750" indent="-285750">
              <a:spcBef>
                <a:spcPts val="600"/>
              </a:spcBef>
              <a:buClr>
                <a:schemeClr val="tx2"/>
              </a:buClr>
              <a:buFont typeface="Arial" panose="020B0604020202020204" pitchFamily="34" charset="0"/>
              <a:buChar char="•"/>
            </a:pPr>
            <a:r>
              <a:rPr lang="nl-NL" sz="1200" dirty="0">
                <a:solidFill>
                  <a:schemeClr val="tx1"/>
                </a:solidFill>
                <a:sym typeface="Wingdings" panose="05000000000000000000" pitchFamily="2" charset="2"/>
              </a:rPr>
              <a:t>Keuze </a:t>
            </a:r>
            <a:endParaRPr lang="nl-NL" sz="1200" dirty="0">
              <a:solidFill>
                <a:schemeClr val="tx1"/>
              </a:solidFill>
            </a:endParaRPr>
          </a:p>
        </p:txBody>
      </p:sp>
      <p:sp>
        <p:nvSpPr>
          <p:cNvPr id="31" name="Titel 30">
            <a:extLst>
              <a:ext uri="{FF2B5EF4-FFF2-40B4-BE49-F238E27FC236}">
                <a16:creationId xmlns:a16="http://schemas.microsoft.com/office/drawing/2014/main" id="{A5CCE37C-7FF7-4EC6-8773-D54D075A6DF4}"/>
              </a:ext>
            </a:extLst>
          </p:cNvPr>
          <p:cNvSpPr>
            <a:spLocks noGrp="1"/>
          </p:cNvSpPr>
          <p:nvPr>
            <p:ph type="title"/>
          </p:nvPr>
        </p:nvSpPr>
        <p:spPr>
          <a:xfrm>
            <a:off x="664109" y="464521"/>
            <a:ext cx="10870131" cy="533219"/>
          </a:xfrm>
        </p:spPr>
        <p:txBody>
          <a:bodyPr/>
          <a:lstStyle/>
          <a:p>
            <a:r>
              <a:rPr lang="nl-NL" dirty="0"/>
              <a:t>Afstandsverkopen</a:t>
            </a:r>
          </a:p>
        </p:txBody>
      </p:sp>
      <p:pic>
        <p:nvPicPr>
          <p:cNvPr id="41" name="Graphic 40" descr="Gebruiker">
            <a:extLst>
              <a:ext uri="{FF2B5EF4-FFF2-40B4-BE49-F238E27FC236}">
                <a16:creationId xmlns:a16="http://schemas.microsoft.com/office/drawing/2014/main" id="{C9290B02-107B-4C1F-996B-ECBCCCE656D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40841" y="4564048"/>
            <a:ext cx="914400" cy="914400"/>
          </a:xfrm>
          <a:prstGeom prst="rect">
            <a:avLst/>
          </a:prstGeom>
        </p:spPr>
      </p:pic>
      <p:pic>
        <p:nvPicPr>
          <p:cNvPr id="42" name="Graphic 41" descr="Gebruiker">
            <a:extLst>
              <a:ext uri="{FF2B5EF4-FFF2-40B4-BE49-F238E27FC236}">
                <a16:creationId xmlns:a16="http://schemas.microsoft.com/office/drawing/2014/main" id="{88AED3AC-E88C-49FA-BF44-6F3F4012873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40841" y="2971800"/>
            <a:ext cx="914400" cy="914400"/>
          </a:xfrm>
          <a:prstGeom prst="rect">
            <a:avLst/>
          </a:prstGeom>
        </p:spPr>
      </p:pic>
      <p:pic>
        <p:nvPicPr>
          <p:cNvPr id="43" name="Graphic 42" descr="Gebruiker">
            <a:extLst>
              <a:ext uri="{FF2B5EF4-FFF2-40B4-BE49-F238E27FC236}">
                <a16:creationId xmlns:a16="http://schemas.microsoft.com/office/drawing/2014/main" id="{03A3B15C-4D86-4D99-888E-2A32150A9EF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40841" y="1379552"/>
            <a:ext cx="914400" cy="914400"/>
          </a:xfrm>
          <a:prstGeom prst="rect">
            <a:avLst/>
          </a:prstGeom>
        </p:spPr>
      </p:pic>
      <p:pic>
        <p:nvPicPr>
          <p:cNvPr id="44" name="Picture 15" descr="nl">
            <a:extLst>
              <a:ext uri="{FF2B5EF4-FFF2-40B4-BE49-F238E27FC236}">
                <a16:creationId xmlns:a16="http://schemas.microsoft.com/office/drawing/2014/main" id="{BD48955B-3DA8-4AB6-ACD7-912B4BAD8198}"/>
              </a:ext>
            </a:extLst>
          </p:cNvPr>
          <p:cNvPicPr>
            <a:picLocks noChangeAspect="1" noChangeArrowheads="1"/>
          </p:cNvPicPr>
          <p:nvPr/>
        </p:nvPicPr>
        <p:blipFill>
          <a:blip r:embed="rId5" cstate="print"/>
          <a:srcRect/>
          <a:stretch>
            <a:fillRect/>
          </a:stretch>
        </p:blipFill>
        <p:spPr bwMode="auto">
          <a:xfrm>
            <a:off x="8979495" y="1654054"/>
            <a:ext cx="742950" cy="371475"/>
          </a:xfrm>
          <a:prstGeom prst="rect">
            <a:avLst/>
          </a:prstGeom>
          <a:noFill/>
          <a:ln w="9525">
            <a:solidFill>
              <a:schemeClr val="bg1">
                <a:lumMod val="50000"/>
              </a:schemeClr>
            </a:solidFill>
            <a:miter lim="800000"/>
            <a:headEnd/>
            <a:tailEnd/>
          </a:ln>
        </p:spPr>
      </p:pic>
      <p:pic>
        <p:nvPicPr>
          <p:cNvPr id="45" name="Picture 9" descr="de">
            <a:extLst>
              <a:ext uri="{FF2B5EF4-FFF2-40B4-BE49-F238E27FC236}">
                <a16:creationId xmlns:a16="http://schemas.microsoft.com/office/drawing/2014/main" id="{A07D766E-CE88-4A65-BF26-892D9D7FAE46}"/>
              </a:ext>
            </a:extLst>
          </p:cNvPr>
          <p:cNvPicPr>
            <a:picLocks noChangeAspect="1" noChangeArrowheads="1"/>
          </p:cNvPicPr>
          <p:nvPr/>
        </p:nvPicPr>
        <p:blipFill>
          <a:blip r:embed="rId6" cstate="print"/>
          <a:srcRect/>
          <a:stretch>
            <a:fillRect/>
          </a:stretch>
        </p:blipFill>
        <p:spPr bwMode="auto">
          <a:xfrm>
            <a:off x="8979495" y="3243262"/>
            <a:ext cx="742950" cy="371475"/>
          </a:xfrm>
          <a:prstGeom prst="rect">
            <a:avLst/>
          </a:prstGeom>
          <a:noFill/>
          <a:ln w="9525">
            <a:solidFill>
              <a:schemeClr val="bg1">
                <a:lumMod val="50000"/>
              </a:schemeClr>
            </a:solidFill>
            <a:miter lim="800000"/>
            <a:headEnd/>
            <a:tailEnd/>
          </a:ln>
        </p:spPr>
      </p:pic>
      <p:pic>
        <p:nvPicPr>
          <p:cNvPr id="46" name="Picture 11" descr="ie75">
            <a:extLst>
              <a:ext uri="{FF2B5EF4-FFF2-40B4-BE49-F238E27FC236}">
                <a16:creationId xmlns:a16="http://schemas.microsoft.com/office/drawing/2014/main" id="{CF4DFB48-11C0-4673-8995-5D67101EBDD7}"/>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8979495" y="4835510"/>
            <a:ext cx="742950" cy="371475"/>
          </a:xfrm>
          <a:prstGeom prst="rect">
            <a:avLst/>
          </a:prstGeom>
          <a:noFill/>
          <a:ln w="9525">
            <a:solidFill>
              <a:schemeClr val="bg1">
                <a:lumMod val="50000"/>
              </a:schemeClr>
            </a:solidFill>
            <a:miter lim="800000"/>
            <a:headEnd/>
            <a:tailEnd/>
          </a:ln>
        </p:spPr>
      </p:pic>
      <p:sp>
        <p:nvSpPr>
          <p:cNvPr id="47" name="TextBox 28">
            <a:extLst>
              <a:ext uri="{FF2B5EF4-FFF2-40B4-BE49-F238E27FC236}">
                <a16:creationId xmlns:a16="http://schemas.microsoft.com/office/drawing/2014/main" id="{B91E781D-3990-4F24-A273-A0290A00D2F9}"/>
              </a:ext>
            </a:extLst>
          </p:cNvPr>
          <p:cNvSpPr txBox="1"/>
          <p:nvPr/>
        </p:nvSpPr>
        <p:spPr>
          <a:xfrm>
            <a:off x="8979495" y="2131355"/>
            <a:ext cx="1667817" cy="215444"/>
          </a:xfrm>
          <a:prstGeom prst="rect">
            <a:avLst/>
          </a:prstGeom>
          <a:noFill/>
        </p:spPr>
        <p:txBody>
          <a:bodyPr wrap="square" lIns="0" tIns="0" rIns="0" bIns="0" rtlCol="0">
            <a:spAutoFit/>
          </a:bodyPr>
          <a:lstStyle/>
          <a:p>
            <a:pPr>
              <a:spcBef>
                <a:spcPts val="600"/>
              </a:spcBef>
              <a:buClr>
                <a:schemeClr val="tx2"/>
              </a:buClr>
            </a:pPr>
            <a:r>
              <a:rPr lang="nl-NL" sz="1400" dirty="0">
                <a:solidFill>
                  <a:schemeClr val="tx1"/>
                </a:solidFill>
              </a:rPr>
              <a:t>€ 100.000 ?</a:t>
            </a:r>
          </a:p>
        </p:txBody>
      </p:sp>
      <p:sp>
        <p:nvSpPr>
          <p:cNvPr id="48" name="TextBox 34">
            <a:extLst>
              <a:ext uri="{FF2B5EF4-FFF2-40B4-BE49-F238E27FC236}">
                <a16:creationId xmlns:a16="http://schemas.microsoft.com/office/drawing/2014/main" id="{F922F77D-6A48-4158-993B-1AFFFCECECAB}"/>
              </a:ext>
            </a:extLst>
          </p:cNvPr>
          <p:cNvSpPr txBox="1"/>
          <p:nvPr/>
        </p:nvSpPr>
        <p:spPr>
          <a:xfrm>
            <a:off x="8979494" y="3723930"/>
            <a:ext cx="1667817" cy="215444"/>
          </a:xfrm>
          <a:prstGeom prst="rect">
            <a:avLst/>
          </a:prstGeom>
          <a:noFill/>
        </p:spPr>
        <p:txBody>
          <a:bodyPr wrap="square" lIns="0" tIns="0" rIns="0" bIns="0" rtlCol="0">
            <a:spAutoFit/>
          </a:bodyPr>
          <a:lstStyle/>
          <a:p>
            <a:pPr>
              <a:spcBef>
                <a:spcPts val="600"/>
              </a:spcBef>
              <a:buClr>
                <a:schemeClr val="tx2"/>
              </a:buClr>
            </a:pPr>
            <a:r>
              <a:rPr lang="nl-NL" sz="1400" dirty="0">
                <a:solidFill>
                  <a:schemeClr val="tx1"/>
                </a:solidFill>
              </a:rPr>
              <a:t>€ 100.000 ?</a:t>
            </a:r>
          </a:p>
        </p:txBody>
      </p:sp>
      <p:sp>
        <p:nvSpPr>
          <p:cNvPr id="49" name="TextBox 38">
            <a:extLst>
              <a:ext uri="{FF2B5EF4-FFF2-40B4-BE49-F238E27FC236}">
                <a16:creationId xmlns:a16="http://schemas.microsoft.com/office/drawing/2014/main" id="{1D6EF04F-6029-48B2-8083-79622E896C0A}"/>
              </a:ext>
            </a:extLst>
          </p:cNvPr>
          <p:cNvSpPr txBox="1"/>
          <p:nvPr/>
        </p:nvSpPr>
        <p:spPr>
          <a:xfrm>
            <a:off x="8979494" y="5315381"/>
            <a:ext cx="1667817" cy="215444"/>
          </a:xfrm>
          <a:prstGeom prst="rect">
            <a:avLst/>
          </a:prstGeom>
          <a:noFill/>
        </p:spPr>
        <p:txBody>
          <a:bodyPr wrap="square" lIns="0" tIns="0" rIns="0" bIns="0" rtlCol="0">
            <a:spAutoFit/>
          </a:bodyPr>
          <a:lstStyle/>
          <a:p>
            <a:pPr>
              <a:spcBef>
                <a:spcPts val="600"/>
              </a:spcBef>
              <a:buClr>
                <a:schemeClr val="tx2"/>
              </a:buClr>
            </a:pPr>
            <a:r>
              <a:rPr lang="nl-NL" sz="1400" dirty="0">
                <a:solidFill>
                  <a:schemeClr val="tx1"/>
                </a:solidFill>
              </a:rPr>
              <a:t>€ 35.000 ?</a:t>
            </a:r>
          </a:p>
        </p:txBody>
      </p:sp>
      <p:pic>
        <p:nvPicPr>
          <p:cNvPr id="51" name="Graphic 50" descr="Doos">
            <a:extLst>
              <a:ext uri="{FF2B5EF4-FFF2-40B4-BE49-F238E27FC236}">
                <a16:creationId xmlns:a16="http://schemas.microsoft.com/office/drawing/2014/main" id="{3F79F33C-6827-4AAF-84FC-CBE0ADD1614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786807" y="2535636"/>
            <a:ext cx="914400" cy="914400"/>
          </a:xfrm>
          <a:prstGeom prst="rect">
            <a:avLst/>
          </a:prstGeom>
        </p:spPr>
      </p:pic>
      <p:pic>
        <p:nvPicPr>
          <p:cNvPr id="53" name="Graphic 52" descr="Vrachtwagen">
            <a:extLst>
              <a:ext uri="{FF2B5EF4-FFF2-40B4-BE49-F238E27FC236}">
                <a16:creationId xmlns:a16="http://schemas.microsoft.com/office/drawing/2014/main" id="{31F284C5-F9D1-4442-82E4-299FEC8A180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786807" y="4423832"/>
            <a:ext cx="914400" cy="914400"/>
          </a:xfrm>
          <a:prstGeom prst="rect">
            <a:avLst/>
          </a:prstGeom>
        </p:spPr>
      </p:pic>
      <p:pic>
        <p:nvPicPr>
          <p:cNvPr id="54" name="Picture 8" descr="fr">
            <a:extLst>
              <a:ext uri="{FF2B5EF4-FFF2-40B4-BE49-F238E27FC236}">
                <a16:creationId xmlns:a16="http://schemas.microsoft.com/office/drawing/2014/main" id="{4174BB2F-8ADC-4A07-90DC-46D57ADDFF6D}"/>
              </a:ext>
            </a:extLst>
          </p:cNvPr>
          <p:cNvPicPr>
            <a:picLocks noChangeAspect="1" noChangeArrowheads="1"/>
          </p:cNvPicPr>
          <p:nvPr/>
        </p:nvPicPr>
        <p:blipFill>
          <a:blip r:embed="rId12" cstate="print"/>
          <a:srcRect/>
          <a:stretch>
            <a:fillRect/>
          </a:stretch>
        </p:blipFill>
        <p:spPr bwMode="auto">
          <a:xfrm>
            <a:off x="1845869" y="2786062"/>
            <a:ext cx="742950" cy="371475"/>
          </a:xfrm>
          <a:prstGeom prst="rect">
            <a:avLst/>
          </a:prstGeom>
          <a:noFill/>
          <a:ln w="9525">
            <a:solidFill>
              <a:schemeClr val="bg1">
                <a:lumMod val="50000"/>
              </a:schemeClr>
            </a:solidFill>
            <a:miter lim="800000"/>
            <a:headEnd/>
            <a:tailEnd/>
          </a:ln>
        </p:spPr>
      </p:pic>
      <p:cxnSp>
        <p:nvCxnSpPr>
          <p:cNvPr id="56" name="Rechte verbindingslijn met pijl 55">
            <a:extLst>
              <a:ext uri="{FF2B5EF4-FFF2-40B4-BE49-F238E27FC236}">
                <a16:creationId xmlns:a16="http://schemas.microsoft.com/office/drawing/2014/main" id="{52FF10F7-6E7A-45B2-B27F-8E3371A1DE75}"/>
              </a:ext>
            </a:extLst>
          </p:cNvPr>
          <p:cNvCxnSpPr>
            <a:stCxn id="53" idx="0"/>
            <a:endCxn id="51" idx="2"/>
          </p:cNvCxnSpPr>
          <p:nvPr/>
        </p:nvCxnSpPr>
        <p:spPr>
          <a:xfrm flipV="1">
            <a:off x="3244007" y="3450036"/>
            <a:ext cx="0" cy="97379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8" name="Rechte verbindingslijn 57">
            <a:extLst>
              <a:ext uri="{FF2B5EF4-FFF2-40B4-BE49-F238E27FC236}">
                <a16:creationId xmlns:a16="http://schemas.microsoft.com/office/drawing/2014/main" id="{08E60680-5133-4CEC-93B5-5972D72E1873}"/>
              </a:ext>
            </a:extLst>
          </p:cNvPr>
          <p:cNvCxnSpPr>
            <a:stCxn id="51" idx="3"/>
          </p:cNvCxnSpPr>
          <p:nvPr/>
        </p:nvCxnSpPr>
        <p:spPr>
          <a:xfrm>
            <a:off x="3701207" y="2992836"/>
            <a:ext cx="1965920" cy="0"/>
          </a:xfrm>
          <a:prstGeom prst="line">
            <a:avLst/>
          </a:prstGeom>
        </p:spPr>
        <p:style>
          <a:lnRef idx="3">
            <a:schemeClr val="accent1"/>
          </a:lnRef>
          <a:fillRef idx="0">
            <a:schemeClr val="accent1"/>
          </a:fillRef>
          <a:effectRef idx="2">
            <a:schemeClr val="accent1"/>
          </a:effectRef>
          <a:fontRef idx="minor">
            <a:schemeClr val="tx1"/>
          </a:fontRef>
        </p:style>
      </p:cxnSp>
      <p:cxnSp>
        <p:nvCxnSpPr>
          <p:cNvPr id="62" name="Rechte verbindingslijn 61">
            <a:extLst>
              <a:ext uri="{FF2B5EF4-FFF2-40B4-BE49-F238E27FC236}">
                <a16:creationId xmlns:a16="http://schemas.microsoft.com/office/drawing/2014/main" id="{4DFC7837-D1D8-4CC1-A51F-F0C05CC4BB44}"/>
              </a:ext>
            </a:extLst>
          </p:cNvPr>
          <p:cNvCxnSpPr/>
          <p:nvPr/>
        </p:nvCxnSpPr>
        <p:spPr>
          <a:xfrm flipV="1">
            <a:off x="5667127" y="1836752"/>
            <a:ext cx="0" cy="1156084"/>
          </a:xfrm>
          <a:prstGeom prst="line">
            <a:avLst/>
          </a:prstGeom>
        </p:spPr>
        <p:style>
          <a:lnRef idx="2">
            <a:schemeClr val="accent1"/>
          </a:lnRef>
          <a:fillRef idx="0">
            <a:schemeClr val="accent1"/>
          </a:fillRef>
          <a:effectRef idx="1">
            <a:schemeClr val="accent1"/>
          </a:effectRef>
          <a:fontRef idx="minor">
            <a:schemeClr val="tx1"/>
          </a:fontRef>
        </p:style>
      </p:cxnSp>
      <p:cxnSp>
        <p:nvCxnSpPr>
          <p:cNvPr id="64" name="Rechte verbindingslijn 63">
            <a:extLst>
              <a:ext uri="{FF2B5EF4-FFF2-40B4-BE49-F238E27FC236}">
                <a16:creationId xmlns:a16="http://schemas.microsoft.com/office/drawing/2014/main" id="{99A7736F-EBAD-4650-B61F-F547F7AEAAB8}"/>
              </a:ext>
            </a:extLst>
          </p:cNvPr>
          <p:cNvCxnSpPr>
            <a:cxnSpLocks/>
          </p:cNvCxnSpPr>
          <p:nvPr/>
        </p:nvCxnSpPr>
        <p:spPr>
          <a:xfrm>
            <a:off x="5667127" y="2992836"/>
            <a:ext cx="0" cy="2028411"/>
          </a:xfrm>
          <a:prstGeom prst="line">
            <a:avLst/>
          </a:prstGeom>
        </p:spPr>
        <p:style>
          <a:lnRef idx="2">
            <a:schemeClr val="accent1"/>
          </a:lnRef>
          <a:fillRef idx="0">
            <a:schemeClr val="accent1"/>
          </a:fillRef>
          <a:effectRef idx="1">
            <a:schemeClr val="accent1"/>
          </a:effectRef>
          <a:fontRef idx="minor">
            <a:schemeClr val="tx1"/>
          </a:fontRef>
        </p:style>
      </p:cxnSp>
      <p:cxnSp>
        <p:nvCxnSpPr>
          <p:cNvPr id="67" name="Rechte verbindingslijn met pijl 66">
            <a:extLst>
              <a:ext uri="{FF2B5EF4-FFF2-40B4-BE49-F238E27FC236}">
                <a16:creationId xmlns:a16="http://schemas.microsoft.com/office/drawing/2014/main" id="{0804365B-6016-479E-B9F1-42EDC9C25C0F}"/>
              </a:ext>
            </a:extLst>
          </p:cNvPr>
          <p:cNvCxnSpPr>
            <a:endCxn id="43" idx="1"/>
          </p:cNvCxnSpPr>
          <p:nvPr/>
        </p:nvCxnSpPr>
        <p:spPr>
          <a:xfrm>
            <a:off x="5667127" y="1836752"/>
            <a:ext cx="2073714"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69" name="Rechte verbindingslijn met pijl 68">
            <a:extLst>
              <a:ext uri="{FF2B5EF4-FFF2-40B4-BE49-F238E27FC236}">
                <a16:creationId xmlns:a16="http://schemas.microsoft.com/office/drawing/2014/main" id="{C4C44586-9B9C-4DF9-BA38-707679031D7C}"/>
              </a:ext>
            </a:extLst>
          </p:cNvPr>
          <p:cNvCxnSpPr>
            <a:endCxn id="42" idx="1"/>
          </p:cNvCxnSpPr>
          <p:nvPr/>
        </p:nvCxnSpPr>
        <p:spPr>
          <a:xfrm>
            <a:off x="5667127" y="3428999"/>
            <a:ext cx="2073714" cy="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70" name="Rechte verbindingslijn met pijl 69">
            <a:extLst>
              <a:ext uri="{FF2B5EF4-FFF2-40B4-BE49-F238E27FC236}">
                <a16:creationId xmlns:a16="http://schemas.microsoft.com/office/drawing/2014/main" id="{CE8AF3F3-63A9-4E07-97C0-09A1F53DAEBC}"/>
              </a:ext>
            </a:extLst>
          </p:cNvPr>
          <p:cNvCxnSpPr/>
          <p:nvPr/>
        </p:nvCxnSpPr>
        <p:spPr>
          <a:xfrm>
            <a:off x="5667127" y="5019758"/>
            <a:ext cx="2073714"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71" name="TextBox 32">
            <a:extLst>
              <a:ext uri="{FF2B5EF4-FFF2-40B4-BE49-F238E27FC236}">
                <a16:creationId xmlns:a16="http://schemas.microsoft.com/office/drawing/2014/main" id="{EC4FF516-54DF-4CD9-9BA2-E4BAB4B8F6A1}"/>
              </a:ext>
            </a:extLst>
          </p:cNvPr>
          <p:cNvSpPr txBox="1"/>
          <p:nvPr/>
        </p:nvSpPr>
        <p:spPr>
          <a:xfrm>
            <a:off x="3769767" y="3126986"/>
            <a:ext cx="1828800" cy="215444"/>
          </a:xfrm>
          <a:prstGeom prst="rect">
            <a:avLst/>
          </a:prstGeom>
          <a:noFill/>
        </p:spPr>
        <p:txBody>
          <a:bodyPr wrap="square" lIns="0" tIns="0" rIns="0" bIns="0" rtlCol="0">
            <a:spAutoFit/>
          </a:bodyPr>
          <a:lstStyle/>
          <a:p>
            <a:pPr>
              <a:spcBef>
                <a:spcPts val="600"/>
              </a:spcBef>
              <a:buClr>
                <a:schemeClr val="tx2"/>
              </a:buClr>
            </a:pPr>
            <a:r>
              <a:rPr lang="nl-NL" sz="1400" dirty="0">
                <a:solidFill>
                  <a:schemeClr val="tx1"/>
                </a:solidFill>
              </a:rPr>
              <a:t>Levering</a:t>
            </a:r>
          </a:p>
        </p:txBody>
      </p:sp>
      <p:sp>
        <p:nvSpPr>
          <p:cNvPr id="72" name="TextBox 39">
            <a:extLst>
              <a:ext uri="{FF2B5EF4-FFF2-40B4-BE49-F238E27FC236}">
                <a16:creationId xmlns:a16="http://schemas.microsoft.com/office/drawing/2014/main" id="{135D649D-9975-40D2-992B-C23823E129BB}"/>
              </a:ext>
            </a:extLst>
          </p:cNvPr>
          <p:cNvSpPr txBox="1"/>
          <p:nvPr/>
        </p:nvSpPr>
        <p:spPr>
          <a:xfrm>
            <a:off x="2751494" y="5168032"/>
            <a:ext cx="1899426" cy="553998"/>
          </a:xfrm>
          <a:prstGeom prst="rect">
            <a:avLst/>
          </a:prstGeom>
          <a:noFill/>
        </p:spPr>
        <p:txBody>
          <a:bodyPr wrap="square" lIns="0" tIns="0" rIns="0" bIns="0" rtlCol="0">
            <a:spAutoFit/>
          </a:bodyPr>
          <a:lstStyle/>
          <a:p>
            <a:pPr>
              <a:spcBef>
                <a:spcPts val="600"/>
              </a:spcBef>
              <a:buClr>
                <a:schemeClr val="tx2"/>
              </a:buClr>
            </a:pPr>
            <a:r>
              <a:rPr lang="en-US" sz="1200" dirty="0" err="1"/>
              <a:t>Goederen</a:t>
            </a:r>
            <a:r>
              <a:rPr lang="en-US" sz="1200" dirty="0"/>
              <a:t> </a:t>
            </a:r>
            <a:r>
              <a:rPr lang="en-US" sz="1200" dirty="0" err="1"/>
              <a:t>vervoerd</a:t>
            </a:r>
            <a:r>
              <a:rPr lang="en-US" sz="1200" dirty="0"/>
              <a:t> of </a:t>
            </a:r>
            <a:r>
              <a:rPr lang="en-US" sz="1200" dirty="0" err="1"/>
              <a:t>verzonden</a:t>
            </a:r>
            <a:r>
              <a:rPr lang="en-US" sz="1200" dirty="0"/>
              <a:t> door of </a:t>
            </a:r>
            <a:r>
              <a:rPr lang="en-US" sz="1200" dirty="0" err="1"/>
              <a:t>voor</a:t>
            </a:r>
            <a:r>
              <a:rPr lang="en-US" sz="1200" dirty="0"/>
              <a:t> </a:t>
            </a:r>
            <a:r>
              <a:rPr lang="en-US" sz="1200" dirty="0" err="1"/>
              <a:t>rekening</a:t>
            </a:r>
            <a:r>
              <a:rPr lang="en-US" sz="1200" dirty="0"/>
              <a:t> van de </a:t>
            </a:r>
            <a:r>
              <a:rPr lang="en-US" sz="1200" dirty="0" err="1"/>
              <a:t>leverancier</a:t>
            </a:r>
            <a:r>
              <a:rPr lang="en-US" sz="1200" dirty="0"/>
              <a:t> </a:t>
            </a:r>
            <a:endParaRPr lang="nl-NL" sz="1200" dirty="0">
              <a:solidFill>
                <a:schemeClr val="tx1"/>
              </a:solidFill>
            </a:endParaRPr>
          </a:p>
        </p:txBody>
      </p:sp>
      <p:sp>
        <p:nvSpPr>
          <p:cNvPr id="73" name="Rechthoek 72">
            <a:extLst>
              <a:ext uri="{FF2B5EF4-FFF2-40B4-BE49-F238E27FC236}">
                <a16:creationId xmlns:a16="http://schemas.microsoft.com/office/drawing/2014/main" id="{C5953EEF-0922-4E40-AF98-B8377F1E7310}"/>
              </a:ext>
            </a:extLst>
          </p:cNvPr>
          <p:cNvSpPr/>
          <p:nvPr/>
        </p:nvSpPr>
        <p:spPr>
          <a:xfrm rot="1338236">
            <a:off x="4940221" y="2652320"/>
            <a:ext cx="2863619" cy="1200329"/>
          </a:xfrm>
          <a:prstGeom prst="rect">
            <a:avLst/>
          </a:prstGeom>
          <a:noFill/>
        </p:spPr>
        <p:txBody>
          <a:bodyPr wrap="square" lIns="91440" tIns="45720" rIns="91440" bIns="45720">
            <a:spAutoFit/>
          </a:bodyPr>
          <a:lstStyle/>
          <a:p>
            <a:pPr algn="ctr"/>
            <a:r>
              <a:rPr lang="nl-NL" sz="3600" b="1" cap="none" spc="0"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Drempels controleren</a:t>
            </a:r>
          </a:p>
        </p:txBody>
      </p:sp>
    </p:spTree>
    <p:extLst>
      <p:ext uri="{BB962C8B-B14F-4D97-AF65-F5344CB8AC3E}">
        <p14:creationId xmlns:p14="http://schemas.microsoft.com/office/powerpoint/2010/main" val="875776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3"/>
                                        </p:tgtEl>
                                        <p:attrNameLst>
                                          <p:attrName>style.visibility</p:attrName>
                                        </p:attrNameLst>
                                      </p:cBhvr>
                                      <p:to>
                                        <p:strVal val="visible"/>
                                      </p:to>
                                    </p:set>
                                    <p:anim calcmode="lin" valueType="num">
                                      <p:cBhvr additive="base">
                                        <p:cTn id="7" dur="500" fill="hold"/>
                                        <p:tgtEl>
                                          <p:spTgt spid="73"/>
                                        </p:tgtEl>
                                        <p:attrNameLst>
                                          <p:attrName>ppt_x</p:attrName>
                                        </p:attrNameLst>
                                      </p:cBhvr>
                                      <p:tavLst>
                                        <p:tav tm="0">
                                          <p:val>
                                            <p:strVal val="#ppt_x"/>
                                          </p:val>
                                        </p:tav>
                                        <p:tav tm="100000">
                                          <p:val>
                                            <p:strVal val="#ppt_x"/>
                                          </p:val>
                                        </p:tav>
                                      </p:tavLst>
                                    </p:anim>
                                    <p:anim calcmode="lin" valueType="num">
                                      <p:cBhvr additive="base">
                                        <p:cTn id="8" dur="500" fill="hold"/>
                                        <p:tgtEl>
                                          <p:spTgt spid="7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tekst 2">
            <a:extLst>
              <a:ext uri="{FF2B5EF4-FFF2-40B4-BE49-F238E27FC236}">
                <a16:creationId xmlns:a16="http://schemas.microsoft.com/office/drawing/2014/main" id="{415ACD76-2645-419C-963D-B4B455B13934}"/>
              </a:ext>
            </a:extLst>
          </p:cNvPr>
          <p:cNvSpPr>
            <a:spLocks noGrp="1"/>
          </p:cNvSpPr>
          <p:nvPr>
            <p:ph type="body" idx="14"/>
          </p:nvPr>
        </p:nvSpPr>
        <p:spPr>
          <a:xfrm>
            <a:off x="664109" y="1001348"/>
            <a:ext cx="10870131" cy="317758"/>
          </a:xfrm>
        </p:spPr>
        <p:txBody>
          <a:bodyPr/>
          <a:lstStyle/>
          <a:p>
            <a:r>
              <a:rPr lang="nl-NL" dirty="0">
                <a:solidFill>
                  <a:schemeClr val="bg2">
                    <a:lumMod val="50000"/>
                  </a:schemeClr>
                </a:solidFill>
              </a:rPr>
              <a:t>Nieuw regime</a:t>
            </a:r>
            <a:endParaRPr lang="nl-NL" dirty="0"/>
          </a:p>
        </p:txBody>
      </p:sp>
      <p:sp>
        <p:nvSpPr>
          <p:cNvPr id="24" name="TextBox 35">
            <a:extLst>
              <a:ext uri="{FF2B5EF4-FFF2-40B4-BE49-F238E27FC236}">
                <a16:creationId xmlns:a16="http://schemas.microsoft.com/office/drawing/2014/main" id="{726B9E62-9A25-4D27-93A7-45949E757CF1}"/>
              </a:ext>
            </a:extLst>
          </p:cNvPr>
          <p:cNvSpPr txBox="1"/>
          <p:nvPr/>
        </p:nvSpPr>
        <p:spPr>
          <a:xfrm>
            <a:off x="471846" y="1539500"/>
            <a:ext cx="3480571" cy="707886"/>
          </a:xfrm>
          <a:prstGeom prst="rect">
            <a:avLst/>
          </a:prstGeom>
          <a:noFill/>
        </p:spPr>
        <p:txBody>
          <a:bodyPr wrap="square" lIns="0" tIns="0" rIns="0" bIns="0" rtlCol="0">
            <a:spAutoFit/>
          </a:bodyPr>
          <a:lstStyle/>
          <a:p>
            <a:pPr marL="285750" indent="-285750">
              <a:spcBef>
                <a:spcPts val="600"/>
              </a:spcBef>
              <a:buClr>
                <a:schemeClr val="tx2"/>
              </a:buClr>
              <a:buFont typeface="Arial" panose="020B0604020202020204" pitchFamily="34" charset="0"/>
              <a:buChar char="•"/>
            </a:pPr>
            <a:r>
              <a:rPr lang="nl-NL" sz="1200" dirty="0">
                <a:sym typeface="Wingdings" panose="05000000000000000000" pitchFamily="2" charset="2"/>
              </a:rPr>
              <a:t>Bestemmingsland </a:t>
            </a:r>
          </a:p>
          <a:p>
            <a:pPr marL="285750" indent="-285750">
              <a:spcBef>
                <a:spcPts val="600"/>
              </a:spcBef>
              <a:buClr>
                <a:schemeClr val="tx2"/>
              </a:buClr>
              <a:buFont typeface="Arial" panose="020B0604020202020204" pitchFamily="34" charset="0"/>
              <a:buChar char="•"/>
            </a:pPr>
            <a:r>
              <a:rPr lang="nl-NL" sz="1200" dirty="0">
                <a:sym typeface="Wingdings" panose="05000000000000000000" pitchFamily="2" charset="2"/>
              </a:rPr>
              <a:t>Registreren</a:t>
            </a:r>
          </a:p>
          <a:p>
            <a:pPr marL="285750" indent="-285750">
              <a:spcBef>
                <a:spcPts val="600"/>
              </a:spcBef>
              <a:buClr>
                <a:schemeClr val="tx2"/>
              </a:buClr>
              <a:buFont typeface="Arial" panose="020B0604020202020204" pitchFamily="34" charset="0"/>
              <a:buChar char="•"/>
            </a:pPr>
            <a:r>
              <a:rPr lang="nl-NL" sz="1200" dirty="0">
                <a:sym typeface="Wingdings" panose="05000000000000000000" pitchFamily="2" charset="2"/>
              </a:rPr>
              <a:t>MOSS</a:t>
            </a:r>
          </a:p>
        </p:txBody>
      </p:sp>
      <p:sp>
        <p:nvSpPr>
          <p:cNvPr id="31" name="Titel 30">
            <a:extLst>
              <a:ext uri="{FF2B5EF4-FFF2-40B4-BE49-F238E27FC236}">
                <a16:creationId xmlns:a16="http://schemas.microsoft.com/office/drawing/2014/main" id="{A5CCE37C-7FF7-4EC6-8773-D54D075A6DF4}"/>
              </a:ext>
            </a:extLst>
          </p:cNvPr>
          <p:cNvSpPr>
            <a:spLocks noGrp="1"/>
          </p:cNvSpPr>
          <p:nvPr>
            <p:ph type="title"/>
          </p:nvPr>
        </p:nvSpPr>
        <p:spPr>
          <a:xfrm>
            <a:off x="664109" y="464521"/>
            <a:ext cx="10870131" cy="533219"/>
          </a:xfrm>
        </p:spPr>
        <p:txBody>
          <a:bodyPr/>
          <a:lstStyle/>
          <a:p>
            <a:r>
              <a:rPr lang="nl-NL" dirty="0"/>
              <a:t>Afstandsverkopen</a:t>
            </a:r>
          </a:p>
        </p:txBody>
      </p:sp>
      <p:pic>
        <p:nvPicPr>
          <p:cNvPr id="41" name="Graphic 40" descr="Gebruiker">
            <a:extLst>
              <a:ext uri="{FF2B5EF4-FFF2-40B4-BE49-F238E27FC236}">
                <a16:creationId xmlns:a16="http://schemas.microsoft.com/office/drawing/2014/main" id="{C9290B02-107B-4C1F-996B-ECBCCCE656D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40841" y="4564048"/>
            <a:ext cx="914400" cy="914400"/>
          </a:xfrm>
          <a:prstGeom prst="rect">
            <a:avLst/>
          </a:prstGeom>
        </p:spPr>
      </p:pic>
      <p:pic>
        <p:nvPicPr>
          <p:cNvPr id="42" name="Graphic 41" descr="Gebruiker">
            <a:extLst>
              <a:ext uri="{FF2B5EF4-FFF2-40B4-BE49-F238E27FC236}">
                <a16:creationId xmlns:a16="http://schemas.microsoft.com/office/drawing/2014/main" id="{88AED3AC-E88C-49FA-BF44-6F3F4012873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40841" y="2971800"/>
            <a:ext cx="914400" cy="914400"/>
          </a:xfrm>
          <a:prstGeom prst="rect">
            <a:avLst/>
          </a:prstGeom>
        </p:spPr>
      </p:pic>
      <p:pic>
        <p:nvPicPr>
          <p:cNvPr id="43" name="Graphic 42" descr="Gebruiker">
            <a:extLst>
              <a:ext uri="{FF2B5EF4-FFF2-40B4-BE49-F238E27FC236}">
                <a16:creationId xmlns:a16="http://schemas.microsoft.com/office/drawing/2014/main" id="{03A3B15C-4D86-4D99-888E-2A32150A9EF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40841" y="1379552"/>
            <a:ext cx="914400" cy="914400"/>
          </a:xfrm>
          <a:prstGeom prst="rect">
            <a:avLst/>
          </a:prstGeom>
        </p:spPr>
      </p:pic>
      <p:pic>
        <p:nvPicPr>
          <p:cNvPr id="44" name="Picture 15" descr="nl">
            <a:extLst>
              <a:ext uri="{FF2B5EF4-FFF2-40B4-BE49-F238E27FC236}">
                <a16:creationId xmlns:a16="http://schemas.microsoft.com/office/drawing/2014/main" id="{BD48955B-3DA8-4AB6-ACD7-912B4BAD8198}"/>
              </a:ext>
            </a:extLst>
          </p:cNvPr>
          <p:cNvPicPr>
            <a:picLocks noChangeAspect="1" noChangeArrowheads="1"/>
          </p:cNvPicPr>
          <p:nvPr/>
        </p:nvPicPr>
        <p:blipFill>
          <a:blip r:embed="rId5" cstate="print"/>
          <a:srcRect/>
          <a:stretch>
            <a:fillRect/>
          </a:stretch>
        </p:blipFill>
        <p:spPr bwMode="auto">
          <a:xfrm>
            <a:off x="8979495" y="1654054"/>
            <a:ext cx="742950" cy="371475"/>
          </a:xfrm>
          <a:prstGeom prst="rect">
            <a:avLst/>
          </a:prstGeom>
          <a:noFill/>
          <a:ln w="9525">
            <a:solidFill>
              <a:schemeClr val="bg1">
                <a:lumMod val="50000"/>
              </a:schemeClr>
            </a:solidFill>
            <a:miter lim="800000"/>
            <a:headEnd/>
            <a:tailEnd/>
          </a:ln>
        </p:spPr>
      </p:pic>
      <p:pic>
        <p:nvPicPr>
          <p:cNvPr id="45" name="Picture 9" descr="de">
            <a:extLst>
              <a:ext uri="{FF2B5EF4-FFF2-40B4-BE49-F238E27FC236}">
                <a16:creationId xmlns:a16="http://schemas.microsoft.com/office/drawing/2014/main" id="{A07D766E-CE88-4A65-BF26-892D9D7FAE46}"/>
              </a:ext>
            </a:extLst>
          </p:cNvPr>
          <p:cNvPicPr>
            <a:picLocks noChangeAspect="1" noChangeArrowheads="1"/>
          </p:cNvPicPr>
          <p:nvPr/>
        </p:nvPicPr>
        <p:blipFill>
          <a:blip r:embed="rId6" cstate="print"/>
          <a:srcRect/>
          <a:stretch>
            <a:fillRect/>
          </a:stretch>
        </p:blipFill>
        <p:spPr bwMode="auto">
          <a:xfrm>
            <a:off x="8979495" y="3243262"/>
            <a:ext cx="742950" cy="371475"/>
          </a:xfrm>
          <a:prstGeom prst="rect">
            <a:avLst/>
          </a:prstGeom>
          <a:noFill/>
          <a:ln w="9525">
            <a:solidFill>
              <a:schemeClr val="bg1">
                <a:lumMod val="50000"/>
              </a:schemeClr>
            </a:solidFill>
            <a:miter lim="800000"/>
            <a:headEnd/>
            <a:tailEnd/>
          </a:ln>
        </p:spPr>
      </p:pic>
      <p:pic>
        <p:nvPicPr>
          <p:cNvPr id="46" name="Picture 11" descr="ie75">
            <a:extLst>
              <a:ext uri="{FF2B5EF4-FFF2-40B4-BE49-F238E27FC236}">
                <a16:creationId xmlns:a16="http://schemas.microsoft.com/office/drawing/2014/main" id="{CF4DFB48-11C0-4673-8995-5D67101EBDD7}"/>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8979495" y="4835510"/>
            <a:ext cx="742950" cy="371475"/>
          </a:xfrm>
          <a:prstGeom prst="rect">
            <a:avLst/>
          </a:prstGeom>
          <a:noFill/>
          <a:ln w="9525">
            <a:solidFill>
              <a:schemeClr val="bg1">
                <a:lumMod val="50000"/>
              </a:schemeClr>
            </a:solidFill>
            <a:miter lim="800000"/>
            <a:headEnd/>
            <a:tailEnd/>
          </a:ln>
        </p:spPr>
      </p:pic>
      <p:sp>
        <p:nvSpPr>
          <p:cNvPr id="47" name="TextBox 28">
            <a:extLst>
              <a:ext uri="{FF2B5EF4-FFF2-40B4-BE49-F238E27FC236}">
                <a16:creationId xmlns:a16="http://schemas.microsoft.com/office/drawing/2014/main" id="{B91E781D-3990-4F24-A273-A0290A00D2F9}"/>
              </a:ext>
            </a:extLst>
          </p:cNvPr>
          <p:cNvSpPr txBox="1"/>
          <p:nvPr/>
        </p:nvSpPr>
        <p:spPr>
          <a:xfrm>
            <a:off x="8979493" y="2131682"/>
            <a:ext cx="1667817" cy="215444"/>
          </a:xfrm>
          <a:prstGeom prst="rect">
            <a:avLst/>
          </a:prstGeom>
          <a:noFill/>
        </p:spPr>
        <p:txBody>
          <a:bodyPr wrap="square" lIns="0" tIns="0" rIns="0" bIns="0" rtlCol="0">
            <a:spAutoFit/>
          </a:bodyPr>
          <a:lstStyle/>
          <a:p>
            <a:pPr>
              <a:spcBef>
                <a:spcPts val="600"/>
              </a:spcBef>
              <a:buClr>
                <a:schemeClr val="tx2"/>
              </a:buClr>
            </a:pPr>
            <a:r>
              <a:rPr lang="nl-NL" sz="1400" dirty="0"/>
              <a:t>Nederlandse BTW</a:t>
            </a:r>
            <a:endParaRPr lang="nl-NL" sz="1400" dirty="0">
              <a:solidFill>
                <a:schemeClr val="tx1"/>
              </a:solidFill>
            </a:endParaRPr>
          </a:p>
        </p:txBody>
      </p:sp>
      <p:sp>
        <p:nvSpPr>
          <p:cNvPr id="48" name="TextBox 34">
            <a:extLst>
              <a:ext uri="{FF2B5EF4-FFF2-40B4-BE49-F238E27FC236}">
                <a16:creationId xmlns:a16="http://schemas.microsoft.com/office/drawing/2014/main" id="{F922F77D-6A48-4158-993B-1AFFFCECECAB}"/>
              </a:ext>
            </a:extLst>
          </p:cNvPr>
          <p:cNvSpPr txBox="1"/>
          <p:nvPr/>
        </p:nvSpPr>
        <p:spPr>
          <a:xfrm>
            <a:off x="8979494" y="3723930"/>
            <a:ext cx="1667817" cy="215444"/>
          </a:xfrm>
          <a:prstGeom prst="rect">
            <a:avLst/>
          </a:prstGeom>
          <a:noFill/>
        </p:spPr>
        <p:txBody>
          <a:bodyPr wrap="square" lIns="0" tIns="0" rIns="0" bIns="0" rtlCol="0">
            <a:spAutoFit/>
          </a:bodyPr>
          <a:lstStyle/>
          <a:p>
            <a:pPr>
              <a:spcBef>
                <a:spcPts val="600"/>
              </a:spcBef>
              <a:buClr>
                <a:schemeClr val="tx2"/>
              </a:buClr>
            </a:pPr>
            <a:r>
              <a:rPr lang="nl-NL" sz="1400" dirty="0"/>
              <a:t>Duitse BTW</a:t>
            </a:r>
            <a:endParaRPr lang="nl-NL" sz="1400" dirty="0">
              <a:solidFill>
                <a:schemeClr val="tx1"/>
              </a:solidFill>
            </a:endParaRPr>
          </a:p>
        </p:txBody>
      </p:sp>
      <p:sp>
        <p:nvSpPr>
          <p:cNvPr id="49" name="TextBox 38">
            <a:extLst>
              <a:ext uri="{FF2B5EF4-FFF2-40B4-BE49-F238E27FC236}">
                <a16:creationId xmlns:a16="http://schemas.microsoft.com/office/drawing/2014/main" id="{1D6EF04F-6029-48B2-8083-79622E896C0A}"/>
              </a:ext>
            </a:extLst>
          </p:cNvPr>
          <p:cNvSpPr txBox="1"/>
          <p:nvPr/>
        </p:nvSpPr>
        <p:spPr>
          <a:xfrm>
            <a:off x="8979494" y="5315381"/>
            <a:ext cx="1667817" cy="215444"/>
          </a:xfrm>
          <a:prstGeom prst="rect">
            <a:avLst/>
          </a:prstGeom>
          <a:noFill/>
        </p:spPr>
        <p:txBody>
          <a:bodyPr wrap="square" lIns="0" tIns="0" rIns="0" bIns="0" rtlCol="0">
            <a:spAutoFit/>
          </a:bodyPr>
          <a:lstStyle/>
          <a:p>
            <a:pPr>
              <a:spcBef>
                <a:spcPts val="600"/>
              </a:spcBef>
              <a:buClr>
                <a:schemeClr val="tx2"/>
              </a:buClr>
            </a:pPr>
            <a:r>
              <a:rPr lang="nl-NL" sz="1400" dirty="0">
                <a:solidFill>
                  <a:schemeClr val="tx1"/>
                </a:solidFill>
              </a:rPr>
              <a:t>Ierse BTW</a:t>
            </a:r>
          </a:p>
        </p:txBody>
      </p:sp>
      <p:pic>
        <p:nvPicPr>
          <p:cNvPr id="51" name="Graphic 50" descr="Doos">
            <a:extLst>
              <a:ext uri="{FF2B5EF4-FFF2-40B4-BE49-F238E27FC236}">
                <a16:creationId xmlns:a16="http://schemas.microsoft.com/office/drawing/2014/main" id="{3F79F33C-6827-4AAF-84FC-CBE0ADD1614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786807" y="2535636"/>
            <a:ext cx="914400" cy="914400"/>
          </a:xfrm>
          <a:prstGeom prst="rect">
            <a:avLst/>
          </a:prstGeom>
        </p:spPr>
      </p:pic>
      <p:pic>
        <p:nvPicPr>
          <p:cNvPr id="53" name="Graphic 52" descr="Vrachtwagen">
            <a:extLst>
              <a:ext uri="{FF2B5EF4-FFF2-40B4-BE49-F238E27FC236}">
                <a16:creationId xmlns:a16="http://schemas.microsoft.com/office/drawing/2014/main" id="{31F284C5-F9D1-4442-82E4-299FEC8A180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786807" y="4423832"/>
            <a:ext cx="914400" cy="914400"/>
          </a:xfrm>
          <a:prstGeom prst="rect">
            <a:avLst/>
          </a:prstGeom>
        </p:spPr>
      </p:pic>
      <p:pic>
        <p:nvPicPr>
          <p:cNvPr id="54" name="Picture 8" descr="fr">
            <a:extLst>
              <a:ext uri="{FF2B5EF4-FFF2-40B4-BE49-F238E27FC236}">
                <a16:creationId xmlns:a16="http://schemas.microsoft.com/office/drawing/2014/main" id="{4174BB2F-8ADC-4A07-90DC-46D57ADDFF6D}"/>
              </a:ext>
            </a:extLst>
          </p:cNvPr>
          <p:cNvPicPr>
            <a:picLocks noChangeAspect="1" noChangeArrowheads="1"/>
          </p:cNvPicPr>
          <p:nvPr/>
        </p:nvPicPr>
        <p:blipFill>
          <a:blip r:embed="rId12" cstate="print"/>
          <a:srcRect/>
          <a:stretch>
            <a:fillRect/>
          </a:stretch>
        </p:blipFill>
        <p:spPr bwMode="auto">
          <a:xfrm>
            <a:off x="1845869" y="2786062"/>
            <a:ext cx="742950" cy="371475"/>
          </a:xfrm>
          <a:prstGeom prst="rect">
            <a:avLst/>
          </a:prstGeom>
          <a:noFill/>
          <a:ln w="9525">
            <a:solidFill>
              <a:schemeClr val="bg1">
                <a:lumMod val="50000"/>
              </a:schemeClr>
            </a:solidFill>
            <a:miter lim="800000"/>
            <a:headEnd/>
            <a:tailEnd/>
          </a:ln>
        </p:spPr>
      </p:pic>
      <p:cxnSp>
        <p:nvCxnSpPr>
          <p:cNvPr id="56" name="Rechte verbindingslijn met pijl 55">
            <a:extLst>
              <a:ext uri="{FF2B5EF4-FFF2-40B4-BE49-F238E27FC236}">
                <a16:creationId xmlns:a16="http://schemas.microsoft.com/office/drawing/2014/main" id="{52FF10F7-6E7A-45B2-B27F-8E3371A1DE75}"/>
              </a:ext>
            </a:extLst>
          </p:cNvPr>
          <p:cNvCxnSpPr>
            <a:cxnSpLocks/>
            <a:stCxn id="53" idx="0"/>
            <a:endCxn id="51" idx="2"/>
          </p:cNvCxnSpPr>
          <p:nvPr/>
        </p:nvCxnSpPr>
        <p:spPr>
          <a:xfrm flipV="1">
            <a:off x="3244007" y="3450036"/>
            <a:ext cx="0" cy="97379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8" name="Rechte verbindingslijn 57">
            <a:extLst>
              <a:ext uri="{FF2B5EF4-FFF2-40B4-BE49-F238E27FC236}">
                <a16:creationId xmlns:a16="http://schemas.microsoft.com/office/drawing/2014/main" id="{08E60680-5133-4CEC-93B5-5972D72E1873}"/>
              </a:ext>
            </a:extLst>
          </p:cNvPr>
          <p:cNvCxnSpPr>
            <a:cxnSpLocks/>
            <a:stCxn id="51" idx="3"/>
          </p:cNvCxnSpPr>
          <p:nvPr/>
        </p:nvCxnSpPr>
        <p:spPr>
          <a:xfrm>
            <a:off x="3701207" y="2992836"/>
            <a:ext cx="1965920" cy="0"/>
          </a:xfrm>
          <a:prstGeom prst="line">
            <a:avLst/>
          </a:prstGeom>
        </p:spPr>
        <p:style>
          <a:lnRef idx="3">
            <a:schemeClr val="accent1"/>
          </a:lnRef>
          <a:fillRef idx="0">
            <a:schemeClr val="accent1"/>
          </a:fillRef>
          <a:effectRef idx="2">
            <a:schemeClr val="accent1"/>
          </a:effectRef>
          <a:fontRef idx="minor">
            <a:schemeClr val="tx1"/>
          </a:fontRef>
        </p:style>
      </p:cxnSp>
      <p:cxnSp>
        <p:nvCxnSpPr>
          <p:cNvPr id="62" name="Rechte verbindingslijn 61">
            <a:extLst>
              <a:ext uri="{FF2B5EF4-FFF2-40B4-BE49-F238E27FC236}">
                <a16:creationId xmlns:a16="http://schemas.microsoft.com/office/drawing/2014/main" id="{4DFC7837-D1D8-4CC1-A51F-F0C05CC4BB44}"/>
              </a:ext>
            </a:extLst>
          </p:cNvPr>
          <p:cNvCxnSpPr/>
          <p:nvPr/>
        </p:nvCxnSpPr>
        <p:spPr>
          <a:xfrm flipV="1">
            <a:off x="5667127" y="1836752"/>
            <a:ext cx="0" cy="1156084"/>
          </a:xfrm>
          <a:prstGeom prst="line">
            <a:avLst/>
          </a:prstGeom>
        </p:spPr>
        <p:style>
          <a:lnRef idx="2">
            <a:schemeClr val="accent1"/>
          </a:lnRef>
          <a:fillRef idx="0">
            <a:schemeClr val="accent1"/>
          </a:fillRef>
          <a:effectRef idx="1">
            <a:schemeClr val="accent1"/>
          </a:effectRef>
          <a:fontRef idx="minor">
            <a:schemeClr val="tx1"/>
          </a:fontRef>
        </p:style>
      </p:cxnSp>
      <p:cxnSp>
        <p:nvCxnSpPr>
          <p:cNvPr id="64" name="Rechte verbindingslijn 63">
            <a:extLst>
              <a:ext uri="{FF2B5EF4-FFF2-40B4-BE49-F238E27FC236}">
                <a16:creationId xmlns:a16="http://schemas.microsoft.com/office/drawing/2014/main" id="{99A7736F-EBAD-4650-B61F-F547F7AEAAB8}"/>
              </a:ext>
            </a:extLst>
          </p:cNvPr>
          <p:cNvCxnSpPr>
            <a:cxnSpLocks/>
          </p:cNvCxnSpPr>
          <p:nvPr/>
        </p:nvCxnSpPr>
        <p:spPr>
          <a:xfrm>
            <a:off x="5667127" y="2992836"/>
            <a:ext cx="0" cy="2028411"/>
          </a:xfrm>
          <a:prstGeom prst="line">
            <a:avLst/>
          </a:prstGeom>
        </p:spPr>
        <p:style>
          <a:lnRef idx="2">
            <a:schemeClr val="accent1"/>
          </a:lnRef>
          <a:fillRef idx="0">
            <a:schemeClr val="accent1"/>
          </a:fillRef>
          <a:effectRef idx="1">
            <a:schemeClr val="accent1"/>
          </a:effectRef>
          <a:fontRef idx="minor">
            <a:schemeClr val="tx1"/>
          </a:fontRef>
        </p:style>
      </p:cxnSp>
      <p:cxnSp>
        <p:nvCxnSpPr>
          <p:cNvPr id="67" name="Rechte verbindingslijn met pijl 66">
            <a:extLst>
              <a:ext uri="{FF2B5EF4-FFF2-40B4-BE49-F238E27FC236}">
                <a16:creationId xmlns:a16="http://schemas.microsoft.com/office/drawing/2014/main" id="{0804365B-6016-479E-B9F1-42EDC9C25C0F}"/>
              </a:ext>
            </a:extLst>
          </p:cNvPr>
          <p:cNvCxnSpPr>
            <a:endCxn id="43" idx="1"/>
          </p:cNvCxnSpPr>
          <p:nvPr/>
        </p:nvCxnSpPr>
        <p:spPr>
          <a:xfrm>
            <a:off x="5667127" y="1836752"/>
            <a:ext cx="2073714"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69" name="Rechte verbindingslijn met pijl 68">
            <a:extLst>
              <a:ext uri="{FF2B5EF4-FFF2-40B4-BE49-F238E27FC236}">
                <a16:creationId xmlns:a16="http://schemas.microsoft.com/office/drawing/2014/main" id="{C4C44586-9B9C-4DF9-BA38-707679031D7C}"/>
              </a:ext>
            </a:extLst>
          </p:cNvPr>
          <p:cNvCxnSpPr>
            <a:endCxn id="42" idx="1"/>
          </p:cNvCxnSpPr>
          <p:nvPr/>
        </p:nvCxnSpPr>
        <p:spPr>
          <a:xfrm>
            <a:off x="5667127" y="3428999"/>
            <a:ext cx="2073714" cy="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70" name="Rechte verbindingslijn met pijl 69">
            <a:extLst>
              <a:ext uri="{FF2B5EF4-FFF2-40B4-BE49-F238E27FC236}">
                <a16:creationId xmlns:a16="http://schemas.microsoft.com/office/drawing/2014/main" id="{CE8AF3F3-63A9-4E07-97C0-09A1F53DAEBC}"/>
              </a:ext>
            </a:extLst>
          </p:cNvPr>
          <p:cNvCxnSpPr/>
          <p:nvPr/>
        </p:nvCxnSpPr>
        <p:spPr>
          <a:xfrm>
            <a:off x="5667127" y="5019758"/>
            <a:ext cx="2073714"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71" name="TextBox 32">
            <a:extLst>
              <a:ext uri="{FF2B5EF4-FFF2-40B4-BE49-F238E27FC236}">
                <a16:creationId xmlns:a16="http://schemas.microsoft.com/office/drawing/2014/main" id="{EC4FF516-54DF-4CD9-9BA2-E4BAB4B8F6A1}"/>
              </a:ext>
            </a:extLst>
          </p:cNvPr>
          <p:cNvSpPr txBox="1"/>
          <p:nvPr/>
        </p:nvSpPr>
        <p:spPr>
          <a:xfrm>
            <a:off x="3769767" y="3126986"/>
            <a:ext cx="1828800" cy="215444"/>
          </a:xfrm>
          <a:prstGeom prst="rect">
            <a:avLst/>
          </a:prstGeom>
          <a:noFill/>
        </p:spPr>
        <p:txBody>
          <a:bodyPr wrap="square" lIns="0" tIns="0" rIns="0" bIns="0" rtlCol="0">
            <a:spAutoFit/>
          </a:bodyPr>
          <a:lstStyle/>
          <a:p>
            <a:pPr>
              <a:spcBef>
                <a:spcPts val="600"/>
              </a:spcBef>
              <a:buClr>
                <a:schemeClr val="tx2"/>
              </a:buClr>
            </a:pPr>
            <a:r>
              <a:rPr lang="nl-NL" sz="1400" dirty="0"/>
              <a:t>Levering</a:t>
            </a:r>
            <a:endParaRPr lang="nl-NL" sz="1400" dirty="0">
              <a:solidFill>
                <a:schemeClr val="tx1"/>
              </a:solidFill>
            </a:endParaRPr>
          </a:p>
        </p:txBody>
      </p:sp>
      <p:sp>
        <p:nvSpPr>
          <p:cNvPr id="72" name="TextBox 39">
            <a:extLst>
              <a:ext uri="{FF2B5EF4-FFF2-40B4-BE49-F238E27FC236}">
                <a16:creationId xmlns:a16="http://schemas.microsoft.com/office/drawing/2014/main" id="{135D649D-9975-40D2-992B-C23823E129BB}"/>
              </a:ext>
            </a:extLst>
          </p:cNvPr>
          <p:cNvSpPr txBox="1"/>
          <p:nvPr/>
        </p:nvSpPr>
        <p:spPr>
          <a:xfrm>
            <a:off x="2714799" y="5213991"/>
            <a:ext cx="2260992" cy="923330"/>
          </a:xfrm>
          <a:prstGeom prst="rect">
            <a:avLst/>
          </a:prstGeom>
          <a:noFill/>
        </p:spPr>
        <p:txBody>
          <a:bodyPr wrap="square" lIns="0" tIns="0" rIns="0" bIns="0" rtlCol="0">
            <a:spAutoFit/>
          </a:bodyPr>
          <a:lstStyle/>
          <a:p>
            <a:pPr>
              <a:spcBef>
                <a:spcPts val="600"/>
              </a:spcBef>
              <a:buClr>
                <a:schemeClr val="tx2"/>
              </a:buClr>
            </a:pPr>
            <a:r>
              <a:rPr lang="nl-NL" sz="1200" dirty="0"/>
              <a:t>Goederen vervoerd of verzonden door of voor rekening van de leverancier of wanneer de leverancier indirect tussenkomt bij het transport</a:t>
            </a:r>
          </a:p>
        </p:txBody>
      </p:sp>
    </p:spTree>
    <p:extLst>
      <p:ext uri="{BB962C8B-B14F-4D97-AF65-F5344CB8AC3E}">
        <p14:creationId xmlns:p14="http://schemas.microsoft.com/office/powerpoint/2010/main" val="1426255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4780237" y="5912485"/>
            <a:ext cx="658800" cy="365125"/>
          </a:xfrm>
        </p:spPr>
        <p:txBody>
          <a:bodyPr/>
          <a:lstStyle/>
          <a:p>
            <a:fld id="{E7E69083-84D8-4E59-86E6-37E14A15C756}" type="slidenum">
              <a:rPr lang="en-GB" smtClean="0"/>
              <a:pPr/>
              <a:t>24</a:t>
            </a:fld>
            <a:endParaRPr lang="en-GB" dirty="0"/>
          </a:p>
        </p:txBody>
      </p:sp>
      <p:sp>
        <p:nvSpPr>
          <p:cNvPr id="4" name="Title 3"/>
          <p:cNvSpPr>
            <a:spLocks noGrp="1"/>
          </p:cNvSpPr>
          <p:nvPr>
            <p:ph type="title"/>
          </p:nvPr>
        </p:nvSpPr>
        <p:spPr>
          <a:xfrm>
            <a:off x="1236190" y="265141"/>
            <a:ext cx="10896000" cy="565535"/>
          </a:xfrm>
        </p:spPr>
        <p:txBody>
          <a:bodyPr/>
          <a:lstStyle/>
          <a:p>
            <a:r>
              <a:rPr lang="nl-NL" dirty="0">
                <a:solidFill>
                  <a:srgbClr val="ED1A3B"/>
                </a:solidFill>
              </a:rPr>
              <a:t>Toepassing nieuwe regeling bij platforms</a:t>
            </a:r>
            <a:br>
              <a:rPr lang="nl-NL" dirty="0"/>
            </a:br>
            <a:endParaRPr lang="nl-NL" dirty="0"/>
          </a:p>
        </p:txBody>
      </p:sp>
      <p:sp>
        <p:nvSpPr>
          <p:cNvPr id="7" name="Freeform 783"/>
          <p:cNvSpPr>
            <a:spLocks noChangeAspect="1" noEditPoints="1"/>
          </p:cNvSpPr>
          <p:nvPr/>
        </p:nvSpPr>
        <p:spPr bwMode="auto">
          <a:xfrm>
            <a:off x="3748334" y="1935505"/>
            <a:ext cx="1717121" cy="17171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88 w 512"/>
              <a:gd name="T11" fmla="*/ 266 h 512"/>
              <a:gd name="T12" fmla="*/ 280 w 512"/>
              <a:gd name="T13" fmla="*/ 263 h 512"/>
              <a:gd name="T14" fmla="*/ 266 w 512"/>
              <a:gd name="T15" fmla="*/ 249 h 512"/>
              <a:gd name="T16" fmla="*/ 266 w 512"/>
              <a:gd name="T17" fmla="*/ 373 h 512"/>
              <a:gd name="T18" fmla="*/ 256 w 512"/>
              <a:gd name="T19" fmla="*/ 384 h 512"/>
              <a:gd name="T20" fmla="*/ 245 w 512"/>
              <a:gd name="T21" fmla="*/ 373 h 512"/>
              <a:gd name="T22" fmla="*/ 245 w 512"/>
              <a:gd name="T23" fmla="*/ 249 h 512"/>
              <a:gd name="T24" fmla="*/ 231 w 512"/>
              <a:gd name="T25" fmla="*/ 263 h 512"/>
              <a:gd name="T26" fmla="*/ 216 w 512"/>
              <a:gd name="T27" fmla="*/ 263 h 512"/>
              <a:gd name="T28" fmla="*/ 216 w 512"/>
              <a:gd name="T29" fmla="*/ 248 h 512"/>
              <a:gd name="T30" fmla="*/ 248 w 512"/>
              <a:gd name="T31" fmla="*/ 216 h 512"/>
              <a:gd name="T32" fmla="*/ 252 w 512"/>
              <a:gd name="T33" fmla="*/ 214 h 512"/>
              <a:gd name="T34" fmla="*/ 260 w 512"/>
              <a:gd name="T35" fmla="*/ 214 h 512"/>
              <a:gd name="T36" fmla="*/ 263 w 512"/>
              <a:gd name="T37" fmla="*/ 216 h 512"/>
              <a:gd name="T38" fmla="*/ 295 w 512"/>
              <a:gd name="T39" fmla="*/ 248 h 512"/>
              <a:gd name="T40" fmla="*/ 295 w 512"/>
              <a:gd name="T41" fmla="*/ 263 h 512"/>
              <a:gd name="T42" fmla="*/ 288 w 512"/>
              <a:gd name="T43" fmla="*/ 266 h 512"/>
              <a:gd name="T44" fmla="*/ 362 w 512"/>
              <a:gd name="T45" fmla="*/ 320 h 512"/>
              <a:gd name="T46" fmla="*/ 309 w 512"/>
              <a:gd name="T47" fmla="*/ 320 h 512"/>
              <a:gd name="T48" fmla="*/ 298 w 512"/>
              <a:gd name="T49" fmla="*/ 309 h 512"/>
              <a:gd name="T50" fmla="*/ 309 w 512"/>
              <a:gd name="T51" fmla="*/ 298 h 512"/>
              <a:gd name="T52" fmla="*/ 362 w 512"/>
              <a:gd name="T53" fmla="*/ 298 h 512"/>
              <a:gd name="T54" fmla="*/ 394 w 512"/>
              <a:gd name="T55" fmla="*/ 266 h 512"/>
              <a:gd name="T56" fmla="*/ 362 w 512"/>
              <a:gd name="T57" fmla="*/ 234 h 512"/>
              <a:gd name="T58" fmla="*/ 351 w 512"/>
              <a:gd name="T59" fmla="*/ 238 h 512"/>
              <a:gd name="T60" fmla="*/ 339 w 512"/>
              <a:gd name="T61" fmla="*/ 237 h 512"/>
              <a:gd name="T62" fmla="*/ 335 w 512"/>
              <a:gd name="T63" fmla="*/ 227 h 512"/>
              <a:gd name="T64" fmla="*/ 336 w 512"/>
              <a:gd name="T65" fmla="*/ 222 h 512"/>
              <a:gd name="T66" fmla="*/ 337 w 512"/>
              <a:gd name="T67" fmla="*/ 214 h 512"/>
              <a:gd name="T68" fmla="*/ 272 w 512"/>
              <a:gd name="T69" fmla="*/ 149 h 512"/>
              <a:gd name="T70" fmla="*/ 207 w 512"/>
              <a:gd name="T71" fmla="*/ 201 h 512"/>
              <a:gd name="T72" fmla="*/ 201 w 512"/>
              <a:gd name="T73" fmla="*/ 208 h 512"/>
              <a:gd name="T74" fmla="*/ 191 w 512"/>
              <a:gd name="T75" fmla="*/ 207 h 512"/>
              <a:gd name="T76" fmla="*/ 167 w 512"/>
              <a:gd name="T77" fmla="*/ 199 h 512"/>
              <a:gd name="T78" fmla="*/ 117 w 512"/>
              <a:gd name="T79" fmla="*/ 249 h 512"/>
              <a:gd name="T80" fmla="*/ 167 w 512"/>
              <a:gd name="T81" fmla="*/ 298 h 512"/>
              <a:gd name="T82" fmla="*/ 202 w 512"/>
              <a:gd name="T83" fmla="*/ 298 h 512"/>
              <a:gd name="T84" fmla="*/ 213 w 512"/>
              <a:gd name="T85" fmla="*/ 309 h 512"/>
              <a:gd name="T86" fmla="*/ 202 w 512"/>
              <a:gd name="T87" fmla="*/ 320 h 512"/>
              <a:gd name="T88" fmla="*/ 167 w 512"/>
              <a:gd name="T89" fmla="*/ 320 h 512"/>
              <a:gd name="T90" fmla="*/ 96 w 512"/>
              <a:gd name="T91" fmla="*/ 249 h 512"/>
              <a:gd name="T92" fmla="*/ 167 w 512"/>
              <a:gd name="T93" fmla="*/ 178 h 512"/>
              <a:gd name="T94" fmla="*/ 190 w 512"/>
              <a:gd name="T95" fmla="*/ 183 h 512"/>
              <a:gd name="T96" fmla="*/ 272 w 512"/>
              <a:gd name="T97" fmla="*/ 128 h 512"/>
              <a:gd name="T98" fmla="*/ 358 w 512"/>
              <a:gd name="T99" fmla="*/ 213 h 512"/>
              <a:gd name="T100" fmla="*/ 362 w 512"/>
              <a:gd name="T101" fmla="*/ 213 h 512"/>
              <a:gd name="T102" fmla="*/ 416 w 512"/>
              <a:gd name="T103" fmla="*/ 266 h 512"/>
              <a:gd name="T104" fmla="*/ 362 w 512"/>
              <a:gd name="T105"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88" y="266"/>
                </a:moveTo>
                <a:cubicBezTo>
                  <a:pt x="285" y="266"/>
                  <a:pt x="282" y="265"/>
                  <a:pt x="280" y="263"/>
                </a:cubicBezTo>
                <a:cubicBezTo>
                  <a:pt x="266" y="249"/>
                  <a:pt x="266" y="249"/>
                  <a:pt x="266" y="249"/>
                </a:cubicBezTo>
                <a:cubicBezTo>
                  <a:pt x="266" y="373"/>
                  <a:pt x="266" y="373"/>
                  <a:pt x="266" y="373"/>
                </a:cubicBezTo>
                <a:cubicBezTo>
                  <a:pt x="266" y="379"/>
                  <a:pt x="262" y="384"/>
                  <a:pt x="256" y="384"/>
                </a:cubicBezTo>
                <a:cubicBezTo>
                  <a:pt x="250" y="384"/>
                  <a:pt x="245" y="379"/>
                  <a:pt x="245" y="373"/>
                </a:cubicBezTo>
                <a:cubicBezTo>
                  <a:pt x="245" y="249"/>
                  <a:pt x="245" y="249"/>
                  <a:pt x="245" y="249"/>
                </a:cubicBezTo>
                <a:cubicBezTo>
                  <a:pt x="231" y="263"/>
                  <a:pt x="231" y="263"/>
                  <a:pt x="231" y="263"/>
                </a:cubicBezTo>
                <a:cubicBezTo>
                  <a:pt x="227" y="267"/>
                  <a:pt x="220" y="267"/>
                  <a:pt x="216" y="263"/>
                </a:cubicBezTo>
                <a:cubicBezTo>
                  <a:pt x="212" y="259"/>
                  <a:pt x="212" y="252"/>
                  <a:pt x="216" y="248"/>
                </a:cubicBezTo>
                <a:cubicBezTo>
                  <a:pt x="248" y="216"/>
                  <a:pt x="248" y="216"/>
                  <a:pt x="248" y="216"/>
                </a:cubicBezTo>
                <a:cubicBezTo>
                  <a:pt x="249" y="215"/>
                  <a:pt x="250" y="214"/>
                  <a:pt x="252" y="214"/>
                </a:cubicBezTo>
                <a:cubicBezTo>
                  <a:pt x="254" y="213"/>
                  <a:pt x="257" y="213"/>
                  <a:pt x="260" y="214"/>
                </a:cubicBezTo>
                <a:cubicBezTo>
                  <a:pt x="261" y="214"/>
                  <a:pt x="262" y="215"/>
                  <a:pt x="263" y="216"/>
                </a:cubicBezTo>
                <a:cubicBezTo>
                  <a:pt x="295" y="248"/>
                  <a:pt x="295" y="248"/>
                  <a:pt x="295" y="248"/>
                </a:cubicBezTo>
                <a:cubicBezTo>
                  <a:pt x="299" y="252"/>
                  <a:pt x="299" y="259"/>
                  <a:pt x="295" y="263"/>
                </a:cubicBezTo>
                <a:cubicBezTo>
                  <a:pt x="293" y="265"/>
                  <a:pt x="290" y="266"/>
                  <a:pt x="288" y="266"/>
                </a:cubicBezTo>
                <a:close/>
                <a:moveTo>
                  <a:pt x="362" y="320"/>
                </a:moveTo>
                <a:cubicBezTo>
                  <a:pt x="309" y="320"/>
                  <a:pt x="309" y="320"/>
                  <a:pt x="309" y="320"/>
                </a:cubicBezTo>
                <a:cubicBezTo>
                  <a:pt x="303" y="320"/>
                  <a:pt x="298" y="315"/>
                  <a:pt x="298" y="309"/>
                </a:cubicBezTo>
                <a:cubicBezTo>
                  <a:pt x="298" y="303"/>
                  <a:pt x="303" y="298"/>
                  <a:pt x="309" y="298"/>
                </a:cubicBezTo>
                <a:cubicBezTo>
                  <a:pt x="362" y="298"/>
                  <a:pt x="362" y="298"/>
                  <a:pt x="362" y="298"/>
                </a:cubicBezTo>
                <a:cubicBezTo>
                  <a:pt x="380" y="298"/>
                  <a:pt x="394" y="284"/>
                  <a:pt x="394" y="266"/>
                </a:cubicBezTo>
                <a:cubicBezTo>
                  <a:pt x="394" y="249"/>
                  <a:pt x="380" y="234"/>
                  <a:pt x="362" y="234"/>
                </a:cubicBezTo>
                <a:cubicBezTo>
                  <a:pt x="361" y="234"/>
                  <a:pt x="357" y="235"/>
                  <a:pt x="351" y="238"/>
                </a:cubicBezTo>
                <a:cubicBezTo>
                  <a:pt x="347" y="240"/>
                  <a:pt x="343" y="240"/>
                  <a:pt x="339" y="237"/>
                </a:cubicBezTo>
                <a:cubicBezTo>
                  <a:pt x="336" y="235"/>
                  <a:pt x="334" y="231"/>
                  <a:pt x="335" y="227"/>
                </a:cubicBezTo>
                <a:cubicBezTo>
                  <a:pt x="336" y="225"/>
                  <a:pt x="336" y="224"/>
                  <a:pt x="336" y="222"/>
                </a:cubicBezTo>
                <a:cubicBezTo>
                  <a:pt x="336" y="219"/>
                  <a:pt x="337" y="217"/>
                  <a:pt x="337" y="214"/>
                </a:cubicBezTo>
                <a:cubicBezTo>
                  <a:pt x="337" y="178"/>
                  <a:pt x="308" y="149"/>
                  <a:pt x="272" y="149"/>
                </a:cubicBezTo>
                <a:cubicBezTo>
                  <a:pt x="241" y="149"/>
                  <a:pt x="213" y="171"/>
                  <a:pt x="207" y="201"/>
                </a:cubicBezTo>
                <a:cubicBezTo>
                  <a:pt x="206" y="204"/>
                  <a:pt x="204" y="207"/>
                  <a:pt x="201" y="208"/>
                </a:cubicBezTo>
                <a:cubicBezTo>
                  <a:pt x="197" y="210"/>
                  <a:pt x="194" y="209"/>
                  <a:pt x="191" y="207"/>
                </a:cubicBezTo>
                <a:cubicBezTo>
                  <a:pt x="183" y="202"/>
                  <a:pt x="176" y="199"/>
                  <a:pt x="167" y="199"/>
                </a:cubicBezTo>
                <a:cubicBezTo>
                  <a:pt x="139" y="199"/>
                  <a:pt x="117" y="221"/>
                  <a:pt x="117" y="249"/>
                </a:cubicBezTo>
                <a:cubicBezTo>
                  <a:pt x="117" y="276"/>
                  <a:pt x="139" y="298"/>
                  <a:pt x="167" y="298"/>
                </a:cubicBezTo>
                <a:cubicBezTo>
                  <a:pt x="202" y="298"/>
                  <a:pt x="202" y="298"/>
                  <a:pt x="202" y="298"/>
                </a:cubicBezTo>
                <a:cubicBezTo>
                  <a:pt x="208" y="298"/>
                  <a:pt x="213" y="303"/>
                  <a:pt x="213" y="309"/>
                </a:cubicBezTo>
                <a:cubicBezTo>
                  <a:pt x="213" y="315"/>
                  <a:pt x="208" y="320"/>
                  <a:pt x="202" y="320"/>
                </a:cubicBezTo>
                <a:cubicBezTo>
                  <a:pt x="167" y="320"/>
                  <a:pt x="167" y="320"/>
                  <a:pt x="167" y="320"/>
                </a:cubicBezTo>
                <a:cubicBezTo>
                  <a:pt x="127" y="320"/>
                  <a:pt x="96" y="288"/>
                  <a:pt x="96" y="249"/>
                </a:cubicBezTo>
                <a:cubicBezTo>
                  <a:pt x="96" y="210"/>
                  <a:pt x="127" y="178"/>
                  <a:pt x="167" y="178"/>
                </a:cubicBezTo>
                <a:cubicBezTo>
                  <a:pt x="176" y="178"/>
                  <a:pt x="183" y="180"/>
                  <a:pt x="190" y="183"/>
                </a:cubicBezTo>
                <a:cubicBezTo>
                  <a:pt x="203" y="150"/>
                  <a:pt x="235" y="128"/>
                  <a:pt x="272" y="128"/>
                </a:cubicBezTo>
                <a:cubicBezTo>
                  <a:pt x="319" y="128"/>
                  <a:pt x="358" y="166"/>
                  <a:pt x="358" y="213"/>
                </a:cubicBezTo>
                <a:cubicBezTo>
                  <a:pt x="360" y="213"/>
                  <a:pt x="361" y="213"/>
                  <a:pt x="362" y="213"/>
                </a:cubicBezTo>
                <a:cubicBezTo>
                  <a:pt x="392" y="213"/>
                  <a:pt x="416" y="237"/>
                  <a:pt x="416" y="266"/>
                </a:cubicBezTo>
                <a:cubicBezTo>
                  <a:pt x="416" y="296"/>
                  <a:pt x="392" y="320"/>
                  <a:pt x="362" y="320"/>
                </a:cubicBezTo>
                <a:close/>
              </a:path>
            </a:pathLst>
          </a:custGeom>
          <a:solidFill>
            <a:schemeClr val="accent2"/>
          </a:solidFill>
          <a:ln>
            <a:noFill/>
          </a:ln>
          <a:extLst/>
        </p:spPr>
        <p:txBody>
          <a:bodyPr vert="horz" wrap="square" lIns="99060" tIns="49531" rIns="99060" bIns="49531" numCol="1" anchor="t" anchorCtr="0" compatLnSpc="1">
            <a:prstTxWarp prst="textNoShape">
              <a:avLst/>
            </a:prstTxWarp>
          </a:bodyPr>
          <a:lstStyle/>
          <a:p>
            <a:endParaRPr lang="en-GB" sz="1951"/>
          </a:p>
        </p:txBody>
      </p:sp>
      <p:sp>
        <p:nvSpPr>
          <p:cNvPr id="10" name="Freeform 455"/>
          <p:cNvSpPr>
            <a:spLocks noEditPoints="1"/>
          </p:cNvSpPr>
          <p:nvPr/>
        </p:nvSpPr>
        <p:spPr bwMode="auto">
          <a:xfrm>
            <a:off x="986607" y="1071943"/>
            <a:ext cx="1060727" cy="1060727"/>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9 w 512"/>
              <a:gd name="T11" fmla="*/ 238 h 512"/>
              <a:gd name="T12" fmla="*/ 235 w 512"/>
              <a:gd name="T13" fmla="*/ 413 h 512"/>
              <a:gd name="T14" fmla="*/ 227 w 512"/>
              <a:gd name="T15" fmla="*/ 416 h 512"/>
              <a:gd name="T16" fmla="*/ 219 w 512"/>
              <a:gd name="T17" fmla="*/ 413 h 512"/>
              <a:gd name="T18" fmla="*/ 99 w 512"/>
              <a:gd name="T19" fmla="*/ 292 h 512"/>
              <a:gd name="T20" fmla="*/ 99 w 512"/>
              <a:gd name="T21" fmla="*/ 277 h 512"/>
              <a:gd name="T22" fmla="*/ 268 w 512"/>
              <a:gd name="T23" fmla="*/ 108 h 512"/>
              <a:gd name="T24" fmla="*/ 277 w 512"/>
              <a:gd name="T25" fmla="*/ 104 h 512"/>
              <a:gd name="T26" fmla="*/ 387 w 512"/>
              <a:gd name="T27" fmla="*/ 115 h 512"/>
              <a:gd name="T28" fmla="*/ 397 w 512"/>
              <a:gd name="T29" fmla="*/ 124 h 512"/>
              <a:gd name="T30" fmla="*/ 412 w 512"/>
              <a:gd name="T31" fmla="*/ 229 h 512"/>
              <a:gd name="T32" fmla="*/ 409 w 512"/>
              <a:gd name="T33" fmla="*/ 2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9" y="238"/>
                </a:moveTo>
                <a:cubicBezTo>
                  <a:pt x="235" y="413"/>
                  <a:pt x="235" y="413"/>
                  <a:pt x="235" y="413"/>
                </a:cubicBezTo>
                <a:cubicBezTo>
                  <a:pt x="232" y="415"/>
                  <a:pt x="230" y="416"/>
                  <a:pt x="227" y="416"/>
                </a:cubicBezTo>
                <a:cubicBezTo>
                  <a:pt x="224" y="416"/>
                  <a:pt x="222" y="415"/>
                  <a:pt x="219" y="413"/>
                </a:cubicBezTo>
                <a:cubicBezTo>
                  <a:pt x="99" y="292"/>
                  <a:pt x="99" y="292"/>
                  <a:pt x="99" y="292"/>
                </a:cubicBezTo>
                <a:cubicBezTo>
                  <a:pt x="95" y="288"/>
                  <a:pt x="95" y="281"/>
                  <a:pt x="99" y="277"/>
                </a:cubicBezTo>
                <a:cubicBezTo>
                  <a:pt x="268" y="108"/>
                  <a:pt x="268" y="108"/>
                  <a:pt x="268" y="108"/>
                </a:cubicBezTo>
                <a:cubicBezTo>
                  <a:pt x="270" y="105"/>
                  <a:pt x="273" y="104"/>
                  <a:pt x="277" y="104"/>
                </a:cubicBezTo>
                <a:cubicBezTo>
                  <a:pt x="387" y="115"/>
                  <a:pt x="387" y="115"/>
                  <a:pt x="387" y="115"/>
                </a:cubicBezTo>
                <a:cubicBezTo>
                  <a:pt x="392" y="115"/>
                  <a:pt x="396" y="119"/>
                  <a:pt x="397" y="124"/>
                </a:cubicBezTo>
                <a:cubicBezTo>
                  <a:pt x="412" y="229"/>
                  <a:pt x="412" y="229"/>
                  <a:pt x="412" y="229"/>
                </a:cubicBezTo>
                <a:cubicBezTo>
                  <a:pt x="413" y="232"/>
                  <a:pt x="411" y="236"/>
                  <a:pt x="409" y="23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9060" tIns="49531" rIns="99060" bIns="49531" numCol="1" anchor="t" anchorCtr="0" compatLnSpc="1">
            <a:prstTxWarp prst="textNoShape">
              <a:avLst/>
            </a:prstTxWarp>
          </a:bodyPr>
          <a:lstStyle/>
          <a:p>
            <a:endParaRPr lang="en-GB" sz="1951"/>
          </a:p>
        </p:txBody>
      </p:sp>
      <p:sp>
        <p:nvSpPr>
          <p:cNvPr id="11" name="Freeform 456"/>
          <p:cNvSpPr>
            <a:spLocks noEditPoints="1"/>
          </p:cNvSpPr>
          <p:nvPr/>
        </p:nvSpPr>
        <p:spPr bwMode="auto">
          <a:xfrm>
            <a:off x="1236190" y="1334004"/>
            <a:ext cx="558441" cy="545963"/>
          </a:xfrm>
          <a:custGeom>
            <a:avLst/>
            <a:gdLst>
              <a:gd name="T0" fmla="*/ 159 w 269"/>
              <a:gd name="T1" fmla="*/ 0 h 264"/>
              <a:gd name="T2" fmla="*/ 0 w 269"/>
              <a:gd name="T3" fmla="*/ 158 h 264"/>
              <a:gd name="T4" fmla="*/ 106 w 269"/>
              <a:gd name="T5" fmla="*/ 264 h 264"/>
              <a:gd name="T6" fmla="*/ 269 w 269"/>
              <a:gd name="T7" fmla="*/ 101 h 264"/>
              <a:gd name="T8" fmla="*/ 256 w 269"/>
              <a:gd name="T9" fmla="*/ 9 h 264"/>
              <a:gd name="T10" fmla="*/ 159 w 269"/>
              <a:gd name="T11" fmla="*/ 0 h 264"/>
              <a:gd name="T12" fmla="*/ 219 w 269"/>
              <a:gd name="T13" fmla="*/ 76 h 264"/>
              <a:gd name="T14" fmla="*/ 188 w 269"/>
              <a:gd name="T15" fmla="*/ 76 h 264"/>
              <a:gd name="T16" fmla="*/ 188 w 269"/>
              <a:gd name="T17" fmla="*/ 45 h 264"/>
              <a:gd name="T18" fmla="*/ 219 w 269"/>
              <a:gd name="T19" fmla="*/ 45 h 264"/>
              <a:gd name="T20" fmla="*/ 219 w 269"/>
              <a:gd name="T21" fmla="*/ 7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9" h="264">
                <a:moveTo>
                  <a:pt x="159" y="0"/>
                </a:moveTo>
                <a:cubicBezTo>
                  <a:pt x="0" y="158"/>
                  <a:pt x="0" y="158"/>
                  <a:pt x="0" y="158"/>
                </a:cubicBezTo>
                <a:cubicBezTo>
                  <a:pt x="106" y="264"/>
                  <a:pt x="106" y="264"/>
                  <a:pt x="106" y="264"/>
                </a:cubicBezTo>
                <a:cubicBezTo>
                  <a:pt x="269" y="101"/>
                  <a:pt x="269" y="101"/>
                  <a:pt x="269" y="101"/>
                </a:cubicBezTo>
                <a:cubicBezTo>
                  <a:pt x="256" y="9"/>
                  <a:pt x="256" y="9"/>
                  <a:pt x="256" y="9"/>
                </a:cubicBezTo>
                <a:lnTo>
                  <a:pt x="159" y="0"/>
                </a:lnTo>
                <a:close/>
                <a:moveTo>
                  <a:pt x="219" y="76"/>
                </a:moveTo>
                <a:cubicBezTo>
                  <a:pt x="210" y="84"/>
                  <a:pt x="196" y="84"/>
                  <a:pt x="188" y="76"/>
                </a:cubicBezTo>
                <a:cubicBezTo>
                  <a:pt x="179" y="67"/>
                  <a:pt x="179" y="53"/>
                  <a:pt x="188" y="45"/>
                </a:cubicBezTo>
                <a:cubicBezTo>
                  <a:pt x="196" y="36"/>
                  <a:pt x="210" y="36"/>
                  <a:pt x="219" y="45"/>
                </a:cubicBezTo>
                <a:cubicBezTo>
                  <a:pt x="227" y="53"/>
                  <a:pt x="227" y="67"/>
                  <a:pt x="219" y="76"/>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9060" tIns="49531" rIns="99060" bIns="49531" numCol="1" anchor="t" anchorCtr="0" compatLnSpc="1">
            <a:prstTxWarp prst="textNoShape">
              <a:avLst/>
            </a:prstTxWarp>
          </a:bodyPr>
          <a:lstStyle/>
          <a:p>
            <a:endParaRPr lang="en-GB" sz="1951"/>
          </a:p>
        </p:txBody>
      </p:sp>
      <p:sp>
        <p:nvSpPr>
          <p:cNvPr id="12" name="Freeform 552"/>
          <p:cNvSpPr>
            <a:spLocks noEditPoints="1"/>
          </p:cNvSpPr>
          <p:nvPr/>
        </p:nvSpPr>
        <p:spPr bwMode="auto">
          <a:xfrm>
            <a:off x="7166455" y="958567"/>
            <a:ext cx="1060727" cy="1060727"/>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9060" tIns="49531" rIns="99060" bIns="49531" numCol="1" anchor="t" anchorCtr="0" compatLnSpc="1">
            <a:prstTxWarp prst="textNoShape">
              <a:avLst/>
            </a:prstTxWarp>
          </a:bodyPr>
          <a:lstStyle/>
          <a:p>
            <a:endParaRPr lang="en-GB" sz="1951"/>
          </a:p>
        </p:txBody>
      </p:sp>
      <p:sp>
        <p:nvSpPr>
          <p:cNvPr id="13" name="Freeform 552"/>
          <p:cNvSpPr>
            <a:spLocks noEditPoints="1"/>
          </p:cNvSpPr>
          <p:nvPr/>
        </p:nvSpPr>
        <p:spPr bwMode="auto">
          <a:xfrm>
            <a:off x="7166455" y="2425543"/>
            <a:ext cx="1060727" cy="1060727"/>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9060" tIns="49531" rIns="99060" bIns="49531" numCol="1" anchor="t" anchorCtr="0" compatLnSpc="1">
            <a:prstTxWarp prst="textNoShape">
              <a:avLst/>
            </a:prstTxWarp>
          </a:bodyPr>
          <a:lstStyle/>
          <a:p>
            <a:endParaRPr lang="en-GB" sz="1951"/>
          </a:p>
        </p:txBody>
      </p:sp>
      <p:sp>
        <p:nvSpPr>
          <p:cNvPr id="14" name="Freeform 552"/>
          <p:cNvSpPr>
            <a:spLocks noEditPoints="1"/>
          </p:cNvSpPr>
          <p:nvPr/>
        </p:nvSpPr>
        <p:spPr bwMode="auto">
          <a:xfrm>
            <a:off x="7166455" y="3839066"/>
            <a:ext cx="1060727" cy="1060727"/>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9060" tIns="49531" rIns="99060" bIns="49531" numCol="1" anchor="t" anchorCtr="0" compatLnSpc="1">
            <a:prstTxWarp prst="textNoShape">
              <a:avLst/>
            </a:prstTxWarp>
          </a:bodyPr>
          <a:lstStyle/>
          <a:p>
            <a:endParaRPr lang="en-GB" sz="1951"/>
          </a:p>
        </p:txBody>
      </p:sp>
      <p:sp>
        <p:nvSpPr>
          <p:cNvPr id="15" name="Freeform 455"/>
          <p:cNvSpPr>
            <a:spLocks noEditPoints="1"/>
          </p:cNvSpPr>
          <p:nvPr/>
        </p:nvSpPr>
        <p:spPr bwMode="auto">
          <a:xfrm>
            <a:off x="986607" y="2420888"/>
            <a:ext cx="1060727" cy="1060727"/>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9 w 512"/>
              <a:gd name="T11" fmla="*/ 238 h 512"/>
              <a:gd name="T12" fmla="*/ 235 w 512"/>
              <a:gd name="T13" fmla="*/ 413 h 512"/>
              <a:gd name="T14" fmla="*/ 227 w 512"/>
              <a:gd name="T15" fmla="*/ 416 h 512"/>
              <a:gd name="T16" fmla="*/ 219 w 512"/>
              <a:gd name="T17" fmla="*/ 413 h 512"/>
              <a:gd name="T18" fmla="*/ 99 w 512"/>
              <a:gd name="T19" fmla="*/ 292 h 512"/>
              <a:gd name="T20" fmla="*/ 99 w 512"/>
              <a:gd name="T21" fmla="*/ 277 h 512"/>
              <a:gd name="T22" fmla="*/ 268 w 512"/>
              <a:gd name="T23" fmla="*/ 108 h 512"/>
              <a:gd name="T24" fmla="*/ 277 w 512"/>
              <a:gd name="T25" fmla="*/ 104 h 512"/>
              <a:gd name="T26" fmla="*/ 387 w 512"/>
              <a:gd name="T27" fmla="*/ 115 h 512"/>
              <a:gd name="T28" fmla="*/ 397 w 512"/>
              <a:gd name="T29" fmla="*/ 124 h 512"/>
              <a:gd name="T30" fmla="*/ 412 w 512"/>
              <a:gd name="T31" fmla="*/ 229 h 512"/>
              <a:gd name="T32" fmla="*/ 409 w 512"/>
              <a:gd name="T33" fmla="*/ 2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9" y="238"/>
                </a:moveTo>
                <a:cubicBezTo>
                  <a:pt x="235" y="413"/>
                  <a:pt x="235" y="413"/>
                  <a:pt x="235" y="413"/>
                </a:cubicBezTo>
                <a:cubicBezTo>
                  <a:pt x="232" y="415"/>
                  <a:pt x="230" y="416"/>
                  <a:pt x="227" y="416"/>
                </a:cubicBezTo>
                <a:cubicBezTo>
                  <a:pt x="224" y="416"/>
                  <a:pt x="222" y="415"/>
                  <a:pt x="219" y="413"/>
                </a:cubicBezTo>
                <a:cubicBezTo>
                  <a:pt x="99" y="292"/>
                  <a:pt x="99" y="292"/>
                  <a:pt x="99" y="292"/>
                </a:cubicBezTo>
                <a:cubicBezTo>
                  <a:pt x="95" y="288"/>
                  <a:pt x="95" y="281"/>
                  <a:pt x="99" y="277"/>
                </a:cubicBezTo>
                <a:cubicBezTo>
                  <a:pt x="268" y="108"/>
                  <a:pt x="268" y="108"/>
                  <a:pt x="268" y="108"/>
                </a:cubicBezTo>
                <a:cubicBezTo>
                  <a:pt x="270" y="105"/>
                  <a:pt x="273" y="104"/>
                  <a:pt x="277" y="104"/>
                </a:cubicBezTo>
                <a:cubicBezTo>
                  <a:pt x="387" y="115"/>
                  <a:pt x="387" y="115"/>
                  <a:pt x="387" y="115"/>
                </a:cubicBezTo>
                <a:cubicBezTo>
                  <a:pt x="392" y="115"/>
                  <a:pt x="396" y="119"/>
                  <a:pt x="397" y="124"/>
                </a:cubicBezTo>
                <a:cubicBezTo>
                  <a:pt x="412" y="229"/>
                  <a:pt x="412" y="229"/>
                  <a:pt x="412" y="229"/>
                </a:cubicBezTo>
                <a:cubicBezTo>
                  <a:pt x="413" y="232"/>
                  <a:pt x="411" y="236"/>
                  <a:pt x="409" y="23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9060" tIns="49531" rIns="99060" bIns="49531" numCol="1" anchor="t" anchorCtr="0" compatLnSpc="1">
            <a:prstTxWarp prst="textNoShape">
              <a:avLst/>
            </a:prstTxWarp>
          </a:bodyPr>
          <a:lstStyle/>
          <a:p>
            <a:endParaRPr lang="en-GB" sz="1951"/>
          </a:p>
        </p:txBody>
      </p:sp>
      <p:sp>
        <p:nvSpPr>
          <p:cNvPr id="16" name="Freeform 456"/>
          <p:cNvSpPr>
            <a:spLocks noEditPoints="1"/>
          </p:cNvSpPr>
          <p:nvPr/>
        </p:nvSpPr>
        <p:spPr bwMode="auto">
          <a:xfrm>
            <a:off x="1236190" y="2682950"/>
            <a:ext cx="558441" cy="545963"/>
          </a:xfrm>
          <a:custGeom>
            <a:avLst/>
            <a:gdLst>
              <a:gd name="T0" fmla="*/ 159 w 269"/>
              <a:gd name="T1" fmla="*/ 0 h 264"/>
              <a:gd name="T2" fmla="*/ 0 w 269"/>
              <a:gd name="T3" fmla="*/ 158 h 264"/>
              <a:gd name="T4" fmla="*/ 106 w 269"/>
              <a:gd name="T5" fmla="*/ 264 h 264"/>
              <a:gd name="T6" fmla="*/ 269 w 269"/>
              <a:gd name="T7" fmla="*/ 101 h 264"/>
              <a:gd name="T8" fmla="*/ 256 w 269"/>
              <a:gd name="T9" fmla="*/ 9 h 264"/>
              <a:gd name="T10" fmla="*/ 159 w 269"/>
              <a:gd name="T11" fmla="*/ 0 h 264"/>
              <a:gd name="T12" fmla="*/ 219 w 269"/>
              <a:gd name="T13" fmla="*/ 76 h 264"/>
              <a:gd name="T14" fmla="*/ 188 w 269"/>
              <a:gd name="T15" fmla="*/ 76 h 264"/>
              <a:gd name="T16" fmla="*/ 188 w 269"/>
              <a:gd name="T17" fmla="*/ 45 h 264"/>
              <a:gd name="T18" fmla="*/ 219 w 269"/>
              <a:gd name="T19" fmla="*/ 45 h 264"/>
              <a:gd name="T20" fmla="*/ 219 w 269"/>
              <a:gd name="T21" fmla="*/ 7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9" h="264">
                <a:moveTo>
                  <a:pt x="159" y="0"/>
                </a:moveTo>
                <a:cubicBezTo>
                  <a:pt x="0" y="158"/>
                  <a:pt x="0" y="158"/>
                  <a:pt x="0" y="158"/>
                </a:cubicBezTo>
                <a:cubicBezTo>
                  <a:pt x="106" y="264"/>
                  <a:pt x="106" y="264"/>
                  <a:pt x="106" y="264"/>
                </a:cubicBezTo>
                <a:cubicBezTo>
                  <a:pt x="269" y="101"/>
                  <a:pt x="269" y="101"/>
                  <a:pt x="269" y="101"/>
                </a:cubicBezTo>
                <a:cubicBezTo>
                  <a:pt x="256" y="9"/>
                  <a:pt x="256" y="9"/>
                  <a:pt x="256" y="9"/>
                </a:cubicBezTo>
                <a:lnTo>
                  <a:pt x="159" y="0"/>
                </a:lnTo>
                <a:close/>
                <a:moveTo>
                  <a:pt x="219" y="76"/>
                </a:moveTo>
                <a:cubicBezTo>
                  <a:pt x="210" y="84"/>
                  <a:pt x="196" y="84"/>
                  <a:pt x="188" y="76"/>
                </a:cubicBezTo>
                <a:cubicBezTo>
                  <a:pt x="179" y="67"/>
                  <a:pt x="179" y="53"/>
                  <a:pt x="188" y="45"/>
                </a:cubicBezTo>
                <a:cubicBezTo>
                  <a:pt x="196" y="36"/>
                  <a:pt x="210" y="36"/>
                  <a:pt x="219" y="45"/>
                </a:cubicBezTo>
                <a:cubicBezTo>
                  <a:pt x="227" y="53"/>
                  <a:pt x="227" y="67"/>
                  <a:pt x="219" y="76"/>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9060" tIns="49531" rIns="99060" bIns="49531" numCol="1" anchor="t" anchorCtr="0" compatLnSpc="1">
            <a:prstTxWarp prst="textNoShape">
              <a:avLst/>
            </a:prstTxWarp>
          </a:bodyPr>
          <a:lstStyle/>
          <a:p>
            <a:endParaRPr lang="en-GB" sz="1951"/>
          </a:p>
        </p:txBody>
      </p:sp>
      <p:sp>
        <p:nvSpPr>
          <p:cNvPr id="17" name="Freeform 455"/>
          <p:cNvSpPr>
            <a:spLocks noEditPoints="1"/>
          </p:cNvSpPr>
          <p:nvPr/>
        </p:nvSpPr>
        <p:spPr bwMode="auto">
          <a:xfrm>
            <a:off x="986607" y="3769835"/>
            <a:ext cx="1060727" cy="1060727"/>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9 w 512"/>
              <a:gd name="T11" fmla="*/ 238 h 512"/>
              <a:gd name="T12" fmla="*/ 235 w 512"/>
              <a:gd name="T13" fmla="*/ 413 h 512"/>
              <a:gd name="T14" fmla="*/ 227 w 512"/>
              <a:gd name="T15" fmla="*/ 416 h 512"/>
              <a:gd name="T16" fmla="*/ 219 w 512"/>
              <a:gd name="T17" fmla="*/ 413 h 512"/>
              <a:gd name="T18" fmla="*/ 99 w 512"/>
              <a:gd name="T19" fmla="*/ 292 h 512"/>
              <a:gd name="T20" fmla="*/ 99 w 512"/>
              <a:gd name="T21" fmla="*/ 277 h 512"/>
              <a:gd name="T22" fmla="*/ 268 w 512"/>
              <a:gd name="T23" fmla="*/ 108 h 512"/>
              <a:gd name="T24" fmla="*/ 277 w 512"/>
              <a:gd name="T25" fmla="*/ 104 h 512"/>
              <a:gd name="T26" fmla="*/ 387 w 512"/>
              <a:gd name="T27" fmla="*/ 115 h 512"/>
              <a:gd name="T28" fmla="*/ 397 w 512"/>
              <a:gd name="T29" fmla="*/ 124 h 512"/>
              <a:gd name="T30" fmla="*/ 412 w 512"/>
              <a:gd name="T31" fmla="*/ 229 h 512"/>
              <a:gd name="T32" fmla="*/ 409 w 512"/>
              <a:gd name="T33" fmla="*/ 2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9" y="238"/>
                </a:moveTo>
                <a:cubicBezTo>
                  <a:pt x="235" y="413"/>
                  <a:pt x="235" y="413"/>
                  <a:pt x="235" y="413"/>
                </a:cubicBezTo>
                <a:cubicBezTo>
                  <a:pt x="232" y="415"/>
                  <a:pt x="230" y="416"/>
                  <a:pt x="227" y="416"/>
                </a:cubicBezTo>
                <a:cubicBezTo>
                  <a:pt x="224" y="416"/>
                  <a:pt x="222" y="415"/>
                  <a:pt x="219" y="413"/>
                </a:cubicBezTo>
                <a:cubicBezTo>
                  <a:pt x="99" y="292"/>
                  <a:pt x="99" y="292"/>
                  <a:pt x="99" y="292"/>
                </a:cubicBezTo>
                <a:cubicBezTo>
                  <a:pt x="95" y="288"/>
                  <a:pt x="95" y="281"/>
                  <a:pt x="99" y="277"/>
                </a:cubicBezTo>
                <a:cubicBezTo>
                  <a:pt x="268" y="108"/>
                  <a:pt x="268" y="108"/>
                  <a:pt x="268" y="108"/>
                </a:cubicBezTo>
                <a:cubicBezTo>
                  <a:pt x="270" y="105"/>
                  <a:pt x="273" y="104"/>
                  <a:pt x="277" y="104"/>
                </a:cubicBezTo>
                <a:cubicBezTo>
                  <a:pt x="387" y="115"/>
                  <a:pt x="387" y="115"/>
                  <a:pt x="387" y="115"/>
                </a:cubicBezTo>
                <a:cubicBezTo>
                  <a:pt x="392" y="115"/>
                  <a:pt x="396" y="119"/>
                  <a:pt x="397" y="124"/>
                </a:cubicBezTo>
                <a:cubicBezTo>
                  <a:pt x="412" y="229"/>
                  <a:pt x="412" y="229"/>
                  <a:pt x="412" y="229"/>
                </a:cubicBezTo>
                <a:cubicBezTo>
                  <a:pt x="413" y="232"/>
                  <a:pt x="411" y="236"/>
                  <a:pt x="409" y="23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9060" tIns="49531" rIns="99060" bIns="49531" numCol="1" anchor="t" anchorCtr="0" compatLnSpc="1">
            <a:prstTxWarp prst="textNoShape">
              <a:avLst/>
            </a:prstTxWarp>
          </a:bodyPr>
          <a:lstStyle/>
          <a:p>
            <a:endParaRPr lang="en-GB" sz="1951"/>
          </a:p>
        </p:txBody>
      </p:sp>
      <p:sp>
        <p:nvSpPr>
          <p:cNvPr id="18" name="Freeform 456"/>
          <p:cNvSpPr>
            <a:spLocks noEditPoints="1"/>
          </p:cNvSpPr>
          <p:nvPr/>
        </p:nvSpPr>
        <p:spPr bwMode="auto">
          <a:xfrm>
            <a:off x="1236190" y="4031896"/>
            <a:ext cx="558441" cy="545963"/>
          </a:xfrm>
          <a:custGeom>
            <a:avLst/>
            <a:gdLst>
              <a:gd name="T0" fmla="*/ 159 w 269"/>
              <a:gd name="T1" fmla="*/ 0 h 264"/>
              <a:gd name="T2" fmla="*/ 0 w 269"/>
              <a:gd name="T3" fmla="*/ 158 h 264"/>
              <a:gd name="T4" fmla="*/ 106 w 269"/>
              <a:gd name="T5" fmla="*/ 264 h 264"/>
              <a:gd name="T6" fmla="*/ 269 w 269"/>
              <a:gd name="T7" fmla="*/ 101 h 264"/>
              <a:gd name="T8" fmla="*/ 256 w 269"/>
              <a:gd name="T9" fmla="*/ 9 h 264"/>
              <a:gd name="T10" fmla="*/ 159 w 269"/>
              <a:gd name="T11" fmla="*/ 0 h 264"/>
              <a:gd name="T12" fmla="*/ 219 w 269"/>
              <a:gd name="T13" fmla="*/ 76 h 264"/>
              <a:gd name="T14" fmla="*/ 188 w 269"/>
              <a:gd name="T15" fmla="*/ 76 h 264"/>
              <a:gd name="T16" fmla="*/ 188 w 269"/>
              <a:gd name="T17" fmla="*/ 45 h 264"/>
              <a:gd name="T18" fmla="*/ 219 w 269"/>
              <a:gd name="T19" fmla="*/ 45 h 264"/>
              <a:gd name="T20" fmla="*/ 219 w 269"/>
              <a:gd name="T21" fmla="*/ 7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9" h="264">
                <a:moveTo>
                  <a:pt x="159" y="0"/>
                </a:moveTo>
                <a:cubicBezTo>
                  <a:pt x="0" y="158"/>
                  <a:pt x="0" y="158"/>
                  <a:pt x="0" y="158"/>
                </a:cubicBezTo>
                <a:cubicBezTo>
                  <a:pt x="106" y="264"/>
                  <a:pt x="106" y="264"/>
                  <a:pt x="106" y="264"/>
                </a:cubicBezTo>
                <a:cubicBezTo>
                  <a:pt x="269" y="101"/>
                  <a:pt x="269" y="101"/>
                  <a:pt x="269" y="101"/>
                </a:cubicBezTo>
                <a:cubicBezTo>
                  <a:pt x="256" y="9"/>
                  <a:pt x="256" y="9"/>
                  <a:pt x="256" y="9"/>
                </a:cubicBezTo>
                <a:lnTo>
                  <a:pt x="159" y="0"/>
                </a:lnTo>
                <a:close/>
                <a:moveTo>
                  <a:pt x="219" y="76"/>
                </a:moveTo>
                <a:cubicBezTo>
                  <a:pt x="210" y="84"/>
                  <a:pt x="196" y="84"/>
                  <a:pt x="188" y="76"/>
                </a:cubicBezTo>
                <a:cubicBezTo>
                  <a:pt x="179" y="67"/>
                  <a:pt x="179" y="53"/>
                  <a:pt x="188" y="45"/>
                </a:cubicBezTo>
                <a:cubicBezTo>
                  <a:pt x="196" y="36"/>
                  <a:pt x="210" y="36"/>
                  <a:pt x="219" y="45"/>
                </a:cubicBezTo>
                <a:cubicBezTo>
                  <a:pt x="227" y="53"/>
                  <a:pt x="227" y="67"/>
                  <a:pt x="219" y="76"/>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9060" tIns="49531" rIns="99060" bIns="49531" numCol="1" anchor="t" anchorCtr="0" compatLnSpc="1">
            <a:prstTxWarp prst="textNoShape">
              <a:avLst/>
            </a:prstTxWarp>
          </a:bodyPr>
          <a:lstStyle/>
          <a:p>
            <a:endParaRPr lang="en-GB" sz="1951"/>
          </a:p>
        </p:txBody>
      </p:sp>
      <p:cxnSp>
        <p:nvCxnSpPr>
          <p:cNvPr id="20" name="Straight Arrow Connector 19"/>
          <p:cNvCxnSpPr>
            <a:stCxn id="10" idx="3"/>
          </p:cNvCxnSpPr>
          <p:nvPr/>
        </p:nvCxnSpPr>
        <p:spPr>
          <a:xfrm>
            <a:off x="2047333" y="1602307"/>
            <a:ext cx="1758667" cy="818583"/>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endCxn id="12" idx="1"/>
          </p:cNvCxnSpPr>
          <p:nvPr/>
        </p:nvCxnSpPr>
        <p:spPr>
          <a:xfrm flipV="1">
            <a:off x="5354714" y="1488931"/>
            <a:ext cx="1811743" cy="952337"/>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15" idx="3"/>
            <a:endCxn id="7" idx="1"/>
          </p:cNvCxnSpPr>
          <p:nvPr/>
        </p:nvCxnSpPr>
        <p:spPr>
          <a:xfrm flipV="1">
            <a:off x="2047334" y="2794065"/>
            <a:ext cx="1701001" cy="157187"/>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7" idx="3"/>
            <a:endCxn id="13" idx="1"/>
          </p:cNvCxnSpPr>
          <p:nvPr/>
        </p:nvCxnSpPr>
        <p:spPr>
          <a:xfrm>
            <a:off x="5465455" y="2794066"/>
            <a:ext cx="1701001" cy="161841"/>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17" idx="3"/>
          </p:cNvCxnSpPr>
          <p:nvPr/>
        </p:nvCxnSpPr>
        <p:spPr>
          <a:xfrm flipV="1">
            <a:off x="2047334" y="3314874"/>
            <a:ext cx="1865759" cy="985323"/>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endCxn id="14" idx="1"/>
          </p:cNvCxnSpPr>
          <p:nvPr/>
        </p:nvCxnSpPr>
        <p:spPr>
          <a:xfrm>
            <a:off x="5255860" y="3314874"/>
            <a:ext cx="1910596" cy="1054555"/>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2755787" y="1558538"/>
            <a:ext cx="1680519" cy="215444"/>
          </a:xfrm>
          <a:prstGeom prst="rect">
            <a:avLst/>
          </a:prstGeom>
          <a:noFill/>
        </p:spPr>
        <p:txBody>
          <a:bodyPr wrap="square" lIns="0" tIns="0" rIns="0" bIns="0" rtlCol="0">
            <a:spAutoFit/>
          </a:bodyPr>
          <a:lstStyle/>
          <a:p>
            <a:pPr>
              <a:spcBef>
                <a:spcPts val="600"/>
              </a:spcBef>
              <a:buClr>
                <a:schemeClr val="tx2"/>
              </a:buClr>
            </a:pPr>
            <a:r>
              <a:rPr lang="nl-NL" sz="1400" dirty="0"/>
              <a:t>Levering</a:t>
            </a:r>
          </a:p>
        </p:txBody>
      </p:sp>
      <p:sp>
        <p:nvSpPr>
          <p:cNvPr id="36" name="TextBox 35"/>
          <p:cNvSpPr txBox="1"/>
          <p:nvPr/>
        </p:nvSpPr>
        <p:spPr>
          <a:xfrm>
            <a:off x="2380966" y="2569068"/>
            <a:ext cx="1680519" cy="215444"/>
          </a:xfrm>
          <a:prstGeom prst="rect">
            <a:avLst/>
          </a:prstGeom>
          <a:noFill/>
        </p:spPr>
        <p:txBody>
          <a:bodyPr wrap="square" lIns="0" tIns="0" rIns="0" bIns="0" rtlCol="0">
            <a:spAutoFit/>
          </a:bodyPr>
          <a:lstStyle/>
          <a:p>
            <a:pPr>
              <a:spcBef>
                <a:spcPts val="600"/>
              </a:spcBef>
              <a:buClr>
                <a:schemeClr val="tx2"/>
              </a:buClr>
            </a:pPr>
            <a:r>
              <a:rPr lang="nl-NL" sz="1400" dirty="0"/>
              <a:t>Levering</a:t>
            </a:r>
          </a:p>
        </p:txBody>
      </p:sp>
      <p:sp>
        <p:nvSpPr>
          <p:cNvPr id="37" name="TextBox 36"/>
          <p:cNvSpPr txBox="1"/>
          <p:nvPr/>
        </p:nvSpPr>
        <p:spPr>
          <a:xfrm>
            <a:off x="2315063" y="3493988"/>
            <a:ext cx="1680519" cy="215444"/>
          </a:xfrm>
          <a:prstGeom prst="rect">
            <a:avLst/>
          </a:prstGeom>
          <a:noFill/>
        </p:spPr>
        <p:txBody>
          <a:bodyPr wrap="square" lIns="0" tIns="0" rIns="0" bIns="0" rtlCol="0">
            <a:spAutoFit/>
          </a:bodyPr>
          <a:lstStyle/>
          <a:p>
            <a:pPr>
              <a:spcBef>
                <a:spcPts val="600"/>
              </a:spcBef>
              <a:buClr>
                <a:schemeClr val="tx2"/>
              </a:buClr>
            </a:pPr>
            <a:r>
              <a:rPr lang="nl-NL" sz="1400" dirty="0"/>
              <a:t>Levering</a:t>
            </a:r>
          </a:p>
        </p:txBody>
      </p:sp>
      <p:sp>
        <p:nvSpPr>
          <p:cNvPr id="38" name="TextBox 37"/>
          <p:cNvSpPr txBox="1"/>
          <p:nvPr/>
        </p:nvSpPr>
        <p:spPr>
          <a:xfrm>
            <a:off x="5692578" y="1564241"/>
            <a:ext cx="1680519" cy="215444"/>
          </a:xfrm>
          <a:prstGeom prst="rect">
            <a:avLst/>
          </a:prstGeom>
          <a:noFill/>
        </p:spPr>
        <p:txBody>
          <a:bodyPr wrap="square" lIns="0" tIns="0" rIns="0" bIns="0" rtlCol="0">
            <a:spAutoFit/>
          </a:bodyPr>
          <a:lstStyle/>
          <a:p>
            <a:pPr>
              <a:spcBef>
                <a:spcPts val="600"/>
              </a:spcBef>
              <a:buClr>
                <a:schemeClr val="tx2"/>
              </a:buClr>
            </a:pPr>
            <a:r>
              <a:rPr lang="nl-NL" sz="1400" dirty="0"/>
              <a:t>Levering</a:t>
            </a:r>
          </a:p>
        </p:txBody>
      </p:sp>
      <p:sp>
        <p:nvSpPr>
          <p:cNvPr id="39" name="TextBox 38"/>
          <p:cNvSpPr txBox="1"/>
          <p:nvPr/>
        </p:nvSpPr>
        <p:spPr>
          <a:xfrm>
            <a:off x="5931474" y="2469193"/>
            <a:ext cx="1680519" cy="215444"/>
          </a:xfrm>
          <a:prstGeom prst="rect">
            <a:avLst/>
          </a:prstGeom>
          <a:noFill/>
        </p:spPr>
        <p:txBody>
          <a:bodyPr wrap="square" lIns="0" tIns="0" rIns="0" bIns="0" rtlCol="0">
            <a:spAutoFit/>
          </a:bodyPr>
          <a:lstStyle/>
          <a:p>
            <a:pPr>
              <a:spcBef>
                <a:spcPts val="600"/>
              </a:spcBef>
              <a:buClr>
                <a:schemeClr val="tx2"/>
              </a:buClr>
            </a:pPr>
            <a:r>
              <a:rPr lang="nl-NL" sz="1400" dirty="0"/>
              <a:t>Levering</a:t>
            </a:r>
          </a:p>
        </p:txBody>
      </p:sp>
      <p:sp>
        <p:nvSpPr>
          <p:cNvPr id="40" name="TextBox 39"/>
          <p:cNvSpPr txBox="1"/>
          <p:nvPr/>
        </p:nvSpPr>
        <p:spPr>
          <a:xfrm>
            <a:off x="6137419" y="3514194"/>
            <a:ext cx="1680519" cy="215444"/>
          </a:xfrm>
          <a:prstGeom prst="rect">
            <a:avLst/>
          </a:prstGeom>
          <a:noFill/>
        </p:spPr>
        <p:txBody>
          <a:bodyPr wrap="square" lIns="0" tIns="0" rIns="0" bIns="0" rtlCol="0">
            <a:spAutoFit/>
          </a:bodyPr>
          <a:lstStyle/>
          <a:p>
            <a:pPr>
              <a:spcBef>
                <a:spcPts val="600"/>
              </a:spcBef>
              <a:buClr>
                <a:schemeClr val="tx2"/>
              </a:buClr>
            </a:pPr>
            <a:r>
              <a:rPr lang="nl-NL" sz="1400" dirty="0"/>
              <a:t>Levering</a:t>
            </a:r>
          </a:p>
        </p:txBody>
      </p:sp>
      <p:sp>
        <p:nvSpPr>
          <p:cNvPr id="41" name="Explosion 1 40"/>
          <p:cNvSpPr/>
          <p:nvPr/>
        </p:nvSpPr>
        <p:spPr>
          <a:xfrm>
            <a:off x="3071063" y="3017495"/>
            <a:ext cx="3109316" cy="1975855"/>
          </a:xfrm>
          <a:prstGeom prst="irregularSeal1">
            <a:avLst/>
          </a:prstGeom>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nl-NL" sz="1400" dirty="0"/>
              <a:t>Verschuldigdheid = moment aanvaarding betaling</a:t>
            </a:r>
          </a:p>
        </p:txBody>
      </p:sp>
      <p:sp>
        <p:nvSpPr>
          <p:cNvPr id="42" name="Explosion 2 41"/>
          <p:cNvSpPr/>
          <p:nvPr/>
        </p:nvSpPr>
        <p:spPr>
          <a:xfrm>
            <a:off x="2883180" y="4286190"/>
            <a:ext cx="3377404" cy="1742303"/>
          </a:xfrm>
          <a:prstGeom prst="irregularSeal2">
            <a:avLst/>
          </a:prstGeom>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nl-NL" sz="1400" dirty="0"/>
              <a:t>Boekhoudplicht van 10 jaar</a:t>
            </a:r>
          </a:p>
        </p:txBody>
      </p:sp>
      <p:sp>
        <p:nvSpPr>
          <p:cNvPr id="2" name="TextBox 1">
            <a:extLst>
              <a:ext uri="{FF2B5EF4-FFF2-40B4-BE49-F238E27FC236}">
                <a16:creationId xmlns:a16="http://schemas.microsoft.com/office/drawing/2014/main" id="{87A9E52E-70A4-41DE-B8FB-24564DD21339}"/>
              </a:ext>
            </a:extLst>
          </p:cNvPr>
          <p:cNvSpPr txBox="1"/>
          <p:nvPr/>
        </p:nvSpPr>
        <p:spPr>
          <a:xfrm>
            <a:off x="8693979" y="2338104"/>
            <a:ext cx="3096344" cy="861774"/>
          </a:xfrm>
          <a:prstGeom prst="rect">
            <a:avLst/>
          </a:prstGeom>
          <a:noFill/>
        </p:spPr>
        <p:txBody>
          <a:bodyPr wrap="square" rtlCol="0">
            <a:spAutoFit/>
          </a:bodyPr>
          <a:lstStyle/>
          <a:p>
            <a:r>
              <a:rPr lang="nl-NL" sz="1600" dirty="0"/>
              <a:t>Leverancier is ondernemer en afnemer is particulier. </a:t>
            </a:r>
          </a:p>
          <a:p>
            <a:endParaRPr lang="en-US" dirty="0"/>
          </a:p>
        </p:txBody>
      </p:sp>
    </p:spTree>
    <p:extLst>
      <p:ext uri="{BB962C8B-B14F-4D97-AF65-F5344CB8AC3E}">
        <p14:creationId xmlns:p14="http://schemas.microsoft.com/office/powerpoint/2010/main" val="32522777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1"/>
                                        </p:tgtEl>
                                        <p:attrNameLst>
                                          <p:attrName>style.visibility</p:attrName>
                                        </p:attrNameLst>
                                      </p:cBhvr>
                                      <p:to>
                                        <p:strVal val="visible"/>
                                      </p:to>
                                    </p:set>
                                    <p:anim calcmode="lin" valueType="num">
                                      <p:cBhvr additive="base">
                                        <p:cTn id="7" dur="500" fill="hold"/>
                                        <p:tgtEl>
                                          <p:spTgt spid="41"/>
                                        </p:tgtEl>
                                        <p:attrNameLst>
                                          <p:attrName>ppt_x</p:attrName>
                                        </p:attrNameLst>
                                      </p:cBhvr>
                                      <p:tavLst>
                                        <p:tav tm="0">
                                          <p:val>
                                            <p:strVal val="#ppt_x"/>
                                          </p:val>
                                        </p:tav>
                                        <p:tav tm="100000">
                                          <p:val>
                                            <p:strVal val="#ppt_x"/>
                                          </p:val>
                                        </p:tav>
                                      </p:tavLst>
                                    </p:anim>
                                    <p:anim calcmode="lin" valueType="num">
                                      <p:cBhvr additive="base">
                                        <p:cTn id="8" dur="500" fill="hold"/>
                                        <p:tgtEl>
                                          <p:spTgt spid="4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42" presetClass="entr" presetSubtype="0" fill="hold" grpId="0" nodeType="clickEffect">
                                  <p:stCondLst>
                                    <p:cond delay="0"/>
                                  </p:stCondLst>
                                  <p:childTnLst>
                                    <p:set>
                                      <p:cBhvr>
                                        <p:cTn id="12" dur="1" fill="hold">
                                          <p:stCondLst>
                                            <p:cond delay="0"/>
                                          </p:stCondLst>
                                        </p:cTn>
                                        <p:tgtEl>
                                          <p:spTgt spid="42"/>
                                        </p:tgtEl>
                                        <p:attrNameLst>
                                          <p:attrName>style.visibility</p:attrName>
                                        </p:attrNameLst>
                                      </p:cBhvr>
                                      <p:to>
                                        <p:strVal val="visible"/>
                                      </p:to>
                                    </p:set>
                                    <p:animEffect transition="in" filter="fade">
                                      <p:cBhvr>
                                        <p:cTn id="13" dur="1000"/>
                                        <p:tgtEl>
                                          <p:spTgt spid="42"/>
                                        </p:tgtEl>
                                      </p:cBhvr>
                                    </p:animEffect>
                                    <p:anim calcmode="lin" valueType="num">
                                      <p:cBhvr>
                                        <p:cTn id="14" dur="1000" fill="hold"/>
                                        <p:tgtEl>
                                          <p:spTgt spid="42"/>
                                        </p:tgtEl>
                                        <p:attrNameLst>
                                          <p:attrName>ppt_x</p:attrName>
                                        </p:attrNameLst>
                                      </p:cBhvr>
                                      <p:tavLst>
                                        <p:tav tm="0">
                                          <p:val>
                                            <p:strVal val="#ppt_x"/>
                                          </p:val>
                                        </p:tav>
                                        <p:tav tm="100000">
                                          <p:val>
                                            <p:strVal val="#ppt_x"/>
                                          </p:val>
                                        </p:tav>
                                      </p:tavLst>
                                    </p:anim>
                                    <p:anim calcmode="lin" valueType="num">
                                      <p:cBhvr>
                                        <p:cTn id="15" dur="1000" fill="hold"/>
                                        <p:tgtEl>
                                          <p:spTgt spid="4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P spid="42"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Tijdelijke aanduiding voor afbeelding 2" descr="Afbeelding met krant, tekst, stand&#10;&#10;Automatisch gegenereerde beschrijving">
            <a:extLst>
              <a:ext uri="{FF2B5EF4-FFF2-40B4-BE49-F238E27FC236}">
                <a16:creationId xmlns:a16="http://schemas.microsoft.com/office/drawing/2014/main" id="{1962EBF4-7873-4849-BA66-6D4945F2AE99}"/>
              </a:ext>
            </a:extLst>
          </p:cNvPr>
          <p:cNvPicPr>
            <a:picLocks noGrp="1" noChangeAspect="1"/>
          </p:cNvPicPr>
          <p:nvPr>
            <p:ph type="pic" idx="13"/>
          </p:nvPr>
        </p:nvPicPr>
        <p:blipFill>
          <a:blip r:embed="rId3">
            <a:extLst>
              <a:ext uri="{28A0092B-C50C-407E-A947-70E740481C1C}">
                <a14:useLocalDpi xmlns:a14="http://schemas.microsoft.com/office/drawing/2010/main" val="0"/>
              </a:ext>
            </a:extLst>
          </a:blip>
          <a:srcRect t="28" b="28"/>
          <a:stretch>
            <a:fillRect/>
          </a:stretch>
        </p:blipFill>
        <p:spPr/>
      </p:pic>
      <p:sp>
        <p:nvSpPr>
          <p:cNvPr id="7" name="Tijdelijke aanduiding voor Subtitel"/>
          <p:cNvSpPr>
            <a:spLocks noGrp="1"/>
          </p:cNvSpPr>
          <p:nvPr>
            <p:ph type="body" idx="14"/>
          </p:nvPr>
        </p:nvSpPr>
        <p:spPr/>
        <p:txBody>
          <a:bodyPr/>
          <a:lstStyle/>
          <a:p>
            <a:r>
              <a:rPr lang="nl-NL" dirty="0" err="1"/>
              <a:t>Brexit</a:t>
            </a:r>
            <a:r>
              <a:rPr lang="nl-NL" dirty="0"/>
              <a:t> – de impact op uw bedrijf en hoe u zich kunt voorbereiden</a:t>
            </a:r>
          </a:p>
          <a:p>
            <a:endParaRPr lang="nl-NL" dirty="0"/>
          </a:p>
        </p:txBody>
      </p:sp>
      <p:sp>
        <p:nvSpPr>
          <p:cNvPr id="5" name="Tijdelijke aanduiding voor Titel"/>
          <p:cNvSpPr>
            <a:spLocks noGrp="1"/>
          </p:cNvSpPr>
          <p:nvPr>
            <p:ph type="title"/>
          </p:nvPr>
        </p:nvSpPr>
        <p:spPr/>
        <p:txBody>
          <a:bodyPr/>
          <a:lstStyle/>
          <a:p>
            <a:r>
              <a:rPr lang="nl-NL" dirty="0" err="1"/>
              <a:t>Brexit</a:t>
            </a:r>
            <a:endParaRPr lang="nl-NL" dirty="0"/>
          </a:p>
        </p:txBody>
      </p:sp>
    </p:spTree>
    <p:extLst>
      <p:ext uri="{BB962C8B-B14F-4D97-AF65-F5344CB8AC3E}">
        <p14:creationId xmlns:p14="http://schemas.microsoft.com/office/powerpoint/2010/main" val="1535715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p:cNvSpPr>
            <a:spLocks noGrp="1"/>
          </p:cNvSpPr>
          <p:nvPr>
            <p:ph type="sldNum" sz="quarter" idx="4"/>
          </p:nvPr>
        </p:nvSpPr>
        <p:spPr/>
        <p:txBody>
          <a:bodyPr/>
          <a:lstStyle/>
          <a:p>
            <a:fld id="{0059D162-729F-4880-A2FD-35DE0263B4F3}" type="slidenum">
              <a:rPr lang="nl-NL" smtClean="0"/>
              <a:pPr/>
              <a:t>26</a:t>
            </a:fld>
            <a:endParaRPr lang="nl-NL" dirty="0"/>
          </a:p>
        </p:txBody>
      </p:sp>
      <p:sp>
        <p:nvSpPr>
          <p:cNvPr id="17" name="Tijdelijke aanduiding voor verticale tekst 16">
            <a:extLst>
              <a:ext uri="{FF2B5EF4-FFF2-40B4-BE49-F238E27FC236}">
                <a16:creationId xmlns:a16="http://schemas.microsoft.com/office/drawing/2014/main" id="{3D4DB8C6-70FE-4782-99F5-18A06930CC8E}"/>
              </a:ext>
            </a:extLst>
          </p:cNvPr>
          <p:cNvSpPr>
            <a:spLocks noGrp="1"/>
          </p:cNvSpPr>
          <p:nvPr>
            <p:ph type="body" orient="vert" idx="1"/>
          </p:nvPr>
        </p:nvSpPr>
        <p:spPr/>
        <p:txBody>
          <a:bodyPr>
            <a:normAutofit fontScale="92500" lnSpcReduction="20000"/>
          </a:bodyPr>
          <a:lstStyle/>
          <a:p>
            <a:pPr marL="214198" indent="-214198">
              <a:lnSpc>
                <a:spcPct val="200000"/>
              </a:lnSpc>
              <a:buFont typeface="Arial" panose="020B0604020202020204" pitchFamily="34" charset="0"/>
              <a:buChar char="•"/>
            </a:pPr>
            <a:r>
              <a:rPr lang="nl-NL" sz="1600" dirty="0"/>
              <a:t>Minder dan </a:t>
            </a:r>
            <a:r>
              <a:rPr lang="nl-NL" dirty="0"/>
              <a:t>25 </a:t>
            </a:r>
            <a:r>
              <a:rPr lang="nl-NL" sz="1600" dirty="0"/>
              <a:t>dagen tot Brexit?</a:t>
            </a:r>
          </a:p>
          <a:p>
            <a:pPr marL="214198" indent="-214198">
              <a:lnSpc>
                <a:spcPct val="200000"/>
              </a:lnSpc>
              <a:buFont typeface="Arial" panose="020B0604020202020204" pitchFamily="34" charset="0"/>
              <a:buChar char="•"/>
            </a:pPr>
            <a:r>
              <a:rPr lang="en-US" sz="1600" dirty="0" err="1"/>
              <a:t>Ongeveer</a:t>
            </a:r>
            <a:r>
              <a:rPr lang="en-US" sz="1600" dirty="0"/>
              <a:t> 210.000 </a:t>
            </a:r>
            <a:r>
              <a:rPr lang="en-US" sz="1600" dirty="0" err="1"/>
              <a:t>Nederlanders</a:t>
            </a:r>
            <a:r>
              <a:rPr lang="en-US" sz="1600" dirty="0"/>
              <a:t> </a:t>
            </a:r>
            <a:r>
              <a:rPr lang="en-US" sz="1600" dirty="0" err="1"/>
              <a:t>hebben</a:t>
            </a:r>
            <a:r>
              <a:rPr lang="en-US" sz="1600" dirty="0"/>
              <a:t> </a:t>
            </a:r>
            <a:r>
              <a:rPr lang="en-US" sz="1600" dirty="0" err="1"/>
              <a:t>werk</a:t>
            </a:r>
            <a:r>
              <a:rPr lang="en-US" sz="1600" dirty="0"/>
              <a:t> </a:t>
            </a:r>
            <a:r>
              <a:rPr lang="en-US" sz="1600" dirty="0" err="1"/>
              <a:t>dankzij</a:t>
            </a:r>
            <a:r>
              <a:rPr lang="en-US" sz="1600" dirty="0"/>
              <a:t> </a:t>
            </a:r>
            <a:r>
              <a:rPr lang="en-US" sz="1600" dirty="0" err="1"/>
              <a:t>handel</a:t>
            </a:r>
            <a:r>
              <a:rPr lang="en-US" sz="1600" dirty="0"/>
              <a:t> met het VK.</a:t>
            </a:r>
          </a:p>
          <a:p>
            <a:pPr marL="214198" indent="-214198">
              <a:lnSpc>
                <a:spcPct val="200000"/>
              </a:lnSpc>
              <a:buFont typeface="Arial" panose="020B0604020202020204" pitchFamily="34" charset="0"/>
              <a:buChar char="•"/>
            </a:pPr>
            <a:r>
              <a:rPr lang="en-US" sz="1600" dirty="0"/>
              <a:t>Nederland is de </a:t>
            </a:r>
            <a:r>
              <a:rPr lang="en-US" sz="1600" dirty="0" err="1"/>
              <a:t>grootste</a:t>
            </a:r>
            <a:r>
              <a:rPr lang="en-US" sz="1600" dirty="0"/>
              <a:t> </a:t>
            </a:r>
            <a:r>
              <a:rPr lang="en-US" sz="1600" dirty="0" err="1"/>
              <a:t>agrofood</a:t>
            </a:r>
            <a:r>
              <a:rPr lang="en-US" sz="1600" dirty="0"/>
              <a:t> </a:t>
            </a:r>
            <a:r>
              <a:rPr lang="en-US" sz="1600" dirty="0" err="1"/>
              <a:t>exporteur</a:t>
            </a:r>
            <a:r>
              <a:rPr lang="en-US" sz="1600" dirty="0"/>
              <a:t> </a:t>
            </a:r>
            <a:r>
              <a:rPr lang="en-US" sz="1600" dirty="0" err="1"/>
              <a:t>naar</a:t>
            </a:r>
            <a:r>
              <a:rPr lang="en-US" sz="1600" dirty="0"/>
              <a:t> het VK, </a:t>
            </a:r>
            <a:r>
              <a:rPr lang="en-US" sz="1600" dirty="0" err="1"/>
              <a:t>jaarlijks</a:t>
            </a:r>
            <a:r>
              <a:rPr lang="en-US" sz="1600" dirty="0"/>
              <a:t> circa 10 </a:t>
            </a:r>
            <a:r>
              <a:rPr lang="en-US" sz="1600" dirty="0" err="1"/>
              <a:t>miljard</a:t>
            </a:r>
            <a:r>
              <a:rPr lang="en-US" sz="1600" dirty="0"/>
              <a:t> euro.</a:t>
            </a:r>
          </a:p>
          <a:p>
            <a:pPr marL="214198" indent="-214198">
              <a:lnSpc>
                <a:spcPct val="200000"/>
              </a:lnSpc>
              <a:buFont typeface="Arial" panose="020B0604020202020204" pitchFamily="34" charset="0"/>
              <a:buChar char="•"/>
            </a:pPr>
            <a:r>
              <a:rPr lang="en-US" sz="1600" dirty="0"/>
              <a:t>10% van de </a:t>
            </a:r>
            <a:r>
              <a:rPr lang="en-US" sz="1600" dirty="0" err="1"/>
              <a:t>Nederlandse</a:t>
            </a:r>
            <a:r>
              <a:rPr lang="en-US" sz="1600" dirty="0"/>
              <a:t> </a:t>
            </a:r>
            <a:r>
              <a:rPr lang="en-US" sz="1600" dirty="0" err="1"/>
              <a:t>agrarische</a:t>
            </a:r>
            <a:r>
              <a:rPr lang="en-US" sz="1600" dirty="0"/>
              <a:t> export </a:t>
            </a:r>
            <a:r>
              <a:rPr lang="en-US" sz="1600" dirty="0" err="1"/>
              <a:t>gaat</a:t>
            </a:r>
            <a:r>
              <a:rPr lang="en-US" sz="1600" dirty="0"/>
              <a:t> </a:t>
            </a:r>
            <a:r>
              <a:rPr lang="en-US" sz="1600" dirty="0" err="1"/>
              <a:t>naar</a:t>
            </a:r>
            <a:r>
              <a:rPr lang="en-US" sz="1600" dirty="0"/>
              <a:t> het VK.</a:t>
            </a:r>
          </a:p>
          <a:p>
            <a:pPr marL="214198" indent="-214198">
              <a:lnSpc>
                <a:spcPct val="200000"/>
              </a:lnSpc>
              <a:buFont typeface="Arial" panose="020B0604020202020204" pitchFamily="34" charset="0"/>
              <a:buChar char="•"/>
            </a:pPr>
            <a:r>
              <a:rPr lang="en-US" sz="1600" dirty="0"/>
              <a:t>35.000 </a:t>
            </a:r>
            <a:r>
              <a:rPr lang="en-US" sz="1600" dirty="0" err="1"/>
              <a:t>bedrijven</a:t>
            </a:r>
            <a:r>
              <a:rPr lang="en-US" sz="1600" dirty="0"/>
              <a:t> die </a:t>
            </a:r>
            <a:r>
              <a:rPr lang="en-US" sz="1600" dirty="0" err="1"/>
              <a:t>zakendoen</a:t>
            </a:r>
            <a:r>
              <a:rPr lang="en-US" sz="1600" dirty="0"/>
              <a:t> met het VK </a:t>
            </a:r>
            <a:r>
              <a:rPr lang="en-US" sz="1600" dirty="0" err="1"/>
              <a:t>zijn</a:t>
            </a:r>
            <a:r>
              <a:rPr lang="en-US" sz="1600" dirty="0"/>
              <a:t> </a:t>
            </a:r>
            <a:r>
              <a:rPr lang="en-US" sz="1600" dirty="0" err="1"/>
              <a:t>niet</a:t>
            </a:r>
            <a:r>
              <a:rPr lang="en-US" sz="1600" dirty="0"/>
              <a:t> </a:t>
            </a:r>
            <a:r>
              <a:rPr lang="en-US" sz="1600" dirty="0" err="1"/>
              <a:t>bekend</a:t>
            </a:r>
            <a:r>
              <a:rPr lang="en-US" sz="1600" dirty="0"/>
              <a:t> met </a:t>
            </a:r>
            <a:r>
              <a:rPr lang="en-US" sz="1600" dirty="0" err="1"/>
              <a:t>douaneprocessen</a:t>
            </a:r>
            <a:r>
              <a:rPr lang="en-US" sz="1600" dirty="0"/>
              <a:t>.</a:t>
            </a:r>
          </a:p>
          <a:p>
            <a:pPr marL="214198" indent="-214198">
              <a:lnSpc>
                <a:spcPct val="200000"/>
              </a:lnSpc>
              <a:buFont typeface="Arial" panose="020B0604020202020204" pitchFamily="34" charset="0"/>
              <a:buChar char="•"/>
            </a:pPr>
            <a:r>
              <a:rPr lang="en-US" sz="1600" dirty="0" err="1"/>
              <a:t>Jaarlijks</a:t>
            </a:r>
            <a:r>
              <a:rPr lang="en-US" sz="1600" dirty="0"/>
              <a:t> </a:t>
            </a:r>
            <a:r>
              <a:rPr lang="en-US" sz="1600" dirty="0" err="1"/>
              <a:t>rijden</a:t>
            </a:r>
            <a:r>
              <a:rPr lang="en-US" sz="1600" dirty="0"/>
              <a:t> </a:t>
            </a:r>
            <a:r>
              <a:rPr lang="en-US" sz="1600" dirty="0" err="1"/>
              <a:t>er</a:t>
            </a:r>
            <a:r>
              <a:rPr lang="en-US" sz="1600" dirty="0"/>
              <a:t> 162.000 </a:t>
            </a:r>
            <a:r>
              <a:rPr lang="en-US" sz="1600" dirty="0" err="1"/>
              <a:t>vrachtwagens</a:t>
            </a:r>
            <a:r>
              <a:rPr lang="en-US" sz="1600" dirty="0"/>
              <a:t> </a:t>
            </a:r>
            <a:r>
              <a:rPr lang="en-US" sz="1600" dirty="0" err="1"/>
              <a:t>naar</a:t>
            </a:r>
            <a:r>
              <a:rPr lang="en-US" sz="1600" dirty="0"/>
              <a:t> het VK.</a:t>
            </a:r>
          </a:p>
          <a:p>
            <a:pPr marL="214198" indent="-214198">
              <a:lnSpc>
                <a:spcPct val="200000"/>
              </a:lnSpc>
              <a:buFont typeface="Arial" panose="020B0604020202020204" pitchFamily="34" charset="0"/>
              <a:buChar char="•"/>
            </a:pPr>
            <a:r>
              <a:rPr lang="en-US" sz="1600" dirty="0" err="1"/>
              <a:t>Toename</a:t>
            </a:r>
            <a:r>
              <a:rPr lang="en-US" sz="1600" dirty="0"/>
              <a:t> </a:t>
            </a:r>
            <a:r>
              <a:rPr lang="en-US" sz="1600" dirty="0" err="1"/>
              <a:t>douaneformaliteiten</a:t>
            </a:r>
            <a:r>
              <a:rPr lang="en-US" sz="1600" dirty="0"/>
              <a:t> </a:t>
            </a:r>
            <a:r>
              <a:rPr lang="en-US" sz="1600" dirty="0" err="1"/>
              <a:t>aan</a:t>
            </a:r>
            <a:r>
              <a:rPr lang="en-US" sz="1600" dirty="0"/>
              <a:t> de </a:t>
            </a:r>
            <a:r>
              <a:rPr lang="en-US" sz="1600" dirty="0" err="1"/>
              <a:t>grens</a:t>
            </a:r>
            <a:r>
              <a:rPr lang="en-US" sz="1600" dirty="0"/>
              <a:t> </a:t>
            </a:r>
            <a:r>
              <a:rPr lang="en-US" sz="1600" dirty="0" err="1"/>
              <a:t>wordt</a:t>
            </a:r>
            <a:r>
              <a:rPr lang="en-US" sz="1600" dirty="0"/>
              <a:t> </a:t>
            </a:r>
            <a:r>
              <a:rPr lang="en-US" sz="1600" dirty="0" err="1"/>
              <a:t>geschat</a:t>
            </a:r>
            <a:r>
              <a:rPr lang="en-US" sz="1600" dirty="0"/>
              <a:t> op minimal 25%.</a:t>
            </a:r>
          </a:p>
          <a:p>
            <a:pPr marL="214198" indent="-214198">
              <a:lnSpc>
                <a:spcPct val="200000"/>
              </a:lnSpc>
              <a:buFont typeface="Arial" panose="020B0604020202020204" pitchFamily="34" charset="0"/>
              <a:buChar char="•"/>
            </a:pPr>
            <a:endParaRPr lang="en-US" dirty="0"/>
          </a:p>
          <a:p>
            <a:pPr marL="214198" indent="-214198">
              <a:lnSpc>
                <a:spcPct val="200000"/>
              </a:lnSpc>
              <a:buFont typeface="Arial" panose="020B0604020202020204" pitchFamily="34" charset="0"/>
              <a:buChar char="•"/>
            </a:pPr>
            <a:endParaRPr lang="nl-NL" dirty="0"/>
          </a:p>
          <a:p>
            <a:endParaRPr lang="nl-NL" dirty="0"/>
          </a:p>
        </p:txBody>
      </p:sp>
      <p:sp>
        <p:nvSpPr>
          <p:cNvPr id="4" name="Tijdelijke aanduiding voor tekst 3">
            <a:extLst>
              <a:ext uri="{FF2B5EF4-FFF2-40B4-BE49-F238E27FC236}">
                <a16:creationId xmlns:a16="http://schemas.microsoft.com/office/drawing/2014/main" id="{F0FAC7C3-0C94-4E04-87DA-DD8874F8D50E}"/>
              </a:ext>
            </a:extLst>
          </p:cNvPr>
          <p:cNvSpPr>
            <a:spLocks noGrp="1"/>
          </p:cNvSpPr>
          <p:nvPr>
            <p:ph type="body" idx="14"/>
          </p:nvPr>
        </p:nvSpPr>
        <p:spPr/>
        <p:txBody>
          <a:bodyPr/>
          <a:lstStyle/>
          <a:p>
            <a:endParaRPr lang="nl-NL"/>
          </a:p>
        </p:txBody>
      </p:sp>
      <p:sp>
        <p:nvSpPr>
          <p:cNvPr id="16" name="Titel 15">
            <a:extLst>
              <a:ext uri="{FF2B5EF4-FFF2-40B4-BE49-F238E27FC236}">
                <a16:creationId xmlns:a16="http://schemas.microsoft.com/office/drawing/2014/main" id="{C619C9C7-3F5E-4EF0-A6BD-8D786C675E62}"/>
              </a:ext>
            </a:extLst>
          </p:cNvPr>
          <p:cNvSpPr>
            <a:spLocks noGrp="1"/>
          </p:cNvSpPr>
          <p:nvPr>
            <p:ph type="title"/>
          </p:nvPr>
        </p:nvSpPr>
        <p:spPr/>
        <p:txBody>
          <a:bodyPr/>
          <a:lstStyle/>
          <a:p>
            <a:r>
              <a:rPr lang="en-US" dirty="0" err="1"/>
              <a:t>Enkele</a:t>
            </a:r>
            <a:r>
              <a:rPr lang="en-US" dirty="0"/>
              <a:t> </a:t>
            </a:r>
            <a:r>
              <a:rPr lang="en-US" dirty="0" err="1"/>
              <a:t>feiten</a:t>
            </a:r>
            <a:endParaRPr lang="nl-NL" dirty="0"/>
          </a:p>
        </p:txBody>
      </p:sp>
      <p:pic>
        <p:nvPicPr>
          <p:cNvPr id="3" name="Afbeelding 2">
            <a:extLst>
              <a:ext uri="{FF2B5EF4-FFF2-40B4-BE49-F238E27FC236}">
                <a16:creationId xmlns:a16="http://schemas.microsoft.com/office/drawing/2014/main" id="{8039422F-C705-4AB5-80E2-7069A3FB91F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91463" y="2923399"/>
            <a:ext cx="2601537" cy="1288535"/>
          </a:xfrm>
          <a:prstGeom prst="rect">
            <a:avLst/>
          </a:prstGeom>
        </p:spPr>
      </p:pic>
    </p:spTree>
    <p:extLst>
      <p:ext uri="{BB962C8B-B14F-4D97-AF65-F5344CB8AC3E}">
        <p14:creationId xmlns:p14="http://schemas.microsoft.com/office/powerpoint/2010/main" val="2679281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p:cNvSpPr>
            <a:spLocks noGrp="1"/>
          </p:cNvSpPr>
          <p:nvPr>
            <p:ph type="sldNum" sz="quarter" idx="4"/>
          </p:nvPr>
        </p:nvSpPr>
        <p:spPr/>
        <p:txBody>
          <a:bodyPr/>
          <a:lstStyle/>
          <a:p>
            <a:fld id="{0059D162-729F-4880-A2FD-35DE0263B4F3}" type="slidenum">
              <a:rPr lang="nl-NL" smtClean="0"/>
              <a:pPr/>
              <a:t>27</a:t>
            </a:fld>
            <a:endParaRPr lang="nl-NL" dirty="0"/>
          </a:p>
        </p:txBody>
      </p:sp>
      <p:sp>
        <p:nvSpPr>
          <p:cNvPr id="17" name="Tijdelijke aanduiding voor verticale tekst 16">
            <a:extLst>
              <a:ext uri="{FF2B5EF4-FFF2-40B4-BE49-F238E27FC236}">
                <a16:creationId xmlns:a16="http://schemas.microsoft.com/office/drawing/2014/main" id="{3D4DB8C6-70FE-4782-99F5-18A06930CC8E}"/>
              </a:ext>
            </a:extLst>
          </p:cNvPr>
          <p:cNvSpPr>
            <a:spLocks noGrp="1"/>
          </p:cNvSpPr>
          <p:nvPr>
            <p:ph type="body" orient="vert" idx="1"/>
          </p:nvPr>
        </p:nvSpPr>
        <p:spPr/>
        <p:txBody>
          <a:bodyPr/>
          <a:lstStyle/>
          <a:p>
            <a:endParaRPr lang="en-US" dirty="0"/>
          </a:p>
        </p:txBody>
      </p:sp>
      <p:sp>
        <p:nvSpPr>
          <p:cNvPr id="18" name="Tijdelijke aanduiding voor tekst 17">
            <a:extLst>
              <a:ext uri="{FF2B5EF4-FFF2-40B4-BE49-F238E27FC236}">
                <a16:creationId xmlns:a16="http://schemas.microsoft.com/office/drawing/2014/main" id="{9D75E6DA-8764-40F5-BC2A-2CEB49302534}"/>
              </a:ext>
            </a:extLst>
          </p:cNvPr>
          <p:cNvSpPr>
            <a:spLocks noGrp="1"/>
          </p:cNvSpPr>
          <p:nvPr>
            <p:ph type="body" idx="14"/>
          </p:nvPr>
        </p:nvSpPr>
        <p:spPr/>
        <p:txBody>
          <a:bodyPr/>
          <a:lstStyle/>
          <a:p>
            <a:endParaRPr lang="nl-NL"/>
          </a:p>
        </p:txBody>
      </p:sp>
      <p:sp>
        <p:nvSpPr>
          <p:cNvPr id="16" name="Titel 15">
            <a:extLst>
              <a:ext uri="{FF2B5EF4-FFF2-40B4-BE49-F238E27FC236}">
                <a16:creationId xmlns:a16="http://schemas.microsoft.com/office/drawing/2014/main" id="{C619C9C7-3F5E-4EF0-A6BD-8D786C675E62}"/>
              </a:ext>
            </a:extLst>
          </p:cNvPr>
          <p:cNvSpPr>
            <a:spLocks noGrp="1"/>
          </p:cNvSpPr>
          <p:nvPr>
            <p:ph type="title"/>
          </p:nvPr>
        </p:nvSpPr>
        <p:spPr/>
        <p:txBody>
          <a:bodyPr/>
          <a:lstStyle/>
          <a:p>
            <a:endParaRPr lang="nl-NL"/>
          </a:p>
        </p:txBody>
      </p:sp>
      <p:pic>
        <p:nvPicPr>
          <p:cNvPr id="5" name="Content Placeholder 4"/>
          <p:cNvPicPr>
            <a:picLocks noGrp="1" noChangeAspect="1"/>
          </p:cNvPicPr>
          <p:nvPr>
            <p:ph idx="4294967295"/>
          </p:nvPr>
        </p:nvPicPr>
        <p:blipFill>
          <a:blip r:embed="rId3">
            <a:extLst>
              <a:ext uri="{28A0092B-C50C-407E-A947-70E740481C1C}">
                <a14:useLocalDpi xmlns:a14="http://schemas.microsoft.com/office/drawing/2010/main" val="0"/>
              </a:ext>
            </a:extLst>
          </a:blip>
          <a:stretch>
            <a:fillRect/>
          </a:stretch>
        </p:blipFill>
        <p:spPr>
          <a:xfrm>
            <a:off x="3074839" y="1605169"/>
            <a:ext cx="5235575" cy="3925888"/>
          </a:xfrm>
        </p:spPr>
      </p:pic>
    </p:spTree>
    <p:extLst>
      <p:ext uri="{BB962C8B-B14F-4D97-AF65-F5344CB8AC3E}">
        <p14:creationId xmlns:p14="http://schemas.microsoft.com/office/powerpoint/2010/main" val="1750762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p:cNvSpPr>
            <a:spLocks noGrp="1"/>
          </p:cNvSpPr>
          <p:nvPr>
            <p:ph type="sldNum" sz="quarter" idx="4"/>
          </p:nvPr>
        </p:nvSpPr>
        <p:spPr/>
        <p:txBody>
          <a:bodyPr/>
          <a:lstStyle/>
          <a:p>
            <a:fld id="{0059D162-729F-4880-A2FD-35DE0263B4F3}" type="slidenum">
              <a:rPr lang="nl-NL" smtClean="0"/>
              <a:pPr/>
              <a:t>28</a:t>
            </a:fld>
            <a:endParaRPr lang="nl-NL" dirty="0"/>
          </a:p>
        </p:txBody>
      </p:sp>
      <p:sp>
        <p:nvSpPr>
          <p:cNvPr id="3" name="Tijdelijke aanduiding voor tekst 2">
            <a:extLst>
              <a:ext uri="{FF2B5EF4-FFF2-40B4-BE49-F238E27FC236}">
                <a16:creationId xmlns:a16="http://schemas.microsoft.com/office/drawing/2014/main" id="{ADA3DF93-9142-4898-8FB3-0DD9D692021A}"/>
              </a:ext>
            </a:extLst>
          </p:cNvPr>
          <p:cNvSpPr>
            <a:spLocks noGrp="1"/>
          </p:cNvSpPr>
          <p:nvPr>
            <p:ph type="body" idx="14"/>
          </p:nvPr>
        </p:nvSpPr>
        <p:spPr/>
        <p:txBody>
          <a:bodyPr/>
          <a:lstStyle/>
          <a:p>
            <a:r>
              <a:rPr lang="nl-NL" dirty="0"/>
              <a:t>Cliff </a:t>
            </a:r>
            <a:r>
              <a:rPr lang="nl-NL" dirty="0" err="1"/>
              <a:t>edge</a:t>
            </a:r>
            <a:endParaRPr lang="nl-NL" dirty="0"/>
          </a:p>
        </p:txBody>
      </p:sp>
      <p:sp>
        <p:nvSpPr>
          <p:cNvPr id="4" name="Titel 3">
            <a:extLst>
              <a:ext uri="{FF2B5EF4-FFF2-40B4-BE49-F238E27FC236}">
                <a16:creationId xmlns:a16="http://schemas.microsoft.com/office/drawing/2014/main" id="{88995219-77D9-412D-9465-DB94634BD552}"/>
              </a:ext>
            </a:extLst>
          </p:cNvPr>
          <p:cNvSpPr>
            <a:spLocks noGrp="1"/>
          </p:cNvSpPr>
          <p:nvPr>
            <p:ph type="title"/>
          </p:nvPr>
        </p:nvSpPr>
        <p:spPr/>
        <p:txBody>
          <a:bodyPr/>
          <a:lstStyle/>
          <a:p>
            <a:r>
              <a:rPr lang="nl-NL" dirty="0"/>
              <a:t>Achtergrond </a:t>
            </a:r>
            <a:r>
              <a:rPr lang="nl-NL" dirty="0" err="1"/>
              <a:t>Brexit</a:t>
            </a:r>
            <a:r>
              <a:rPr lang="nl-NL" dirty="0"/>
              <a:t>	</a:t>
            </a:r>
          </a:p>
        </p:txBody>
      </p:sp>
      <p:pic>
        <p:nvPicPr>
          <p:cNvPr id="5" name="Picture 4">
            <a:extLst>
              <a:ext uri="{FF2B5EF4-FFF2-40B4-BE49-F238E27FC236}">
                <a16:creationId xmlns:a16="http://schemas.microsoft.com/office/drawing/2014/main" id="{46AE3438-7E22-4AEA-B0AF-3ED2187BF0F1}"/>
              </a:ext>
            </a:extLst>
          </p:cNvPr>
          <p:cNvPicPr>
            <a:picLocks noChangeAspect="1"/>
          </p:cNvPicPr>
          <p:nvPr/>
        </p:nvPicPr>
        <p:blipFill>
          <a:blip r:embed="rId3"/>
          <a:stretch>
            <a:fillRect/>
          </a:stretch>
        </p:blipFill>
        <p:spPr>
          <a:xfrm>
            <a:off x="3126193" y="2061011"/>
            <a:ext cx="5945962" cy="2944541"/>
          </a:xfrm>
          <a:prstGeom prst="rect">
            <a:avLst/>
          </a:prstGeom>
        </p:spPr>
      </p:pic>
    </p:spTree>
    <p:extLst>
      <p:ext uri="{BB962C8B-B14F-4D97-AF65-F5344CB8AC3E}">
        <p14:creationId xmlns:p14="http://schemas.microsoft.com/office/powerpoint/2010/main" val="1381088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Tijdelijke aanduiding voor afbeelding 7" descr="Afbeelding met object, schaakstuk, tafel, binnen&#10;&#10;Automatisch gegenereerde beschrijving">
            <a:extLst>
              <a:ext uri="{FF2B5EF4-FFF2-40B4-BE49-F238E27FC236}">
                <a16:creationId xmlns:a16="http://schemas.microsoft.com/office/drawing/2014/main" id="{32B2F6D4-3257-4CA1-B85D-87123639C7DA}"/>
              </a:ext>
            </a:extLst>
          </p:cNvPr>
          <p:cNvPicPr>
            <a:picLocks noGrp="1" noChangeAspect="1"/>
          </p:cNvPicPr>
          <p:nvPr>
            <p:ph type="pic" idx="13"/>
          </p:nvPr>
        </p:nvPicPr>
        <p:blipFill>
          <a:blip r:embed="rId3">
            <a:extLst>
              <a:ext uri="{28A0092B-C50C-407E-A947-70E740481C1C}">
                <a14:useLocalDpi xmlns:a14="http://schemas.microsoft.com/office/drawing/2010/main" val="0"/>
              </a:ext>
            </a:extLst>
          </a:blip>
          <a:srcRect t="9093" b="9093"/>
          <a:stretch>
            <a:fillRect/>
          </a:stretch>
        </p:blipFill>
        <p:spPr/>
      </p:pic>
      <p:sp>
        <p:nvSpPr>
          <p:cNvPr id="6" name="Tijdelijke aanduiding voor tekst 5">
            <a:extLst>
              <a:ext uri="{FF2B5EF4-FFF2-40B4-BE49-F238E27FC236}">
                <a16:creationId xmlns:a16="http://schemas.microsoft.com/office/drawing/2014/main" id="{D4EDB9A0-75D2-4AF0-B904-B7AAE2AB2371}"/>
              </a:ext>
            </a:extLst>
          </p:cNvPr>
          <p:cNvSpPr>
            <a:spLocks noGrp="1"/>
          </p:cNvSpPr>
          <p:nvPr>
            <p:ph type="body" idx="14"/>
          </p:nvPr>
        </p:nvSpPr>
        <p:spPr/>
        <p:txBody>
          <a:bodyPr/>
          <a:lstStyle/>
          <a:p>
            <a:endParaRPr lang="nl-NL"/>
          </a:p>
        </p:txBody>
      </p:sp>
      <p:sp>
        <p:nvSpPr>
          <p:cNvPr id="4" name="Titel 3">
            <a:extLst>
              <a:ext uri="{FF2B5EF4-FFF2-40B4-BE49-F238E27FC236}">
                <a16:creationId xmlns:a16="http://schemas.microsoft.com/office/drawing/2014/main" id="{281C0C83-2183-423E-9509-50026FF97F12}"/>
              </a:ext>
            </a:extLst>
          </p:cNvPr>
          <p:cNvSpPr>
            <a:spLocks noGrp="1"/>
          </p:cNvSpPr>
          <p:nvPr>
            <p:ph type="title"/>
          </p:nvPr>
        </p:nvSpPr>
        <p:spPr>
          <a:xfrm>
            <a:off x="664109" y="468129"/>
            <a:ext cx="10870131" cy="533219"/>
          </a:xfrm>
        </p:spPr>
        <p:txBody>
          <a:bodyPr/>
          <a:lstStyle/>
          <a:p>
            <a:r>
              <a:rPr lang="nl-NL" dirty="0"/>
              <a:t>Brexit: BTW na 31 december 2020 - overgangsperiode</a:t>
            </a:r>
          </a:p>
        </p:txBody>
      </p:sp>
    </p:spTree>
    <p:extLst>
      <p:ext uri="{BB962C8B-B14F-4D97-AF65-F5344CB8AC3E}">
        <p14:creationId xmlns:p14="http://schemas.microsoft.com/office/powerpoint/2010/main" val="4285137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Tijdelijke aanduiding voor afbeelding 5" descr="Afbeelding met wortel, bord, binnen, zitten&#10;&#10;Beschrijving is gegenereerd met zeer hoge betrouwbaarheid">
            <a:extLst>
              <a:ext uri="{FF2B5EF4-FFF2-40B4-BE49-F238E27FC236}">
                <a16:creationId xmlns:a16="http://schemas.microsoft.com/office/drawing/2014/main" id="{38AE9955-7554-4039-868A-766CE7041DDC}"/>
              </a:ext>
            </a:extLst>
          </p:cNvPr>
          <p:cNvPicPr>
            <a:picLocks noGrp="1" noChangeAspect="1"/>
          </p:cNvPicPr>
          <p:nvPr>
            <p:ph type="pic" idx="13"/>
          </p:nvPr>
        </p:nvPicPr>
        <p:blipFill>
          <a:blip r:embed="rId3">
            <a:extLst>
              <a:ext uri="{28A0092B-C50C-407E-A947-70E740481C1C}">
                <a14:useLocalDpi xmlns:a14="http://schemas.microsoft.com/office/drawing/2010/main" val="0"/>
              </a:ext>
            </a:extLst>
          </a:blip>
          <a:srcRect t="15233" b="15233"/>
          <a:stretch>
            <a:fillRect/>
          </a:stretch>
        </p:blipFill>
        <p:spPr/>
      </p:pic>
      <p:sp>
        <p:nvSpPr>
          <p:cNvPr id="3" name="Tijdelijke aanduiding voor tekst 2">
            <a:extLst>
              <a:ext uri="{FF2B5EF4-FFF2-40B4-BE49-F238E27FC236}">
                <a16:creationId xmlns:a16="http://schemas.microsoft.com/office/drawing/2014/main" id="{843835B5-C55F-4ACA-98D2-563AA4D80FEA}"/>
              </a:ext>
            </a:extLst>
          </p:cNvPr>
          <p:cNvSpPr>
            <a:spLocks noGrp="1"/>
          </p:cNvSpPr>
          <p:nvPr>
            <p:ph type="body" idx="14"/>
          </p:nvPr>
        </p:nvSpPr>
        <p:spPr/>
        <p:txBody>
          <a:bodyPr/>
          <a:lstStyle/>
          <a:p>
            <a:endParaRPr lang="nl-NL"/>
          </a:p>
        </p:txBody>
      </p:sp>
      <p:sp>
        <p:nvSpPr>
          <p:cNvPr id="4" name="Titel 3">
            <a:extLst>
              <a:ext uri="{FF2B5EF4-FFF2-40B4-BE49-F238E27FC236}">
                <a16:creationId xmlns:a16="http://schemas.microsoft.com/office/drawing/2014/main" id="{000C3072-0784-4222-A3D3-1964D5D1EB91}"/>
              </a:ext>
            </a:extLst>
          </p:cNvPr>
          <p:cNvSpPr>
            <a:spLocks noGrp="1"/>
          </p:cNvSpPr>
          <p:nvPr>
            <p:ph type="title"/>
          </p:nvPr>
        </p:nvSpPr>
        <p:spPr/>
        <p:txBody>
          <a:bodyPr/>
          <a:lstStyle/>
          <a:p>
            <a:r>
              <a:rPr lang="en-US" dirty="0" err="1"/>
              <a:t>Steekproeven</a:t>
            </a:r>
            <a:endParaRPr lang="nl-NL" dirty="0"/>
          </a:p>
        </p:txBody>
      </p:sp>
    </p:spTree>
    <p:extLst>
      <p:ext uri="{BB962C8B-B14F-4D97-AF65-F5344CB8AC3E}">
        <p14:creationId xmlns:p14="http://schemas.microsoft.com/office/powerpoint/2010/main" val="1980804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p:cNvSpPr>
            <a:spLocks noGrp="1"/>
          </p:cNvSpPr>
          <p:nvPr>
            <p:ph type="sldNum" sz="quarter" idx="4"/>
          </p:nvPr>
        </p:nvSpPr>
        <p:spPr/>
        <p:txBody>
          <a:bodyPr/>
          <a:lstStyle/>
          <a:p>
            <a:fld id="{0059D162-729F-4880-A2FD-35DE0263B4F3}" type="slidenum">
              <a:rPr lang="nl-NL" smtClean="0"/>
              <a:pPr/>
              <a:t>30</a:t>
            </a:fld>
            <a:endParaRPr lang="nl-NL" dirty="0"/>
          </a:p>
        </p:txBody>
      </p:sp>
      <p:sp>
        <p:nvSpPr>
          <p:cNvPr id="17" name="Tijdelijke aanduiding voor verticale tekst 16">
            <a:extLst>
              <a:ext uri="{FF2B5EF4-FFF2-40B4-BE49-F238E27FC236}">
                <a16:creationId xmlns:a16="http://schemas.microsoft.com/office/drawing/2014/main" id="{3D4DB8C6-70FE-4782-99F5-18A06930CC8E}"/>
              </a:ext>
            </a:extLst>
          </p:cNvPr>
          <p:cNvSpPr>
            <a:spLocks noGrp="1"/>
          </p:cNvSpPr>
          <p:nvPr>
            <p:ph type="body" orient="vert" idx="1"/>
          </p:nvPr>
        </p:nvSpPr>
        <p:spPr/>
        <p:txBody>
          <a:bodyPr>
            <a:noAutofit/>
          </a:bodyPr>
          <a:lstStyle/>
          <a:p>
            <a:pPr marL="214198" indent="-214198">
              <a:buFont typeface="Arial" panose="020B0604020202020204" pitchFamily="34" charset="0"/>
              <a:buChar char="•"/>
            </a:pPr>
            <a:r>
              <a:rPr lang="en-US" sz="1600" dirty="0"/>
              <a:t>Het VK </a:t>
            </a:r>
            <a:r>
              <a:rPr lang="en-US" sz="1600" dirty="0" err="1"/>
              <a:t>verlaat</a:t>
            </a:r>
            <a:r>
              <a:rPr lang="en-US" sz="1600" dirty="0"/>
              <a:t> de interne </a:t>
            </a:r>
            <a:r>
              <a:rPr lang="en-US" sz="1600" dirty="0" err="1"/>
              <a:t>markt</a:t>
            </a:r>
            <a:endParaRPr lang="en-US" sz="1600" dirty="0"/>
          </a:p>
          <a:p>
            <a:endParaRPr lang="en-US" sz="1600" dirty="0"/>
          </a:p>
          <a:p>
            <a:pPr marL="214198" indent="-214198">
              <a:buFont typeface="Arial" panose="020B0604020202020204" pitchFamily="34" charset="0"/>
              <a:buChar char="•"/>
            </a:pPr>
            <a:r>
              <a:rPr lang="en-US" sz="1600" dirty="0"/>
              <a:t>In- en </a:t>
            </a:r>
            <a:r>
              <a:rPr lang="en-US" sz="1600" dirty="0" err="1"/>
              <a:t>uitvoer</a:t>
            </a:r>
            <a:endParaRPr lang="en-US" sz="1600" dirty="0"/>
          </a:p>
          <a:p>
            <a:endParaRPr lang="en-US" sz="1600" dirty="0"/>
          </a:p>
          <a:p>
            <a:pPr marL="214198" indent="-214198">
              <a:buFont typeface="Arial" panose="020B0604020202020204" pitchFamily="34" charset="0"/>
              <a:buChar char="•"/>
            </a:pPr>
            <a:r>
              <a:rPr lang="en-US" sz="1600" dirty="0"/>
              <a:t>‘</a:t>
            </a:r>
            <a:r>
              <a:rPr lang="en-US" sz="1600" dirty="0" err="1"/>
              <a:t>Plaats</a:t>
            </a:r>
            <a:r>
              <a:rPr lang="en-US" sz="1600" dirty="0"/>
              <a:t> van </a:t>
            </a:r>
            <a:r>
              <a:rPr lang="en-US" sz="1600" dirty="0" err="1"/>
              <a:t>dienst</a:t>
            </a:r>
            <a:r>
              <a:rPr lang="en-US" sz="1600" dirty="0"/>
              <a:t>’-regels</a:t>
            </a:r>
          </a:p>
          <a:p>
            <a:pPr marL="416590" lvl="1" indent="-214198">
              <a:buFont typeface="Arial" panose="020B0604020202020204" pitchFamily="34" charset="0"/>
              <a:buChar char="•"/>
            </a:pPr>
            <a:r>
              <a:rPr lang="en-US" sz="1600" dirty="0" err="1"/>
              <a:t>Registratie</a:t>
            </a:r>
            <a:r>
              <a:rPr lang="en-US" sz="1600" dirty="0"/>
              <a:t>?</a:t>
            </a:r>
          </a:p>
          <a:p>
            <a:pPr lvl="1" indent="0">
              <a:buNone/>
            </a:pPr>
            <a:endParaRPr lang="en-US" sz="1600" dirty="0"/>
          </a:p>
          <a:p>
            <a:pPr marL="214198" indent="-214198">
              <a:buFont typeface="Arial" panose="020B0604020202020204" pitchFamily="34" charset="0"/>
              <a:buChar char="•"/>
            </a:pPr>
            <a:r>
              <a:rPr lang="en-US" sz="1600" dirty="0" err="1"/>
              <a:t>Afstandsverkopen</a:t>
            </a:r>
            <a:endParaRPr lang="en-US" sz="1600" dirty="0"/>
          </a:p>
          <a:p>
            <a:pPr marL="416590" lvl="1" indent="-214198">
              <a:buFont typeface="Arial" panose="020B0604020202020204" pitchFamily="34" charset="0"/>
              <a:buChar char="•"/>
            </a:pPr>
            <a:r>
              <a:rPr lang="en-US" sz="1600" dirty="0"/>
              <a:t>EU-VK: out of scope</a:t>
            </a:r>
          </a:p>
          <a:p>
            <a:pPr marL="416590" lvl="1" indent="-214198">
              <a:buFont typeface="Arial" panose="020B0604020202020204" pitchFamily="34" charset="0"/>
              <a:buChar char="•"/>
            </a:pPr>
            <a:r>
              <a:rPr lang="en-US" sz="1600" dirty="0"/>
              <a:t>VK-EU: </a:t>
            </a:r>
            <a:r>
              <a:rPr lang="en-US" sz="1600" dirty="0" err="1"/>
              <a:t>registratie</a:t>
            </a:r>
            <a:r>
              <a:rPr lang="en-US" sz="1600" dirty="0"/>
              <a:t> in EU</a:t>
            </a:r>
          </a:p>
        </p:txBody>
      </p:sp>
      <p:sp>
        <p:nvSpPr>
          <p:cNvPr id="18" name="Tijdelijke aanduiding voor tekst 17">
            <a:extLst>
              <a:ext uri="{FF2B5EF4-FFF2-40B4-BE49-F238E27FC236}">
                <a16:creationId xmlns:a16="http://schemas.microsoft.com/office/drawing/2014/main" id="{9D75E6DA-8764-40F5-BC2A-2CEB49302534}"/>
              </a:ext>
            </a:extLst>
          </p:cNvPr>
          <p:cNvSpPr>
            <a:spLocks noGrp="1"/>
          </p:cNvSpPr>
          <p:nvPr>
            <p:ph type="body" idx="14"/>
          </p:nvPr>
        </p:nvSpPr>
        <p:spPr/>
        <p:txBody>
          <a:bodyPr>
            <a:noAutofit/>
          </a:bodyPr>
          <a:lstStyle/>
          <a:p>
            <a:r>
              <a:rPr lang="en-US" sz="1600" dirty="0"/>
              <a:t>Het VK </a:t>
            </a:r>
            <a:r>
              <a:rPr lang="en-US" sz="1600" dirty="0" err="1"/>
              <a:t>als</a:t>
            </a:r>
            <a:r>
              <a:rPr lang="en-US" sz="1600" dirty="0"/>
              <a:t> </a:t>
            </a:r>
            <a:r>
              <a:rPr lang="en-US" sz="1600" dirty="0" err="1"/>
              <a:t>derde</a:t>
            </a:r>
            <a:r>
              <a:rPr lang="en-US" sz="1600" dirty="0"/>
              <a:t> land</a:t>
            </a:r>
            <a:endParaRPr lang="nl-NL" sz="1600" dirty="0"/>
          </a:p>
        </p:txBody>
      </p:sp>
      <p:sp>
        <p:nvSpPr>
          <p:cNvPr id="16" name="Titel 15">
            <a:extLst>
              <a:ext uri="{FF2B5EF4-FFF2-40B4-BE49-F238E27FC236}">
                <a16:creationId xmlns:a16="http://schemas.microsoft.com/office/drawing/2014/main" id="{C619C9C7-3F5E-4EF0-A6BD-8D786C675E62}"/>
              </a:ext>
            </a:extLst>
          </p:cNvPr>
          <p:cNvSpPr>
            <a:spLocks noGrp="1"/>
          </p:cNvSpPr>
          <p:nvPr>
            <p:ph type="title"/>
          </p:nvPr>
        </p:nvSpPr>
        <p:spPr/>
        <p:txBody>
          <a:bodyPr/>
          <a:lstStyle/>
          <a:p>
            <a:r>
              <a:rPr lang="nl-NL" dirty="0"/>
              <a:t>BTW</a:t>
            </a:r>
          </a:p>
        </p:txBody>
      </p:sp>
      <p:pic>
        <p:nvPicPr>
          <p:cNvPr id="42" name="Afbeelding 41">
            <a:extLst>
              <a:ext uri="{FF2B5EF4-FFF2-40B4-BE49-F238E27FC236}">
                <a16:creationId xmlns:a16="http://schemas.microsoft.com/office/drawing/2014/main" id="{22E63556-2150-4788-B4CD-F8A3F582ED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55134" y="2317541"/>
            <a:ext cx="4605072" cy="2431478"/>
          </a:xfrm>
          <a:prstGeom prst="rect">
            <a:avLst/>
          </a:prstGeom>
        </p:spPr>
      </p:pic>
    </p:spTree>
    <p:extLst>
      <p:ext uri="{BB962C8B-B14F-4D97-AF65-F5344CB8AC3E}">
        <p14:creationId xmlns:p14="http://schemas.microsoft.com/office/powerpoint/2010/main" val="3247542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p:cNvSpPr>
            <a:spLocks noGrp="1"/>
          </p:cNvSpPr>
          <p:nvPr>
            <p:ph type="sldNum" sz="quarter" idx="4"/>
          </p:nvPr>
        </p:nvSpPr>
        <p:spPr/>
        <p:txBody>
          <a:bodyPr/>
          <a:lstStyle/>
          <a:p>
            <a:fld id="{0059D162-729F-4880-A2FD-35DE0263B4F3}" type="slidenum">
              <a:rPr lang="nl-NL" smtClean="0"/>
              <a:pPr/>
              <a:t>31</a:t>
            </a:fld>
            <a:endParaRPr lang="nl-NL" dirty="0"/>
          </a:p>
        </p:txBody>
      </p:sp>
      <p:sp>
        <p:nvSpPr>
          <p:cNvPr id="17" name="Tijdelijke aanduiding voor verticale tekst 16">
            <a:extLst>
              <a:ext uri="{FF2B5EF4-FFF2-40B4-BE49-F238E27FC236}">
                <a16:creationId xmlns:a16="http://schemas.microsoft.com/office/drawing/2014/main" id="{3D4DB8C6-70FE-4782-99F5-18A06930CC8E}"/>
              </a:ext>
            </a:extLst>
          </p:cNvPr>
          <p:cNvSpPr>
            <a:spLocks noGrp="1"/>
          </p:cNvSpPr>
          <p:nvPr>
            <p:ph type="body" orient="vert" idx="1"/>
          </p:nvPr>
        </p:nvSpPr>
        <p:spPr/>
        <p:txBody>
          <a:bodyPr/>
          <a:lstStyle/>
          <a:p>
            <a:pPr marL="214198" indent="-214198">
              <a:buFont typeface="Arial" panose="020B0604020202020204" pitchFamily="34" charset="0"/>
              <a:buChar char="•"/>
            </a:pPr>
            <a:r>
              <a:rPr lang="en-US" sz="1600" dirty="0"/>
              <a:t>Nu: </a:t>
            </a:r>
            <a:r>
              <a:rPr lang="en-US" sz="1600" dirty="0" err="1"/>
              <a:t>goederenlevering</a:t>
            </a:r>
            <a:r>
              <a:rPr lang="en-US" sz="1600" dirty="0"/>
              <a:t> EU-VK = ICL </a:t>
            </a:r>
            <a:r>
              <a:rPr lang="en-US" sz="1600" dirty="0">
                <a:sym typeface="Wingdings" panose="05000000000000000000" pitchFamily="2" charset="2"/>
              </a:rPr>
              <a:t> 0% btw</a:t>
            </a:r>
          </a:p>
          <a:p>
            <a:pPr marL="214198" indent="-214198">
              <a:buFont typeface="Arial" panose="020B0604020202020204" pitchFamily="34" charset="0"/>
              <a:buChar char="•"/>
            </a:pPr>
            <a:r>
              <a:rPr lang="en-US" sz="1600" dirty="0" err="1">
                <a:sym typeface="Wingdings" panose="05000000000000000000" pitchFamily="2" charset="2"/>
              </a:rPr>
              <a:t>Straks</a:t>
            </a:r>
            <a:r>
              <a:rPr lang="en-US" sz="1600" dirty="0">
                <a:sym typeface="Wingdings" panose="05000000000000000000" pitchFamily="2" charset="2"/>
              </a:rPr>
              <a:t>: </a:t>
            </a:r>
            <a:r>
              <a:rPr lang="en-US" sz="1600" dirty="0" err="1">
                <a:sym typeface="Wingdings" panose="05000000000000000000" pitchFamily="2" charset="2"/>
              </a:rPr>
              <a:t>goederenlevering</a:t>
            </a:r>
            <a:r>
              <a:rPr lang="en-US" sz="1600" dirty="0">
                <a:sym typeface="Wingdings" panose="05000000000000000000" pitchFamily="2" charset="2"/>
              </a:rPr>
              <a:t> EU-VK = </a:t>
            </a:r>
            <a:r>
              <a:rPr lang="en-US" sz="1600" dirty="0" err="1">
                <a:sym typeface="Wingdings" panose="05000000000000000000" pitchFamily="2" charset="2"/>
              </a:rPr>
              <a:t>uitvoer</a:t>
            </a:r>
            <a:r>
              <a:rPr lang="en-US" sz="1600" dirty="0">
                <a:sym typeface="Wingdings" panose="05000000000000000000" pitchFamily="2" charset="2"/>
              </a:rPr>
              <a:t>  0% btw</a:t>
            </a:r>
            <a:endParaRPr lang="en-US" sz="1600" dirty="0"/>
          </a:p>
          <a:p>
            <a:endParaRPr lang="en-US" sz="1600" dirty="0">
              <a:sym typeface="Wingdings" panose="05000000000000000000" pitchFamily="2" charset="2"/>
            </a:endParaRPr>
          </a:p>
          <a:p>
            <a:pPr marL="0" indent="0">
              <a:buNone/>
            </a:pPr>
            <a:r>
              <a:rPr lang="en-US" sz="1600" dirty="0">
                <a:sym typeface="Wingdings" panose="05000000000000000000" pitchFamily="2" charset="2"/>
              </a:rPr>
              <a:t>Let op! </a:t>
            </a:r>
            <a:r>
              <a:rPr lang="en-US" sz="1600" dirty="0" err="1">
                <a:sym typeface="Wingdings" panose="05000000000000000000" pitchFamily="2" charset="2"/>
              </a:rPr>
              <a:t>Straks</a:t>
            </a:r>
            <a:r>
              <a:rPr lang="en-US" sz="1600" dirty="0">
                <a:sym typeface="Wingdings" panose="05000000000000000000" pitchFamily="2" charset="2"/>
              </a:rPr>
              <a:t> </a:t>
            </a:r>
            <a:r>
              <a:rPr lang="en-US" sz="1600" dirty="0" err="1">
                <a:sym typeface="Wingdings" panose="05000000000000000000" pitchFamily="2" charset="2"/>
              </a:rPr>
              <a:t>nog</a:t>
            </a:r>
            <a:r>
              <a:rPr lang="en-US" sz="1600" dirty="0">
                <a:sym typeface="Wingdings" panose="05000000000000000000" pitchFamily="2" charset="2"/>
              </a:rPr>
              <a:t> steeds </a:t>
            </a:r>
            <a:r>
              <a:rPr lang="en-US" sz="1600" dirty="0" err="1">
                <a:sym typeface="Wingdings" panose="05000000000000000000" pitchFamily="2" charset="2"/>
              </a:rPr>
              <a:t>aantonen</a:t>
            </a:r>
            <a:r>
              <a:rPr lang="en-US" sz="1600" dirty="0">
                <a:sym typeface="Wingdings" panose="05000000000000000000" pitchFamily="2" charset="2"/>
              </a:rPr>
              <a:t> 0%-</a:t>
            </a:r>
            <a:r>
              <a:rPr lang="en-US" sz="1600" dirty="0" err="1">
                <a:sym typeface="Wingdings" panose="05000000000000000000" pitchFamily="2" charset="2"/>
              </a:rPr>
              <a:t>tarief</a:t>
            </a:r>
            <a:r>
              <a:rPr lang="en-US" sz="1600" dirty="0">
                <a:sym typeface="Wingdings" panose="05000000000000000000" pitchFamily="2" charset="2"/>
              </a:rPr>
              <a:t>! </a:t>
            </a:r>
            <a:r>
              <a:rPr lang="en-US" sz="1600" dirty="0" err="1">
                <a:sym typeface="Wingdings" panose="05000000000000000000" pitchFamily="2" charset="2"/>
              </a:rPr>
              <a:t>Controleer</a:t>
            </a:r>
            <a:r>
              <a:rPr lang="en-US" sz="1600" dirty="0">
                <a:sym typeface="Wingdings" panose="05000000000000000000" pitchFamily="2" charset="2"/>
              </a:rPr>
              <a:t> </a:t>
            </a:r>
            <a:r>
              <a:rPr lang="en-US" sz="1600" dirty="0" err="1">
                <a:sym typeface="Wingdings" panose="05000000000000000000" pitchFamily="2" charset="2"/>
              </a:rPr>
              <a:t>tijdig</a:t>
            </a:r>
            <a:r>
              <a:rPr lang="en-US" sz="1600" dirty="0">
                <a:sym typeface="Wingdings" panose="05000000000000000000" pitchFamily="2" charset="2"/>
              </a:rPr>
              <a:t> </a:t>
            </a:r>
            <a:r>
              <a:rPr lang="en-US" sz="1600" dirty="0" err="1">
                <a:sym typeface="Wingdings" panose="05000000000000000000" pitchFamily="2" charset="2"/>
              </a:rPr>
              <a:t>uw</a:t>
            </a:r>
            <a:r>
              <a:rPr lang="en-US" sz="1600" dirty="0">
                <a:sym typeface="Wingdings" panose="05000000000000000000" pitchFamily="2" charset="2"/>
              </a:rPr>
              <a:t> </a:t>
            </a:r>
            <a:r>
              <a:rPr lang="en-US" sz="1600" dirty="0" err="1">
                <a:sym typeface="Wingdings" panose="05000000000000000000" pitchFamily="2" charset="2"/>
              </a:rPr>
              <a:t>bewijspositie</a:t>
            </a:r>
            <a:r>
              <a:rPr lang="en-US" sz="1600" dirty="0">
                <a:sym typeface="Wingdings" panose="05000000000000000000" pitchFamily="2" charset="2"/>
              </a:rPr>
              <a:t>. </a:t>
            </a:r>
            <a:endParaRPr lang="nl-NL" sz="1600" dirty="0"/>
          </a:p>
          <a:p>
            <a:endParaRPr lang="en-US" sz="1600" dirty="0"/>
          </a:p>
          <a:p>
            <a:pPr marL="214198" indent="-214198">
              <a:buFont typeface="Arial" panose="020B0604020202020204" pitchFamily="34" charset="0"/>
              <a:buChar char="•"/>
            </a:pPr>
            <a:r>
              <a:rPr lang="en-US" sz="1600" dirty="0"/>
              <a:t>Nu: </a:t>
            </a:r>
            <a:r>
              <a:rPr lang="en-US" sz="1600" dirty="0" err="1"/>
              <a:t>goederenlevering</a:t>
            </a:r>
            <a:r>
              <a:rPr lang="en-US" sz="1600" dirty="0"/>
              <a:t> VK-EU </a:t>
            </a:r>
            <a:r>
              <a:rPr lang="en-US" sz="1600" dirty="0">
                <a:sym typeface="Wingdings" panose="05000000000000000000" pitchFamily="2" charset="2"/>
              </a:rPr>
              <a:t> ICV</a:t>
            </a:r>
          </a:p>
          <a:p>
            <a:pPr marL="214198" indent="-214198">
              <a:buFont typeface="Arial" panose="020B0604020202020204" pitchFamily="34" charset="0"/>
              <a:buChar char="•"/>
            </a:pPr>
            <a:r>
              <a:rPr lang="en-US" sz="1600" dirty="0" err="1">
                <a:sym typeface="Wingdings" panose="05000000000000000000" pitchFamily="2" charset="2"/>
              </a:rPr>
              <a:t>Straks</a:t>
            </a:r>
            <a:r>
              <a:rPr lang="en-US" sz="1600" dirty="0">
                <a:sym typeface="Wingdings" panose="05000000000000000000" pitchFamily="2" charset="2"/>
              </a:rPr>
              <a:t>: </a:t>
            </a:r>
            <a:r>
              <a:rPr lang="en-US" sz="1600" dirty="0" err="1">
                <a:sym typeface="Wingdings" panose="05000000000000000000" pitchFamily="2" charset="2"/>
              </a:rPr>
              <a:t>goederenlevering</a:t>
            </a:r>
            <a:r>
              <a:rPr lang="en-US" sz="1600" dirty="0">
                <a:sym typeface="Wingdings" panose="05000000000000000000" pitchFamily="2" charset="2"/>
              </a:rPr>
              <a:t> VK-EU  </a:t>
            </a:r>
            <a:r>
              <a:rPr lang="en-US" sz="1600" dirty="0" err="1">
                <a:sym typeface="Wingdings" panose="05000000000000000000" pitchFamily="2" charset="2"/>
              </a:rPr>
              <a:t>invoer</a:t>
            </a:r>
            <a:r>
              <a:rPr lang="en-US" sz="1600" dirty="0">
                <a:sym typeface="Wingdings" panose="05000000000000000000" pitchFamily="2" charset="2"/>
              </a:rPr>
              <a:t>  </a:t>
            </a:r>
            <a:r>
              <a:rPr lang="en-US" sz="1600" dirty="0" err="1">
                <a:sym typeface="Wingdings" panose="05000000000000000000" pitchFamily="2" charset="2"/>
              </a:rPr>
              <a:t>invoer</a:t>
            </a:r>
            <a:r>
              <a:rPr lang="en-US" sz="1600" dirty="0">
                <a:sym typeface="Wingdings" panose="05000000000000000000" pitchFamily="2" charset="2"/>
              </a:rPr>
              <a:t> btw op moment van </a:t>
            </a:r>
            <a:r>
              <a:rPr lang="en-US" sz="1600" dirty="0" err="1">
                <a:sym typeface="Wingdings" panose="05000000000000000000" pitchFamily="2" charset="2"/>
              </a:rPr>
              <a:t>invoer</a:t>
            </a:r>
            <a:endParaRPr lang="en-US" sz="1600" dirty="0">
              <a:sym typeface="Wingdings" panose="05000000000000000000" pitchFamily="2" charset="2"/>
            </a:endParaRPr>
          </a:p>
          <a:p>
            <a:pPr marL="484198" lvl="1" indent="-214198">
              <a:buFont typeface="Arial" panose="020B0604020202020204" pitchFamily="34" charset="0"/>
              <a:buChar char="•"/>
            </a:pPr>
            <a:r>
              <a:rPr lang="en-US" dirty="0" err="1">
                <a:sym typeface="Wingdings" panose="05000000000000000000" pitchFamily="2" charset="2"/>
              </a:rPr>
              <a:t>Artikel</a:t>
            </a:r>
            <a:r>
              <a:rPr lang="en-US" dirty="0">
                <a:sym typeface="Wingdings" panose="05000000000000000000" pitchFamily="2" charset="2"/>
              </a:rPr>
              <a:t> 23 </a:t>
            </a:r>
            <a:r>
              <a:rPr lang="en-US" dirty="0" err="1">
                <a:sym typeface="Wingdings" panose="05000000000000000000" pitchFamily="2" charset="2"/>
              </a:rPr>
              <a:t>vergunning</a:t>
            </a:r>
            <a:endParaRPr lang="en-US" dirty="0">
              <a:sym typeface="Wingdings" panose="05000000000000000000" pitchFamily="2" charset="2"/>
            </a:endParaRPr>
          </a:p>
          <a:p>
            <a:pPr marL="214198" indent="-214198">
              <a:buFont typeface="Arial" panose="020B0604020202020204" pitchFamily="34" charset="0"/>
              <a:buChar char="•"/>
            </a:pPr>
            <a:endParaRPr lang="en-US" dirty="0">
              <a:sym typeface="Wingdings" panose="05000000000000000000" pitchFamily="2" charset="2"/>
            </a:endParaRPr>
          </a:p>
        </p:txBody>
      </p:sp>
      <p:sp>
        <p:nvSpPr>
          <p:cNvPr id="18" name="Tijdelijke aanduiding voor tekst 17">
            <a:extLst>
              <a:ext uri="{FF2B5EF4-FFF2-40B4-BE49-F238E27FC236}">
                <a16:creationId xmlns:a16="http://schemas.microsoft.com/office/drawing/2014/main" id="{9D75E6DA-8764-40F5-BC2A-2CEB49302534}"/>
              </a:ext>
            </a:extLst>
          </p:cNvPr>
          <p:cNvSpPr>
            <a:spLocks noGrp="1"/>
          </p:cNvSpPr>
          <p:nvPr>
            <p:ph type="body" idx="14"/>
          </p:nvPr>
        </p:nvSpPr>
        <p:spPr/>
        <p:txBody>
          <a:bodyPr>
            <a:noAutofit/>
          </a:bodyPr>
          <a:lstStyle/>
          <a:p>
            <a:r>
              <a:rPr lang="en-US" sz="1600" dirty="0" err="1"/>
              <a:t>Internationale</a:t>
            </a:r>
            <a:r>
              <a:rPr lang="en-US" sz="1600" dirty="0"/>
              <a:t> </a:t>
            </a:r>
            <a:r>
              <a:rPr lang="en-US" sz="1600" dirty="0" err="1"/>
              <a:t>goederenlevering</a:t>
            </a:r>
            <a:endParaRPr lang="nl-NL" sz="1600" dirty="0"/>
          </a:p>
        </p:txBody>
      </p:sp>
      <p:sp>
        <p:nvSpPr>
          <p:cNvPr id="16" name="Titel 15">
            <a:extLst>
              <a:ext uri="{FF2B5EF4-FFF2-40B4-BE49-F238E27FC236}">
                <a16:creationId xmlns:a16="http://schemas.microsoft.com/office/drawing/2014/main" id="{C619C9C7-3F5E-4EF0-A6BD-8D786C675E62}"/>
              </a:ext>
            </a:extLst>
          </p:cNvPr>
          <p:cNvSpPr>
            <a:spLocks noGrp="1"/>
          </p:cNvSpPr>
          <p:nvPr>
            <p:ph type="title"/>
          </p:nvPr>
        </p:nvSpPr>
        <p:spPr/>
        <p:txBody>
          <a:bodyPr/>
          <a:lstStyle/>
          <a:p>
            <a:r>
              <a:rPr lang="nl-NL" dirty="0"/>
              <a:t>BTW</a:t>
            </a:r>
          </a:p>
        </p:txBody>
      </p:sp>
      <p:pic>
        <p:nvPicPr>
          <p:cNvPr id="6" name="Picture 3">
            <a:extLst>
              <a:ext uri="{FF2B5EF4-FFF2-40B4-BE49-F238E27FC236}">
                <a16:creationId xmlns:a16="http://schemas.microsoft.com/office/drawing/2014/main" id="{9361F105-FE2C-48EB-98D2-9CFF262B8987}"/>
              </a:ext>
            </a:extLst>
          </p:cNvPr>
          <p:cNvPicPr>
            <a:picLocks noChangeAspect="1"/>
          </p:cNvPicPr>
          <p:nvPr/>
        </p:nvPicPr>
        <p:blipFill>
          <a:blip r:embed="rId3"/>
          <a:stretch>
            <a:fillRect/>
          </a:stretch>
        </p:blipFill>
        <p:spPr>
          <a:xfrm>
            <a:off x="9797216" y="1603716"/>
            <a:ext cx="1714834" cy="1295028"/>
          </a:xfrm>
          <a:prstGeom prst="rect">
            <a:avLst/>
          </a:prstGeom>
        </p:spPr>
      </p:pic>
      <p:pic>
        <p:nvPicPr>
          <p:cNvPr id="3" name="Afbeelding 2">
            <a:extLst>
              <a:ext uri="{FF2B5EF4-FFF2-40B4-BE49-F238E27FC236}">
                <a16:creationId xmlns:a16="http://schemas.microsoft.com/office/drawing/2014/main" id="{4B2C2F42-155A-4ED2-8688-B7110F9D902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46455" y="3739627"/>
            <a:ext cx="1987785" cy="833956"/>
          </a:xfrm>
          <a:prstGeom prst="rect">
            <a:avLst/>
          </a:prstGeom>
        </p:spPr>
      </p:pic>
    </p:spTree>
    <p:extLst>
      <p:ext uri="{BB962C8B-B14F-4D97-AF65-F5344CB8AC3E}">
        <p14:creationId xmlns:p14="http://schemas.microsoft.com/office/powerpoint/2010/main" val="1762311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p:cNvSpPr>
            <a:spLocks noGrp="1"/>
          </p:cNvSpPr>
          <p:nvPr>
            <p:ph type="sldNum" sz="quarter" idx="4"/>
          </p:nvPr>
        </p:nvSpPr>
        <p:spPr/>
        <p:txBody>
          <a:bodyPr/>
          <a:lstStyle/>
          <a:p>
            <a:fld id="{0059D162-729F-4880-A2FD-35DE0263B4F3}" type="slidenum">
              <a:rPr lang="nl-NL" smtClean="0"/>
              <a:pPr/>
              <a:t>32</a:t>
            </a:fld>
            <a:endParaRPr lang="nl-NL" dirty="0"/>
          </a:p>
        </p:txBody>
      </p:sp>
      <p:sp>
        <p:nvSpPr>
          <p:cNvPr id="17" name="Tijdelijke aanduiding voor verticale tekst 16">
            <a:extLst>
              <a:ext uri="{FF2B5EF4-FFF2-40B4-BE49-F238E27FC236}">
                <a16:creationId xmlns:a16="http://schemas.microsoft.com/office/drawing/2014/main" id="{3D4DB8C6-70FE-4782-99F5-18A06930CC8E}"/>
              </a:ext>
            </a:extLst>
          </p:cNvPr>
          <p:cNvSpPr>
            <a:spLocks noGrp="1"/>
          </p:cNvSpPr>
          <p:nvPr>
            <p:ph type="body" orient="vert" idx="1"/>
          </p:nvPr>
        </p:nvSpPr>
        <p:spPr/>
        <p:txBody>
          <a:bodyPr>
            <a:noAutofit/>
          </a:bodyPr>
          <a:lstStyle/>
          <a:p>
            <a:pPr marL="214198" indent="-214198">
              <a:buFont typeface="Arial" panose="020B0604020202020204" pitchFamily="34" charset="0"/>
              <a:buChar char="•"/>
            </a:pPr>
            <a:r>
              <a:rPr lang="nl-NL" sz="1600" dirty="0"/>
              <a:t>Als u goederen importeert uit een niet-EU land, moet u btw betalen bij de Douane </a:t>
            </a:r>
            <a:r>
              <a:rPr lang="nl-NL" sz="1600" dirty="0">
                <a:sym typeface="Wingdings" panose="05000000000000000000" pitchFamily="2" charset="2"/>
              </a:rPr>
              <a:t> ‘aangifte ten invoer’.</a:t>
            </a:r>
          </a:p>
          <a:p>
            <a:pPr marL="214198" indent="-214198">
              <a:buFont typeface="Arial" panose="020B0604020202020204" pitchFamily="34" charset="0"/>
              <a:buChar char="•"/>
            </a:pPr>
            <a:r>
              <a:rPr lang="nl-NL" sz="1600" dirty="0">
                <a:sym typeface="Wingdings" panose="05000000000000000000" pitchFamily="2" charset="2"/>
              </a:rPr>
              <a:t>Ook mogelijk is btw bij import aangeven in de reguliere btw-aangifte, </a:t>
            </a:r>
            <a:r>
              <a:rPr lang="nl-NL" sz="1600" u="sng" dirty="0">
                <a:sym typeface="Wingdings" panose="05000000000000000000" pitchFamily="2" charset="2"/>
              </a:rPr>
              <a:t>mits</a:t>
            </a:r>
            <a:r>
              <a:rPr lang="nl-NL" sz="1600" dirty="0">
                <a:sym typeface="Wingdings" panose="05000000000000000000" pitchFamily="2" charset="2"/>
              </a:rPr>
              <a:t> artikel 23-vergunning is verleend door de Belastingdienst.</a:t>
            </a:r>
          </a:p>
          <a:p>
            <a:pPr marL="214198" indent="-214198">
              <a:buFont typeface="Arial" panose="020B0604020202020204" pitchFamily="34" charset="0"/>
              <a:buChar char="•"/>
            </a:pPr>
            <a:r>
              <a:rPr lang="nl-NL" sz="1600" dirty="0">
                <a:sym typeface="Wingdings" panose="05000000000000000000" pitchFamily="2" charset="2"/>
              </a:rPr>
              <a:t>Voordeel: minder administratieve rompslomp (aan de grens) en cashflow (plus en min in dezelfde btw-aangifte). </a:t>
            </a:r>
          </a:p>
          <a:p>
            <a:pPr marL="214198" indent="-214198">
              <a:buFont typeface="Arial" panose="020B0604020202020204" pitchFamily="34" charset="0"/>
              <a:buChar char="•"/>
            </a:pPr>
            <a:endParaRPr lang="nl-NL" sz="1600" dirty="0">
              <a:sym typeface="Wingdings" panose="05000000000000000000" pitchFamily="2" charset="2"/>
            </a:endParaRPr>
          </a:p>
          <a:p>
            <a:r>
              <a:rPr lang="nl-NL" sz="1600" dirty="0">
                <a:sym typeface="Wingdings" panose="05000000000000000000" pitchFamily="2" charset="2"/>
              </a:rPr>
              <a:t>Voorwaarden vergunning:</a:t>
            </a:r>
          </a:p>
          <a:p>
            <a:pPr marL="214198" indent="-214198">
              <a:buFont typeface="Arial" panose="020B0604020202020204" pitchFamily="34" charset="0"/>
              <a:buChar char="•"/>
            </a:pPr>
            <a:r>
              <a:rPr lang="nl-NL" sz="1600" dirty="0">
                <a:sym typeface="Wingdings" panose="05000000000000000000" pitchFamily="2" charset="2"/>
              </a:rPr>
              <a:t>Woonachtig/gevestigd in Nederland;</a:t>
            </a:r>
          </a:p>
          <a:p>
            <a:pPr marL="214198" indent="-214198">
              <a:buFont typeface="Arial" panose="020B0604020202020204" pitchFamily="34" charset="0"/>
              <a:buChar char="•"/>
            </a:pPr>
            <a:r>
              <a:rPr lang="nl-NL" sz="1600" dirty="0">
                <a:sym typeface="Wingdings" panose="05000000000000000000" pitchFamily="2" charset="2"/>
              </a:rPr>
              <a:t>U importeert regelmatig goederen uit niet-EU-landen;</a:t>
            </a:r>
          </a:p>
          <a:p>
            <a:pPr marL="214198" indent="-214198">
              <a:buFont typeface="Arial" panose="020B0604020202020204" pitchFamily="34" charset="0"/>
              <a:buChar char="•"/>
            </a:pPr>
            <a:r>
              <a:rPr lang="nl-NL" sz="1600" dirty="0">
                <a:sym typeface="Wingdings" panose="05000000000000000000" pitchFamily="2" charset="2"/>
              </a:rPr>
              <a:t>U voert een aparte administratie waaruit eenvoudig blijkt hoeveel btw u bij import moet betalen.</a:t>
            </a:r>
          </a:p>
          <a:p>
            <a:pPr marL="214198" indent="-214198">
              <a:buFont typeface="Arial" panose="020B0604020202020204" pitchFamily="34" charset="0"/>
              <a:buChar char="•"/>
            </a:pPr>
            <a:r>
              <a:rPr lang="nl-NL" sz="1600" dirty="0">
                <a:sym typeface="Wingdings" panose="05000000000000000000" pitchFamily="2" charset="2"/>
              </a:rPr>
              <a:t>Ook als fiscaal vertegenwoordiger met beperkte vergunning mogelijk voor diens klanten.</a:t>
            </a:r>
            <a:endParaRPr lang="nl-NL" sz="1600" dirty="0"/>
          </a:p>
        </p:txBody>
      </p:sp>
      <p:sp>
        <p:nvSpPr>
          <p:cNvPr id="18" name="Tijdelijke aanduiding voor tekst 17">
            <a:extLst>
              <a:ext uri="{FF2B5EF4-FFF2-40B4-BE49-F238E27FC236}">
                <a16:creationId xmlns:a16="http://schemas.microsoft.com/office/drawing/2014/main" id="{9D75E6DA-8764-40F5-BC2A-2CEB49302534}"/>
              </a:ext>
            </a:extLst>
          </p:cNvPr>
          <p:cNvSpPr>
            <a:spLocks noGrp="1"/>
          </p:cNvSpPr>
          <p:nvPr>
            <p:ph type="body" idx="14"/>
          </p:nvPr>
        </p:nvSpPr>
        <p:spPr/>
        <p:txBody>
          <a:bodyPr>
            <a:noAutofit/>
          </a:bodyPr>
          <a:lstStyle/>
          <a:p>
            <a:r>
              <a:rPr lang="en-US" sz="1600" dirty="0" err="1"/>
              <a:t>Artikel</a:t>
            </a:r>
            <a:r>
              <a:rPr lang="en-US" sz="1600" dirty="0"/>
              <a:t> 23-vergunning</a:t>
            </a:r>
            <a:endParaRPr lang="nl-NL" sz="1600" dirty="0"/>
          </a:p>
        </p:txBody>
      </p:sp>
      <p:sp>
        <p:nvSpPr>
          <p:cNvPr id="16" name="Titel 15">
            <a:extLst>
              <a:ext uri="{FF2B5EF4-FFF2-40B4-BE49-F238E27FC236}">
                <a16:creationId xmlns:a16="http://schemas.microsoft.com/office/drawing/2014/main" id="{C619C9C7-3F5E-4EF0-A6BD-8D786C675E62}"/>
              </a:ext>
            </a:extLst>
          </p:cNvPr>
          <p:cNvSpPr>
            <a:spLocks noGrp="1"/>
          </p:cNvSpPr>
          <p:nvPr>
            <p:ph type="title"/>
          </p:nvPr>
        </p:nvSpPr>
        <p:spPr/>
        <p:txBody>
          <a:bodyPr/>
          <a:lstStyle/>
          <a:p>
            <a:r>
              <a:rPr lang="nl-NL" dirty="0"/>
              <a:t>BTW</a:t>
            </a:r>
          </a:p>
        </p:txBody>
      </p:sp>
      <p:pic>
        <p:nvPicPr>
          <p:cNvPr id="3" name="Afbeelding 2">
            <a:extLst>
              <a:ext uri="{FF2B5EF4-FFF2-40B4-BE49-F238E27FC236}">
                <a16:creationId xmlns:a16="http://schemas.microsoft.com/office/drawing/2014/main" id="{A1A93934-8B42-44EC-B348-A5ACD3822CF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28181" y="3321044"/>
            <a:ext cx="1349447" cy="674724"/>
          </a:xfrm>
          <a:prstGeom prst="rect">
            <a:avLst/>
          </a:prstGeom>
        </p:spPr>
      </p:pic>
    </p:spTree>
    <p:extLst>
      <p:ext uri="{BB962C8B-B14F-4D97-AF65-F5344CB8AC3E}">
        <p14:creationId xmlns:p14="http://schemas.microsoft.com/office/powerpoint/2010/main" val="2924352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dianummer 5"/>
          <p:cNvSpPr>
            <a:spLocks noGrp="1"/>
          </p:cNvSpPr>
          <p:nvPr>
            <p:ph type="sldNum" sz="quarter" idx="4"/>
          </p:nvPr>
        </p:nvSpPr>
        <p:spPr/>
        <p:txBody>
          <a:bodyPr/>
          <a:lstStyle/>
          <a:p>
            <a:fld id="{0059D162-729F-4880-A2FD-35DE0263B4F3}" type="slidenum">
              <a:rPr lang="nl-NL" smtClean="0"/>
              <a:pPr/>
              <a:t>33</a:t>
            </a:fld>
            <a:endParaRPr lang="nl-NL" dirty="0"/>
          </a:p>
        </p:txBody>
      </p:sp>
      <p:sp>
        <p:nvSpPr>
          <p:cNvPr id="2" name="Tijdelijke aanduiding voor verticale tekst 1"/>
          <p:cNvSpPr>
            <a:spLocks noGrp="1"/>
          </p:cNvSpPr>
          <p:nvPr>
            <p:ph type="body" orient="vert" idx="1"/>
          </p:nvPr>
        </p:nvSpPr>
        <p:spPr/>
        <p:txBody>
          <a:bodyPr>
            <a:normAutofit/>
          </a:bodyPr>
          <a:lstStyle/>
          <a:p>
            <a:pPr marL="257038" indent="-257038">
              <a:buAutoNum type="arabicPeriod"/>
            </a:pPr>
            <a:r>
              <a:rPr lang="nl-NL" sz="1600" dirty="0"/>
              <a:t>Distributie overeenkomsten beoordelen</a:t>
            </a:r>
          </a:p>
          <a:p>
            <a:pPr marL="257038" indent="-257038">
              <a:buAutoNum type="arabicPeriod"/>
            </a:pPr>
            <a:r>
              <a:rPr lang="nl-NL" sz="1600" dirty="0"/>
              <a:t>Contracten met VK partijen beoordelen </a:t>
            </a:r>
          </a:p>
          <a:p>
            <a:pPr marL="257038" indent="-257038">
              <a:buAutoNum type="arabicPeriod"/>
            </a:pPr>
            <a:r>
              <a:rPr lang="nl-NL" sz="1600" dirty="0" err="1"/>
              <a:t>Incoterms</a:t>
            </a:r>
            <a:endParaRPr lang="nl-NL" sz="1600" dirty="0"/>
          </a:p>
        </p:txBody>
      </p:sp>
      <p:sp>
        <p:nvSpPr>
          <p:cNvPr id="3" name="Tijdelijke aanduiding voor tekst 2"/>
          <p:cNvSpPr>
            <a:spLocks noGrp="1"/>
          </p:cNvSpPr>
          <p:nvPr>
            <p:ph type="body" idx="14"/>
          </p:nvPr>
        </p:nvSpPr>
        <p:spPr/>
        <p:txBody>
          <a:bodyPr/>
          <a:lstStyle/>
          <a:p>
            <a:endParaRPr lang="nl-NL"/>
          </a:p>
        </p:txBody>
      </p:sp>
      <p:sp>
        <p:nvSpPr>
          <p:cNvPr id="4" name="Titel 3"/>
          <p:cNvSpPr>
            <a:spLocks noGrp="1"/>
          </p:cNvSpPr>
          <p:nvPr>
            <p:ph type="title"/>
          </p:nvPr>
        </p:nvSpPr>
        <p:spPr/>
        <p:txBody>
          <a:bodyPr/>
          <a:lstStyle/>
          <a:p>
            <a:r>
              <a:rPr lang="nl-NL" dirty="0"/>
              <a:t>Praktisch</a:t>
            </a:r>
          </a:p>
        </p:txBody>
      </p:sp>
      <p:pic>
        <p:nvPicPr>
          <p:cNvPr id="5" name="Afbeelding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85292" y="2797108"/>
            <a:ext cx="2417309" cy="1873385"/>
          </a:xfrm>
          <a:prstGeom prst="rect">
            <a:avLst/>
          </a:prstGeom>
        </p:spPr>
      </p:pic>
    </p:spTree>
    <p:extLst>
      <p:ext uri="{BB962C8B-B14F-4D97-AF65-F5344CB8AC3E}">
        <p14:creationId xmlns:p14="http://schemas.microsoft.com/office/powerpoint/2010/main" val="1594189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5E20E74D-2EF2-4F46-B706-06598AD8F594}"/>
              </a:ext>
            </a:extLst>
          </p:cNvPr>
          <p:cNvSpPr>
            <a:spLocks noGrp="1"/>
          </p:cNvSpPr>
          <p:nvPr>
            <p:ph type="body" orient="vert" idx="1"/>
          </p:nvPr>
        </p:nvSpPr>
        <p:spPr/>
        <p:txBody>
          <a:bodyPr/>
          <a:lstStyle/>
          <a:p>
            <a:pPr marL="285750" indent="-285750">
              <a:lnSpc>
                <a:spcPct val="150000"/>
              </a:lnSpc>
              <a:buFont typeface="Arial" panose="020B0604020202020204" pitchFamily="34" charset="0"/>
              <a:buChar char="•"/>
            </a:pPr>
            <a:r>
              <a:rPr lang="nl-NL" dirty="0"/>
              <a:t>Overbrenging eigen goederen</a:t>
            </a:r>
          </a:p>
          <a:p>
            <a:pPr marL="285750" indent="-285750">
              <a:lnSpc>
                <a:spcPct val="150000"/>
              </a:lnSpc>
              <a:buFont typeface="Arial" panose="020B0604020202020204" pitchFamily="34" charset="0"/>
              <a:buChar char="•"/>
            </a:pPr>
            <a:r>
              <a:rPr lang="nl-NL" dirty="0"/>
              <a:t>ABC-levering</a:t>
            </a:r>
          </a:p>
          <a:p>
            <a:pPr marL="285750" indent="-285750">
              <a:lnSpc>
                <a:spcPct val="150000"/>
              </a:lnSpc>
              <a:buFont typeface="Arial" panose="020B0604020202020204" pitchFamily="34" charset="0"/>
              <a:buChar char="•"/>
            </a:pPr>
            <a:r>
              <a:rPr lang="nl-NL" dirty="0"/>
              <a:t>Elektronische diensten</a:t>
            </a:r>
          </a:p>
          <a:p>
            <a:pPr marL="555750" lvl="1" indent="-285750">
              <a:lnSpc>
                <a:spcPct val="150000"/>
              </a:lnSpc>
              <a:buFont typeface="Arial" panose="020B0604020202020204" pitchFamily="34" charset="0"/>
              <a:buChar char="•"/>
            </a:pPr>
            <a:r>
              <a:rPr lang="nl-NL" dirty="0">
                <a:sym typeface="Wingdings" panose="05000000000000000000" pitchFamily="2" charset="2"/>
              </a:rPr>
              <a:t>MOSS</a:t>
            </a:r>
          </a:p>
          <a:p>
            <a:pPr marL="285750" indent="-285750">
              <a:lnSpc>
                <a:spcPct val="150000"/>
              </a:lnSpc>
              <a:buFont typeface="Arial" panose="020B0604020202020204" pitchFamily="34" charset="0"/>
              <a:buChar char="•"/>
            </a:pPr>
            <a:r>
              <a:rPr lang="nl-NL" dirty="0">
                <a:sym typeface="Wingdings" panose="05000000000000000000" pitchFamily="2" charset="2"/>
              </a:rPr>
              <a:t>Reisbureauregeling</a:t>
            </a:r>
          </a:p>
          <a:p>
            <a:pPr marL="285750" indent="-285750">
              <a:lnSpc>
                <a:spcPct val="150000"/>
              </a:lnSpc>
              <a:buFont typeface="Arial" panose="020B0604020202020204" pitchFamily="34" charset="0"/>
              <a:buChar char="•"/>
            </a:pPr>
            <a:r>
              <a:rPr lang="nl-NL" dirty="0">
                <a:sym typeface="Wingdings" panose="05000000000000000000" pitchFamily="2" charset="2"/>
              </a:rPr>
              <a:t>Financiële diensten</a:t>
            </a:r>
          </a:p>
          <a:p>
            <a:pPr marL="285750" indent="-285750">
              <a:lnSpc>
                <a:spcPct val="150000"/>
              </a:lnSpc>
              <a:buFont typeface="Arial" panose="020B0604020202020204" pitchFamily="34" charset="0"/>
              <a:buChar char="•"/>
            </a:pPr>
            <a:r>
              <a:rPr lang="nl-NL" dirty="0">
                <a:sym typeface="Wingdings" panose="05000000000000000000" pitchFamily="2" charset="2"/>
              </a:rPr>
              <a:t>Factuureisen </a:t>
            </a:r>
          </a:p>
          <a:p>
            <a:pPr>
              <a:lnSpc>
                <a:spcPct val="150000"/>
              </a:lnSpc>
            </a:pPr>
            <a:endParaRPr lang="nl-NL" dirty="0">
              <a:sym typeface="Wingdings" panose="05000000000000000000" pitchFamily="2" charset="2"/>
            </a:endParaRPr>
          </a:p>
        </p:txBody>
      </p:sp>
      <p:sp>
        <p:nvSpPr>
          <p:cNvPr id="3" name="Tijdelijke aanduiding voor tekst 2">
            <a:extLst>
              <a:ext uri="{FF2B5EF4-FFF2-40B4-BE49-F238E27FC236}">
                <a16:creationId xmlns:a16="http://schemas.microsoft.com/office/drawing/2014/main" id="{741C96A5-7819-417F-B57D-055291F1880E}"/>
              </a:ext>
            </a:extLst>
          </p:cNvPr>
          <p:cNvSpPr>
            <a:spLocks noGrp="1"/>
          </p:cNvSpPr>
          <p:nvPr>
            <p:ph type="body" idx="14"/>
          </p:nvPr>
        </p:nvSpPr>
        <p:spPr/>
        <p:txBody>
          <a:bodyPr/>
          <a:lstStyle/>
          <a:p>
            <a:endParaRPr lang="nl-NL" dirty="0"/>
          </a:p>
        </p:txBody>
      </p:sp>
      <p:sp>
        <p:nvSpPr>
          <p:cNvPr id="4" name="Titel 3">
            <a:extLst>
              <a:ext uri="{FF2B5EF4-FFF2-40B4-BE49-F238E27FC236}">
                <a16:creationId xmlns:a16="http://schemas.microsoft.com/office/drawing/2014/main" id="{9278AE2A-841E-4218-818B-17BB25DAC476}"/>
              </a:ext>
            </a:extLst>
          </p:cNvPr>
          <p:cNvSpPr>
            <a:spLocks noGrp="1"/>
          </p:cNvSpPr>
          <p:nvPr>
            <p:ph type="title"/>
          </p:nvPr>
        </p:nvSpPr>
        <p:spPr/>
        <p:txBody>
          <a:bodyPr/>
          <a:lstStyle/>
          <a:p>
            <a:r>
              <a:rPr lang="nl-NL" dirty="0" err="1"/>
              <a:t>Overigen</a:t>
            </a:r>
            <a:endParaRPr lang="nl-NL" dirty="0"/>
          </a:p>
        </p:txBody>
      </p:sp>
    </p:spTree>
    <p:extLst>
      <p:ext uri="{BB962C8B-B14F-4D97-AF65-F5344CB8AC3E}">
        <p14:creationId xmlns:p14="http://schemas.microsoft.com/office/powerpoint/2010/main" val="1770436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p:cNvSpPr>
            <a:spLocks noGrp="1"/>
          </p:cNvSpPr>
          <p:nvPr>
            <p:ph type="sldNum" sz="quarter" idx="4"/>
          </p:nvPr>
        </p:nvSpPr>
        <p:spPr/>
        <p:txBody>
          <a:bodyPr/>
          <a:lstStyle/>
          <a:p>
            <a:fld id="{0059D162-729F-4880-A2FD-35DE0263B4F3}" type="slidenum">
              <a:rPr lang="nl-NL" smtClean="0"/>
              <a:pPr/>
              <a:t>35</a:t>
            </a:fld>
            <a:endParaRPr lang="nl-NL" dirty="0"/>
          </a:p>
        </p:txBody>
      </p:sp>
      <p:pic>
        <p:nvPicPr>
          <p:cNvPr id="13" name="Tijdelijke aanduiding voor afbeelding 12" descr="Afbeelding met auto&#10;&#10;Automatisch gegenereerde beschrijving">
            <a:extLst>
              <a:ext uri="{FF2B5EF4-FFF2-40B4-BE49-F238E27FC236}">
                <a16:creationId xmlns:a16="http://schemas.microsoft.com/office/drawing/2014/main" id="{DA28D523-89E2-44C7-8234-70D890BDEAEF}"/>
              </a:ext>
            </a:extLst>
          </p:cNvPr>
          <p:cNvPicPr>
            <a:picLocks noGrp="1" noChangeAspect="1"/>
          </p:cNvPicPr>
          <p:nvPr>
            <p:ph type="pic" idx="13"/>
          </p:nvPr>
        </p:nvPicPr>
        <p:blipFill>
          <a:blip r:embed="rId3">
            <a:extLst>
              <a:ext uri="{28A0092B-C50C-407E-A947-70E740481C1C}">
                <a14:useLocalDpi xmlns:a14="http://schemas.microsoft.com/office/drawing/2010/main" val="0"/>
              </a:ext>
            </a:extLst>
          </a:blip>
          <a:srcRect t="14121" b="14121"/>
          <a:stretch>
            <a:fillRect/>
          </a:stretch>
        </p:blipFill>
        <p:spPr/>
      </p:pic>
      <p:sp>
        <p:nvSpPr>
          <p:cNvPr id="2" name="Tijdelijke aanduiding voor verticale tekst 1">
            <a:extLst>
              <a:ext uri="{FF2B5EF4-FFF2-40B4-BE49-F238E27FC236}">
                <a16:creationId xmlns:a16="http://schemas.microsoft.com/office/drawing/2014/main" id="{228ECD29-C15C-4B6E-A370-B927F9DDF2A4}"/>
              </a:ext>
            </a:extLst>
          </p:cNvPr>
          <p:cNvSpPr>
            <a:spLocks noGrp="1"/>
          </p:cNvSpPr>
          <p:nvPr>
            <p:ph type="body" idx="14"/>
          </p:nvPr>
        </p:nvSpPr>
        <p:spPr/>
        <p:txBody>
          <a:bodyPr/>
          <a:lstStyle/>
          <a:p>
            <a:endParaRPr lang="en-US" sz="5397" dirty="0"/>
          </a:p>
          <a:p>
            <a:r>
              <a:rPr lang="en-US" sz="5397" dirty="0"/>
              <a:t>     </a:t>
            </a:r>
            <a:endParaRPr lang="nl-NL" sz="5397" b="1" dirty="0"/>
          </a:p>
        </p:txBody>
      </p:sp>
      <p:sp>
        <p:nvSpPr>
          <p:cNvPr id="4" name="Titel 3">
            <a:extLst>
              <a:ext uri="{FF2B5EF4-FFF2-40B4-BE49-F238E27FC236}">
                <a16:creationId xmlns:a16="http://schemas.microsoft.com/office/drawing/2014/main" id="{E59D1ECA-6D94-411C-BF9B-ED3E762362D3}"/>
              </a:ext>
            </a:extLst>
          </p:cNvPr>
          <p:cNvSpPr>
            <a:spLocks noGrp="1"/>
          </p:cNvSpPr>
          <p:nvPr>
            <p:ph type="title"/>
          </p:nvPr>
        </p:nvSpPr>
        <p:spPr/>
        <p:txBody>
          <a:bodyPr/>
          <a:lstStyle/>
          <a:p>
            <a:r>
              <a:rPr lang="nl-NL" dirty="0"/>
              <a:t>Douane</a:t>
            </a:r>
          </a:p>
        </p:txBody>
      </p:sp>
    </p:spTree>
    <p:extLst>
      <p:ext uri="{BB962C8B-B14F-4D97-AF65-F5344CB8AC3E}">
        <p14:creationId xmlns:p14="http://schemas.microsoft.com/office/powerpoint/2010/main" val="578785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Tekst"/>
          <p:cNvSpPr>
            <a:spLocks noGrp="1"/>
          </p:cNvSpPr>
          <p:nvPr>
            <p:ph type="body" orient="vert" idx="1"/>
          </p:nvPr>
        </p:nvSpPr>
        <p:spPr/>
        <p:txBody>
          <a:bodyPr/>
          <a:lstStyle/>
          <a:p>
            <a:endParaRPr lang="nl-NL"/>
          </a:p>
        </p:txBody>
      </p:sp>
      <p:sp>
        <p:nvSpPr>
          <p:cNvPr id="7" name="Tijdelijke aanduiding voor Subtitel"/>
          <p:cNvSpPr>
            <a:spLocks noGrp="1"/>
          </p:cNvSpPr>
          <p:nvPr>
            <p:ph type="body" idx="14"/>
          </p:nvPr>
        </p:nvSpPr>
        <p:spPr/>
        <p:txBody>
          <a:bodyPr/>
          <a:lstStyle/>
          <a:p>
            <a:endParaRPr lang="nl-NL"/>
          </a:p>
        </p:txBody>
      </p:sp>
      <p:sp>
        <p:nvSpPr>
          <p:cNvPr id="4" name="Tijdelijke aanduiding voor Titel"/>
          <p:cNvSpPr>
            <a:spLocks noGrp="1"/>
          </p:cNvSpPr>
          <p:nvPr>
            <p:ph type="title"/>
          </p:nvPr>
        </p:nvSpPr>
        <p:spPr/>
        <p:txBody>
          <a:bodyPr/>
          <a:lstStyle/>
          <a:p>
            <a:r>
              <a:rPr lang="nl-NL" dirty="0"/>
              <a:t>Wat moet u uiteindelijk op orde hebben?</a:t>
            </a:r>
          </a:p>
        </p:txBody>
      </p:sp>
      <p:sp>
        <p:nvSpPr>
          <p:cNvPr id="52" name="Radar - 1"/>
          <p:cNvSpPr>
            <a:spLocks noEditPoints="1"/>
          </p:cNvSpPr>
          <p:nvPr/>
        </p:nvSpPr>
        <p:spPr bwMode="auto">
          <a:xfrm>
            <a:off x="874083" y="2040392"/>
            <a:ext cx="1724318" cy="1724318"/>
          </a:xfrm>
          <a:custGeom>
            <a:avLst/>
            <a:gdLst>
              <a:gd name="T0" fmla="*/ 149 w 1132"/>
              <a:gd name="T1" fmla="*/ 552 h 1132"/>
              <a:gd name="T2" fmla="*/ 627 w 1132"/>
              <a:gd name="T3" fmla="*/ 978 h 1132"/>
              <a:gd name="T4" fmla="*/ 962 w 1132"/>
              <a:gd name="T5" fmla="*/ 433 h 1132"/>
              <a:gd name="T6" fmla="*/ 582 w 1132"/>
              <a:gd name="T7" fmla="*/ 5 h 1132"/>
              <a:gd name="T8" fmla="*/ 648 w 1132"/>
              <a:gd name="T9" fmla="*/ 16 h 1132"/>
              <a:gd name="T10" fmla="*/ 678 w 1132"/>
              <a:gd name="T11" fmla="*/ 86 h 1132"/>
              <a:gd name="T12" fmla="*/ 769 w 1132"/>
              <a:gd name="T13" fmla="*/ 39 h 1132"/>
              <a:gd name="T14" fmla="*/ 820 w 1132"/>
              <a:gd name="T15" fmla="*/ 88 h 1132"/>
              <a:gd name="T16" fmla="*/ 855 w 1132"/>
              <a:gd name="T17" fmla="*/ 109 h 1132"/>
              <a:gd name="T18" fmla="*/ 918 w 1132"/>
              <a:gd name="T19" fmla="*/ 130 h 1132"/>
              <a:gd name="T20" fmla="*/ 901 w 1132"/>
              <a:gd name="T21" fmla="*/ 207 h 1132"/>
              <a:gd name="T22" fmla="*/ 1004 w 1132"/>
              <a:gd name="T23" fmla="*/ 209 h 1132"/>
              <a:gd name="T24" fmla="*/ 1013 w 1132"/>
              <a:gd name="T25" fmla="*/ 286 h 1132"/>
              <a:gd name="T26" fmla="*/ 1055 w 1132"/>
              <a:gd name="T27" fmla="*/ 307 h 1132"/>
              <a:gd name="T28" fmla="*/ 1083 w 1132"/>
              <a:gd name="T29" fmla="*/ 361 h 1132"/>
              <a:gd name="T30" fmla="*/ 1053 w 1132"/>
              <a:gd name="T31" fmla="*/ 414 h 1132"/>
              <a:gd name="T32" fmla="*/ 1122 w 1132"/>
              <a:gd name="T33" fmla="*/ 477 h 1132"/>
              <a:gd name="T34" fmla="*/ 1115 w 1132"/>
              <a:gd name="T35" fmla="*/ 549 h 1132"/>
              <a:gd name="T36" fmla="*/ 1081 w 1132"/>
              <a:gd name="T37" fmla="*/ 591 h 1132"/>
              <a:gd name="T38" fmla="*/ 1120 w 1132"/>
              <a:gd name="T39" fmla="*/ 673 h 1132"/>
              <a:gd name="T40" fmla="*/ 1081 w 1132"/>
              <a:gd name="T41" fmla="*/ 733 h 1132"/>
              <a:gd name="T42" fmla="*/ 1074 w 1132"/>
              <a:gd name="T43" fmla="*/ 773 h 1132"/>
              <a:gd name="T44" fmla="*/ 1057 w 1132"/>
              <a:gd name="T45" fmla="*/ 836 h 1132"/>
              <a:gd name="T46" fmla="*/ 978 w 1132"/>
              <a:gd name="T47" fmla="*/ 833 h 1132"/>
              <a:gd name="T48" fmla="*/ 992 w 1132"/>
              <a:gd name="T49" fmla="*/ 936 h 1132"/>
              <a:gd name="T50" fmla="*/ 920 w 1132"/>
              <a:gd name="T51" fmla="*/ 957 h 1132"/>
              <a:gd name="T52" fmla="*/ 901 w 1132"/>
              <a:gd name="T53" fmla="*/ 999 h 1132"/>
              <a:gd name="T54" fmla="*/ 857 w 1132"/>
              <a:gd name="T55" fmla="*/ 1038 h 1132"/>
              <a:gd name="T56" fmla="*/ 808 w 1132"/>
              <a:gd name="T57" fmla="*/ 1034 h 1132"/>
              <a:gd name="T58" fmla="*/ 757 w 1132"/>
              <a:gd name="T59" fmla="*/ 1097 h 1132"/>
              <a:gd name="T60" fmla="*/ 675 w 1132"/>
              <a:gd name="T61" fmla="*/ 1069 h 1132"/>
              <a:gd name="T62" fmla="*/ 641 w 1132"/>
              <a:gd name="T63" fmla="*/ 1108 h 1132"/>
              <a:gd name="T64" fmla="*/ 571 w 1132"/>
              <a:gd name="T65" fmla="*/ 1129 h 1132"/>
              <a:gd name="T66" fmla="*/ 496 w 1132"/>
              <a:gd name="T67" fmla="*/ 1076 h 1132"/>
              <a:gd name="T68" fmla="*/ 450 w 1132"/>
              <a:gd name="T69" fmla="*/ 1101 h 1132"/>
              <a:gd name="T70" fmla="*/ 384 w 1132"/>
              <a:gd name="T71" fmla="*/ 1097 h 1132"/>
              <a:gd name="T72" fmla="*/ 340 w 1132"/>
              <a:gd name="T73" fmla="*/ 1001 h 1132"/>
              <a:gd name="T74" fmla="*/ 273 w 1132"/>
              <a:gd name="T75" fmla="*/ 1043 h 1132"/>
              <a:gd name="T76" fmla="*/ 233 w 1132"/>
              <a:gd name="T77" fmla="*/ 992 h 1132"/>
              <a:gd name="T78" fmla="*/ 201 w 1132"/>
              <a:gd name="T79" fmla="*/ 964 h 1132"/>
              <a:gd name="T80" fmla="*/ 145 w 1132"/>
              <a:gd name="T81" fmla="*/ 934 h 1132"/>
              <a:gd name="T82" fmla="*/ 173 w 1132"/>
              <a:gd name="T83" fmla="*/ 859 h 1132"/>
              <a:gd name="T84" fmla="*/ 73 w 1132"/>
              <a:gd name="T85" fmla="*/ 838 h 1132"/>
              <a:gd name="T86" fmla="*/ 89 w 1132"/>
              <a:gd name="T87" fmla="*/ 761 h 1132"/>
              <a:gd name="T88" fmla="*/ 40 w 1132"/>
              <a:gd name="T89" fmla="*/ 736 h 1132"/>
              <a:gd name="T90" fmla="*/ 21 w 1132"/>
              <a:gd name="T91" fmla="*/ 677 h 1132"/>
              <a:gd name="T92" fmla="*/ 80 w 1132"/>
              <a:gd name="T93" fmla="*/ 624 h 1132"/>
              <a:gd name="T94" fmla="*/ 5 w 1132"/>
              <a:gd name="T95" fmla="*/ 549 h 1132"/>
              <a:gd name="T96" fmla="*/ 17 w 1132"/>
              <a:gd name="T97" fmla="*/ 484 h 1132"/>
              <a:gd name="T98" fmla="*/ 89 w 1132"/>
              <a:gd name="T99" fmla="*/ 454 h 1132"/>
              <a:gd name="T100" fmla="*/ 35 w 1132"/>
              <a:gd name="T101" fmla="*/ 370 h 1132"/>
              <a:gd name="T102" fmla="*/ 100 w 1132"/>
              <a:gd name="T103" fmla="*/ 319 h 1132"/>
              <a:gd name="T104" fmla="*/ 96 w 1132"/>
              <a:gd name="T105" fmla="*/ 270 h 1132"/>
              <a:gd name="T106" fmla="*/ 135 w 1132"/>
              <a:gd name="T107" fmla="*/ 226 h 1132"/>
              <a:gd name="T108" fmla="*/ 177 w 1132"/>
              <a:gd name="T109" fmla="*/ 209 h 1132"/>
              <a:gd name="T110" fmla="*/ 201 w 1132"/>
              <a:gd name="T111" fmla="*/ 137 h 1132"/>
              <a:gd name="T112" fmla="*/ 301 w 1132"/>
              <a:gd name="T113" fmla="*/ 151 h 1132"/>
              <a:gd name="T114" fmla="*/ 298 w 1132"/>
              <a:gd name="T115" fmla="*/ 72 h 1132"/>
              <a:gd name="T116" fmla="*/ 366 w 1132"/>
              <a:gd name="T117" fmla="*/ 67 h 1132"/>
              <a:gd name="T118" fmla="*/ 398 w 1132"/>
              <a:gd name="T119" fmla="*/ 42 h 1132"/>
              <a:gd name="T120" fmla="*/ 459 w 1132"/>
              <a:gd name="T121" fmla="*/ 16 h 1132"/>
              <a:gd name="T122" fmla="*/ 543 w 1132"/>
              <a:gd name="T123" fmla="*/ 74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2" h="1132">
                <a:moveTo>
                  <a:pt x="580" y="149"/>
                </a:moveTo>
                <a:lnTo>
                  <a:pt x="506" y="151"/>
                </a:lnTo>
                <a:lnTo>
                  <a:pt x="433" y="170"/>
                </a:lnTo>
                <a:lnTo>
                  <a:pt x="368" y="198"/>
                </a:lnTo>
                <a:lnTo>
                  <a:pt x="308" y="237"/>
                </a:lnTo>
                <a:lnTo>
                  <a:pt x="256" y="286"/>
                </a:lnTo>
                <a:lnTo>
                  <a:pt x="212" y="342"/>
                </a:lnTo>
                <a:lnTo>
                  <a:pt x="180" y="407"/>
                </a:lnTo>
                <a:lnTo>
                  <a:pt x="159" y="477"/>
                </a:lnTo>
                <a:lnTo>
                  <a:pt x="149" y="552"/>
                </a:lnTo>
                <a:lnTo>
                  <a:pt x="152" y="626"/>
                </a:lnTo>
                <a:lnTo>
                  <a:pt x="170" y="698"/>
                </a:lnTo>
                <a:lnTo>
                  <a:pt x="198" y="764"/>
                </a:lnTo>
                <a:lnTo>
                  <a:pt x="238" y="824"/>
                </a:lnTo>
                <a:lnTo>
                  <a:pt x="287" y="875"/>
                </a:lnTo>
                <a:lnTo>
                  <a:pt x="343" y="920"/>
                </a:lnTo>
                <a:lnTo>
                  <a:pt x="408" y="952"/>
                </a:lnTo>
                <a:lnTo>
                  <a:pt x="478" y="973"/>
                </a:lnTo>
                <a:lnTo>
                  <a:pt x="552" y="982"/>
                </a:lnTo>
                <a:lnTo>
                  <a:pt x="627" y="978"/>
                </a:lnTo>
                <a:lnTo>
                  <a:pt x="699" y="962"/>
                </a:lnTo>
                <a:lnTo>
                  <a:pt x="764" y="934"/>
                </a:lnTo>
                <a:lnTo>
                  <a:pt x="824" y="894"/>
                </a:lnTo>
                <a:lnTo>
                  <a:pt x="876" y="845"/>
                </a:lnTo>
                <a:lnTo>
                  <a:pt x="920" y="789"/>
                </a:lnTo>
                <a:lnTo>
                  <a:pt x="952" y="724"/>
                </a:lnTo>
                <a:lnTo>
                  <a:pt x="973" y="654"/>
                </a:lnTo>
                <a:lnTo>
                  <a:pt x="983" y="580"/>
                </a:lnTo>
                <a:lnTo>
                  <a:pt x="980" y="505"/>
                </a:lnTo>
                <a:lnTo>
                  <a:pt x="962" y="433"/>
                </a:lnTo>
                <a:lnTo>
                  <a:pt x="934" y="368"/>
                </a:lnTo>
                <a:lnTo>
                  <a:pt x="894" y="307"/>
                </a:lnTo>
                <a:lnTo>
                  <a:pt x="845" y="256"/>
                </a:lnTo>
                <a:lnTo>
                  <a:pt x="790" y="212"/>
                </a:lnTo>
                <a:lnTo>
                  <a:pt x="724" y="179"/>
                </a:lnTo>
                <a:lnTo>
                  <a:pt x="654" y="156"/>
                </a:lnTo>
                <a:lnTo>
                  <a:pt x="580" y="149"/>
                </a:lnTo>
                <a:close/>
                <a:moveTo>
                  <a:pt x="568" y="0"/>
                </a:moveTo>
                <a:lnTo>
                  <a:pt x="575" y="2"/>
                </a:lnTo>
                <a:lnTo>
                  <a:pt x="582" y="5"/>
                </a:lnTo>
                <a:lnTo>
                  <a:pt x="587" y="12"/>
                </a:lnTo>
                <a:lnTo>
                  <a:pt x="587" y="19"/>
                </a:lnTo>
                <a:lnTo>
                  <a:pt x="589" y="30"/>
                </a:lnTo>
                <a:lnTo>
                  <a:pt x="592" y="51"/>
                </a:lnTo>
                <a:lnTo>
                  <a:pt x="594" y="74"/>
                </a:lnTo>
                <a:lnTo>
                  <a:pt x="629" y="79"/>
                </a:lnTo>
                <a:lnTo>
                  <a:pt x="636" y="53"/>
                </a:lnTo>
                <a:lnTo>
                  <a:pt x="641" y="35"/>
                </a:lnTo>
                <a:lnTo>
                  <a:pt x="645" y="23"/>
                </a:lnTo>
                <a:lnTo>
                  <a:pt x="648" y="16"/>
                </a:lnTo>
                <a:lnTo>
                  <a:pt x="652" y="12"/>
                </a:lnTo>
                <a:lnTo>
                  <a:pt x="659" y="9"/>
                </a:lnTo>
                <a:lnTo>
                  <a:pt x="666" y="9"/>
                </a:lnTo>
                <a:lnTo>
                  <a:pt x="673" y="12"/>
                </a:lnTo>
                <a:lnTo>
                  <a:pt x="678" y="16"/>
                </a:lnTo>
                <a:lnTo>
                  <a:pt x="682" y="23"/>
                </a:lnTo>
                <a:lnTo>
                  <a:pt x="682" y="30"/>
                </a:lnTo>
                <a:lnTo>
                  <a:pt x="682" y="42"/>
                </a:lnTo>
                <a:lnTo>
                  <a:pt x="680" y="63"/>
                </a:lnTo>
                <a:lnTo>
                  <a:pt x="678" y="86"/>
                </a:lnTo>
                <a:lnTo>
                  <a:pt x="713" y="95"/>
                </a:lnTo>
                <a:lnTo>
                  <a:pt x="720" y="79"/>
                </a:lnTo>
                <a:lnTo>
                  <a:pt x="729" y="63"/>
                </a:lnTo>
                <a:lnTo>
                  <a:pt x="734" y="51"/>
                </a:lnTo>
                <a:lnTo>
                  <a:pt x="738" y="44"/>
                </a:lnTo>
                <a:lnTo>
                  <a:pt x="743" y="39"/>
                </a:lnTo>
                <a:lnTo>
                  <a:pt x="748" y="35"/>
                </a:lnTo>
                <a:lnTo>
                  <a:pt x="755" y="35"/>
                </a:lnTo>
                <a:lnTo>
                  <a:pt x="762" y="35"/>
                </a:lnTo>
                <a:lnTo>
                  <a:pt x="769" y="39"/>
                </a:lnTo>
                <a:lnTo>
                  <a:pt x="773" y="44"/>
                </a:lnTo>
                <a:lnTo>
                  <a:pt x="776" y="51"/>
                </a:lnTo>
                <a:lnTo>
                  <a:pt x="773" y="58"/>
                </a:lnTo>
                <a:lnTo>
                  <a:pt x="771" y="70"/>
                </a:lnTo>
                <a:lnTo>
                  <a:pt x="766" y="91"/>
                </a:lnTo>
                <a:lnTo>
                  <a:pt x="759" y="114"/>
                </a:lnTo>
                <a:lnTo>
                  <a:pt x="792" y="128"/>
                </a:lnTo>
                <a:lnTo>
                  <a:pt x="803" y="114"/>
                </a:lnTo>
                <a:lnTo>
                  <a:pt x="813" y="100"/>
                </a:lnTo>
                <a:lnTo>
                  <a:pt x="820" y="88"/>
                </a:lnTo>
                <a:lnTo>
                  <a:pt x="824" y="81"/>
                </a:lnTo>
                <a:lnTo>
                  <a:pt x="831" y="77"/>
                </a:lnTo>
                <a:lnTo>
                  <a:pt x="836" y="74"/>
                </a:lnTo>
                <a:lnTo>
                  <a:pt x="843" y="74"/>
                </a:lnTo>
                <a:lnTo>
                  <a:pt x="850" y="77"/>
                </a:lnTo>
                <a:lnTo>
                  <a:pt x="857" y="81"/>
                </a:lnTo>
                <a:lnTo>
                  <a:pt x="859" y="88"/>
                </a:lnTo>
                <a:lnTo>
                  <a:pt x="862" y="95"/>
                </a:lnTo>
                <a:lnTo>
                  <a:pt x="859" y="102"/>
                </a:lnTo>
                <a:lnTo>
                  <a:pt x="855" y="109"/>
                </a:lnTo>
                <a:lnTo>
                  <a:pt x="850" y="121"/>
                </a:lnTo>
                <a:lnTo>
                  <a:pt x="843" y="137"/>
                </a:lnTo>
                <a:lnTo>
                  <a:pt x="836" y="154"/>
                </a:lnTo>
                <a:lnTo>
                  <a:pt x="864" y="175"/>
                </a:lnTo>
                <a:lnTo>
                  <a:pt x="878" y="161"/>
                </a:lnTo>
                <a:lnTo>
                  <a:pt x="890" y="149"/>
                </a:lnTo>
                <a:lnTo>
                  <a:pt x="899" y="140"/>
                </a:lnTo>
                <a:lnTo>
                  <a:pt x="906" y="135"/>
                </a:lnTo>
                <a:lnTo>
                  <a:pt x="911" y="130"/>
                </a:lnTo>
                <a:lnTo>
                  <a:pt x="918" y="130"/>
                </a:lnTo>
                <a:lnTo>
                  <a:pt x="925" y="130"/>
                </a:lnTo>
                <a:lnTo>
                  <a:pt x="932" y="135"/>
                </a:lnTo>
                <a:lnTo>
                  <a:pt x="936" y="140"/>
                </a:lnTo>
                <a:lnTo>
                  <a:pt x="939" y="147"/>
                </a:lnTo>
                <a:lnTo>
                  <a:pt x="939" y="154"/>
                </a:lnTo>
                <a:lnTo>
                  <a:pt x="936" y="161"/>
                </a:lnTo>
                <a:lnTo>
                  <a:pt x="932" y="165"/>
                </a:lnTo>
                <a:lnTo>
                  <a:pt x="922" y="177"/>
                </a:lnTo>
                <a:lnTo>
                  <a:pt x="913" y="191"/>
                </a:lnTo>
                <a:lnTo>
                  <a:pt x="901" y="207"/>
                </a:lnTo>
                <a:lnTo>
                  <a:pt x="927" y="233"/>
                </a:lnTo>
                <a:lnTo>
                  <a:pt x="943" y="221"/>
                </a:lnTo>
                <a:lnTo>
                  <a:pt x="957" y="212"/>
                </a:lnTo>
                <a:lnTo>
                  <a:pt x="969" y="205"/>
                </a:lnTo>
                <a:lnTo>
                  <a:pt x="976" y="200"/>
                </a:lnTo>
                <a:lnTo>
                  <a:pt x="983" y="198"/>
                </a:lnTo>
                <a:lnTo>
                  <a:pt x="990" y="198"/>
                </a:lnTo>
                <a:lnTo>
                  <a:pt x="994" y="200"/>
                </a:lnTo>
                <a:lnTo>
                  <a:pt x="1001" y="205"/>
                </a:lnTo>
                <a:lnTo>
                  <a:pt x="1004" y="209"/>
                </a:lnTo>
                <a:lnTo>
                  <a:pt x="1006" y="216"/>
                </a:lnTo>
                <a:lnTo>
                  <a:pt x="1004" y="223"/>
                </a:lnTo>
                <a:lnTo>
                  <a:pt x="999" y="230"/>
                </a:lnTo>
                <a:lnTo>
                  <a:pt x="994" y="235"/>
                </a:lnTo>
                <a:lnTo>
                  <a:pt x="985" y="244"/>
                </a:lnTo>
                <a:lnTo>
                  <a:pt x="973" y="258"/>
                </a:lnTo>
                <a:lnTo>
                  <a:pt x="959" y="270"/>
                </a:lnTo>
                <a:lnTo>
                  <a:pt x="980" y="300"/>
                </a:lnTo>
                <a:lnTo>
                  <a:pt x="997" y="293"/>
                </a:lnTo>
                <a:lnTo>
                  <a:pt x="1013" y="286"/>
                </a:lnTo>
                <a:lnTo>
                  <a:pt x="1025" y="279"/>
                </a:lnTo>
                <a:lnTo>
                  <a:pt x="1032" y="277"/>
                </a:lnTo>
                <a:lnTo>
                  <a:pt x="1039" y="275"/>
                </a:lnTo>
                <a:lnTo>
                  <a:pt x="1046" y="277"/>
                </a:lnTo>
                <a:lnTo>
                  <a:pt x="1053" y="279"/>
                </a:lnTo>
                <a:lnTo>
                  <a:pt x="1057" y="284"/>
                </a:lnTo>
                <a:lnTo>
                  <a:pt x="1060" y="291"/>
                </a:lnTo>
                <a:lnTo>
                  <a:pt x="1060" y="298"/>
                </a:lnTo>
                <a:lnTo>
                  <a:pt x="1057" y="303"/>
                </a:lnTo>
                <a:lnTo>
                  <a:pt x="1055" y="307"/>
                </a:lnTo>
                <a:lnTo>
                  <a:pt x="1053" y="310"/>
                </a:lnTo>
                <a:lnTo>
                  <a:pt x="1046" y="314"/>
                </a:lnTo>
                <a:lnTo>
                  <a:pt x="1034" y="324"/>
                </a:lnTo>
                <a:lnTo>
                  <a:pt x="1020" y="333"/>
                </a:lnTo>
                <a:lnTo>
                  <a:pt x="1004" y="344"/>
                </a:lnTo>
                <a:lnTo>
                  <a:pt x="1020" y="377"/>
                </a:lnTo>
                <a:lnTo>
                  <a:pt x="1043" y="370"/>
                </a:lnTo>
                <a:lnTo>
                  <a:pt x="1064" y="365"/>
                </a:lnTo>
                <a:lnTo>
                  <a:pt x="1076" y="361"/>
                </a:lnTo>
                <a:lnTo>
                  <a:pt x="1083" y="361"/>
                </a:lnTo>
                <a:lnTo>
                  <a:pt x="1090" y="363"/>
                </a:lnTo>
                <a:lnTo>
                  <a:pt x="1094" y="368"/>
                </a:lnTo>
                <a:lnTo>
                  <a:pt x="1097" y="375"/>
                </a:lnTo>
                <a:lnTo>
                  <a:pt x="1099" y="382"/>
                </a:lnTo>
                <a:lnTo>
                  <a:pt x="1097" y="389"/>
                </a:lnTo>
                <a:lnTo>
                  <a:pt x="1094" y="393"/>
                </a:lnTo>
                <a:lnTo>
                  <a:pt x="1087" y="398"/>
                </a:lnTo>
                <a:lnTo>
                  <a:pt x="1081" y="403"/>
                </a:lnTo>
                <a:lnTo>
                  <a:pt x="1069" y="407"/>
                </a:lnTo>
                <a:lnTo>
                  <a:pt x="1053" y="414"/>
                </a:lnTo>
                <a:lnTo>
                  <a:pt x="1036" y="424"/>
                </a:lnTo>
                <a:lnTo>
                  <a:pt x="1046" y="459"/>
                </a:lnTo>
                <a:lnTo>
                  <a:pt x="1071" y="456"/>
                </a:lnTo>
                <a:lnTo>
                  <a:pt x="1092" y="454"/>
                </a:lnTo>
                <a:lnTo>
                  <a:pt x="1104" y="454"/>
                </a:lnTo>
                <a:lnTo>
                  <a:pt x="1111" y="454"/>
                </a:lnTo>
                <a:lnTo>
                  <a:pt x="1115" y="459"/>
                </a:lnTo>
                <a:lnTo>
                  <a:pt x="1120" y="463"/>
                </a:lnTo>
                <a:lnTo>
                  <a:pt x="1122" y="470"/>
                </a:lnTo>
                <a:lnTo>
                  <a:pt x="1122" y="477"/>
                </a:lnTo>
                <a:lnTo>
                  <a:pt x="1120" y="484"/>
                </a:lnTo>
                <a:lnTo>
                  <a:pt x="1115" y="489"/>
                </a:lnTo>
                <a:lnTo>
                  <a:pt x="1111" y="491"/>
                </a:lnTo>
                <a:lnTo>
                  <a:pt x="1099" y="496"/>
                </a:lnTo>
                <a:lnTo>
                  <a:pt x="1078" y="500"/>
                </a:lnTo>
                <a:lnTo>
                  <a:pt x="1055" y="507"/>
                </a:lnTo>
                <a:lnTo>
                  <a:pt x="1057" y="542"/>
                </a:lnTo>
                <a:lnTo>
                  <a:pt x="1081" y="545"/>
                </a:lnTo>
                <a:lnTo>
                  <a:pt x="1101" y="547"/>
                </a:lnTo>
                <a:lnTo>
                  <a:pt x="1115" y="549"/>
                </a:lnTo>
                <a:lnTo>
                  <a:pt x="1120" y="549"/>
                </a:lnTo>
                <a:lnTo>
                  <a:pt x="1127" y="554"/>
                </a:lnTo>
                <a:lnTo>
                  <a:pt x="1129" y="561"/>
                </a:lnTo>
                <a:lnTo>
                  <a:pt x="1132" y="568"/>
                </a:lnTo>
                <a:lnTo>
                  <a:pt x="1129" y="575"/>
                </a:lnTo>
                <a:lnTo>
                  <a:pt x="1127" y="582"/>
                </a:lnTo>
                <a:lnTo>
                  <a:pt x="1120" y="584"/>
                </a:lnTo>
                <a:lnTo>
                  <a:pt x="1113" y="587"/>
                </a:lnTo>
                <a:lnTo>
                  <a:pt x="1101" y="589"/>
                </a:lnTo>
                <a:lnTo>
                  <a:pt x="1081" y="591"/>
                </a:lnTo>
                <a:lnTo>
                  <a:pt x="1057" y="594"/>
                </a:lnTo>
                <a:lnTo>
                  <a:pt x="1053" y="629"/>
                </a:lnTo>
                <a:lnTo>
                  <a:pt x="1078" y="636"/>
                </a:lnTo>
                <a:lnTo>
                  <a:pt x="1097" y="640"/>
                </a:lnTo>
                <a:lnTo>
                  <a:pt x="1108" y="645"/>
                </a:lnTo>
                <a:lnTo>
                  <a:pt x="1115" y="647"/>
                </a:lnTo>
                <a:lnTo>
                  <a:pt x="1120" y="652"/>
                </a:lnTo>
                <a:lnTo>
                  <a:pt x="1122" y="659"/>
                </a:lnTo>
                <a:lnTo>
                  <a:pt x="1122" y="666"/>
                </a:lnTo>
                <a:lnTo>
                  <a:pt x="1120" y="673"/>
                </a:lnTo>
                <a:lnTo>
                  <a:pt x="1115" y="677"/>
                </a:lnTo>
                <a:lnTo>
                  <a:pt x="1108" y="682"/>
                </a:lnTo>
                <a:lnTo>
                  <a:pt x="1101" y="682"/>
                </a:lnTo>
                <a:lnTo>
                  <a:pt x="1090" y="682"/>
                </a:lnTo>
                <a:lnTo>
                  <a:pt x="1069" y="680"/>
                </a:lnTo>
                <a:lnTo>
                  <a:pt x="1046" y="677"/>
                </a:lnTo>
                <a:lnTo>
                  <a:pt x="1036" y="712"/>
                </a:lnTo>
                <a:lnTo>
                  <a:pt x="1053" y="719"/>
                </a:lnTo>
                <a:lnTo>
                  <a:pt x="1067" y="726"/>
                </a:lnTo>
                <a:lnTo>
                  <a:pt x="1081" y="733"/>
                </a:lnTo>
                <a:lnTo>
                  <a:pt x="1087" y="736"/>
                </a:lnTo>
                <a:lnTo>
                  <a:pt x="1092" y="740"/>
                </a:lnTo>
                <a:lnTo>
                  <a:pt x="1094" y="743"/>
                </a:lnTo>
                <a:lnTo>
                  <a:pt x="1097" y="747"/>
                </a:lnTo>
                <a:lnTo>
                  <a:pt x="1097" y="754"/>
                </a:lnTo>
                <a:lnTo>
                  <a:pt x="1097" y="761"/>
                </a:lnTo>
                <a:lnTo>
                  <a:pt x="1092" y="768"/>
                </a:lnTo>
                <a:lnTo>
                  <a:pt x="1087" y="771"/>
                </a:lnTo>
                <a:lnTo>
                  <a:pt x="1081" y="773"/>
                </a:lnTo>
                <a:lnTo>
                  <a:pt x="1074" y="773"/>
                </a:lnTo>
                <a:lnTo>
                  <a:pt x="1062" y="771"/>
                </a:lnTo>
                <a:lnTo>
                  <a:pt x="1041" y="766"/>
                </a:lnTo>
                <a:lnTo>
                  <a:pt x="1018" y="759"/>
                </a:lnTo>
                <a:lnTo>
                  <a:pt x="1004" y="792"/>
                </a:lnTo>
                <a:lnTo>
                  <a:pt x="1018" y="801"/>
                </a:lnTo>
                <a:lnTo>
                  <a:pt x="1032" y="813"/>
                </a:lnTo>
                <a:lnTo>
                  <a:pt x="1043" y="819"/>
                </a:lnTo>
                <a:lnTo>
                  <a:pt x="1050" y="824"/>
                </a:lnTo>
                <a:lnTo>
                  <a:pt x="1055" y="829"/>
                </a:lnTo>
                <a:lnTo>
                  <a:pt x="1057" y="836"/>
                </a:lnTo>
                <a:lnTo>
                  <a:pt x="1057" y="843"/>
                </a:lnTo>
                <a:lnTo>
                  <a:pt x="1055" y="850"/>
                </a:lnTo>
                <a:lnTo>
                  <a:pt x="1050" y="854"/>
                </a:lnTo>
                <a:lnTo>
                  <a:pt x="1043" y="859"/>
                </a:lnTo>
                <a:lnTo>
                  <a:pt x="1036" y="859"/>
                </a:lnTo>
                <a:lnTo>
                  <a:pt x="1029" y="859"/>
                </a:lnTo>
                <a:lnTo>
                  <a:pt x="1022" y="854"/>
                </a:lnTo>
                <a:lnTo>
                  <a:pt x="1011" y="850"/>
                </a:lnTo>
                <a:lnTo>
                  <a:pt x="994" y="843"/>
                </a:lnTo>
                <a:lnTo>
                  <a:pt x="978" y="833"/>
                </a:lnTo>
                <a:lnTo>
                  <a:pt x="957" y="864"/>
                </a:lnTo>
                <a:lnTo>
                  <a:pt x="969" y="878"/>
                </a:lnTo>
                <a:lnTo>
                  <a:pt x="983" y="889"/>
                </a:lnTo>
                <a:lnTo>
                  <a:pt x="992" y="899"/>
                </a:lnTo>
                <a:lnTo>
                  <a:pt x="997" y="906"/>
                </a:lnTo>
                <a:lnTo>
                  <a:pt x="1001" y="910"/>
                </a:lnTo>
                <a:lnTo>
                  <a:pt x="1001" y="917"/>
                </a:lnTo>
                <a:lnTo>
                  <a:pt x="1001" y="924"/>
                </a:lnTo>
                <a:lnTo>
                  <a:pt x="997" y="931"/>
                </a:lnTo>
                <a:lnTo>
                  <a:pt x="992" y="936"/>
                </a:lnTo>
                <a:lnTo>
                  <a:pt x="985" y="938"/>
                </a:lnTo>
                <a:lnTo>
                  <a:pt x="978" y="938"/>
                </a:lnTo>
                <a:lnTo>
                  <a:pt x="971" y="934"/>
                </a:lnTo>
                <a:lnTo>
                  <a:pt x="966" y="929"/>
                </a:lnTo>
                <a:lnTo>
                  <a:pt x="955" y="922"/>
                </a:lnTo>
                <a:lnTo>
                  <a:pt x="941" y="913"/>
                </a:lnTo>
                <a:lnTo>
                  <a:pt x="925" y="901"/>
                </a:lnTo>
                <a:lnTo>
                  <a:pt x="899" y="927"/>
                </a:lnTo>
                <a:lnTo>
                  <a:pt x="911" y="943"/>
                </a:lnTo>
                <a:lnTo>
                  <a:pt x="920" y="957"/>
                </a:lnTo>
                <a:lnTo>
                  <a:pt x="927" y="969"/>
                </a:lnTo>
                <a:lnTo>
                  <a:pt x="932" y="976"/>
                </a:lnTo>
                <a:lnTo>
                  <a:pt x="934" y="980"/>
                </a:lnTo>
                <a:lnTo>
                  <a:pt x="934" y="987"/>
                </a:lnTo>
                <a:lnTo>
                  <a:pt x="932" y="994"/>
                </a:lnTo>
                <a:lnTo>
                  <a:pt x="927" y="999"/>
                </a:lnTo>
                <a:lnTo>
                  <a:pt x="922" y="1003"/>
                </a:lnTo>
                <a:lnTo>
                  <a:pt x="915" y="1003"/>
                </a:lnTo>
                <a:lnTo>
                  <a:pt x="908" y="1003"/>
                </a:lnTo>
                <a:lnTo>
                  <a:pt x="901" y="999"/>
                </a:lnTo>
                <a:lnTo>
                  <a:pt x="897" y="994"/>
                </a:lnTo>
                <a:lnTo>
                  <a:pt x="887" y="985"/>
                </a:lnTo>
                <a:lnTo>
                  <a:pt x="873" y="971"/>
                </a:lnTo>
                <a:lnTo>
                  <a:pt x="862" y="959"/>
                </a:lnTo>
                <a:lnTo>
                  <a:pt x="831" y="980"/>
                </a:lnTo>
                <a:lnTo>
                  <a:pt x="838" y="996"/>
                </a:lnTo>
                <a:lnTo>
                  <a:pt x="845" y="1013"/>
                </a:lnTo>
                <a:lnTo>
                  <a:pt x="852" y="1024"/>
                </a:lnTo>
                <a:lnTo>
                  <a:pt x="855" y="1031"/>
                </a:lnTo>
                <a:lnTo>
                  <a:pt x="857" y="1038"/>
                </a:lnTo>
                <a:lnTo>
                  <a:pt x="855" y="1045"/>
                </a:lnTo>
                <a:lnTo>
                  <a:pt x="852" y="1052"/>
                </a:lnTo>
                <a:lnTo>
                  <a:pt x="845" y="1055"/>
                </a:lnTo>
                <a:lnTo>
                  <a:pt x="841" y="1059"/>
                </a:lnTo>
                <a:lnTo>
                  <a:pt x="834" y="1059"/>
                </a:lnTo>
                <a:lnTo>
                  <a:pt x="829" y="1055"/>
                </a:lnTo>
                <a:lnTo>
                  <a:pt x="824" y="1055"/>
                </a:lnTo>
                <a:lnTo>
                  <a:pt x="822" y="1050"/>
                </a:lnTo>
                <a:lnTo>
                  <a:pt x="817" y="1045"/>
                </a:lnTo>
                <a:lnTo>
                  <a:pt x="808" y="1034"/>
                </a:lnTo>
                <a:lnTo>
                  <a:pt x="799" y="1020"/>
                </a:lnTo>
                <a:lnTo>
                  <a:pt x="787" y="1003"/>
                </a:lnTo>
                <a:lnTo>
                  <a:pt x="755" y="1020"/>
                </a:lnTo>
                <a:lnTo>
                  <a:pt x="762" y="1043"/>
                </a:lnTo>
                <a:lnTo>
                  <a:pt x="766" y="1064"/>
                </a:lnTo>
                <a:lnTo>
                  <a:pt x="771" y="1076"/>
                </a:lnTo>
                <a:lnTo>
                  <a:pt x="771" y="1083"/>
                </a:lnTo>
                <a:lnTo>
                  <a:pt x="769" y="1087"/>
                </a:lnTo>
                <a:lnTo>
                  <a:pt x="764" y="1094"/>
                </a:lnTo>
                <a:lnTo>
                  <a:pt x="757" y="1097"/>
                </a:lnTo>
                <a:lnTo>
                  <a:pt x="750" y="1099"/>
                </a:lnTo>
                <a:lnTo>
                  <a:pt x="743" y="1097"/>
                </a:lnTo>
                <a:lnTo>
                  <a:pt x="738" y="1094"/>
                </a:lnTo>
                <a:lnTo>
                  <a:pt x="734" y="1087"/>
                </a:lnTo>
                <a:lnTo>
                  <a:pt x="729" y="1080"/>
                </a:lnTo>
                <a:lnTo>
                  <a:pt x="724" y="1069"/>
                </a:lnTo>
                <a:lnTo>
                  <a:pt x="717" y="1052"/>
                </a:lnTo>
                <a:lnTo>
                  <a:pt x="708" y="1036"/>
                </a:lnTo>
                <a:lnTo>
                  <a:pt x="673" y="1045"/>
                </a:lnTo>
                <a:lnTo>
                  <a:pt x="675" y="1069"/>
                </a:lnTo>
                <a:lnTo>
                  <a:pt x="678" y="1090"/>
                </a:lnTo>
                <a:lnTo>
                  <a:pt x="678" y="1101"/>
                </a:lnTo>
                <a:lnTo>
                  <a:pt x="678" y="1111"/>
                </a:lnTo>
                <a:lnTo>
                  <a:pt x="673" y="1115"/>
                </a:lnTo>
                <a:lnTo>
                  <a:pt x="668" y="1120"/>
                </a:lnTo>
                <a:lnTo>
                  <a:pt x="661" y="1122"/>
                </a:lnTo>
                <a:lnTo>
                  <a:pt x="654" y="1122"/>
                </a:lnTo>
                <a:lnTo>
                  <a:pt x="648" y="1120"/>
                </a:lnTo>
                <a:lnTo>
                  <a:pt x="643" y="1115"/>
                </a:lnTo>
                <a:lnTo>
                  <a:pt x="641" y="1108"/>
                </a:lnTo>
                <a:lnTo>
                  <a:pt x="636" y="1097"/>
                </a:lnTo>
                <a:lnTo>
                  <a:pt x="631" y="1078"/>
                </a:lnTo>
                <a:lnTo>
                  <a:pt x="624" y="1052"/>
                </a:lnTo>
                <a:lnTo>
                  <a:pt x="589" y="1055"/>
                </a:lnTo>
                <a:lnTo>
                  <a:pt x="587" y="1080"/>
                </a:lnTo>
                <a:lnTo>
                  <a:pt x="585" y="1101"/>
                </a:lnTo>
                <a:lnTo>
                  <a:pt x="582" y="1113"/>
                </a:lnTo>
                <a:lnTo>
                  <a:pt x="582" y="1120"/>
                </a:lnTo>
                <a:lnTo>
                  <a:pt x="578" y="1127"/>
                </a:lnTo>
                <a:lnTo>
                  <a:pt x="571" y="1129"/>
                </a:lnTo>
                <a:lnTo>
                  <a:pt x="564" y="1132"/>
                </a:lnTo>
                <a:lnTo>
                  <a:pt x="557" y="1129"/>
                </a:lnTo>
                <a:lnTo>
                  <a:pt x="550" y="1125"/>
                </a:lnTo>
                <a:lnTo>
                  <a:pt x="547" y="1120"/>
                </a:lnTo>
                <a:lnTo>
                  <a:pt x="545" y="1113"/>
                </a:lnTo>
                <a:lnTo>
                  <a:pt x="543" y="1101"/>
                </a:lnTo>
                <a:lnTo>
                  <a:pt x="540" y="1080"/>
                </a:lnTo>
                <a:lnTo>
                  <a:pt x="538" y="1055"/>
                </a:lnTo>
                <a:lnTo>
                  <a:pt x="503" y="1052"/>
                </a:lnTo>
                <a:lnTo>
                  <a:pt x="496" y="1076"/>
                </a:lnTo>
                <a:lnTo>
                  <a:pt x="492" y="1097"/>
                </a:lnTo>
                <a:lnTo>
                  <a:pt x="487" y="1108"/>
                </a:lnTo>
                <a:lnTo>
                  <a:pt x="485" y="1115"/>
                </a:lnTo>
                <a:lnTo>
                  <a:pt x="480" y="1120"/>
                </a:lnTo>
                <a:lnTo>
                  <a:pt x="473" y="1122"/>
                </a:lnTo>
                <a:lnTo>
                  <a:pt x="466" y="1122"/>
                </a:lnTo>
                <a:lnTo>
                  <a:pt x="459" y="1120"/>
                </a:lnTo>
                <a:lnTo>
                  <a:pt x="454" y="1115"/>
                </a:lnTo>
                <a:lnTo>
                  <a:pt x="450" y="1108"/>
                </a:lnTo>
                <a:lnTo>
                  <a:pt x="450" y="1101"/>
                </a:lnTo>
                <a:lnTo>
                  <a:pt x="450" y="1090"/>
                </a:lnTo>
                <a:lnTo>
                  <a:pt x="452" y="1069"/>
                </a:lnTo>
                <a:lnTo>
                  <a:pt x="454" y="1043"/>
                </a:lnTo>
                <a:lnTo>
                  <a:pt x="419" y="1034"/>
                </a:lnTo>
                <a:lnTo>
                  <a:pt x="412" y="1052"/>
                </a:lnTo>
                <a:lnTo>
                  <a:pt x="403" y="1066"/>
                </a:lnTo>
                <a:lnTo>
                  <a:pt x="398" y="1080"/>
                </a:lnTo>
                <a:lnTo>
                  <a:pt x="394" y="1087"/>
                </a:lnTo>
                <a:lnTo>
                  <a:pt x="391" y="1092"/>
                </a:lnTo>
                <a:lnTo>
                  <a:pt x="384" y="1097"/>
                </a:lnTo>
                <a:lnTo>
                  <a:pt x="377" y="1097"/>
                </a:lnTo>
                <a:lnTo>
                  <a:pt x="370" y="1097"/>
                </a:lnTo>
                <a:lnTo>
                  <a:pt x="364" y="1092"/>
                </a:lnTo>
                <a:lnTo>
                  <a:pt x="361" y="1087"/>
                </a:lnTo>
                <a:lnTo>
                  <a:pt x="359" y="1080"/>
                </a:lnTo>
                <a:lnTo>
                  <a:pt x="359" y="1073"/>
                </a:lnTo>
                <a:lnTo>
                  <a:pt x="361" y="1062"/>
                </a:lnTo>
                <a:lnTo>
                  <a:pt x="366" y="1041"/>
                </a:lnTo>
                <a:lnTo>
                  <a:pt x="373" y="1017"/>
                </a:lnTo>
                <a:lnTo>
                  <a:pt x="340" y="1001"/>
                </a:lnTo>
                <a:lnTo>
                  <a:pt x="329" y="1017"/>
                </a:lnTo>
                <a:lnTo>
                  <a:pt x="319" y="1031"/>
                </a:lnTo>
                <a:lnTo>
                  <a:pt x="312" y="1043"/>
                </a:lnTo>
                <a:lnTo>
                  <a:pt x="308" y="1048"/>
                </a:lnTo>
                <a:lnTo>
                  <a:pt x="301" y="1055"/>
                </a:lnTo>
                <a:lnTo>
                  <a:pt x="296" y="1055"/>
                </a:lnTo>
                <a:lnTo>
                  <a:pt x="289" y="1055"/>
                </a:lnTo>
                <a:lnTo>
                  <a:pt x="282" y="1055"/>
                </a:lnTo>
                <a:lnTo>
                  <a:pt x="275" y="1050"/>
                </a:lnTo>
                <a:lnTo>
                  <a:pt x="273" y="1043"/>
                </a:lnTo>
                <a:lnTo>
                  <a:pt x="273" y="1036"/>
                </a:lnTo>
                <a:lnTo>
                  <a:pt x="273" y="1029"/>
                </a:lnTo>
                <a:lnTo>
                  <a:pt x="277" y="1022"/>
                </a:lnTo>
                <a:lnTo>
                  <a:pt x="282" y="1010"/>
                </a:lnTo>
                <a:lnTo>
                  <a:pt x="289" y="994"/>
                </a:lnTo>
                <a:lnTo>
                  <a:pt x="298" y="978"/>
                </a:lnTo>
                <a:lnTo>
                  <a:pt x="268" y="957"/>
                </a:lnTo>
                <a:lnTo>
                  <a:pt x="254" y="969"/>
                </a:lnTo>
                <a:lnTo>
                  <a:pt x="242" y="980"/>
                </a:lnTo>
                <a:lnTo>
                  <a:pt x="233" y="992"/>
                </a:lnTo>
                <a:lnTo>
                  <a:pt x="226" y="996"/>
                </a:lnTo>
                <a:lnTo>
                  <a:pt x="222" y="1001"/>
                </a:lnTo>
                <a:lnTo>
                  <a:pt x="215" y="1001"/>
                </a:lnTo>
                <a:lnTo>
                  <a:pt x="208" y="1001"/>
                </a:lnTo>
                <a:lnTo>
                  <a:pt x="201" y="996"/>
                </a:lnTo>
                <a:lnTo>
                  <a:pt x="196" y="992"/>
                </a:lnTo>
                <a:lnTo>
                  <a:pt x="194" y="985"/>
                </a:lnTo>
                <a:lnTo>
                  <a:pt x="194" y="978"/>
                </a:lnTo>
                <a:lnTo>
                  <a:pt x="198" y="971"/>
                </a:lnTo>
                <a:lnTo>
                  <a:pt x="201" y="964"/>
                </a:lnTo>
                <a:lnTo>
                  <a:pt x="210" y="955"/>
                </a:lnTo>
                <a:lnTo>
                  <a:pt x="219" y="938"/>
                </a:lnTo>
                <a:lnTo>
                  <a:pt x="231" y="924"/>
                </a:lnTo>
                <a:lnTo>
                  <a:pt x="205" y="899"/>
                </a:lnTo>
                <a:lnTo>
                  <a:pt x="189" y="908"/>
                </a:lnTo>
                <a:lnTo>
                  <a:pt x="175" y="920"/>
                </a:lnTo>
                <a:lnTo>
                  <a:pt x="163" y="927"/>
                </a:lnTo>
                <a:lnTo>
                  <a:pt x="156" y="931"/>
                </a:lnTo>
                <a:lnTo>
                  <a:pt x="152" y="934"/>
                </a:lnTo>
                <a:lnTo>
                  <a:pt x="145" y="934"/>
                </a:lnTo>
                <a:lnTo>
                  <a:pt x="138" y="931"/>
                </a:lnTo>
                <a:lnTo>
                  <a:pt x="131" y="927"/>
                </a:lnTo>
                <a:lnTo>
                  <a:pt x="128" y="920"/>
                </a:lnTo>
                <a:lnTo>
                  <a:pt x="126" y="913"/>
                </a:lnTo>
                <a:lnTo>
                  <a:pt x="128" y="908"/>
                </a:lnTo>
                <a:lnTo>
                  <a:pt x="133" y="901"/>
                </a:lnTo>
                <a:lnTo>
                  <a:pt x="138" y="896"/>
                </a:lnTo>
                <a:lnTo>
                  <a:pt x="147" y="885"/>
                </a:lnTo>
                <a:lnTo>
                  <a:pt x="161" y="873"/>
                </a:lnTo>
                <a:lnTo>
                  <a:pt x="173" y="859"/>
                </a:lnTo>
                <a:lnTo>
                  <a:pt x="152" y="831"/>
                </a:lnTo>
                <a:lnTo>
                  <a:pt x="135" y="838"/>
                </a:lnTo>
                <a:lnTo>
                  <a:pt x="119" y="845"/>
                </a:lnTo>
                <a:lnTo>
                  <a:pt x="107" y="852"/>
                </a:lnTo>
                <a:lnTo>
                  <a:pt x="100" y="854"/>
                </a:lnTo>
                <a:lnTo>
                  <a:pt x="93" y="857"/>
                </a:lnTo>
                <a:lnTo>
                  <a:pt x="86" y="854"/>
                </a:lnTo>
                <a:lnTo>
                  <a:pt x="80" y="852"/>
                </a:lnTo>
                <a:lnTo>
                  <a:pt x="75" y="845"/>
                </a:lnTo>
                <a:lnTo>
                  <a:pt x="73" y="838"/>
                </a:lnTo>
                <a:lnTo>
                  <a:pt x="73" y="831"/>
                </a:lnTo>
                <a:lnTo>
                  <a:pt x="75" y="829"/>
                </a:lnTo>
                <a:lnTo>
                  <a:pt x="77" y="824"/>
                </a:lnTo>
                <a:lnTo>
                  <a:pt x="82" y="819"/>
                </a:lnTo>
                <a:lnTo>
                  <a:pt x="86" y="815"/>
                </a:lnTo>
                <a:lnTo>
                  <a:pt x="98" y="808"/>
                </a:lnTo>
                <a:lnTo>
                  <a:pt x="112" y="799"/>
                </a:lnTo>
                <a:lnTo>
                  <a:pt x="128" y="787"/>
                </a:lnTo>
                <a:lnTo>
                  <a:pt x="112" y="754"/>
                </a:lnTo>
                <a:lnTo>
                  <a:pt x="89" y="761"/>
                </a:lnTo>
                <a:lnTo>
                  <a:pt x="68" y="766"/>
                </a:lnTo>
                <a:lnTo>
                  <a:pt x="56" y="768"/>
                </a:lnTo>
                <a:lnTo>
                  <a:pt x="49" y="768"/>
                </a:lnTo>
                <a:lnTo>
                  <a:pt x="42" y="766"/>
                </a:lnTo>
                <a:lnTo>
                  <a:pt x="38" y="764"/>
                </a:lnTo>
                <a:lnTo>
                  <a:pt x="35" y="757"/>
                </a:lnTo>
                <a:lnTo>
                  <a:pt x="33" y="750"/>
                </a:lnTo>
                <a:lnTo>
                  <a:pt x="35" y="743"/>
                </a:lnTo>
                <a:lnTo>
                  <a:pt x="38" y="738"/>
                </a:lnTo>
                <a:lnTo>
                  <a:pt x="40" y="736"/>
                </a:lnTo>
                <a:lnTo>
                  <a:pt x="45" y="733"/>
                </a:lnTo>
                <a:lnTo>
                  <a:pt x="52" y="729"/>
                </a:lnTo>
                <a:lnTo>
                  <a:pt x="63" y="724"/>
                </a:lnTo>
                <a:lnTo>
                  <a:pt x="80" y="715"/>
                </a:lnTo>
                <a:lnTo>
                  <a:pt x="96" y="708"/>
                </a:lnTo>
                <a:lnTo>
                  <a:pt x="86" y="673"/>
                </a:lnTo>
                <a:lnTo>
                  <a:pt x="63" y="675"/>
                </a:lnTo>
                <a:lnTo>
                  <a:pt x="42" y="677"/>
                </a:lnTo>
                <a:lnTo>
                  <a:pt x="28" y="677"/>
                </a:lnTo>
                <a:lnTo>
                  <a:pt x="21" y="677"/>
                </a:lnTo>
                <a:lnTo>
                  <a:pt x="17" y="673"/>
                </a:lnTo>
                <a:lnTo>
                  <a:pt x="12" y="668"/>
                </a:lnTo>
                <a:lnTo>
                  <a:pt x="10" y="661"/>
                </a:lnTo>
                <a:lnTo>
                  <a:pt x="10" y="654"/>
                </a:lnTo>
                <a:lnTo>
                  <a:pt x="12" y="647"/>
                </a:lnTo>
                <a:lnTo>
                  <a:pt x="17" y="643"/>
                </a:lnTo>
                <a:lnTo>
                  <a:pt x="24" y="638"/>
                </a:lnTo>
                <a:lnTo>
                  <a:pt x="35" y="636"/>
                </a:lnTo>
                <a:lnTo>
                  <a:pt x="54" y="631"/>
                </a:lnTo>
                <a:lnTo>
                  <a:pt x="80" y="624"/>
                </a:lnTo>
                <a:lnTo>
                  <a:pt x="75" y="589"/>
                </a:lnTo>
                <a:lnTo>
                  <a:pt x="52" y="587"/>
                </a:lnTo>
                <a:lnTo>
                  <a:pt x="31" y="584"/>
                </a:lnTo>
                <a:lnTo>
                  <a:pt x="19" y="582"/>
                </a:lnTo>
                <a:lnTo>
                  <a:pt x="12" y="580"/>
                </a:lnTo>
                <a:lnTo>
                  <a:pt x="5" y="575"/>
                </a:lnTo>
                <a:lnTo>
                  <a:pt x="3" y="570"/>
                </a:lnTo>
                <a:lnTo>
                  <a:pt x="0" y="563"/>
                </a:lnTo>
                <a:lnTo>
                  <a:pt x="3" y="556"/>
                </a:lnTo>
                <a:lnTo>
                  <a:pt x="5" y="549"/>
                </a:lnTo>
                <a:lnTo>
                  <a:pt x="12" y="545"/>
                </a:lnTo>
                <a:lnTo>
                  <a:pt x="19" y="542"/>
                </a:lnTo>
                <a:lnTo>
                  <a:pt x="31" y="542"/>
                </a:lnTo>
                <a:lnTo>
                  <a:pt x="52" y="540"/>
                </a:lnTo>
                <a:lnTo>
                  <a:pt x="75" y="538"/>
                </a:lnTo>
                <a:lnTo>
                  <a:pt x="80" y="503"/>
                </a:lnTo>
                <a:lnTo>
                  <a:pt x="56" y="496"/>
                </a:lnTo>
                <a:lnTo>
                  <a:pt x="35" y="491"/>
                </a:lnTo>
                <a:lnTo>
                  <a:pt x="24" y="487"/>
                </a:lnTo>
                <a:lnTo>
                  <a:pt x="17" y="484"/>
                </a:lnTo>
                <a:lnTo>
                  <a:pt x="12" y="480"/>
                </a:lnTo>
                <a:lnTo>
                  <a:pt x="10" y="473"/>
                </a:lnTo>
                <a:lnTo>
                  <a:pt x="10" y="466"/>
                </a:lnTo>
                <a:lnTo>
                  <a:pt x="12" y="459"/>
                </a:lnTo>
                <a:lnTo>
                  <a:pt x="17" y="454"/>
                </a:lnTo>
                <a:lnTo>
                  <a:pt x="24" y="449"/>
                </a:lnTo>
                <a:lnTo>
                  <a:pt x="31" y="449"/>
                </a:lnTo>
                <a:lnTo>
                  <a:pt x="42" y="449"/>
                </a:lnTo>
                <a:lnTo>
                  <a:pt x="63" y="452"/>
                </a:lnTo>
                <a:lnTo>
                  <a:pt x="89" y="454"/>
                </a:lnTo>
                <a:lnTo>
                  <a:pt x="98" y="419"/>
                </a:lnTo>
                <a:lnTo>
                  <a:pt x="80" y="412"/>
                </a:lnTo>
                <a:lnTo>
                  <a:pt x="66" y="403"/>
                </a:lnTo>
                <a:lnTo>
                  <a:pt x="52" y="398"/>
                </a:lnTo>
                <a:lnTo>
                  <a:pt x="45" y="393"/>
                </a:lnTo>
                <a:lnTo>
                  <a:pt x="42" y="391"/>
                </a:lnTo>
                <a:lnTo>
                  <a:pt x="38" y="389"/>
                </a:lnTo>
                <a:lnTo>
                  <a:pt x="35" y="384"/>
                </a:lnTo>
                <a:lnTo>
                  <a:pt x="35" y="377"/>
                </a:lnTo>
                <a:lnTo>
                  <a:pt x="35" y="370"/>
                </a:lnTo>
                <a:lnTo>
                  <a:pt x="40" y="363"/>
                </a:lnTo>
                <a:lnTo>
                  <a:pt x="45" y="358"/>
                </a:lnTo>
                <a:lnTo>
                  <a:pt x="52" y="356"/>
                </a:lnTo>
                <a:lnTo>
                  <a:pt x="59" y="358"/>
                </a:lnTo>
                <a:lnTo>
                  <a:pt x="70" y="361"/>
                </a:lnTo>
                <a:lnTo>
                  <a:pt x="91" y="365"/>
                </a:lnTo>
                <a:lnTo>
                  <a:pt x="114" y="372"/>
                </a:lnTo>
                <a:lnTo>
                  <a:pt x="131" y="340"/>
                </a:lnTo>
                <a:lnTo>
                  <a:pt x="114" y="328"/>
                </a:lnTo>
                <a:lnTo>
                  <a:pt x="100" y="319"/>
                </a:lnTo>
                <a:lnTo>
                  <a:pt x="89" y="310"/>
                </a:lnTo>
                <a:lnTo>
                  <a:pt x="82" y="307"/>
                </a:lnTo>
                <a:lnTo>
                  <a:pt x="80" y="303"/>
                </a:lnTo>
                <a:lnTo>
                  <a:pt x="77" y="298"/>
                </a:lnTo>
                <a:lnTo>
                  <a:pt x="75" y="293"/>
                </a:lnTo>
                <a:lnTo>
                  <a:pt x="75" y="286"/>
                </a:lnTo>
                <a:lnTo>
                  <a:pt x="77" y="282"/>
                </a:lnTo>
                <a:lnTo>
                  <a:pt x="82" y="275"/>
                </a:lnTo>
                <a:lnTo>
                  <a:pt x="89" y="272"/>
                </a:lnTo>
                <a:lnTo>
                  <a:pt x="96" y="270"/>
                </a:lnTo>
                <a:lnTo>
                  <a:pt x="103" y="272"/>
                </a:lnTo>
                <a:lnTo>
                  <a:pt x="110" y="275"/>
                </a:lnTo>
                <a:lnTo>
                  <a:pt x="121" y="282"/>
                </a:lnTo>
                <a:lnTo>
                  <a:pt x="138" y="289"/>
                </a:lnTo>
                <a:lnTo>
                  <a:pt x="154" y="296"/>
                </a:lnTo>
                <a:lnTo>
                  <a:pt x="175" y="268"/>
                </a:lnTo>
                <a:lnTo>
                  <a:pt x="163" y="254"/>
                </a:lnTo>
                <a:lnTo>
                  <a:pt x="149" y="242"/>
                </a:lnTo>
                <a:lnTo>
                  <a:pt x="140" y="233"/>
                </a:lnTo>
                <a:lnTo>
                  <a:pt x="135" y="226"/>
                </a:lnTo>
                <a:lnTo>
                  <a:pt x="131" y="221"/>
                </a:lnTo>
                <a:lnTo>
                  <a:pt x="131" y="214"/>
                </a:lnTo>
                <a:lnTo>
                  <a:pt x="131" y="207"/>
                </a:lnTo>
                <a:lnTo>
                  <a:pt x="135" y="200"/>
                </a:lnTo>
                <a:lnTo>
                  <a:pt x="140" y="195"/>
                </a:lnTo>
                <a:lnTo>
                  <a:pt x="147" y="193"/>
                </a:lnTo>
                <a:lnTo>
                  <a:pt x="154" y="193"/>
                </a:lnTo>
                <a:lnTo>
                  <a:pt x="161" y="195"/>
                </a:lnTo>
                <a:lnTo>
                  <a:pt x="168" y="200"/>
                </a:lnTo>
                <a:lnTo>
                  <a:pt x="177" y="209"/>
                </a:lnTo>
                <a:lnTo>
                  <a:pt x="194" y="219"/>
                </a:lnTo>
                <a:lnTo>
                  <a:pt x="208" y="230"/>
                </a:lnTo>
                <a:lnTo>
                  <a:pt x="233" y="205"/>
                </a:lnTo>
                <a:lnTo>
                  <a:pt x="224" y="188"/>
                </a:lnTo>
                <a:lnTo>
                  <a:pt x="212" y="175"/>
                </a:lnTo>
                <a:lnTo>
                  <a:pt x="205" y="163"/>
                </a:lnTo>
                <a:lnTo>
                  <a:pt x="201" y="156"/>
                </a:lnTo>
                <a:lnTo>
                  <a:pt x="198" y="149"/>
                </a:lnTo>
                <a:lnTo>
                  <a:pt x="198" y="142"/>
                </a:lnTo>
                <a:lnTo>
                  <a:pt x="201" y="137"/>
                </a:lnTo>
                <a:lnTo>
                  <a:pt x="205" y="130"/>
                </a:lnTo>
                <a:lnTo>
                  <a:pt x="212" y="128"/>
                </a:lnTo>
                <a:lnTo>
                  <a:pt x="217" y="126"/>
                </a:lnTo>
                <a:lnTo>
                  <a:pt x="224" y="128"/>
                </a:lnTo>
                <a:lnTo>
                  <a:pt x="231" y="133"/>
                </a:lnTo>
                <a:lnTo>
                  <a:pt x="235" y="137"/>
                </a:lnTo>
                <a:lnTo>
                  <a:pt x="247" y="147"/>
                </a:lnTo>
                <a:lnTo>
                  <a:pt x="259" y="158"/>
                </a:lnTo>
                <a:lnTo>
                  <a:pt x="273" y="172"/>
                </a:lnTo>
                <a:lnTo>
                  <a:pt x="301" y="151"/>
                </a:lnTo>
                <a:lnTo>
                  <a:pt x="294" y="135"/>
                </a:lnTo>
                <a:lnTo>
                  <a:pt x="287" y="119"/>
                </a:lnTo>
                <a:lnTo>
                  <a:pt x="280" y="107"/>
                </a:lnTo>
                <a:lnTo>
                  <a:pt x="277" y="100"/>
                </a:lnTo>
                <a:lnTo>
                  <a:pt x="275" y="93"/>
                </a:lnTo>
                <a:lnTo>
                  <a:pt x="277" y="86"/>
                </a:lnTo>
                <a:lnTo>
                  <a:pt x="280" y="79"/>
                </a:lnTo>
                <a:lnTo>
                  <a:pt x="287" y="74"/>
                </a:lnTo>
                <a:lnTo>
                  <a:pt x="294" y="72"/>
                </a:lnTo>
                <a:lnTo>
                  <a:pt x="298" y="72"/>
                </a:lnTo>
                <a:lnTo>
                  <a:pt x="303" y="74"/>
                </a:lnTo>
                <a:lnTo>
                  <a:pt x="308" y="77"/>
                </a:lnTo>
                <a:lnTo>
                  <a:pt x="312" y="79"/>
                </a:lnTo>
                <a:lnTo>
                  <a:pt x="315" y="86"/>
                </a:lnTo>
                <a:lnTo>
                  <a:pt x="324" y="98"/>
                </a:lnTo>
                <a:lnTo>
                  <a:pt x="333" y="112"/>
                </a:lnTo>
                <a:lnTo>
                  <a:pt x="345" y="128"/>
                </a:lnTo>
                <a:lnTo>
                  <a:pt x="377" y="112"/>
                </a:lnTo>
                <a:lnTo>
                  <a:pt x="370" y="88"/>
                </a:lnTo>
                <a:lnTo>
                  <a:pt x="366" y="67"/>
                </a:lnTo>
                <a:lnTo>
                  <a:pt x="364" y="56"/>
                </a:lnTo>
                <a:lnTo>
                  <a:pt x="361" y="49"/>
                </a:lnTo>
                <a:lnTo>
                  <a:pt x="364" y="42"/>
                </a:lnTo>
                <a:lnTo>
                  <a:pt x="368" y="37"/>
                </a:lnTo>
                <a:lnTo>
                  <a:pt x="375" y="32"/>
                </a:lnTo>
                <a:lnTo>
                  <a:pt x="382" y="32"/>
                </a:lnTo>
                <a:lnTo>
                  <a:pt x="389" y="35"/>
                </a:lnTo>
                <a:lnTo>
                  <a:pt x="394" y="35"/>
                </a:lnTo>
                <a:lnTo>
                  <a:pt x="396" y="39"/>
                </a:lnTo>
                <a:lnTo>
                  <a:pt x="398" y="42"/>
                </a:lnTo>
                <a:lnTo>
                  <a:pt x="403" y="51"/>
                </a:lnTo>
                <a:lnTo>
                  <a:pt x="408" y="63"/>
                </a:lnTo>
                <a:lnTo>
                  <a:pt x="417" y="79"/>
                </a:lnTo>
                <a:lnTo>
                  <a:pt x="424" y="95"/>
                </a:lnTo>
                <a:lnTo>
                  <a:pt x="459" y="86"/>
                </a:lnTo>
                <a:lnTo>
                  <a:pt x="457" y="60"/>
                </a:lnTo>
                <a:lnTo>
                  <a:pt x="454" y="39"/>
                </a:lnTo>
                <a:lnTo>
                  <a:pt x="454" y="28"/>
                </a:lnTo>
                <a:lnTo>
                  <a:pt x="454" y="21"/>
                </a:lnTo>
                <a:lnTo>
                  <a:pt x="459" y="16"/>
                </a:lnTo>
                <a:lnTo>
                  <a:pt x="464" y="12"/>
                </a:lnTo>
                <a:lnTo>
                  <a:pt x="471" y="9"/>
                </a:lnTo>
                <a:lnTo>
                  <a:pt x="478" y="9"/>
                </a:lnTo>
                <a:lnTo>
                  <a:pt x="485" y="12"/>
                </a:lnTo>
                <a:lnTo>
                  <a:pt x="489" y="16"/>
                </a:lnTo>
                <a:lnTo>
                  <a:pt x="492" y="21"/>
                </a:lnTo>
                <a:lnTo>
                  <a:pt x="496" y="32"/>
                </a:lnTo>
                <a:lnTo>
                  <a:pt x="501" y="53"/>
                </a:lnTo>
                <a:lnTo>
                  <a:pt x="508" y="77"/>
                </a:lnTo>
                <a:lnTo>
                  <a:pt x="543" y="74"/>
                </a:lnTo>
                <a:lnTo>
                  <a:pt x="545" y="51"/>
                </a:lnTo>
                <a:lnTo>
                  <a:pt x="547" y="30"/>
                </a:lnTo>
                <a:lnTo>
                  <a:pt x="550" y="16"/>
                </a:lnTo>
                <a:lnTo>
                  <a:pt x="552" y="12"/>
                </a:lnTo>
                <a:lnTo>
                  <a:pt x="557" y="5"/>
                </a:lnTo>
                <a:lnTo>
                  <a:pt x="561" y="2"/>
                </a:lnTo>
                <a:lnTo>
                  <a:pt x="568" y="0"/>
                </a:lnTo>
                <a:close/>
              </a:path>
            </a:pathLst>
          </a:custGeom>
          <a:solidFill>
            <a:schemeClr val="accent6">
              <a:alpha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42" name="Ovaal - 1"/>
          <p:cNvSpPr/>
          <p:nvPr/>
        </p:nvSpPr>
        <p:spPr>
          <a:xfrm>
            <a:off x="1160781" y="2327093"/>
            <a:ext cx="1150924" cy="115091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nl-NL" sz="4800" b="1" dirty="0"/>
              <a:t>1</a:t>
            </a:r>
          </a:p>
        </p:txBody>
      </p:sp>
      <p:sp>
        <p:nvSpPr>
          <p:cNvPr id="54" name="Radar - 2"/>
          <p:cNvSpPr>
            <a:spLocks noEditPoints="1"/>
          </p:cNvSpPr>
          <p:nvPr/>
        </p:nvSpPr>
        <p:spPr bwMode="auto">
          <a:xfrm>
            <a:off x="2119161" y="2947758"/>
            <a:ext cx="2098702" cy="2098702"/>
          </a:xfrm>
          <a:custGeom>
            <a:avLst/>
            <a:gdLst>
              <a:gd name="T0" fmla="*/ 149 w 1132"/>
              <a:gd name="T1" fmla="*/ 552 h 1132"/>
              <a:gd name="T2" fmla="*/ 627 w 1132"/>
              <a:gd name="T3" fmla="*/ 978 h 1132"/>
              <a:gd name="T4" fmla="*/ 962 w 1132"/>
              <a:gd name="T5" fmla="*/ 433 h 1132"/>
              <a:gd name="T6" fmla="*/ 582 w 1132"/>
              <a:gd name="T7" fmla="*/ 5 h 1132"/>
              <a:gd name="T8" fmla="*/ 648 w 1132"/>
              <a:gd name="T9" fmla="*/ 16 h 1132"/>
              <a:gd name="T10" fmla="*/ 678 w 1132"/>
              <a:gd name="T11" fmla="*/ 86 h 1132"/>
              <a:gd name="T12" fmla="*/ 769 w 1132"/>
              <a:gd name="T13" fmla="*/ 39 h 1132"/>
              <a:gd name="T14" fmla="*/ 820 w 1132"/>
              <a:gd name="T15" fmla="*/ 88 h 1132"/>
              <a:gd name="T16" fmla="*/ 855 w 1132"/>
              <a:gd name="T17" fmla="*/ 109 h 1132"/>
              <a:gd name="T18" fmla="*/ 918 w 1132"/>
              <a:gd name="T19" fmla="*/ 130 h 1132"/>
              <a:gd name="T20" fmla="*/ 901 w 1132"/>
              <a:gd name="T21" fmla="*/ 207 h 1132"/>
              <a:gd name="T22" fmla="*/ 1004 w 1132"/>
              <a:gd name="T23" fmla="*/ 209 h 1132"/>
              <a:gd name="T24" fmla="*/ 1013 w 1132"/>
              <a:gd name="T25" fmla="*/ 286 h 1132"/>
              <a:gd name="T26" fmla="*/ 1055 w 1132"/>
              <a:gd name="T27" fmla="*/ 307 h 1132"/>
              <a:gd name="T28" fmla="*/ 1083 w 1132"/>
              <a:gd name="T29" fmla="*/ 361 h 1132"/>
              <a:gd name="T30" fmla="*/ 1053 w 1132"/>
              <a:gd name="T31" fmla="*/ 414 h 1132"/>
              <a:gd name="T32" fmla="*/ 1122 w 1132"/>
              <a:gd name="T33" fmla="*/ 477 h 1132"/>
              <a:gd name="T34" fmla="*/ 1115 w 1132"/>
              <a:gd name="T35" fmla="*/ 549 h 1132"/>
              <a:gd name="T36" fmla="*/ 1081 w 1132"/>
              <a:gd name="T37" fmla="*/ 591 h 1132"/>
              <a:gd name="T38" fmla="*/ 1120 w 1132"/>
              <a:gd name="T39" fmla="*/ 673 h 1132"/>
              <a:gd name="T40" fmla="*/ 1081 w 1132"/>
              <a:gd name="T41" fmla="*/ 733 h 1132"/>
              <a:gd name="T42" fmla="*/ 1074 w 1132"/>
              <a:gd name="T43" fmla="*/ 773 h 1132"/>
              <a:gd name="T44" fmla="*/ 1057 w 1132"/>
              <a:gd name="T45" fmla="*/ 836 h 1132"/>
              <a:gd name="T46" fmla="*/ 978 w 1132"/>
              <a:gd name="T47" fmla="*/ 833 h 1132"/>
              <a:gd name="T48" fmla="*/ 992 w 1132"/>
              <a:gd name="T49" fmla="*/ 936 h 1132"/>
              <a:gd name="T50" fmla="*/ 920 w 1132"/>
              <a:gd name="T51" fmla="*/ 957 h 1132"/>
              <a:gd name="T52" fmla="*/ 901 w 1132"/>
              <a:gd name="T53" fmla="*/ 999 h 1132"/>
              <a:gd name="T54" fmla="*/ 857 w 1132"/>
              <a:gd name="T55" fmla="*/ 1038 h 1132"/>
              <a:gd name="T56" fmla="*/ 808 w 1132"/>
              <a:gd name="T57" fmla="*/ 1034 h 1132"/>
              <a:gd name="T58" fmla="*/ 757 w 1132"/>
              <a:gd name="T59" fmla="*/ 1097 h 1132"/>
              <a:gd name="T60" fmla="*/ 675 w 1132"/>
              <a:gd name="T61" fmla="*/ 1069 h 1132"/>
              <a:gd name="T62" fmla="*/ 641 w 1132"/>
              <a:gd name="T63" fmla="*/ 1108 h 1132"/>
              <a:gd name="T64" fmla="*/ 571 w 1132"/>
              <a:gd name="T65" fmla="*/ 1129 h 1132"/>
              <a:gd name="T66" fmla="*/ 496 w 1132"/>
              <a:gd name="T67" fmla="*/ 1076 h 1132"/>
              <a:gd name="T68" fmla="*/ 450 w 1132"/>
              <a:gd name="T69" fmla="*/ 1101 h 1132"/>
              <a:gd name="T70" fmla="*/ 384 w 1132"/>
              <a:gd name="T71" fmla="*/ 1097 h 1132"/>
              <a:gd name="T72" fmla="*/ 340 w 1132"/>
              <a:gd name="T73" fmla="*/ 1001 h 1132"/>
              <a:gd name="T74" fmla="*/ 273 w 1132"/>
              <a:gd name="T75" fmla="*/ 1043 h 1132"/>
              <a:gd name="T76" fmla="*/ 233 w 1132"/>
              <a:gd name="T77" fmla="*/ 992 h 1132"/>
              <a:gd name="T78" fmla="*/ 201 w 1132"/>
              <a:gd name="T79" fmla="*/ 964 h 1132"/>
              <a:gd name="T80" fmla="*/ 145 w 1132"/>
              <a:gd name="T81" fmla="*/ 934 h 1132"/>
              <a:gd name="T82" fmla="*/ 173 w 1132"/>
              <a:gd name="T83" fmla="*/ 859 h 1132"/>
              <a:gd name="T84" fmla="*/ 73 w 1132"/>
              <a:gd name="T85" fmla="*/ 838 h 1132"/>
              <a:gd name="T86" fmla="*/ 89 w 1132"/>
              <a:gd name="T87" fmla="*/ 761 h 1132"/>
              <a:gd name="T88" fmla="*/ 40 w 1132"/>
              <a:gd name="T89" fmla="*/ 736 h 1132"/>
              <a:gd name="T90" fmla="*/ 21 w 1132"/>
              <a:gd name="T91" fmla="*/ 677 h 1132"/>
              <a:gd name="T92" fmla="*/ 80 w 1132"/>
              <a:gd name="T93" fmla="*/ 624 h 1132"/>
              <a:gd name="T94" fmla="*/ 5 w 1132"/>
              <a:gd name="T95" fmla="*/ 549 h 1132"/>
              <a:gd name="T96" fmla="*/ 17 w 1132"/>
              <a:gd name="T97" fmla="*/ 484 h 1132"/>
              <a:gd name="T98" fmla="*/ 89 w 1132"/>
              <a:gd name="T99" fmla="*/ 454 h 1132"/>
              <a:gd name="T100" fmla="*/ 35 w 1132"/>
              <a:gd name="T101" fmla="*/ 370 h 1132"/>
              <a:gd name="T102" fmla="*/ 100 w 1132"/>
              <a:gd name="T103" fmla="*/ 319 h 1132"/>
              <a:gd name="T104" fmla="*/ 96 w 1132"/>
              <a:gd name="T105" fmla="*/ 270 h 1132"/>
              <a:gd name="T106" fmla="*/ 135 w 1132"/>
              <a:gd name="T107" fmla="*/ 226 h 1132"/>
              <a:gd name="T108" fmla="*/ 177 w 1132"/>
              <a:gd name="T109" fmla="*/ 209 h 1132"/>
              <a:gd name="T110" fmla="*/ 201 w 1132"/>
              <a:gd name="T111" fmla="*/ 137 h 1132"/>
              <a:gd name="T112" fmla="*/ 301 w 1132"/>
              <a:gd name="T113" fmla="*/ 151 h 1132"/>
              <a:gd name="T114" fmla="*/ 298 w 1132"/>
              <a:gd name="T115" fmla="*/ 72 h 1132"/>
              <a:gd name="T116" fmla="*/ 366 w 1132"/>
              <a:gd name="T117" fmla="*/ 67 h 1132"/>
              <a:gd name="T118" fmla="*/ 398 w 1132"/>
              <a:gd name="T119" fmla="*/ 42 h 1132"/>
              <a:gd name="T120" fmla="*/ 459 w 1132"/>
              <a:gd name="T121" fmla="*/ 16 h 1132"/>
              <a:gd name="T122" fmla="*/ 543 w 1132"/>
              <a:gd name="T123" fmla="*/ 74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2" h="1132">
                <a:moveTo>
                  <a:pt x="580" y="149"/>
                </a:moveTo>
                <a:lnTo>
                  <a:pt x="506" y="151"/>
                </a:lnTo>
                <a:lnTo>
                  <a:pt x="433" y="170"/>
                </a:lnTo>
                <a:lnTo>
                  <a:pt x="368" y="198"/>
                </a:lnTo>
                <a:lnTo>
                  <a:pt x="308" y="237"/>
                </a:lnTo>
                <a:lnTo>
                  <a:pt x="256" y="286"/>
                </a:lnTo>
                <a:lnTo>
                  <a:pt x="212" y="342"/>
                </a:lnTo>
                <a:lnTo>
                  <a:pt x="180" y="407"/>
                </a:lnTo>
                <a:lnTo>
                  <a:pt x="159" y="477"/>
                </a:lnTo>
                <a:lnTo>
                  <a:pt x="149" y="552"/>
                </a:lnTo>
                <a:lnTo>
                  <a:pt x="152" y="626"/>
                </a:lnTo>
                <a:lnTo>
                  <a:pt x="170" y="698"/>
                </a:lnTo>
                <a:lnTo>
                  <a:pt x="198" y="764"/>
                </a:lnTo>
                <a:lnTo>
                  <a:pt x="238" y="824"/>
                </a:lnTo>
                <a:lnTo>
                  <a:pt x="287" y="875"/>
                </a:lnTo>
                <a:lnTo>
                  <a:pt x="343" y="920"/>
                </a:lnTo>
                <a:lnTo>
                  <a:pt x="408" y="952"/>
                </a:lnTo>
                <a:lnTo>
                  <a:pt x="478" y="973"/>
                </a:lnTo>
                <a:lnTo>
                  <a:pt x="552" y="982"/>
                </a:lnTo>
                <a:lnTo>
                  <a:pt x="627" y="978"/>
                </a:lnTo>
                <a:lnTo>
                  <a:pt x="699" y="962"/>
                </a:lnTo>
                <a:lnTo>
                  <a:pt x="764" y="934"/>
                </a:lnTo>
                <a:lnTo>
                  <a:pt x="824" y="894"/>
                </a:lnTo>
                <a:lnTo>
                  <a:pt x="876" y="845"/>
                </a:lnTo>
                <a:lnTo>
                  <a:pt x="920" y="789"/>
                </a:lnTo>
                <a:lnTo>
                  <a:pt x="952" y="724"/>
                </a:lnTo>
                <a:lnTo>
                  <a:pt x="973" y="654"/>
                </a:lnTo>
                <a:lnTo>
                  <a:pt x="983" y="580"/>
                </a:lnTo>
                <a:lnTo>
                  <a:pt x="980" y="505"/>
                </a:lnTo>
                <a:lnTo>
                  <a:pt x="962" y="433"/>
                </a:lnTo>
                <a:lnTo>
                  <a:pt x="934" y="368"/>
                </a:lnTo>
                <a:lnTo>
                  <a:pt x="894" y="307"/>
                </a:lnTo>
                <a:lnTo>
                  <a:pt x="845" y="256"/>
                </a:lnTo>
                <a:lnTo>
                  <a:pt x="790" y="212"/>
                </a:lnTo>
                <a:lnTo>
                  <a:pt x="724" y="179"/>
                </a:lnTo>
                <a:lnTo>
                  <a:pt x="654" y="156"/>
                </a:lnTo>
                <a:lnTo>
                  <a:pt x="580" y="149"/>
                </a:lnTo>
                <a:close/>
                <a:moveTo>
                  <a:pt x="568" y="0"/>
                </a:moveTo>
                <a:lnTo>
                  <a:pt x="575" y="2"/>
                </a:lnTo>
                <a:lnTo>
                  <a:pt x="582" y="5"/>
                </a:lnTo>
                <a:lnTo>
                  <a:pt x="587" y="12"/>
                </a:lnTo>
                <a:lnTo>
                  <a:pt x="587" y="19"/>
                </a:lnTo>
                <a:lnTo>
                  <a:pt x="589" y="30"/>
                </a:lnTo>
                <a:lnTo>
                  <a:pt x="592" y="51"/>
                </a:lnTo>
                <a:lnTo>
                  <a:pt x="594" y="74"/>
                </a:lnTo>
                <a:lnTo>
                  <a:pt x="629" y="79"/>
                </a:lnTo>
                <a:lnTo>
                  <a:pt x="636" y="53"/>
                </a:lnTo>
                <a:lnTo>
                  <a:pt x="641" y="35"/>
                </a:lnTo>
                <a:lnTo>
                  <a:pt x="645" y="23"/>
                </a:lnTo>
                <a:lnTo>
                  <a:pt x="648" y="16"/>
                </a:lnTo>
                <a:lnTo>
                  <a:pt x="652" y="12"/>
                </a:lnTo>
                <a:lnTo>
                  <a:pt x="659" y="9"/>
                </a:lnTo>
                <a:lnTo>
                  <a:pt x="666" y="9"/>
                </a:lnTo>
                <a:lnTo>
                  <a:pt x="673" y="12"/>
                </a:lnTo>
                <a:lnTo>
                  <a:pt x="678" y="16"/>
                </a:lnTo>
                <a:lnTo>
                  <a:pt x="682" y="23"/>
                </a:lnTo>
                <a:lnTo>
                  <a:pt x="682" y="30"/>
                </a:lnTo>
                <a:lnTo>
                  <a:pt x="682" y="42"/>
                </a:lnTo>
                <a:lnTo>
                  <a:pt x="680" y="63"/>
                </a:lnTo>
                <a:lnTo>
                  <a:pt x="678" y="86"/>
                </a:lnTo>
                <a:lnTo>
                  <a:pt x="713" y="95"/>
                </a:lnTo>
                <a:lnTo>
                  <a:pt x="720" y="79"/>
                </a:lnTo>
                <a:lnTo>
                  <a:pt x="729" y="63"/>
                </a:lnTo>
                <a:lnTo>
                  <a:pt x="734" y="51"/>
                </a:lnTo>
                <a:lnTo>
                  <a:pt x="738" y="44"/>
                </a:lnTo>
                <a:lnTo>
                  <a:pt x="743" y="39"/>
                </a:lnTo>
                <a:lnTo>
                  <a:pt x="748" y="35"/>
                </a:lnTo>
                <a:lnTo>
                  <a:pt x="755" y="35"/>
                </a:lnTo>
                <a:lnTo>
                  <a:pt x="762" y="35"/>
                </a:lnTo>
                <a:lnTo>
                  <a:pt x="769" y="39"/>
                </a:lnTo>
                <a:lnTo>
                  <a:pt x="773" y="44"/>
                </a:lnTo>
                <a:lnTo>
                  <a:pt x="776" y="51"/>
                </a:lnTo>
                <a:lnTo>
                  <a:pt x="773" y="58"/>
                </a:lnTo>
                <a:lnTo>
                  <a:pt x="771" y="70"/>
                </a:lnTo>
                <a:lnTo>
                  <a:pt x="766" y="91"/>
                </a:lnTo>
                <a:lnTo>
                  <a:pt x="759" y="114"/>
                </a:lnTo>
                <a:lnTo>
                  <a:pt x="792" y="128"/>
                </a:lnTo>
                <a:lnTo>
                  <a:pt x="803" y="114"/>
                </a:lnTo>
                <a:lnTo>
                  <a:pt x="813" y="100"/>
                </a:lnTo>
                <a:lnTo>
                  <a:pt x="820" y="88"/>
                </a:lnTo>
                <a:lnTo>
                  <a:pt x="824" y="81"/>
                </a:lnTo>
                <a:lnTo>
                  <a:pt x="831" y="77"/>
                </a:lnTo>
                <a:lnTo>
                  <a:pt x="836" y="74"/>
                </a:lnTo>
                <a:lnTo>
                  <a:pt x="843" y="74"/>
                </a:lnTo>
                <a:lnTo>
                  <a:pt x="850" y="77"/>
                </a:lnTo>
                <a:lnTo>
                  <a:pt x="857" y="81"/>
                </a:lnTo>
                <a:lnTo>
                  <a:pt x="859" y="88"/>
                </a:lnTo>
                <a:lnTo>
                  <a:pt x="862" y="95"/>
                </a:lnTo>
                <a:lnTo>
                  <a:pt x="859" y="102"/>
                </a:lnTo>
                <a:lnTo>
                  <a:pt x="855" y="109"/>
                </a:lnTo>
                <a:lnTo>
                  <a:pt x="850" y="121"/>
                </a:lnTo>
                <a:lnTo>
                  <a:pt x="843" y="137"/>
                </a:lnTo>
                <a:lnTo>
                  <a:pt x="836" y="154"/>
                </a:lnTo>
                <a:lnTo>
                  <a:pt x="864" y="175"/>
                </a:lnTo>
                <a:lnTo>
                  <a:pt x="878" y="161"/>
                </a:lnTo>
                <a:lnTo>
                  <a:pt x="890" y="149"/>
                </a:lnTo>
                <a:lnTo>
                  <a:pt x="899" y="140"/>
                </a:lnTo>
                <a:lnTo>
                  <a:pt x="906" y="135"/>
                </a:lnTo>
                <a:lnTo>
                  <a:pt x="911" y="130"/>
                </a:lnTo>
                <a:lnTo>
                  <a:pt x="918" y="130"/>
                </a:lnTo>
                <a:lnTo>
                  <a:pt x="925" y="130"/>
                </a:lnTo>
                <a:lnTo>
                  <a:pt x="932" y="135"/>
                </a:lnTo>
                <a:lnTo>
                  <a:pt x="936" y="140"/>
                </a:lnTo>
                <a:lnTo>
                  <a:pt x="939" y="147"/>
                </a:lnTo>
                <a:lnTo>
                  <a:pt x="939" y="154"/>
                </a:lnTo>
                <a:lnTo>
                  <a:pt x="936" y="161"/>
                </a:lnTo>
                <a:lnTo>
                  <a:pt x="932" y="165"/>
                </a:lnTo>
                <a:lnTo>
                  <a:pt x="922" y="177"/>
                </a:lnTo>
                <a:lnTo>
                  <a:pt x="913" y="191"/>
                </a:lnTo>
                <a:lnTo>
                  <a:pt x="901" y="207"/>
                </a:lnTo>
                <a:lnTo>
                  <a:pt x="927" y="233"/>
                </a:lnTo>
                <a:lnTo>
                  <a:pt x="943" y="221"/>
                </a:lnTo>
                <a:lnTo>
                  <a:pt x="957" y="212"/>
                </a:lnTo>
                <a:lnTo>
                  <a:pt x="969" y="205"/>
                </a:lnTo>
                <a:lnTo>
                  <a:pt x="976" y="200"/>
                </a:lnTo>
                <a:lnTo>
                  <a:pt x="983" y="198"/>
                </a:lnTo>
                <a:lnTo>
                  <a:pt x="990" y="198"/>
                </a:lnTo>
                <a:lnTo>
                  <a:pt x="994" y="200"/>
                </a:lnTo>
                <a:lnTo>
                  <a:pt x="1001" y="205"/>
                </a:lnTo>
                <a:lnTo>
                  <a:pt x="1004" y="209"/>
                </a:lnTo>
                <a:lnTo>
                  <a:pt x="1006" y="216"/>
                </a:lnTo>
                <a:lnTo>
                  <a:pt x="1004" y="223"/>
                </a:lnTo>
                <a:lnTo>
                  <a:pt x="999" y="230"/>
                </a:lnTo>
                <a:lnTo>
                  <a:pt x="994" y="235"/>
                </a:lnTo>
                <a:lnTo>
                  <a:pt x="985" y="244"/>
                </a:lnTo>
                <a:lnTo>
                  <a:pt x="973" y="258"/>
                </a:lnTo>
                <a:lnTo>
                  <a:pt x="959" y="270"/>
                </a:lnTo>
                <a:lnTo>
                  <a:pt x="980" y="300"/>
                </a:lnTo>
                <a:lnTo>
                  <a:pt x="997" y="293"/>
                </a:lnTo>
                <a:lnTo>
                  <a:pt x="1013" y="286"/>
                </a:lnTo>
                <a:lnTo>
                  <a:pt x="1025" y="279"/>
                </a:lnTo>
                <a:lnTo>
                  <a:pt x="1032" y="277"/>
                </a:lnTo>
                <a:lnTo>
                  <a:pt x="1039" y="275"/>
                </a:lnTo>
                <a:lnTo>
                  <a:pt x="1046" y="277"/>
                </a:lnTo>
                <a:lnTo>
                  <a:pt x="1053" y="279"/>
                </a:lnTo>
                <a:lnTo>
                  <a:pt x="1057" y="284"/>
                </a:lnTo>
                <a:lnTo>
                  <a:pt x="1060" y="291"/>
                </a:lnTo>
                <a:lnTo>
                  <a:pt x="1060" y="298"/>
                </a:lnTo>
                <a:lnTo>
                  <a:pt x="1057" y="303"/>
                </a:lnTo>
                <a:lnTo>
                  <a:pt x="1055" y="307"/>
                </a:lnTo>
                <a:lnTo>
                  <a:pt x="1053" y="310"/>
                </a:lnTo>
                <a:lnTo>
                  <a:pt x="1046" y="314"/>
                </a:lnTo>
                <a:lnTo>
                  <a:pt x="1034" y="324"/>
                </a:lnTo>
                <a:lnTo>
                  <a:pt x="1020" y="333"/>
                </a:lnTo>
                <a:lnTo>
                  <a:pt x="1004" y="344"/>
                </a:lnTo>
                <a:lnTo>
                  <a:pt x="1020" y="377"/>
                </a:lnTo>
                <a:lnTo>
                  <a:pt x="1043" y="370"/>
                </a:lnTo>
                <a:lnTo>
                  <a:pt x="1064" y="365"/>
                </a:lnTo>
                <a:lnTo>
                  <a:pt x="1076" y="361"/>
                </a:lnTo>
                <a:lnTo>
                  <a:pt x="1083" y="361"/>
                </a:lnTo>
                <a:lnTo>
                  <a:pt x="1090" y="363"/>
                </a:lnTo>
                <a:lnTo>
                  <a:pt x="1094" y="368"/>
                </a:lnTo>
                <a:lnTo>
                  <a:pt x="1097" y="375"/>
                </a:lnTo>
                <a:lnTo>
                  <a:pt x="1099" y="382"/>
                </a:lnTo>
                <a:lnTo>
                  <a:pt x="1097" y="389"/>
                </a:lnTo>
                <a:lnTo>
                  <a:pt x="1094" y="393"/>
                </a:lnTo>
                <a:lnTo>
                  <a:pt x="1087" y="398"/>
                </a:lnTo>
                <a:lnTo>
                  <a:pt x="1081" y="403"/>
                </a:lnTo>
                <a:lnTo>
                  <a:pt x="1069" y="407"/>
                </a:lnTo>
                <a:lnTo>
                  <a:pt x="1053" y="414"/>
                </a:lnTo>
                <a:lnTo>
                  <a:pt x="1036" y="424"/>
                </a:lnTo>
                <a:lnTo>
                  <a:pt x="1046" y="459"/>
                </a:lnTo>
                <a:lnTo>
                  <a:pt x="1071" y="456"/>
                </a:lnTo>
                <a:lnTo>
                  <a:pt x="1092" y="454"/>
                </a:lnTo>
                <a:lnTo>
                  <a:pt x="1104" y="454"/>
                </a:lnTo>
                <a:lnTo>
                  <a:pt x="1111" y="454"/>
                </a:lnTo>
                <a:lnTo>
                  <a:pt x="1115" y="459"/>
                </a:lnTo>
                <a:lnTo>
                  <a:pt x="1120" y="463"/>
                </a:lnTo>
                <a:lnTo>
                  <a:pt x="1122" y="470"/>
                </a:lnTo>
                <a:lnTo>
                  <a:pt x="1122" y="477"/>
                </a:lnTo>
                <a:lnTo>
                  <a:pt x="1120" y="484"/>
                </a:lnTo>
                <a:lnTo>
                  <a:pt x="1115" y="489"/>
                </a:lnTo>
                <a:lnTo>
                  <a:pt x="1111" y="491"/>
                </a:lnTo>
                <a:lnTo>
                  <a:pt x="1099" y="496"/>
                </a:lnTo>
                <a:lnTo>
                  <a:pt x="1078" y="500"/>
                </a:lnTo>
                <a:lnTo>
                  <a:pt x="1055" y="507"/>
                </a:lnTo>
                <a:lnTo>
                  <a:pt x="1057" y="542"/>
                </a:lnTo>
                <a:lnTo>
                  <a:pt x="1081" y="545"/>
                </a:lnTo>
                <a:lnTo>
                  <a:pt x="1101" y="547"/>
                </a:lnTo>
                <a:lnTo>
                  <a:pt x="1115" y="549"/>
                </a:lnTo>
                <a:lnTo>
                  <a:pt x="1120" y="549"/>
                </a:lnTo>
                <a:lnTo>
                  <a:pt x="1127" y="554"/>
                </a:lnTo>
                <a:lnTo>
                  <a:pt x="1129" y="561"/>
                </a:lnTo>
                <a:lnTo>
                  <a:pt x="1132" y="568"/>
                </a:lnTo>
                <a:lnTo>
                  <a:pt x="1129" y="575"/>
                </a:lnTo>
                <a:lnTo>
                  <a:pt x="1127" y="582"/>
                </a:lnTo>
                <a:lnTo>
                  <a:pt x="1120" y="584"/>
                </a:lnTo>
                <a:lnTo>
                  <a:pt x="1113" y="587"/>
                </a:lnTo>
                <a:lnTo>
                  <a:pt x="1101" y="589"/>
                </a:lnTo>
                <a:lnTo>
                  <a:pt x="1081" y="591"/>
                </a:lnTo>
                <a:lnTo>
                  <a:pt x="1057" y="594"/>
                </a:lnTo>
                <a:lnTo>
                  <a:pt x="1053" y="629"/>
                </a:lnTo>
                <a:lnTo>
                  <a:pt x="1078" y="636"/>
                </a:lnTo>
                <a:lnTo>
                  <a:pt x="1097" y="640"/>
                </a:lnTo>
                <a:lnTo>
                  <a:pt x="1108" y="645"/>
                </a:lnTo>
                <a:lnTo>
                  <a:pt x="1115" y="647"/>
                </a:lnTo>
                <a:lnTo>
                  <a:pt x="1120" y="652"/>
                </a:lnTo>
                <a:lnTo>
                  <a:pt x="1122" y="659"/>
                </a:lnTo>
                <a:lnTo>
                  <a:pt x="1122" y="666"/>
                </a:lnTo>
                <a:lnTo>
                  <a:pt x="1120" y="673"/>
                </a:lnTo>
                <a:lnTo>
                  <a:pt x="1115" y="677"/>
                </a:lnTo>
                <a:lnTo>
                  <a:pt x="1108" y="682"/>
                </a:lnTo>
                <a:lnTo>
                  <a:pt x="1101" y="682"/>
                </a:lnTo>
                <a:lnTo>
                  <a:pt x="1090" y="682"/>
                </a:lnTo>
                <a:lnTo>
                  <a:pt x="1069" y="680"/>
                </a:lnTo>
                <a:lnTo>
                  <a:pt x="1046" y="677"/>
                </a:lnTo>
                <a:lnTo>
                  <a:pt x="1036" y="712"/>
                </a:lnTo>
                <a:lnTo>
                  <a:pt x="1053" y="719"/>
                </a:lnTo>
                <a:lnTo>
                  <a:pt x="1067" y="726"/>
                </a:lnTo>
                <a:lnTo>
                  <a:pt x="1081" y="733"/>
                </a:lnTo>
                <a:lnTo>
                  <a:pt x="1087" y="736"/>
                </a:lnTo>
                <a:lnTo>
                  <a:pt x="1092" y="740"/>
                </a:lnTo>
                <a:lnTo>
                  <a:pt x="1094" y="743"/>
                </a:lnTo>
                <a:lnTo>
                  <a:pt x="1097" y="747"/>
                </a:lnTo>
                <a:lnTo>
                  <a:pt x="1097" y="754"/>
                </a:lnTo>
                <a:lnTo>
                  <a:pt x="1097" y="761"/>
                </a:lnTo>
                <a:lnTo>
                  <a:pt x="1092" y="768"/>
                </a:lnTo>
                <a:lnTo>
                  <a:pt x="1087" y="771"/>
                </a:lnTo>
                <a:lnTo>
                  <a:pt x="1081" y="773"/>
                </a:lnTo>
                <a:lnTo>
                  <a:pt x="1074" y="773"/>
                </a:lnTo>
                <a:lnTo>
                  <a:pt x="1062" y="771"/>
                </a:lnTo>
                <a:lnTo>
                  <a:pt x="1041" y="766"/>
                </a:lnTo>
                <a:lnTo>
                  <a:pt x="1018" y="759"/>
                </a:lnTo>
                <a:lnTo>
                  <a:pt x="1004" y="792"/>
                </a:lnTo>
                <a:lnTo>
                  <a:pt x="1018" y="801"/>
                </a:lnTo>
                <a:lnTo>
                  <a:pt x="1032" y="813"/>
                </a:lnTo>
                <a:lnTo>
                  <a:pt x="1043" y="819"/>
                </a:lnTo>
                <a:lnTo>
                  <a:pt x="1050" y="824"/>
                </a:lnTo>
                <a:lnTo>
                  <a:pt x="1055" y="829"/>
                </a:lnTo>
                <a:lnTo>
                  <a:pt x="1057" y="836"/>
                </a:lnTo>
                <a:lnTo>
                  <a:pt x="1057" y="843"/>
                </a:lnTo>
                <a:lnTo>
                  <a:pt x="1055" y="850"/>
                </a:lnTo>
                <a:lnTo>
                  <a:pt x="1050" y="854"/>
                </a:lnTo>
                <a:lnTo>
                  <a:pt x="1043" y="859"/>
                </a:lnTo>
                <a:lnTo>
                  <a:pt x="1036" y="859"/>
                </a:lnTo>
                <a:lnTo>
                  <a:pt x="1029" y="859"/>
                </a:lnTo>
                <a:lnTo>
                  <a:pt x="1022" y="854"/>
                </a:lnTo>
                <a:lnTo>
                  <a:pt x="1011" y="850"/>
                </a:lnTo>
                <a:lnTo>
                  <a:pt x="994" y="843"/>
                </a:lnTo>
                <a:lnTo>
                  <a:pt x="978" y="833"/>
                </a:lnTo>
                <a:lnTo>
                  <a:pt x="957" y="864"/>
                </a:lnTo>
                <a:lnTo>
                  <a:pt x="969" y="878"/>
                </a:lnTo>
                <a:lnTo>
                  <a:pt x="983" y="889"/>
                </a:lnTo>
                <a:lnTo>
                  <a:pt x="992" y="899"/>
                </a:lnTo>
                <a:lnTo>
                  <a:pt x="997" y="906"/>
                </a:lnTo>
                <a:lnTo>
                  <a:pt x="1001" y="910"/>
                </a:lnTo>
                <a:lnTo>
                  <a:pt x="1001" y="917"/>
                </a:lnTo>
                <a:lnTo>
                  <a:pt x="1001" y="924"/>
                </a:lnTo>
                <a:lnTo>
                  <a:pt x="997" y="931"/>
                </a:lnTo>
                <a:lnTo>
                  <a:pt x="992" y="936"/>
                </a:lnTo>
                <a:lnTo>
                  <a:pt x="985" y="938"/>
                </a:lnTo>
                <a:lnTo>
                  <a:pt x="978" y="938"/>
                </a:lnTo>
                <a:lnTo>
                  <a:pt x="971" y="934"/>
                </a:lnTo>
                <a:lnTo>
                  <a:pt x="966" y="929"/>
                </a:lnTo>
                <a:lnTo>
                  <a:pt x="955" y="922"/>
                </a:lnTo>
                <a:lnTo>
                  <a:pt x="941" y="913"/>
                </a:lnTo>
                <a:lnTo>
                  <a:pt x="925" y="901"/>
                </a:lnTo>
                <a:lnTo>
                  <a:pt x="899" y="927"/>
                </a:lnTo>
                <a:lnTo>
                  <a:pt x="911" y="943"/>
                </a:lnTo>
                <a:lnTo>
                  <a:pt x="920" y="957"/>
                </a:lnTo>
                <a:lnTo>
                  <a:pt x="927" y="969"/>
                </a:lnTo>
                <a:lnTo>
                  <a:pt x="932" y="976"/>
                </a:lnTo>
                <a:lnTo>
                  <a:pt x="934" y="980"/>
                </a:lnTo>
                <a:lnTo>
                  <a:pt x="934" y="987"/>
                </a:lnTo>
                <a:lnTo>
                  <a:pt x="932" y="994"/>
                </a:lnTo>
                <a:lnTo>
                  <a:pt x="927" y="999"/>
                </a:lnTo>
                <a:lnTo>
                  <a:pt x="922" y="1003"/>
                </a:lnTo>
                <a:lnTo>
                  <a:pt x="915" y="1003"/>
                </a:lnTo>
                <a:lnTo>
                  <a:pt x="908" y="1003"/>
                </a:lnTo>
                <a:lnTo>
                  <a:pt x="901" y="999"/>
                </a:lnTo>
                <a:lnTo>
                  <a:pt x="897" y="994"/>
                </a:lnTo>
                <a:lnTo>
                  <a:pt x="887" y="985"/>
                </a:lnTo>
                <a:lnTo>
                  <a:pt x="873" y="971"/>
                </a:lnTo>
                <a:lnTo>
                  <a:pt x="862" y="959"/>
                </a:lnTo>
                <a:lnTo>
                  <a:pt x="831" y="980"/>
                </a:lnTo>
                <a:lnTo>
                  <a:pt x="838" y="996"/>
                </a:lnTo>
                <a:lnTo>
                  <a:pt x="845" y="1013"/>
                </a:lnTo>
                <a:lnTo>
                  <a:pt x="852" y="1024"/>
                </a:lnTo>
                <a:lnTo>
                  <a:pt x="855" y="1031"/>
                </a:lnTo>
                <a:lnTo>
                  <a:pt x="857" y="1038"/>
                </a:lnTo>
                <a:lnTo>
                  <a:pt x="855" y="1045"/>
                </a:lnTo>
                <a:lnTo>
                  <a:pt x="852" y="1052"/>
                </a:lnTo>
                <a:lnTo>
                  <a:pt x="845" y="1055"/>
                </a:lnTo>
                <a:lnTo>
                  <a:pt x="841" y="1059"/>
                </a:lnTo>
                <a:lnTo>
                  <a:pt x="834" y="1059"/>
                </a:lnTo>
                <a:lnTo>
                  <a:pt x="829" y="1055"/>
                </a:lnTo>
                <a:lnTo>
                  <a:pt x="824" y="1055"/>
                </a:lnTo>
                <a:lnTo>
                  <a:pt x="822" y="1050"/>
                </a:lnTo>
                <a:lnTo>
                  <a:pt x="817" y="1045"/>
                </a:lnTo>
                <a:lnTo>
                  <a:pt x="808" y="1034"/>
                </a:lnTo>
                <a:lnTo>
                  <a:pt x="799" y="1020"/>
                </a:lnTo>
                <a:lnTo>
                  <a:pt x="787" y="1003"/>
                </a:lnTo>
                <a:lnTo>
                  <a:pt x="755" y="1020"/>
                </a:lnTo>
                <a:lnTo>
                  <a:pt x="762" y="1043"/>
                </a:lnTo>
                <a:lnTo>
                  <a:pt x="766" y="1064"/>
                </a:lnTo>
                <a:lnTo>
                  <a:pt x="771" y="1076"/>
                </a:lnTo>
                <a:lnTo>
                  <a:pt x="771" y="1083"/>
                </a:lnTo>
                <a:lnTo>
                  <a:pt x="769" y="1087"/>
                </a:lnTo>
                <a:lnTo>
                  <a:pt x="764" y="1094"/>
                </a:lnTo>
                <a:lnTo>
                  <a:pt x="757" y="1097"/>
                </a:lnTo>
                <a:lnTo>
                  <a:pt x="750" y="1099"/>
                </a:lnTo>
                <a:lnTo>
                  <a:pt x="743" y="1097"/>
                </a:lnTo>
                <a:lnTo>
                  <a:pt x="738" y="1094"/>
                </a:lnTo>
                <a:lnTo>
                  <a:pt x="734" y="1087"/>
                </a:lnTo>
                <a:lnTo>
                  <a:pt x="729" y="1080"/>
                </a:lnTo>
                <a:lnTo>
                  <a:pt x="724" y="1069"/>
                </a:lnTo>
                <a:lnTo>
                  <a:pt x="717" y="1052"/>
                </a:lnTo>
                <a:lnTo>
                  <a:pt x="708" y="1036"/>
                </a:lnTo>
                <a:lnTo>
                  <a:pt x="673" y="1045"/>
                </a:lnTo>
                <a:lnTo>
                  <a:pt x="675" y="1069"/>
                </a:lnTo>
                <a:lnTo>
                  <a:pt x="678" y="1090"/>
                </a:lnTo>
                <a:lnTo>
                  <a:pt x="678" y="1101"/>
                </a:lnTo>
                <a:lnTo>
                  <a:pt x="678" y="1111"/>
                </a:lnTo>
                <a:lnTo>
                  <a:pt x="673" y="1115"/>
                </a:lnTo>
                <a:lnTo>
                  <a:pt x="668" y="1120"/>
                </a:lnTo>
                <a:lnTo>
                  <a:pt x="661" y="1122"/>
                </a:lnTo>
                <a:lnTo>
                  <a:pt x="654" y="1122"/>
                </a:lnTo>
                <a:lnTo>
                  <a:pt x="648" y="1120"/>
                </a:lnTo>
                <a:lnTo>
                  <a:pt x="643" y="1115"/>
                </a:lnTo>
                <a:lnTo>
                  <a:pt x="641" y="1108"/>
                </a:lnTo>
                <a:lnTo>
                  <a:pt x="636" y="1097"/>
                </a:lnTo>
                <a:lnTo>
                  <a:pt x="631" y="1078"/>
                </a:lnTo>
                <a:lnTo>
                  <a:pt x="624" y="1052"/>
                </a:lnTo>
                <a:lnTo>
                  <a:pt x="589" y="1055"/>
                </a:lnTo>
                <a:lnTo>
                  <a:pt x="587" y="1080"/>
                </a:lnTo>
                <a:lnTo>
                  <a:pt x="585" y="1101"/>
                </a:lnTo>
                <a:lnTo>
                  <a:pt x="582" y="1113"/>
                </a:lnTo>
                <a:lnTo>
                  <a:pt x="582" y="1120"/>
                </a:lnTo>
                <a:lnTo>
                  <a:pt x="578" y="1127"/>
                </a:lnTo>
                <a:lnTo>
                  <a:pt x="571" y="1129"/>
                </a:lnTo>
                <a:lnTo>
                  <a:pt x="564" y="1132"/>
                </a:lnTo>
                <a:lnTo>
                  <a:pt x="557" y="1129"/>
                </a:lnTo>
                <a:lnTo>
                  <a:pt x="550" y="1125"/>
                </a:lnTo>
                <a:lnTo>
                  <a:pt x="547" y="1120"/>
                </a:lnTo>
                <a:lnTo>
                  <a:pt x="545" y="1113"/>
                </a:lnTo>
                <a:lnTo>
                  <a:pt x="543" y="1101"/>
                </a:lnTo>
                <a:lnTo>
                  <a:pt x="540" y="1080"/>
                </a:lnTo>
                <a:lnTo>
                  <a:pt x="538" y="1055"/>
                </a:lnTo>
                <a:lnTo>
                  <a:pt x="503" y="1052"/>
                </a:lnTo>
                <a:lnTo>
                  <a:pt x="496" y="1076"/>
                </a:lnTo>
                <a:lnTo>
                  <a:pt x="492" y="1097"/>
                </a:lnTo>
                <a:lnTo>
                  <a:pt x="487" y="1108"/>
                </a:lnTo>
                <a:lnTo>
                  <a:pt x="485" y="1115"/>
                </a:lnTo>
                <a:lnTo>
                  <a:pt x="480" y="1120"/>
                </a:lnTo>
                <a:lnTo>
                  <a:pt x="473" y="1122"/>
                </a:lnTo>
                <a:lnTo>
                  <a:pt x="466" y="1122"/>
                </a:lnTo>
                <a:lnTo>
                  <a:pt x="459" y="1120"/>
                </a:lnTo>
                <a:lnTo>
                  <a:pt x="454" y="1115"/>
                </a:lnTo>
                <a:lnTo>
                  <a:pt x="450" y="1108"/>
                </a:lnTo>
                <a:lnTo>
                  <a:pt x="450" y="1101"/>
                </a:lnTo>
                <a:lnTo>
                  <a:pt x="450" y="1090"/>
                </a:lnTo>
                <a:lnTo>
                  <a:pt x="452" y="1069"/>
                </a:lnTo>
                <a:lnTo>
                  <a:pt x="454" y="1043"/>
                </a:lnTo>
                <a:lnTo>
                  <a:pt x="419" y="1034"/>
                </a:lnTo>
                <a:lnTo>
                  <a:pt x="412" y="1052"/>
                </a:lnTo>
                <a:lnTo>
                  <a:pt x="403" y="1066"/>
                </a:lnTo>
                <a:lnTo>
                  <a:pt x="398" y="1080"/>
                </a:lnTo>
                <a:lnTo>
                  <a:pt x="394" y="1087"/>
                </a:lnTo>
                <a:lnTo>
                  <a:pt x="391" y="1092"/>
                </a:lnTo>
                <a:lnTo>
                  <a:pt x="384" y="1097"/>
                </a:lnTo>
                <a:lnTo>
                  <a:pt x="377" y="1097"/>
                </a:lnTo>
                <a:lnTo>
                  <a:pt x="370" y="1097"/>
                </a:lnTo>
                <a:lnTo>
                  <a:pt x="364" y="1092"/>
                </a:lnTo>
                <a:lnTo>
                  <a:pt x="361" y="1087"/>
                </a:lnTo>
                <a:lnTo>
                  <a:pt x="359" y="1080"/>
                </a:lnTo>
                <a:lnTo>
                  <a:pt x="359" y="1073"/>
                </a:lnTo>
                <a:lnTo>
                  <a:pt x="361" y="1062"/>
                </a:lnTo>
                <a:lnTo>
                  <a:pt x="366" y="1041"/>
                </a:lnTo>
                <a:lnTo>
                  <a:pt x="373" y="1017"/>
                </a:lnTo>
                <a:lnTo>
                  <a:pt x="340" y="1001"/>
                </a:lnTo>
                <a:lnTo>
                  <a:pt x="329" y="1017"/>
                </a:lnTo>
                <a:lnTo>
                  <a:pt x="319" y="1031"/>
                </a:lnTo>
                <a:lnTo>
                  <a:pt x="312" y="1043"/>
                </a:lnTo>
                <a:lnTo>
                  <a:pt x="308" y="1048"/>
                </a:lnTo>
                <a:lnTo>
                  <a:pt x="301" y="1055"/>
                </a:lnTo>
                <a:lnTo>
                  <a:pt x="296" y="1055"/>
                </a:lnTo>
                <a:lnTo>
                  <a:pt x="289" y="1055"/>
                </a:lnTo>
                <a:lnTo>
                  <a:pt x="282" y="1055"/>
                </a:lnTo>
                <a:lnTo>
                  <a:pt x="275" y="1050"/>
                </a:lnTo>
                <a:lnTo>
                  <a:pt x="273" y="1043"/>
                </a:lnTo>
                <a:lnTo>
                  <a:pt x="273" y="1036"/>
                </a:lnTo>
                <a:lnTo>
                  <a:pt x="273" y="1029"/>
                </a:lnTo>
                <a:lnTo>
                  <a:pt x="277" y="1022"/>
                </a:lnTo>
                <a:lnTo>
                  <a:pt x="282" y="1010"/>
                </a:lnTo>
                <a:lnTo>
                  <a:pt x="289" y="994"/>
                </a:lnTo>
                <a:lnTo>
                  <a:pt x="298" y="978"/>
                </a:lnTo>
                <a:lnTo>
                  <a:pt x="268" y="957"/>
                </a:lnTo>
                <a:lnTo>
                  <a:pt x="254" y="969"/>
                </a:lnTo>
                <a:lnTo>
                  <a:pt x="242" y="980"/>
                </a:lnTo>
                <a:lnTo>
                  <a:pt x="233" y="992"/>
                </a:lnTo>
                <a:lnTo>
                  <a:pt x="226" y="996"/>
                </a:lnTo>
                <a:lnTo>
                  <a:pt x="222" y="1001"/>
                </a:lnTo>
                <a:lnTo>
                  <a:pt x="215" y="1001"/>
                </a:lnTo>
                <a:lnTo>
                  <a:pt x="208" y="1001"/>
                </a:lnTo>
                <a:lnTo>
                  <a:pt x="201" y="996"/>
                </a:lnTo>
                <a:lnTo>
                  <a:pt x="196" y="992"/>
                </a:lnTo>
                <a:lnTo>
                  <a:pt x="194" y="985"/>
                </a:lnTo>
                <a:lnTo>
                  <a:pt x="194" y="978"/>
                </a:lnTo>
                <a:lnTo>
                  <a:pt x="198" y="971"/>
                </a:lnTo>
                <a:lnTo>
                  <a:pt x="201" y="964"/>
                </a:lnTo>
                <a:lnTo>
                  <a:pt x="210" y="955"/>
                </a:lnTo>
                <a:lnTo>
                  <a:pt x="219" y="938"/>
                </a:lnTo>
                <a:lnTo>
                  <a:pt x="231" y="924"/>
                </a:lnTo>
                <a:lnTo>
                  <a:pt x="205" y="899"/>
                </a:lnTo>
                <a:lnTo>
                  <a:pt x="189" y="908"/>
                </a:lnTo>
                <a:lnTo>
                  <a:pt x="175" y="920"/>
                </a:lnTo>
                <a:lnTo>
                  <a:pt x="163" y="927"/>
                </a:lnTo>
                <a:lnTo>
                  <a:pt x="156" y="931"/>
                </a:lnTo>
                <a:lnTo>
                  <a:pt x="152" y="934"/>
                </a:lnTo>
                <a:lnTo>
                  <a:pt x="145" y="934"/>
                </a:lnTo>
                <a:lnTo>
                  <a:pt x="138" y="931"/>
                </a:lnTo>
                <a:lnTo>
                  <a:pt x="131" y="927"/>
                </a:lnTo>
                <a:lnTo>
                  <a:pt x="128" y="920"/>
                </a:lnTo>
                <a:lnTo>
                  <a:pt x="126" y="913"/>
                </a:lnTo>
                <a:lnTo>
                  <a:pt x="128" y="908"/>
                </a:lnTo>
                <a:lnTo>
                  <a:pt x="133" y="901"/>
                </a:lnTo>
                <a:lnTo>
                  <a:pt x="138" y="896"/>
                </a:lnTo>
                <a:lnTo>
                  <a:pt x="147" y="885"/>
                </a:lnTo>
                <a:lnTo>
                  <a:pt x="161" y="873"/>
                </a:lnTo>
                <a:lnTo>
                  <a:pt x="173" y="859"/>
                </a:lnTo>
                <a:lnTo>
                  <a:pt x="152" y="831"/>
                </a:lnTo>
                <a:lnTo>
                  <a:pt x="135" y="838"/>
                </a:lnTo>
                <a:lnTo>
                  <a:pt x="119" y="845"/>
                </a:lnTo>
                <a:lnTo>
                  <a:pt x="107" y="852"/>
                </a:lnTo>
                <a:lnTo>
                  <a:pt x="100" y="854"/>
                </a:lnTo>
                <a:lnTo>
                  <a:pt x="93" y="857"/>
                </a:lnTo>
                <a:lnTo>
                  <a:pt x="86" y="854"/>
                </a:lnTo>
                <a:lnTo>
                  <a:pt x="80" y="852"/>
                </a:lnTo>
                <a:lnTo>
                  <a:pt x="75" y="845"/>
                </a:lnTo>
                <a:lnTo>
                  <a:pt x="73" y="838"/>
                </a:lnTo>
                <a:lnTo>
                  <a:pt x="73" y="831"/>
                </a:lnTo>
                <a:lnTo>
                  <a:pt x="75" y="829"/>
                </a:lnTo>
                <a:lnTo>
                  <a:pt x="77" y="824"/>
                </a:lnTo>
                <a:lnTo>
                  <a:pt x="82" y="819"/>
                </a:lnTo>
                <a:lnTo>
                  <a:pt x="86" y="815"/>
                </a:lnTo>
                <a:lnTo>
                  <a:pt x="98" y="808"/>
                </a:lnTo>
                <a:lnTo>
                  <a:pt x="112" y="799"/>
                </a:lnTo>
                <a:lnTo>
                  <a:pt x="128" y="787"/>
                </a:lnTo>
                <a:lnTo>
                  <a:pt x="112" y="754"/>
                </a:lnTo>
                <a:lnTo>
                  <a:pt x="89" y="761"/>
                </a:lnTo>
                <a:lnTo>
                  <a:pt x="68" y="766"/>
                </a:lnTo>
                <a:lnTo>
                  <a:pt x="56" y="768"/>
                </a:lnTo>
                <a:lnTo>
                  <a:pt x="49" y="768"/>
                </a:lnTo>
                <a:lnTo>
                  <a:pt x="42" y="766"/>
                </a:lnTo>
                <a:lnTo>
                  <a:pt x="38" y="764"/>
                </a:lnTo>
                <a:lnTo>
                  <a:pt x="35" y="757"/>
                </a:lnTo>
                <a:lnTo>
                  <a:pt x="33" y="750"/>
                </a:lnTo>
                <a:lnTo>
                  <a:pt x="35" y="743"/>
                </a:lnTo>
                <a:lnTo>
                  <a:pt x="38" y="738"/>
                </a:lnTo>
                <a:lnTo>
                  <a:pt x="40" y="736"/>
                </a:lnTo>
                <a:lnTo>
                  <a:pt x="45" y="733"/>
                </a:lnTo>
                <a:lnTo>
                  <a:pt x="52" y="729"/>
                </a:lnTo>
                <a:lnTo>
                  <a:pt x="63" y="724"/>
                </a:lnTo>
                <a:lnTo>
                  <a:pt x="80" y="715"/>
                </a:lnTo>
                <a:lnTo>
                  <a:pt x="96" y="708"/>
                </a:lnTo>
                <a:lnTo>
                  <a:pt x="86" y="673"/>
                </a:lnTo>
                <a:lnTo>
                  <a:pt x="63" y="675"/>
                </a:lnTo>
                <a:lnTo>
                  <a:pt x="42" y="677"/>
                </a:lnTo>
                <a:lnTo>
                  <a:pt x="28" y="677"/>
                </a:lnTo>
                <a:lnTo>
                  <a:pt x="21" y="677"/>
                </a:lnTo>
                <a:lnTo>
                  <a:pt x="17" y="673"/>
                </a:lnTo>
                <a:lnTo>
                  <a:pt x="12" y="668"/>
                </a:lnTo>
                <a:lnTo>
                  <a:pt x="10" y="661"/>
                </a:lnTo>
                <a:lnTo>
                  <a:pt x="10" y="654"/>
                </a:lnTo>
                <a:lnTo>
                  <a:pt x="12" y="647"/>
                </a:lnTo>
                <a:lnTo>
                  <a:pt x="17" y="643"/>
                </a:lnTo>
                <a:lnTo>
                  <a:pt x="24" y="638"/>
                </a:lnTo>
                <a:lnTo>
                  <a:pt x="35" y="636"/>
                </a:lnTo>
                <a:lnTo>
                  <a:pt x="54" y="631"/>
                </a:lnTo>
                <a:lnTo>
                  <a:pt x="80" y="624"/>
                </a:lnTo>
                <a:lnTo>
                  <a:pt x="75" y="589"/>
                </a:lnTo>
                <a:lnTo>
                  <a:pt x="52" y="587"/>
                </a:lnTo>
                <a:lnTo>
                  <a:pt x="31" y="584"/>
                </a:lnTo>
                <a:lnTo>
                  <a:pt x="19" y="582"/>
                </a:lnTo>
                <a:lnTo>
                  <a:pt x="12" y="580"/>
                </a:lnTo>
                <a:lnTo>
                  <a:pt x="5" y="575"/>
                </a:lnTo>
                <a:lnTo>
                  <a:pt x="3" y="570"/>
                </a:lnTo>
                <a:lnTo>
                  <a:pt x="0" y="563"/>
                </a:lnTo>
                <a:lnTo>
                  <a:pt x="3" y="556"/>
                </a:lnTo>
                <a:lnTo>
                  <a:pt x="5" y="549"/>
                </a:lnTo>
                <a:lnTo>
                  <a:pt x="12" y="545"/>
                </a:lnTo>
                <a:lnTo>
                  <a:pt x="19" y="542"/>
                </a:lnTo>
                <a:lnTo>
                  <a:pt x="31" y="542"/>
                </a:lnTo>
                <a:lnTo>
                  <a:pt x="52" y="540"/>
                </a:lnTo>
                <a:lnTo>
                  <a:pt x="75" y="538"/>
                </a:lnTo>
                <a:lnTo>
                  <a:pt x="80" y="503"/>
                </a:lnTo>
                <a:lnTo>
                  <a:pt x="56" y="496"/>
                </a:lnTo>
                <a:lnTo>
                  <a:pt x="35" y="491"/>
                </a:lnTo>
                <a:lnTo>
                  <a:pt x="24" y="487"/>
                </a:lnTo>
                <a:lnTo>
                  <a:pt x="17" y="484"/>
                </a:lnTo>
                <a:lnTo>
                  <a:pt x="12" y="480"/>
                </a:lnTo>
                <a:lnTo>
                  <a:pt x="10" y="473"/>
                </a:lnTo>
                <a:lnTo>
                  <a:pt x="10" y="466"/>
                </a:lnTo>
                <a:lnTo>
                  <a:pt x="12" y="459"/>
                </a:lnTo>
                <a:lnTo>
                  <a:pt x="17" y="454"/>
                </a:lnTo>
                <a:lnTo>
                  <a:pt x="24" y="449"/>
                </a:lnTo>
                <a:lnTo>
                  <a:pt x="31" y="449"/>
                </a:lnTo>
                <a:lnTo>
                  <a:pt x="42" y="449"/>
                </a:lnTo>
                <a:lnTo>
                  <a:pt x="63" y="452"/>
                </a:lnTo>
                <a:lnTo>
                  <a:pt x="89" y="454"/>
                </a:lnTo>
                <a:lnTo>
                  <a:pt x="98" y="419"/>
                </a:lnTo>
                <a:lnTo>
                  <a:pt x="80" y="412"/>
                </a:lnTo>
                <a:lnTo>
                  <a:pt x="66" y="403"/>
                </a:lnTo>
                <a:lnTo>
                  <a:pt x="52" y="398"/>
                </a:lnTo>
                <a:lnTo>
                  <a:pt x="45" y="393"/>
                </a:lnTo>
                <a:lnTo>
                  <a:pt x="42" y="391"/>
                </a:lnTo>
                <a:lnTo>
                  <a:pt x="38" y="389"/>
                </a:lnTo>
                <a:lnTo>
                  <a:pt x="35" y="384"/>
                </a:lnTo>
                <a:lnTo>
                  <a:pt x="35" y="377"/>
                </a:lnTo>
                <a:lnTo>
                  <a:pt x="35" y="370"/>
                </a:lnTo>
                <a:lnTo>
                  <a:pt x="40" y="363"/>
                </a:lnTo>
                <a:lnTo>
                  <a:pt x="45" y="358"/>
                </a:lnTo>
                <a:lnTo>
                  <a:pt x="52" y="356"/>
                </a:lnTo>
                <a:lnTo>
                  <a:pt x="59" y="358"/>
                </a:lnTo>
                <a:lnTo>
                  <a:pt x="70" y="361"/>
                </a:lnTo>
                <a:lnTo>
                  <a:pt x="91" y="365"/>
                </a:lnTo>
                <a:lnTo>
                  <a:pt x="114" y="372"/>
                </a:lnTo>
                <a:lnTo>
                  <a:pt x="131" y="340"/>
                </a:lnTo>
                <a:lnTo>
                  <a:pt x="114" y="328"/>
                </a:lnTo>
                <a:lnTo>
                  <a:pt x="100" y="319"/>
                </a:lnTo>
                <a:lnTo>
                  <a:pt x="89" y="310"/>
                </a:lnTo>
                <a:lnTo>
                  <a:pt x="82" y="307"/>
                </a:lnTo>
                <a:lnTo>
                  <a:pt x="80" y="303"/>
                </a:lnTo>
                <a:lnTo>
                  <a:pt x="77" y="298"/>
                </a:lnTo>
                <a:lnTo>
                  <a:pt x="75" y="293"/>
                </a:lnTo>
                <a:lnTo>
                  <a:pt x="75" y="286"/>
                </a:lnTo>
                <a:lnTo>
                  <a:pt x="77" y="282"/>
                </a:lnTo>
                <a:lnTo>
                  <a:pt x="82" y="275"/>
                </a:lnTo>
                <a:lnTo>
                  <a:pt x="89" y="272"/>
                </a:lnTo>
                <a:lnTo>
                  <a:pt x="96" y="270"/>
                </a:lnTo>
                <a:lnTo>
                  <a:pt x="103" y="272"/>
                </a:lnTo>
                <a:lnTo>
                  <a:pt x="110" y="275"/>
                </a:lnTo>
                <a:lnTo>
                  <a:pt x="121" y="282"/>
                </a:lnTo>
                <a:lnTo>
                  <a:pt x="138" y="289"/>
                </a:lnTo>
                <a:lnTo>
                  <a:pt x="154" y="296"/>
                </a:lnTo>
                <a:lnTo>
                  <a:pt x="175" y="268"/>
                </a:lnTo>
                <a:lnTo>
                  <a:pt x="163" y="254"/>
                </a:lnTo>
                <a:lnTo>
                  <a:pt x="149" y="242"/>
                </a:lnTo>
                <a:lnTo>
                  <a:pt x="140" y="233"/>
                </a:lnTo>
                <a:lnTo>
                  <a:pt x="135" y="226"/>
                </a:lnTo>
                <a:lnTo>
                  <a:pt x="131" y="221"/>
                </a:lnTo>
                <a:lnTo>
                  <a:pt x="131" y="214"/>
                </a:lnTo>
                <a:lnTo>
                  <a:pt x="131" y="207"/>
                </a:lnTo>
                <a:lnTo>
                  <a:pt x="135" y="200"/>
                </a:lnTo>
                <a:lnTo>
                  <a:pt x="140" y="195"/>
                </a:lnTo>
                <a:lnTo>
                  <a:pt x="147" y="193"/>
                </a:lnTo>
                <a:lnTo>
                  <a:pt x="154" y="193"/>
                </a:lnTo>
                <a:lnTo>
                  <a:pt x="161" y="195"/>
                </a:lnTo>
                <a:lnTo>
                  <a:pt x="168" y="200"/>
                </a:lnTo>
                <a:lnTo>
                  <a:pt x="177" y="209"/>
                </a:lnTo>
                <a:lnTo>
                  <a:pt x="194" y="219"/>
                </a:lnTo>
                <a:lnTo>
                  <a:pt x="208" y="230"/>
                </a:lnTo>
                <a:lnTo>
                  <a:pt x="233" y="205"/>
                </a:lnTo>
                <a:lnTo>
                  <a:pt x="224" y="188"/>
                </a:lnTo>
                <a:lnTo>
                  <a:pt x="212" y="175"/>
                </a:lnTo>
                <a:lnTo>
                  <a:pt x="205" y="163"/>
                </a:lnTo>
                <a:lnTo>
                  <a:pt x="201" y="156"/>
                </a:lnTo>
                <a:lnTo>
                  <a:pt x="198" y="149"/>
                </a:lnTo>
                <a:lnTo>
                  <a:pt x="198" y="142"/>
                </a:lnTo>
                <a:lnTo>
                  <a:pt x="201" y="137"/>
                </a:lnTo>
                <a:lnTo>
                  <a:pt x="205" y="130"/>
                </a:lnTo>
                <a:lnTo>
                  <a:pt x="212" y="128"/>
                </a:lnTo>
                <a:lnTo>
                  <a:pt x="217" y="126"/>
                </a:lnTo>
                <a:lnTo>
                  <a:pt x="224" y="128"/>
                </a:lnTo>
                <a:lnTo>
                  <a:pt x="231" y="133"/>
                </a:lnTo>
                <a:lnTo>
                  <a:pt x="235" y="137"/>
                </a:lnTo>
                <a:lnTo>
                  <a:pt x="247" y="147"/>
                </a:lnTo>
                <a:lnTo>
                  <a:pt x="259" y="158"/>
                </a:lnTo>
                <a:lnTo>
                  <a:pt x="273" y="172"/>
                </a:lnTo>
                <a:lnTo>
                  <a:pt x="301" y="151"/>
                </a:lnTo>
                <a:lnTo>
                  <a:pt x="294" y="135"/>
                </a:lnTo>
                <a:lnTo>
                  <a:pt x="287" y="119"/>
                </a:lnTo>
                <a:lnTo>
                  <a:pt x="280" y="107"/>
                </a:lnTo>
                <a:lnTo>
                  <a:pt x="277" y="100"/>
                </a:lnTo>
                <a:lnTo>
                  <a:pt x="275" y="93"/>
                </a:lnTo>
                <a:lnTo>
                  <a:pt x="277" y="86"/>
                </a:lnTo>
                <a:lnTo>
                  <a:pt x="280" y="79"/>
                </a:lnTo>
                <a:lnTo>
                  <a:pt x="287" y="74"/>
                </a:lnTo>
                <a:lnTo>
                  <a:pt x="294" y="72"/>
                </a:lnTo>
                <a:lnTo>
                  <a:pt x="298" y="72"/>
                </a:lnTo>
                <a:lnTo>
                  <a:pt x="303" y="74"/>
                </a:lnTo>
                <a:lnTo>
                  <a:pt x="308" y="77"/>
                </a:lnTo>
                <a:lnTo>
                  <a:pt x="312" y="79"/>
                </a:lnTo>
                <a:lnTo>
                  <a:pt x="315" y="86"/>
                </a:lnTo>
                <a:lnTo>
                  <a:pt x="324" y="98"/>
                </a:lnTo>
                <a:lnTo>
                  <a:pt x="333" y="112"/>
                </a:lnTo>
                <a:lnTo>
                  <a:pt x="345" y="128"/>
                </a:lnTo>
                <a:lnTo>
                  <a:pt x="377" y="112"/>
                </a:lnTo>
                <a:lnTo>
                  <a:pt x="370" y="88"/>
                </a:lnTo>
                <a:lnTo>
                  <a:pt x="366" y="67"/>
                </a:lnTo>
                <a:lnTo>
                  <a:pt x="364" y="56"/>
                </a:lnTo>
                <a:lnTo>
                  <a:pt x="361" y="49"/>
                </a:lnTo>
                <a:lnTo>
                  <a:pt x="364" y="42"/>
                </a:lnTo>
                <a:lnTo>
                  <a:pt x="368" y="37"/>
                </a:lnTo>
                <a:lnTo>
                  <a:pt x="375" y="32"/>
                </a:lnTo>
                <a:lnTo>
                  <a:pt x="382" y="32"/>
                </a:lnTo>
                <a:lnTo>
                  <a:pt x="389" y="35"/>
                </a:lnTo>
                <a:lnTo>
                  <a:pt x="394" y="35"/>
                </a:lnTo>
                <a:lnTo>
                  <a:pt x="396" y="39"/>
                </a:lnTo>
                <a:lnTo>
                  <a:pt x="398" y="42"/>
                </a:lnTo>
                <a:lnTo>
                  <a:pt x="403" y="51"/>
                </a:lnTo>
                <a:lnTo>
                  <a:pt x="408" y="63"/>
                </a:lnTo>
                <a:lnTo>
                  <a:pt x="417" y="79"/>
                </a:lnTo>
                <a:lnTo>
                  <a:pt x="424" y="95"/>
                </a:lnTo>
                <a:lnTo>
                  <a:pt x="459" y="86"/>
                </a:lnTo>
                <a:lnTo>
                  <a:pt x="457" y="60"/>
                </a:lnTo>
                <a:lnTo>
                  <a:pt x="454" y="39"/>
                </a:lnTo>
                <a:lnTo>
                  <a:pt x="454" y="28"/>
                </a:lnTo>
                <a:lnTo>
                  <a:pt x="454" y="21"/>
                </a:lnTo>
                <a:lnTo>
                  <a:pt x="459" y="16"/>
                </a:lnTo>
                <a:lnTo>
                  <a:pt x="464" y="12"/>
                </a:lnTo>
                <a:lnTo>
                  <a:pt x="471" y="9"/>
                </a:lnTo>
                <a:lnTo>
                  <a:pt x="478" y="9"/>
                </a:lnTo>
                <a:lnTo>
                  <a:pt x="485" y="12"/>
                </a:lnTo>
                <a:lnTo>
                  <a:pt x="489" y="16"/>
                </a:lnTo>
                <a:lnTo>
                  <a:pt x="492" y="21"/>
                </a:lnTo>
                <a:lnTo>
                  <a:pt x="496" y="32"/>
                </a:lnTo>
                <a:lnTo>
                  <a:pt x="501" y="53"/>
                </a:lnTo>
                <a:lnTo>
                  <a:pt x="508" y="77"/>
                </a:lnTo>
                <a:lnTo>
                  <a:pt x="543" y="74"/>
                </a:lnTo>
                <a:lnTo>
                  <a:pt x="545" y="51"/>
                </a:lnTo>
                <a:lnTo>
                  <a:pt x="547" y="30"/>
                </a:lnTo>
                <a:lnTo>
                  <a:pt x="550" y="16"/>
                </a:lnTo>
                <a:lnTo>
                  <a:pt x="552" y="12"/>
                </a:lnTo>
                <a:lnTo>
                  <a:pt x="557" y="5"/>
                </a:lnTo>
                <a:lnTo>
                  <a:pt x="561" y="2"/>
                </a:lnTo>
                <a:lnTo>
                  <a:pt x="568" y="0"/>
                </a:lnTo>
                <a:close/>
              </a:path>
            </a:pathLst>
          </a:custGeom>
          <a:solidFill>
            <a:schemeClr val="accent6">
              <a:alpha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55" name="Ovaal - 2"/>
          <p:cNvSpPr/>
          <p:nvPr/>
        </p:nvSpPr>
        <p:spPr>
          <a:xfrm>
            <a:off x="2463905" y="3292505"/>
            <a:ext cx="1409214" cy="140920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nl-NL" sz="6000" b="1"/>
              <a:t>2</a:t>
            </a:r>
          </a:p>
        </p:txBody>
      </p:sp>
      <p:sp>
        <p:nvSpPr>
          <p:cNvPr id="57" name="Radar - 3"/>
          <p:cNvSpPr>
            <a:spLocks noEditPoints="1"/>
          </p:cNvSpPr>
          <p:nvPr/>
        </p:nvSpPr>
        <p:spPr bwMode="auto">
          <a:xfrm>
            <a:off x="3873518" y="2296397"/>
            <a:ext cx="1724318" cy="1724318"/>
          </a:xfrm>
          <a:custGeom>
            <a:avLst/>
            <a:gdLst>
              <a:gd name="T0" fmla="*/ 149 w 1132"/>
              <a:gd name="T1" fmla="*/ 552 h 1132"/>
              <a:gd name="T2" fmla="*/ 627 w 1132"/>
              <a:gd name="T3" fmla="*/ 978 h 1132"/>
              <a:gd name="T4" fmla="*/ 962 w 1132"/>
              <a:gd name="T5" fmla="*/ 433 h 1132"/>
              <a:gd name="T6" fmla="*/ 582 w 1132"/>
              <a:gd name="T7" fmla="*/ 5 h 1132"/>
              <a:gd name="T8" fmla="*/ 648 w 1132"/>
              <a:gd name="T9" fmla="*/ 16 h 1132"/>
              <a:gd name="T10" fmla="*/ 678 w 1132"/>
              <a:gd name="T11" fmla="*/ 86 h 1132"/>
              <a:gd name="T12" fmla="*/ 769 w 1132"/>
              <a:gd name="T13" fmla="*/ 39 h 1132"/>
              <a:gd name="T14" fmla="*/ 820 w 1132"/>
              <a:gd name="T15" fmla="*/ 88 h 1132"/>
              <a:gd name="T16" fmla="*/ 855 w 1132"/>
              <a:gd name="T17" fmla="*/ 109 h 1132"/>
              <a:gd name="T18" fmla="*/ 918 w 1132"/>
              <a:gd name="T19" fmla="*/ 130 h 1132"/>
              <a:gd name="T20" fmla="*/ 901 w 1132"/>
              <a:gd name="T21" fmla="*/ 207 h 1132"/>
              <a:gd name="T22" fmla="*/ 1004 w 1132"/>
              <a:gd name="T23" fmla="*/ 209 h 1132"/>
              <a:gd name="T24" fmla="*/ 1013 w 1132"/>
              <a:gd name="T25" fmla="*/ 286 h 1132"/>
              <a:gd name="T26" fmla="*/ 1055 w 1132"/>
              <a:gd name="T27" fmla="*/ 307 h 1132"/>
              <a:gd name="T28" fmla="*/ 1083 w 1132"/>
              <a:gd name="T29" fmla="*/ 361 h 1132"/>
              <a:gd name="T30" fmla="*/ 1053 w 1132"/>
              <a:gd name="T31" fmla="*/ 414 h 1132"/>
              <a:gd name="T32" fmla="*/ 1122 w 1132"/>
              <a:gd name="T33" fmla="*/ 477 h 1132"/>
              <a:gd name="T34" fmla="*/ 1115 w 1132"/>
              <a:gd name="T35" fmla="*/ 549 h 1132"/>
              <a:gd name="T36" fmla="*/ 1081 w 1132"/>
              <a:gd name="T37" fmla="*/ 591 h 1132"/>
              <a:gd name="T38" fmla="*/ 1120 w 1132"/>
              <a:gd name="T39" fmla="*/ 673 h 1132"/>
              <a:gd name="T40" fmla="*/ 1081 w 1132"/>
              <a:gd name="T41" fmla="*/ 733 h 1132"/>
              <a:gd name="T42" fmla="*/ 1074 w 1132"/>
              <a:gd name="T43" fmla="*/ 773 h 1132"/>
              <a:gd name="T44" fmla="*/ 1057 w 1132"/>
              <a:gd name="T45" fmla="*/ 836 h 1132"/>
              <a:gd name="T46" fmla="*/ 978 w 1132"/>
              <a:gd name="T47" fmla="*/ 833 h 1132"/>
              <a:gd name="T48" fmla="*/ 992 w 1132"/>
              <a:gd name="T49" fmla="*/ 936 h 1132"/>
              <a:gd name="T50" fmla="*/ 920 w 1132"/>
              <a:gd name="T51" fmla="*/ 957 h 1132"/>
              <a:gd name="T52" fmla="*/ 901 w 1132"/>
              <a:gd name="T53" fmla="*/ 999 h 1132"/>
              <a:gd name="T54" fmla="*/ 857 w 1132"/>
              <a:gd name="T55" fmla="*/ 1038 h 1132"/>
              <a:gd name="T56" fmla="*/ 808 w 1132"/>
              <a:gd name="T57" fmla="*/ 1034 h 1132"/>
              <a:gd name="T58" fmla="*/ 757 w 1132"/>
              <a:gd name="T59" fmla="*/ 1097 h 1132"/>
              <a:gd name="T60" fmla="*/ 675 w 1132"/>
              <a:gd name="T61" fmla="*/ 1069 h 1132"/>
              <a:gd name="T62" fmla="*/ 641 w 1132"/>
              <a:gd name="T63" fmla="*/ 1108 h 1132"/>
              <a:gd name="T64" fmla="*/ 571 w 1132"/>
              <a:gd name="T65" fmla="*/ 1129 h 1132"/>
              <a:gd name="T66" fmla="*/ 496 w 1132"/>
              <a:gd name="T67" fmla="*/ 1076 h 1132"/>
              <a:gd name="T68" fmla="*/ 450 w 1132"/>
              <a:gd name="T69" fmla="*/ 1101 h 1132"/>
              <a:gd name="T70" fmla="*/ 384 w 1132"/>
              <a:gd name="T71" fmla="*/ 1097 h 1132"/>
              <a:gd name="T72" fmla="*/ 340 w 1132"/>
              <a:gd name="T73" fmla="*/ 1001 h 1132"/>
              <a:gd name="T74" fmla="*/ 273 w 1132"/>
              <a:gd name="T75" fmla="*/ 1043 h 1132"/>
              <a:gd name="T76" fmla="*/ 233 w 1132"/>
              <a:gd name="T77" fmla="*/ 992 h 1132"/>
              <a:gd name="T78" fmla="*/ 201 w 1132"/>
              <a:gd name="T79" fmla="*/ 964 h 1132"/>
              <a:gd name="T80" fmla="*/ 145 w 1132"/>
              <a:gd name="T81" fmla="*/ 934 h 1132"/>
              <a:gd name="T82" fmla="*/ 173 w 1132"/>
              <a:gd name="T83" fmla="*/ 859 h 1132"/>
              <a:gd name="T84" fmla="*/ 73 w 1132"/>
              <a:gd name="T85" fmla="*/ 838 h 1132"/>
              <a:gd name="T86" fmla="*/ 89 w 1132"/>
              <a:gd name="T87" fmla="*/ 761 h 1132"/>
              <a:gd name="T88" fmla="*/ 40 w 1132"/>
              <a:gd name="T89" fmla="*/ 736 h 1132"/>
              <a:gd name="T90" fmla="*/ 21 w 1132"/>
              <a:gd name="T91" fmla="*/ 677 h 1132"/>
              <a:gd name="T92" fmla="*/ 80 w 1132"/>
              <a:gd name="T93" fmla="*/ 624 h 1132"/>
              <a:gd name="T94" fmla="*/ 5 w 1132"/>
              <a:gd name="T95" fmla="*/ 549 h 1132"/>
              <a:gd name="T96" fmla="*/ 17 w 1132"/>
              <a:gd name="T97" fmla="*/ 484 h 1132"/>
              <a:gd name="T98" fmla="*/ 89 w 1132"/>
              <a:gd name="T99" fmla="*/ 454 h 1132"/>
              <a:gd name="T100" fmla="*/ 35 w 1132"/>
              <a:gd name="T101" fmla="*/ 370 h 1132"/>
              <a:gd name="T102" fmla="*/ 100 w 1132"/>
              <a:gd name="T103" fmla="*/ 319 h 1132"/>
              <a:gd name="T104" fmla="*/ 96 w 1132"/>
              <a:gd name="T105" fmla="*/ 270 h 1132"/>
              <a:gd name="T106" fmla="*/ 135 w 1132"/>
              <a:gd name="T107" fmla="*/ 226 h 1132"/>
              <a:gd name="T108" fmla="*/ 177 w 1132"/>
              <a:gd name="T109" fmla="*/ 209 h 1132"/>
              <a:gd name="T110" fmla="*/ 201 w 1132"/>
              <a:gd name="T111" fmla="*/ 137 h 1132"/>
              <a:gd name="T112" fmla="*/ 301 w 1132"/>
              <a:gd name="T113" fmla="*/ 151 h 1132"/>
              <a:gd name="T114" fmla="*/ 298 w 1132"/>
              <a:gd name="T115" fmla="*/ 72 h 1132"/>
              <a:gd name="T116" fmla="*/ 366 w 1132"/>
              <a:gd name="T117" fmla="*/ 67 h 1132"/>
              <a:gd name="T118" fmla="*/ 398 w 1132"/>
              <a:gd name="T119" fmla="*/ 42 h 1132"/>
              <a:gd name="T120" fmla="*/ 459 w 1132"/>
              <a:gd name="T121" fmla="*/ 16 h 1132"/>
              <a:gd name="T122" fmla="*/ 543 w 1132"/>
              <a:gd name="T123" fmla="*/ 74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2" h="1132">
                <a:moveTo>
                  <a:pt x="580" y="149"/>
                </a:moveTo>
                <a:lnTo>
                  <a:pt x="506" y="151"/>
                </a:lnTo>
                <a:lnTo>
                  <a:pt x="433" y="170"/>
                </a:lnTo>
                <a:lnTo>
                  <a:pt x="368" y="198"/>
                </a:lnTo>
                <a:lnTo>
                  <a:pt x="308" y="237"/>
                </a:lnTo>
                <a:lnTo>
                  <a:pt x="256" y="286"/>
                </a:lnTo>
                <a:lnTo>
                  <a:pt x="212" y="342"/>
                </a:lnTo>
                <a:lnTo>
                  <a:pt x="180" y="407"/>
                </a:lnTo>
                <a:lnTo>
                  <a:pt x="159" y="477"/>
                </a:lnTo>
                <a:lnTo>
                  <a:pt x="149" y="552"/>
                </a:lnTo>
                <a:lnTo>
                  <a:pt x="152" y="626"/>
                </a:lnTo>
                <a:lnTo>
                  <a:pt x="170" y="698"/>
                </a:lnTo>
                <a:lnTo>
                  <a:pt x="198" y="764"/>
                </a:lnTo>
                <a:lnTo>
                  <a:pt x="238" y="824"/>
                </a:lnTo>
                <a:lnTo>
                  <a:pt x="287" y="875"/>
                </a:lnTo>
                <a:lnTo>
                  <a:pt x="343" y="920"/>
                </a:lnTo>
                <a:lnTo>
                  <a:pt x="408" y="952"/>
                </a:lnTo>
                <a:lnTo>
                  <a:pt x="478" y="973"/>
                </a:lnTo>
                <a:lnTo>
                  <a:pt x="552" y="982"/>
                </a:lnTo>
                <a:lnTo>
                  <a:pt x="627" y="978"/>
                </a:lnTo>
                <a:lnTo>
                  <a:pt x="699" y="962"/>
                </a:lnTo>
                <a:lnTo>
                  <a:pt x="764" y="934"/>
                </a:lnTo>
                <a:lnTo>
                  <a:pt x="824" y="894"/>
                </a:lnTo>
                <a:lnTo>
                  <a:pt x="876" y="845"/>
                </a:lnTo>
                <a:lnTo>
                  <a:pt x="920" y="789"/>
                </a:lnTo>
                <a:lnTo>
                  <a:pt x="952" y="724"/>
                </a:lnTo>
                <a:lnTo>
                  <a:pt x="973" y="654"/>
                </a:lnTo>
                <a:lnTo>
                  <a:pt x="983" y="580"/>
                </a:lnTo>
                <a:lnTo>
                  <a:pt x="980" y="505"/>
                </a:lnTo>
                <a:lnTo>
                  <a:pt x="962" y="433"/>
                </a:lnTo>
                <a:lnTo>
                  <a:pt x="934" y="368"/>
                </a:lnTo>
                <a:lnTo>
                  <a:pt x="894" y="307"/>
                </a:lnTo>
                <a:lnTo>
                  <a:pt x="845" y="256"/>
                </a:lnTo>
                <a:lnTo>
                  <a:pt x="790" y="212"/>
                </a:lnTo>
                <a:lnTo>
                  <a:pt x="724" y="179"/>
                </a:lnTo>
                <a:lnTo>
                  <a:pt x="654" y="156"/>
                </a:lnTo>
                <a:lnTo>
                  <a:pt x="580" y="149"/>
                </a:lnTo>
                <a:close/>
                <a:moveTo>
                  <a:pt x="568" y="0"/>
                </a:moveTo>
                <a:lnTo>
                  <a:pt x="575" y="2"/>
                </a:lnTo>
                <a:lnTo>
                  <a:pt x="582" y="5"/>
                </a:lnTo>
                <a:lnTo>
                  <a:pt x="587" y="12"/>
                </a:lnTo>
                <a:lnTo>
                  <a:pt x="587" y="19"/>
                </a:lnTo>
                <a:lnTo>
                  <a:pt x="589" y="30"/>
                </a:lnTo>
                <a:lnTo>
                  <a:pt x="592" y="51"/>
                </a:lnTo>
                <a:lnTo>
                  <a:pt x="594" y="74"/>
                </a:lnTo>
                <a:lnTo>
                  <a:pt x="629" y="79"/>
                </a:lnTo>
                <a:lnTo>
                  <a:pt x="636" y="53"/>
                </a:lnTo>
                <a:lnTo>
                  <a:pt x="641" y="35"/>
                </a:lnTo>
                <a:lnTo>
                  <a:pt x="645" y="23"/>
                </a:lnTo>
                <a:lnTo>
                  <a:pt x="648" y="16"/>
                </a:lnTo>
                <a:lnTo>
                  <a:pt x="652" y="12"/>
                </a:lnTo>
                <a:lnTo>
                  <a:pt x="659" y="9"/>
                </a:lnTo>
                <a:lnTo>
                  <a:pt x="666" y="9"/>
                </a:lnTo>
                <a:lnTo>
                  <a:pt x="673" y="12"/>
                </a:lnTo>
                <a:lnTo>
                  <a:pt x="678" y="16"/>
                </a:lnTo>
                <a:lnTo>
                  <a:pt x="682" y="23"/>
                </a:lnTo>
                <a:lnTo>
                  <a:pt x="682" y="30"/>
                </a:lnTo>
                <a:lnTo>
                  <a:pt x="682" y="42"/>
                </a:lnTo>
                <a:lnTo>
                  <a:pt x="680" y="63"/>
                </a:lnTo>
                <a:lnTo>
                  <a:pt x="678" y="86"/>
                </a:lnTo>
                <a:lnTo>
                  <a:pt x="713" y="95"/>
                </a:lnTo>
                <a:lnTo>
                  <a:pt x="720" y="79"/>
                </a:lnTo>
                <a:lnTo>
                  <a:pt x="729" y="63"/>
                </a:lnTo>
                <a:lnTo>
                  <a:pt x="734" y="51"/>
                </a:lnTo>
                <a:lnTo>
                  <a:pt x="738" y="44"/>
                </a:lnTo>
                <a:lnTo>
                  <a:pt x="743" y="39"/>
                </a:lnTo>
                <a:lnTo>
                  <a:pt x="748" y="35"/>
                </a:lnTo>
                <a:lnTo>
                  <a:pt x="755" y="35"/>
                </a:lnTo>
                <a:lnTo>
                  <a:pt x="762" y="35"/>
                </a:lnTo>
                <a:lnTo>
                  <a:pt x="769" y="39"/>
                </a:lnTo>
                <a:lnTo>
                  <a:pt x="773" y="44"/>
                </a:lnTo>
                <a:lnTo>
                  <a:pt x="776" y="51"/>
                </a:lnTo>
                <a:lnTo>
                  <a:pt x="773" y="58"/>
                </a:lnTo>
                <a:lnTo>
                  <a:pt x="771" y="70"/>
                </a:lnTo>
                <a:lnTo>
                  <a:pt x="766" y="91"/>
                </a:lnTo>
                <a:lnTo>
                  <a:pt x="759" y="114"/>
                </a:lnTo>
                <a:lnTo>
                  <a:pt x="792" y="128"/>
                </a:lnTo>
                <a:lnTo>
                  <a:pt x="803" y="114"/>
                </a:lnTo>
                <a:lnTo>
                  <a:pt x="813" y="100"/>
                </a:lnTo>
                <a:lnTo>
                  <a:pt x="820" y="88"/>
                </a:lnTo>
                <a:lnTo>
                  <a:pt x="824" y="81"/>
                </a:lnTo>
                <a:lnTo>
                  <a:pt x="831" y="77"/>
                </a:lnTo>
                <a:lnTo>
                  <a:pt x="836" y="74"/>
                </a:lnTo>
                <a:lnTo>
                  <a:pt x="843" y="74"/>
                </a:lnTo>
                <a:lnTo>
                  <a:pt x="850" y="77"/>
                </a:lnTo>
                <a:lnTo>
                  <a:pt x="857" y="81"/>
                </a:lnTo>
                <a:lnTo>
                  <a:pt x="859" y="88"/>
                </a:lnTo>
                <a:lnTo>
                  <a:pt x="862" y="95"/>
                </a:lnTo>
                <a:lnTo>
                  <a:pt x="859" y="102"/>
                </a:lnTo>
                <a:lnTo>
                  <a:pt x="855" y="109"/>
                </a:lnTo>
                <a:lnTo>
                  <a:pt x="850" y="121"/>
                </a:lnTo>
                <a:lnTo>
                  <a:pt x="843" y="137"/>
                </a:lnTo>
                <a:lnTo>
                  <a:pt x="836" y="154"/>
                </a:lnTo>
                <a:lnTo>
                  <a:pt x="864" y="175"/>
                </a:lnTo>
                <a:lnTo>
                  <a:pt x="878" y="161"/>
                </a:lnTo>
                <a:lnTo>
                  <a:pt x="890" y="149"/>
                </a:lnTo>
                <a:lnTo>
                  <a:pt x="899" y="140"/>
                </a:lnTo>
                <a:lnTo>
                  <a:pt x="906" y="135"/>
                </a:lnTo>
                <a:lnTo>
                  <a:pt x="911" y="130"/>
                </a:lnTo>
                <a:lnTo>
                  <a:pt x="918" y="130"/>
                </a:lnTo>
                <a:lnTo>
                  <a:pt x="925" y="130"/>
                </a:lnTo>
                <a:lnTo>
                  <a:pt x="932" y="135"/>
                </a:lnTo>
                <a:lnTo>
                  <a:pt x="936" y="140"/>
                </a:lnTo>
                <a:lnTo>
                  <a:pt x="939" y="147"/>
                </a:lnTo>
                <a:lnTo>
                  <a:pt x="939" y="154"/>
                </a:lnTo>
                <a:lnTo>
                  <a:pt x="936" y="161"/>
                </a:lnTo>
                <a:lnTo>
                  <a:pt x="932" y="165"/>
                </a:lnTo>
                <a:lnTo>
                  <a:pt x="922" y="177"/>
                </a:lnTo>
                <a:lnTo>
                  <a:pt x="913" y="191"/>
                </a:lnTo>
                <a:lnTo>
                  <a:pt x="901" y="207"/>
                </a:lnTo>
                <a:lnTo>
                  <a:pt x="927" y="233"/>
                </a:lnTo>
                <a:lnTo>
                  <a:pt x="943" y="221"/>
                </a:lnTo>
                <a:lnTo>
                  <a:pt x="957" y="212"/>
                </a:lnTo>
                <a:lnTo>
                  <a:pt x="969" y="205"/>
                </a:lnTo>
                <a:lnTo>
                  <a:pt x="976" y="200"/>
                </a:lnTo>
                <a:lnTo>
                  <a:pt x="983" y="198"/>
                </a:lnTo>
                <a:lnTo>
                  <a:pt x="990" y="198"/>
                </a:lnTo>
                <a:lnTo>
                  <a:pt x="994" y="200"/>
                </a:lnTo>
                <a:lnTo>
                  <a:pt x="1001" y="205"/>
                </a:lnTo>
                <a:lnTo>
                  <a:pt x="1004" y="209"/>
                </a:lnTo>
                <a:lnTo>
                  <a:pt x="1006" y="216"/>
                </a:lnTo>
                <a:lnTo>
                  <a:pt x="1004" y="223"/>
                </a:lnTo>
                <a:lnTo>
                  <a:pt x="999" y="230"/>
                </a:lnTo>
                <a:lnTo>
                  <a:pt x="994" y="235"/>
                </a:lnTo>
                <a:lnTo>
                  <a:pt x="985" y="244"/>
                </a:lnTo>
                <a:lnTo>
                  <a:pt x="973" y="258"/>
                </a:lnTo>
                <a:lnTo>
                  <a:pt x="959" y="270"/>
                </a:lnTo>
                <a:lnTo>
                  <a:pt x="980" y="300"/>
                </a:lnTo>
                <a:lnTo>
                  <a:pt x="997" y="293"/>
                </a:lnTo>
                <a:lnTo>
                  <a:pt x="1013" y="286"/>
                </a:lnTo>
                <a:lnTo>
                  <a:pt x="1025" y="279"/>
                </a:lnTo>
                <a:lnTo>
                  <a:pt x="1032" y="277"/>
                </a:lnTo>
                <a:lnTo>
                  <a:pt x="1039" y="275"/>
                </a:lnTo>
                <a:lnTo>
                  <a:pt x="1046" y="277"/>
                </a:lnTo>
                <a:lnTo>
                  <a:pt x="1053" y="279"/>
                </a:lnTo>
                <a:lnTo>
                  <a:pt x="1057" y="284"/>
                </a:lnTo>
                <a:lnTo>
                  <a:pt x="1060" y="291"/>
                </a:lnTo>
                <a:lnTo>
                  <a:pt x="1060" y="298"/>
                </a:lnTo>
                <a:lnTo>
                  <a:pt x="1057" y="303"/>
                </a:lnTo>
                <a:lnTo>
                  <a:pt x="1055" y="307"/>
                </a:lnTo>
                <a:lnTo>
                  <a:pt x="1053" y="310"/>
                </a:lnTo>
                <a:lnTo>
                  <a:pt x="1046" y="314"/>
                </a:lnTo>
                <a:lnTo>
                  <a:pt x="1034" y="324"/>
                </a:lnTo>
                <a:lnTo>
                  <a:pt x="1020" y="333"/>
                </a:lnTo>
                <a:lnTo>
                  <a:pt x="1004" y="344"/>
                </a:lnTo>
                <a:lnTo>
                  <a:pt x="1020" y="377"/>
                </a:lnTo>
                <a:lnTo>
                  <a:pt x="1043" y="370"/>
                </a:lnTo>
                <a:lnTo>
                  <a:pt x="1064" y="365"/>
                </a:lnTo>
                <a:lnTo>
                  <a:pt x="1076" y="361"/>
                </a:lnTo>
                <a:lnTo>
                  <a:pt x="1083" y="361"/>
                </a:lnTo>
                <a:lnTo>
                  <a:pt x="1090" y="363"/>
                </a:lnTo>
                <a:lnTo>
                  <a:pt x="1094" y="368"/>
                </a:lnTo>
                <a:lnTo>
                  <a:pt x="1097" y="375"/>
                </a:lnTo>
                <a:lnTo>
                  <a:pt x="1099" y="382"/>
                </a:lnTo>
                <a:lnTo>
                  <a:pt x="1097" y="389"/>
                </a:lnTo>
                <a:lnTo>
                  <a:pt x="1094" y="393"/>
                </a:lnTo>
                <a:lnTo>
                  <a:pt x="1087" y="398"/>
                </a:lnTo>
                <a:lnTo>
                  <a:pt x="1081" y="403"/>
                </a:lnTo>
                <a:lnTo>
                  <a:pt x="1069" y="407"/>
                </a:lnTo>
                <a:lnTo>
                  <a:pt x="1053" y="414"/>
                </a:lnTo>
                <a:lnTo>
                  <a:pt x="1036" y="424"/>
                </a:lnTo>
                <a:lnTo>
                  <a:pt x="1046" y="459"/>
                </a:lnTo>
                <a:lnTo>
                  <a:pt x="1071" y="456"/>
                </a:lnTo>
                <a:lnTo>
                  <a:pt x="1092" y="454"/>
                </a:lnTo>
                <a:lnTo>
                  <a:pt x="1104" y="454"/>
                </a:lnTo>
                <a:lnTo>
                  <a:pt x="1111" y="454"/>
                </a:lnTo>
                <a:lnTo>
                  <a:pt x="1115" y="459"/>
                </a:lnTo>
                <a:lnTo>
                  <a:pt x="1120" y="463"/>
                </a:lnTo>
                <a:lnTo>
                  <a:pt x="1122" y="470"/>
                </a:lnTo>
                <a:lnTo>
                  <a:pt x="1122" y="477"/>
                </a:lnTo>
                <a:lnTo>
                  <a:pt x="1120" y="484"/>
                </a:lnTo>
                <a:lnTo>
                  <a:pt x="1115" y="489"/>
                </a:lnTo>
                <a:lnTo>
                  <a:pt x="1111" y="491"/>
                </a:lnTo>
                <a:lnTo>
                  <a:pt x="1099" y="496"/>
                </a:lnTo>
                <a:lnTo>
                  <a:pt x="1078" y="500"/>
                </a:lnTo>
                <a:lnTo>
                  <a:pt x="1055" y="507"/>
                </a:lnTo>
                <a:lnTo>
                  <a:pt x="1057" y="542"/>
                </a:lnTo>
                <a:lnTo>
                  <a:pt x="1081" y="545"/>
                </a:lnTo>
                <a:lnTo>
                  <a:pt x="1101" y="547"/>
                </a:lnTo>
                <a:lnTo>
                  <a:pt x="1115" y="549"/>
                </a:lnTo>
                <a:lnTo>
                  <a:pt x="1120" y="549"/>
                </a:lnTo>
                <a:lnTo>
                  <a:pt x="1127" y="554"/>
                </a:lnTo>
                <a:lnTo>
                  <a:pt x="1129" y="561"/>
                </a:lnTo>
                <a:lnTo>
                  <a:pt x="1132" y="568"/>
                </a:lnTo>
                <a:lnTo>
                  <a:pt x="1129" y="575"/>
                </a:lnTo>
                <a:lnTo>
                  <a:pt x="1127" y="582"/>
                </a:lnTo>
                <a:lnTo>
                  <a:pt x="1120" y="584"/>
                </a:lnTo>
                <a:lnTo>
                  <a:pt x="1113" y="587"/>
                </a:lnTo>
                <a:lnTo>
                  <a:pt x="1101" y="589"/>
                </a:lnTo>
                <a:lnTo>
                  <a:pt x="1081" y="591"/>
                </a:lnTo>
                <a:lnTo>
                  <a:pt x="1057" y="594"/>
                </a:lnTo>
                <a:lnTo>
                  <a:pt x="1053" y="629"/>
                </a:lnTo>
                <a:lnTo>
                  <a:pt x="1078" y="636"/>
                </a:lnTo>
                <a:lnTo>
                  <a:pt x="1097" y="640"/>
                </a:lnTo>
                <a:lnTo>
                  <a:pt x="1108" y="645"/>
                </a:lnTo>
                <a:lnTo>
                  <a:pt x="1115" y="647"/>
                </a:lnTo>
                <a:lnTo>
                  <a:pt x="1120" y="652"/>
                </a:lnTo>
                <a:lnTo>
                  <a:pt x="1122" y="659"/>
                </a:lnTo>
                <a:lnTo>
                  <a:pt x="1122" y="666"/>
                </a:lnTo>
                <a:lnTo>
                  <a:pt x="1120" y="673"/>
                </a:lnTo>
                <a:lnTo>
                  <a:pt x="1115" y="677"/>
                </a:lnTo>
                <a:lnTo>
                  <a:pt x="1108" y="682"/>
                </a:lnTo>
                <a:lnTo>
                  <a:pt x="1101" y="682"/>
                </a:lnTo>
                <a:lnTo>
                  <a:pt x="1090" y="682"/>
                </a:lnTo>
                <a:lnTo>
                  <a:pt x="1069" y="680"/>
                </a:lnTo>
                <a:lnTo>
                  <a:pt x="1046" y="677"/>
                </a:lnTo>
                <a:lnTo>
                  <a:pt x="1036" y="712"/>
                </a:lnTo>
                <a:lnTo>
                  <a:pt x="1053" y="719"/>
                </a:lnTo>
                <a:lnTo>
                  <a:pt x="1067" y="726"/>
                </a:lnTo>
                <a:lnTo>
                  <a:pt x="1081" y="733"/>
                </a:lnTo>
                <a:lnTo>
                  <a:pt x="1087" y="736"/>
                </a:lnTo>
                <a:lnTo>
                  <a:pt x="1092" y="740"/>
                </a:lnTo>
                <a:lnTo>
                  <a:pt x="1094" y="743"/>
                </a:lnTo>
                <a:lnTo>
                  <a:pt x="1097" y="747"/>
                </a:lnTo>
                <a:lnTo>
                  <a:pt x="1097" y="754"/>
                </a:lnTo>
                <a:lnTo>
                  <a:pt x="1097" y="761"/>
                </a:lnTo>
                <a:lnTo>
                  <a:pt x="1092" y="768"/>
                </a:lnTo>
                <a:lnTo>
                  <a:pt x="1087" y="771"/>
                </a:lnTo>
                <a:lnTo>
                  <a:pt x="1081" y="773"/>
                </a:lnTo>
                <a:lnTo>
                  <a:pt x="1074" y="773"/>
                </a:lnTo>
                <a:lnTo>
                  <a:pt x="1062" y="771"/>
                </a:lnTo>
                <a:lnTo>
                  <a:pt x="1041" y="766"/>
                </a:lnTo>
                <a:lnTo>
                  <a:pt x="1018" y="759"/>
                </a:lnTo>
                <a:lnTo>
                  <a:pt x="1004" y="792"/>
                </a:lnTo>
                <a:lnTo>
                  <a:pt x="1018" y="801"/>
                </a:lnTo>
                <a:lnTo>
                  <a:pt x="1032" y="813"/>
                </a:lnTo>
                <a:lnTo>
                  <a:pt x="1043" y="819"/>
                </a:lnTo>
                <a:lnTo>
                  <a:pt x="1050" y="824"/>
                </a:lnTo>
                <a:lnTo>
                  <a:pt x="1055" y="829"/>
                </a:lnTo>
                <a:lnTo>
                  <a:pt x="1057" y="836"/>
                </a:lnTo>
                <a:lnTo>
                  <a:pt x="1057" y="843"/>
                </a:lnTo>
                <a:lnTo>
                  <a:pt x="1055" y="850"/>
                </a:lnTo>
                <a:lnTo>
                  <a:pt x="1050" y="854"/>
                </a:lnTo>
                <a:lnTo>
                  <a:pt x="1043" y="859"/>
                </a:lnTo>
                <a:lnTo>
                  <a:pt x="1036" y="859"/>
                </a:lnTo>
                <a:lnTo>
                  <a:pt x="1029" y="859"/>
                </a:lnTo>
                <a:lnTo>
                  <a:pt x="1022" y="854"/>
                </a:lnTo>
                <a:lnTo>
                  <a:pt x="1011" y="850"/>
                </a:lnTo>
                <a:lnTo>
                  <a:pt x="994" y="843"/>
                </a:lnTo>
                <a:lnTo>
                  <a:pt x="978" y="833"/>
                </a:lnTo>
                <a:lnTo>
                  <a:pt x="957" y="864"/>
                </a:lnTo>
                <a:lnTo>
                  <a:pt x="969" y="878"/>
                </a:lnTo>
                <a:lnTo>
                  <a:pt x="983" y="889"/>
                </a:lnTo>
                <a:lnTo>
                  <a:pt x="992" y="899"/>
                </a:lnTo>
                <a:lnTo>
                  <a:pt x="997" y="906"/>
                </a:lnTo>
                <a:lnTo>
                  <a:pt x="1001" y="910"/>
                </a:lnTo>
                <a:lnTo>
                  <a:pt x="1001" y="917"/>
                </a:lnTo>
                <a:lnTo>
                  <a:pt x="1001" y="924"/>
                </a:lnTo>
                <a:lnTo>
                  <a:pt x="997" y="931"/>
                </a:lnTo>
                <a:lnTo>
                  <a:pt x="992" y="936"/>
                </a:lnTo>
                <a:lnTo>
                  <a:pt x="985" y="938"/>
                </a:lnTo>
                <a:lnTo>
                  <a:pt x="978" y="938"/>
                </a:lnTo>
                <a:lnTo>
                  <a:pt x="971" y="934"/>
                </a:lnTo>
                <a:lnTo>
                  <a:pt x="966" y="929"/>
                </a:lnTo>
                <a:lnTo>
                  <a:pt x="955" y="922"/>
                </a:lnTo>
                <a:lnTo>
                  <a:pt x="941" y="913"/>
                </a:lnTo>
                <a:lnTo>
                  <a:pt x="925" y="901"/>
                </a:lnTo>
                <a:lnTo>
                  <a:pt x="899" y="927"/>
                </a:lnTo>
                <a:lnTo>
                  <a:pt x="911" y="943"/>
                </a:lnTo>
                <a:lnTo>
                  <a:pt x="920" y="957"/>
                </a:lnTo>
                <a:lnTo>
                  <a:pt x="927" y="969"/>
                </a:lnTo>
                <a:lnTo>
                  <a:pt x="932" y="976"/>
                </a:lnTo>
                <a:lnTo>
                  <a:pt x="934" y="980"/>
                </a:lnTo>
                <a:lnTo>
                  <a:pt x="934" y="987"/>
                </a:lnTo>
                <a:lnTo>
                  <a:pt x="932" y="994"/>
                </a:lnTo>
                <a:lnTo>
                  <a:pt x="927" y="999"/>
                </a:lnTo>
                <a:lnTo>
                  <a:pt x="922" y="1003"/>
                </a:lnTo>
                <a:lnTo>
                  <a:pt x="915" y="1003"/>
                </a:lnTo>
                <a:lnTo>
                  <a:pt x="908" y="1003"/>
                </a:lnTo>
                <a:lnTo>
                  <a:pt x="901" y="999"/>
                </a:lnTo>
                <a:lnTo>
                  <a:pt x="897" y="994"/>
                </a:lnTo>
                <a:lnTo>
                  <a:pt x="887" y="985"/>
                </a:lnTo>
                <a:lnTo>
                  <a:pt x="873" y="971"/>
                </a:lnTo>
                <a:lnTo>
                  <a:pt x="862" y="959"/>
                </a:lnTo>
                <a:lnTo>
                  <a:pt x="831" y="980"/>
                </a:lnTo>
                <a:lnTo>
                  <a:pt x="838" y="996"/>
                </a:lnTo>
                <a:lnTo>
                  <a:pt x="845" y="1013"/>
                </a:lnTo>
                <a:lnTo>
                  <a:pt x="852" y="1024"/>
                </a:lnTo>
                <a:lnTo>
                  <a:pt x="855" y="1031"/>
                </a:lnTo>
                <a:lnTo>
                  <a:pt x="857" y="1038"/>
                </a:lnTo>
                <a:lnTo>
                  <a:pt x="855" y="1045"/>
                </a:lnTo>
                <a:lnTo>
                  <a:pt x="852" y="1052"/>
                </a:lnTo>
                <a:lnTo>
                  <a:pt x="845" y="1055"/>
                </a:lnTo>
                <a:lnTo>
                  <a:pt x="841" y="1059"/>
                </a:lnTo>
                <a:lnTo>
                  <a:pt x="834" y="1059"/>
                </a:lnTo>
                <a:lnTo>
                  <a:pt x="829" y="1055"/>
                </a:lnTo>
                <a:lnTo>
                  <a:pt x="824" y="1055"/>
                </a:lnTo>
                <a:lnTo>
                  <a:pt x="822" y="1050"/>
                </a:lnTo>
                <a:lnTo>
                  <a:pt x="817" y="1045"/>
                </a:lnTo>
                <a:lnTo>
                  <a:pt x="808" y="1034"/>
                </a:lnTo>
                <a:lnTo>
                  <a:pt x="799" y="1020"/>
                </a:lnTo>
                <a:lnTo>
                  <a:pt x="787" y="1003"/>
                </a:lnTo>
                <a:lnTo>
                  <a:pt x="755" y="1020"/>
                </a:lnTo>
                <a:lnTo>
                  <a:pt x="762" y="1043"/>
                </a:lnTo>
                <a:lnTo>
                  <a:pt x="766" y="1064"/>
                </a:lnTo>
                <a:lnTo>
                  <a:pt x="771" y="1076"/>
                </a:lnTo>
                <a:lnTo>
                  <a:pt x="771" y="1083"/>
                </a:lnTo>
                <a:lnTo>
                  <a:pt x="769" y="1087"/>
                </a:lnTo>
                <a:lnTo>
                  <a:pt x="764" y="1094"/>
                </a:lnTo>
                <a:lnTo>
                  <a:pt x="757" y="1097"/>
                </a:lnTo>
                <a:lnTo>
                  <a:pt x="750" y="1099"/>
                </a:lnTo>
                <a:lnTo>
                  <a:pt x="743" y="1097"/>
                </a:lnTo>
                <a:lnTo>
                  <a:pt x="738" y="1094"/>
                </a:lnTo>
                <a:lnTo>
                  <a:pt x="734" y="1087"/>
                </a:lnTo>
                <a:lnTo>
                  <a:pt x="729" y="1080"/>
                </a:lnTo>
                <a:lnTo>
                  <a:pt x="724" y="1069"/>
                </a:lnTo>
                <a:lnTo>
                  <a:pt x="717" y="1052"/>
                </a:lnTo>
                <a:lnTo>
                  <a:pt x="708" y="1036"/>
                </a:lnTo>
                <a:lnTo>
                  <a:pt x="673" y="1045"/>
                </a:lnTo>
                <a:lnTo>
                  <a:pt x="675" y="1069"/>
                </a:lnTo>
                <a:lnTo>
                  <a:pt x="678" y="1090"/>
                </a:lnTo>
                <a:lnTo>
                  <a:pt x="678" y="1101"/>
                </a:lnTo>
                <a:lnTo>
                  <a:pt x="678" y="1111"/>
                </a:lnTo>
                <a:lnTo>
                  <a:pt x="673" y="1115"/>
                </a:lnTo>
                <a:lnTo>
                  <a:pt x="668" y="1120"/>
                </a:lnTo>
                <a:lnTo>
                  <a:pt x="661" y="1122"/>
                </a:lnTo>
                <a:lnTo>
                  <a:pt x="654" y="1122"/>
                </a:lnTo>
                <a:lnTo>
                  <a:pt x="648" y="1120"/>
                </a:lnTo>
                <a:lnTo>
                  <a:pt x="643" y="1115"/>
                </a:lnTo>
                <a:lnTo>
                  <a:pt x="641" y="1108"/>
                </a:lnTo>
                <a:lnTo>
                  <a:pt x="636" y="1097"/>
                </a:lnTo>
                <a:lnTo>
                  <a:pt x="631" y="1078"/>
                </a:lnTo>
                <a:lnTo>
                  <a:pt x="624" y="1052"/>
                </a:lnTo>
                <a:lnTo>
                  <a:pt x="589" y="1055"/>
                </a:lnTo>
                <a:lnTo>
                  <a:pt x="587" y="1080"/>
                </a:lnTo>
                <a:lnTo>
                  <a:pt x="585" y="1101"/>
                </a:lnTo>
                <a:lnTo>
                  <a:pt x="582" y="1113"/>
                </a:lnTo>
                <a:lnTo>
                  <a:pt x="582" y="1120"/>
                </a:lnTo>
                <a:lnTo>
                  <a:pt x="578" y="1127"/>
                </a:lnTo>
                <a:lnTo>
                  <a:pt x="571" y="1129"/>
                </a:lnTo>
                <a:lnTo>
                  <a:pt x="564" y="1132"/>
                </a:lnTo>
                <a:lnTo>
                  <a:pt x="557" y="1129"/>
                </a:lnTo>
                <a:lnTo>
                  <a:pt x="550" y="1125"/>
                </a:lnTo>
                <a:lnTo>
                  <a:pt x="547" y="1120"/>
                </a:lnTo>
                <a:lnTo>
                  <a:pt x="545" y="1113"/>
                </a:lnTo>
                <a:lnTo>
                  <a:pt x="543" y="1101"/>
                </a:lnTo>
                <a:lnTo>
                  <a:pt x="540" y="1080"/>
                </a:lnTo>
                <a:lnTo>
                  <a:pt x="538" y="1055"/>
                </a:lnTo>
                <a:lnTo>
                  <a:pt x="503" y="1052"/>
                </a:lnTo>
                <a:lnTo>
                  <a:pt x="496" y="1076"/>
                </a:lnTo>
                <a:lnTo>
                  <a:pt x="492" y="1097"/>
                </a:lnTo>
                <a:lnTo>
                  <a:pt x="487" y="1108"/>
                </a:lnTo>
                <a:lnTo>
                  <a:pt x="485" y="1115"/>
                </a:lnTo>
                <a:lnTo>
                  <a:pt x="480" y="1120"/>
                </a:lnTo>
                <a:lnTo>
                  <a:pt x="473" y="1122"/>
                </a:lnTo>
                <a:lnTo>
                  <a:pt x="466" y="1122"/>
                </a:lnTo>
                <a:lnTo>
                  <a:pt x="459" y="1120"/>
                </a:lnTo>
                <a:lnTo>
                  <a:pt x="454" y="1115"/>
                </a:lnTo>
                <a:lnTo>
                  <a:pt x="450" y="1108"/>
                </a:lnTo>
                <a:lnTo>
                  <a:pt x="450" y="1101"/>
                </a:lnTo>
                <a:lnTo>
                  <a:pt x="450" y="1090"/>
                </a:lnTo>
                <a:lnTo>
                  <a:pt x="452" y="1069"/>
                </a:lnTo>
                <a:lnTo>
                  <a:pt x="454" y="1043"/>
                </a:lnTo>
                <a:lnTo>
                  <a:pt x="419" y="1034"/>
                </a:lnTo>
                <a:lnTo>
                  <a:pt x="412" y="1052"/>
                </a:lnTo>
                <a:lnTo>
                  <a:pt x="403" y="1066"/>
                </a:lnTo>
                <a:lnTo>
                  <a:pt x="398" y="1080"/>
                </a:lnTo>
                <a:lnTo>
                  <a:pt x="394" y="1087"/>
                </a:lnTo>
                <a:lnTo>
                  <a:pt x="391" y="1092"/>
                </a:lnTo>
                <a:lnTo>
                  <a:pt x="384" y="1097"/>
                </a:lnTo>
                <a:lnTo>
                  <a:pt x="377" y="1097"/>
                </a:lnTo>
                <a:lnTo>
                  <a:pt x="370" y="1097"/>
                </a:lnTo>
                <a:lnTo>
                  <a:pt x="364" y="1092"/>
                </a:lnTo>
                <a:lnTo>
                  <a:pt x="361" y="1087"/>
                </a:lnTo>
                <a:lnTo>
                  <a:pt x="359" y="1080"/>
                </a:lnTo>
                <a:lnTo>
                  <a:pt x="359" y="1073"/>
                </a:lnTo>
                <a:lnTo>
                  <a:pt x="361" y="1062"/>
                </a:lnTo>
                <a:lnTo>
                  <a:pt x="366" y="1041"/>
                </a:lnTo>
                <a:lnTo>
                  <a:pt x="373" y="1017"/>
                </a:lnTo>
                <a:lnTo>
                  <a:pt x="340" y="1001"/>
                </a:lnTo>
                <a:lnTo>
                  <a:pt x="329" y="1017"/>
                </a:lnTo>
                <a:lnTo>
                  <a:pt x="319" y="1031"/>
                </a:lnTo>
                <a:lnTo>
                  <a:pt x="312" y="1043"/>
                </a:lnTo>
                <a:lnTo>
                  <a:pt x="308" y="1048"/>
                </a:lnTo>
                <a:lnTo>
                  <a:pt x="301" y="1055"/>
                </a:lnTo>
                <a:lnTo>
                  <a:pt x="296" y="1055"/>
                </a:lnTo>
                <a:lnTo>
                  <a:pt x="289" y="1055"/>
                </a:lnTo>
                <a:lnTo>
                  <a:pt x="282" y="1055"/>
                </a:lnTo>
                <a:lnTo>
                  <a:pt x="275" y="1050"/>
                </a:lnTo>
                <a:lnTo>
                  <a:pt x="273" y="1043"/>
                </a:lnTo>
                <a:lnTo>
                  <a:pt x="273" y="1036"/>
                </a:lnTo>
                <a:lnTo>
                  <a:pt x="273" y="1029"/>
                </a:lnTo>
                <a:lnTo>
                  <a:pt x="277" y="1022"/>
                </a:lnTo>
                <a:lnTo>
                  <a:pt x="282" y="1010"/>
                </a:lnTo>
                <a:lnTo>
                  <a:pt x="289" y="994"/>
                </a:lnTo>
                <a:lnTo>
                  <a:pt x="298" y="978"/>
                </a:lnTo>
                <a:lnTo>
                  <a:pt x="268" y="957"/>
                </a:lnTo>
                <a:lnTo>
                  <a:pt x="254" y="969"/>
                </a:lnTo>
                <a:lnTo>
                  <a:pt x="242" y="980"/>
                </a:lnTo>
                <a:lnTo>
                  <a:pt x="233" y="992"/>
                </a:lnTo>
                <a:lnTo>
                  <a:pt x="226" y="996"/>
                </a:lnTo>
                <a:lnTo>
                  <a:pt x="222" y="1001"/>
                </a:lnTo>
                <a:lnTo>
                  <a:pt x="215" y="1001"/>
                </a:lnTo>
                <a:lnTo>
                  <a:pt x="208" y="1001"/>
                </a:lnTo>
                <a:lnTo>
                  <a:pt x="201" y="996"/>
                </a:lnTo>
                <a:lnTo>
                  <a:pt x="196" y="992"/>
                </a:lnTo>
                <a:lnTo>
                  <a:pt x="194" y="985"/>
                </a:lnTo>
                <a:lnTo>
                  <a:pt x="194" y="978"/>
                </a:lnTo>
                <a:lnTo>
                  <a:pt x="198" y="971"/>
                </a:lnTo>
                <a:lnTo>
                  <a:pt x="201" y="964"/>
                </a:lnTo>
                <a:lnTo>
                  <a:pt x="210" y="955"/>
                </a:lnTo>
                <a:lnTo>
                  <a:pt x="219" y="938"/>
                </a:lnTo>
                <a:lnTo>
                  <a:pt x="231" y="924"/>
                </a:lnTo>
                <a:lnTo>
                  <a:pt x="205" y="899"/>
                </a:lnTo>
                <a:lnTo>
                  <a:pt x="189" y="908"/>
                </a:lnTo>
                <a:lnTo>
                  <a:pt x="175" y="920"/>
                </a:lnTo>
                <a:lnTo>
                  <a:pt x="163" y="927"/>
                </a:lnTo>
                <a:lnTo>
                  <a:pt x="156" y="931"/>
                </a:lnTo>
                <a:lnTo>
                  <a:pt x="152" y="934"/>
                </a:lnTo>
                <a:lnTo>
                  <a:pt x="145" y="934"/>
                </a:lnTo>
                <a:lnTo>
                  <a:pt x="138" y="931"/>
                </a:lnTo>
                <a:lnTo>
                  <a:pt x="131" y="927"/>
                </a:lnTo>
                <a:lnTo>
                  <a:pt x="128" y="920"/>
                </a:lnTo>
                <a:lnTo>
                  <a:pt x="126" y="913"/>
                </a:lnTo>
                <a:lnTo>
                  <a:pt x="128" y="908"/>
                </a:lnTo>
                <a:lnTo>
                  <a:pt x="133" y="901"/>
                </a:lnTo>
                <a:lnTo>
                  <a:pt x="138" y="896"/>
                </a:lnTo>
                <a:lnTo>
                  <a:pt x="147" y="885"/>
                </a:lnTo>
                <a:lnTo>
                  <a:pt x="161" y="873"/>
                </a:lnTo>
                <a:lnTo>
                  <a:pt x="173" y="859"/>
                </a:lnTo>
                <a:lnTo>
                  <a:pt x="152" y="831"/>
                </a:lnTo>
                <a:lnTo>
                  <a:pt x="135" y="838"/>
                </a:lnTo>
                <a:lnTo>
                  <a:pt x="119" y="845"/>
                </a:lnTo>
                <a:lnTo>
                  <a:pt x="107" y="852"/>
                </a:lnTo>
                <a:lnTo>
                  <a:pt x="100" y="854"/>
                </a:lnTo>
                <a:lnTo>
                  <a:pt x="93" y="857"/>
                </a:lnTo>
                <a:lnTo>
                  <a:pt x="86" y="854"/>
                </a:lnTo>
                <a:lnTo>
                  <a:pt x="80" y="852"/>
                </a:lnTo>
                <a:lnTo>
                  <a:pt x="75" y="845"/>
                </a:lnTo>
                <a:lnTo>
                  <a:pt x="73" y="838"/>
                </a:lnTo>
                <a:lnTo>
                  <a:pt x="73" y="831"/>
                </a:lnTo>
                <a:lnTo>
                  <a:pt x="75" y="829"/>
                </a:lnTo>
                <a:lnTo>
                  <a:pt x="77" y="824"/>
                </a:lnTo>
                <a:lnTo>
                  <a:pt x="82" y="819"/>
                </a:lnTo>
                <a:lnTo>
                  <a:pt x="86" y="815"/>
                </a:lnTo>
                <a:lnTo>
                  <a:pt x="98" y="808"/>
                </a:lnTo>
                <a:lnTo>
                  <a:pt x="112" y="799"/>
                </a:lnTo>
                <a:lnTo>
                  <a:pt x="128" y="787"/>
                </a:lnTo>
                <a:lnTo>
                  <a:pt x="112" y="754"/>
                </a:lnTo>
                <a:lnTo>
                  <a:pt x="89" y="761"/>
                </a:lnTo>
                <a:lnTo>
                  <a:pt x="68" y="766"/>
                </a:lnTo>
                <a:lnTo>
                  <a:pt x="56" y="768"/>
                </a:lnTo>
                <a:lnTo>
                  <a:pt x="49" y="768"/>
                </a:lnTo>
                <a:lnTo>
                  <a:pt x="42" y="766"/>
                </a:lnTo>
                <a:lnTo>
                  <a:pt x="38" y="764"/>
                </a:lnTo>
                <a:lnTo>
                  <a:pt x="35" y="757"/>
                </a:lnTo>
                <a:lnTo>
                  <a:pt x="33" y="750"/>
                </a:lnTo>
                <a:lnTo>
                  <a:pt x="35" y="743"/>
                </a:lnTo>
                <a:lnTo>
                  <a:pt x="38" y="738"/>
                </a:lnTo>
                <a:lnTo>
                  <a:pt x="40" y="736"/>
                </a:lnTo>
                <a:lnTo>
                  <a:pt x="45" y="733"/>
                </a:lnTo>
                <a:lnTo>
                  <a:pt x="52" y="729"/>
                </a:lnTo>
                <a:lnTo>
                  <a:pt x="63" y="724"/>
                </a:lnTo>
                <a:lnTo>
                  <a:pt x="80" y="715"/>
                </a:lnTo>
                <a:lnTo>
                  <a:pt x="96" y="708"/>
                </a:lnTo>
                <a:lnTo>
                  <a:pt x="86" y="673"/>
                </a:lnTo>
                <a:lnTo>
                  <a:pt x="63" y="675"/>
                </a:lnTo>
                <a:lnTo>
                  <a:pt x="42" y="677"/>
                </a:lnTo>
                <a:lnTo>
                  <a:pt x="28" y="677"/>
                </a:lnTo>
                <a:lnTo>
                  <a:pt x="21" y="677"/>
                </a:lnTo>
                <a:lnTo>
                  <a:pt x="17" y="673"/>
                </a:lnTo>
                <a:lnTo>
                  <a:pt x="12" y="668"/>
                </a:lnTo>
                <a:lnTo>
                  <a:pt x="10" y="661"/>
                </a:lnTo>
                <a:lnTo>
                  <a:pt x="10" y="654"/>
                </a:lnTo>
                <a:lnTo>
                  <a:pt x="12" y="647"/>
                </a:lnTo>
                <a:lnTo>
                  <a:pt x="17" y="643"/>
                </a:lnTo>
                <a:lnTo>
                  <a:pt x="24" y="638"/>
                </a:lnTo>
                <a:lnTo>
                  <a:pt x="35" y="636"/>
                </a:lnTo>
                <a:lnTo>
                  <a:pt x="54" y="631"/>
                </a:lnTo>
                <a:lnTo>
                  <a:pt x="80" y="624"/>
                </a:lnTo>
                <a:lnTo>
                  <a:pt x="75" y="589"/>
                </a:lnTo>
                <a:lnTo>
                  <a:pt x="52" y="587"/>
                </a:lnTo>
                <a:lnTo>
                  <a:pt x="31" y="584"/>
                </a:lnTo>
                <a:lnTo>
                  <a:pt x="19" y="582"/>
                </a:lnTo>
                <a:lnTo>
                  <a:pt x="12" y="580"/>
                </a:lnTo>
                <a:lnTo>
                  <a:pt x="5" y="575"/>
                </a:lnTo>
                <a:lnTo>
                  <a:pt x="3" y="570"/>
                </a:lnTo>
                <a:lnTo>
                  <a:pt x="0" y="563"/>
                </a:lnTo>
                <a:lnTo>
                  <a:pt x="3" y="556"/>
                </a:lnTo>
                <a:lnTo>
                  <a:pt x="5" y="549"/>
                </a:lnTo>
                <a:lnTo>
                  <a:pt x="12" y="545"/>
                </a:lnTo>
                <a:lnTo>
                  <a:pt x="19" y="542"/>
                </a:lnTo>
                <a:lnTo>
                  <a:pt x="31" y="542"/>
                </a:lnTo>
                <a:lnTo>
                  <a:pt x="52" y="540"/>
                </a:lnTo>
                <a:lnTo>
                  <a:pt x="75" y="538"/>
                </a:lnTo>
                <a:lnTo>
                  <a:pt x="80" y="503"/>
                </a:lnTo>
                <a:lnTo>
                  <a:pt x="56" y="496"/>
                </a:lnTo>
                <a:lnTo>
                  <a:pt x="35" y="491"/>
                </a:lnTo>
                <a:lnTo>
                  <a:pt x="24" y="487"/>
                </a:lnTo>
                <a:lnTo>
                  <a:pt x="17" y="484"/>
                </a:lnTo>
                <a:lnTo>
                  <a:pt x="12" y="480"/>
                </a:lnTo>
                <a:lnTo>
                  <a:pt x="10" y="473"/>
                </a:lnTo>
                <a:lnTo>
                  <a:pt x="10" y="466"/>
                </a:lnTo>
                <a:lnTo>
                  <a:pt x="12" y="459"/>
                </a:lnTo>
                <a:lnTo>
                  <a:pt x="17" y="454"/>
                </a:lnTo>
                <a:lnTo>
                  <a:pt x="24" y="449"/>
                </a:lnTo>
                <a:lnTo>
                  <a:pt x="31" y="449"/>
                </a:lnTo>
                <a:lnTo>
                  <a:pt x="42" y="449"/>
                </a:lnTo>
                <a:lnTo>
                  <a:pt x="63" y="452"/>
                </a:lnTo>
                <a:lnTo>
                  <a:pt x="89" y="454"/>
                </a:lnTo>
                <a:lnTo>
                  <a:pt x="98" y="419"/>
                </a:lnTo>
                <a:lnTo>
                  <a:pt x="80" y="412"/>
                </a:lnTo>
                <a:lnTo>
                  <a:pt x="66" y="403"/>
                </a:lnTo>
                <a:lnTo>
                  <a:pt x="52" y="398"/>
                </a:lnTo>
                <a:lnTo>
                  <a:pt x="45" y="393"/>
                </a:lnTo>
                <a:lnTo>
                  <a:pt x="42" y="391"/>
                </a:lnTo>
                <a:lnTo>
                  <a:pt x="38" y="389"/>
                </a:lnTo>
                <a:lnTo>
                  <a:pt x="35" y="384"/>
                </a:lnTo>
                <a:lnTo>
                  <a:pt x="35" y="377"/>
                </a:lnTo>
                <a:lnTo>
                  <a:pt x="35" y="370"/>
                </a:lnTo>
                <a:lnTo>
                  <a:pt x="40" y="363"/>
                </a:lnTo>
                <a:lnTo>
                  <a:pt x="45" y="358"/>
                </a:lnTo>
                <a:lnTo>
                  <a:pt x="52" y="356"/>
                </a:lnTo>
                <a:lnTo>
                  <a:pt x="59" y="358"/>
                </a:lnTo>
                <a:lnTo>
                  <a:pt x="70" y="361"/>
                </a:lnTo>
                <a:lnTo>
                  <a:pt x="91" y="365"/>
                </a:lnTo>
                <a:lnTo>
                  <a:pt x="114" y="372"/>
                </a:lnTo>
                <a:lnTo>
                  <a:pt x="131" y="340"/>
                </a:lnTo>
                <a:lnTo>
                  <a:pt x="114" y="328"/>
                </a:lnTo>
                <a:lnTo>
                  <a:pt x="100" y="319"/>
                </a:lnTo>
                <a:lnTo>
                  <a:pt x="89" y="310"/>
                </a:lnTo>
                <a:lnTo>
                  <a:pt x="82" y="307"/>
                </a:lnTo>
                <a:lnTo>
                  <a:pt x="80" y="303"/>
                </a:lnTo>
                <a:lnTo>
                  <a:pt x="77" y="298"/>
                </a:lnTo>
                <a:lnTo>
                  <a:pt x="75" y="293"/>
                </a:lnTo>
                <a:lnTo>
                  <a:pt x="75" y="286"/>
                </a:lnTo>
                <a:lnTo>
                  <a:pt x="77" y="282"/>
                </a:lnTo>
                <a:lnTo>
                  <a:pt x="82" y="275"/>
                </a:lnTo>
                <a:lnTo>
                  <a:pt x="89" y="272"/>
                </a:lnTo>
                <a:lnTo>
                  <a:pt x="96" y="270"/>
                </a:lnTo>
                <a:lnTo>
                  <a:pt x="103" y="272"/>
                </a:lnTo>
                <a:lnTo>
                  <a:pt x="110" y="275"/>
                </a:lnTo>
                <a:lnTo>
                  <a:pt x="121" y="282"/>
                </a:lnTo>
                <a:lnTo>
                  <a:pt x="138" y="289"/>
                </a:lnTo>
                <a:lnTo>
                  <a:pt x="154" y="296"/>
                </a:lnTo>
                <a:lnTo>
                  <a:pt x="175" y="268"/>
                </a:lnTo>
                <a:lnTo>
                  <a:pt x="163" y="254"/>
                </a:lnTo>
                <a:lnTo>
                  <a:pt x="149" y="242"/>
                </a:lnTo>
                <a:lnTo>
                  <a:pt x="140" y="233"/>
                </a:lnTo>
                <a:lnTo>
                  <a:pt x="135" y="226"/>
                </a:lnTo>
                <a:lnTo>
                  <a:pt x="131" y="221"/>
                </a:lnTo>
                <a:lnTo>
                  <a:pt x="131" y="214"/>
                </a:lnTo>
                <a:lnTo>
                  <a:pt x="131" y="207"/>
                </a:lnTo>
                <a:lnTo>
                  <a:pt x="135" y="200"/>
                </a:lnTo>
                <a:lnTo>
                  <a:pt x="140" y="195"/>
                </a:lnTo>
                <a:lnTo>
                  <a:pt x="147" y="193"/>
                </a:lnTo>
                <a:lnTo>
                  <a:pt x="154" y="193"/>
                </a:lnTo>
                <a:lnTo>
                  <a:pt x="161" y="195"/>
                </a:lnTo>
                <a:lnTo>
                  <a:pt x="168" y="200"/>
                </a:lnTo>
                <a:lnTo>
                  <a:pt x="177" y="209"/>
                </a:lnTo>
                <a:lnTo>
                  <a:pt x="194" y="219"/>
                </a:lnTo>
                <a:lnTo>
                  <a:pt x="208" y="230"/>
                </a:lnTo>
                <a:lnTo>
                  <a:pt x="233" y="205"/>
                </a:lnTo>
                <a:lnTo>
                  <a:pt x="224" y="188"/>
                </a:lnTo>
                <a:lnTo>
                  <a:pt x="212" y="175"/>
                </a:lnTo>
                <a:lnTo>
                  <a:pt x="205" y="163"/>
                </a:lnTo>
                <a:lnTo>
                  <a:pt x="201" y="156"/>
                </a:lnTo>
                <a:lnTo>
                  <a:pt x="198" y="149"/>
                </a:lnTo>
                <a:lnTo>
                  <a:pt x="198" y="142"/>
                </a:lnTo>
                <a:lnTo>
                  <a:pt x="201" y="137"/>
                </a:lnTo>
                <a:lnTo>
                  <a:pt x="205" y="130"/>
                </a:lnTo>
                <a:lnTo>
                  <a:pt x="212" y="128"/>
                </a:lnTo>
                <a:lnTo>
                  <a:pt x="217" y="126"/>
                </a:lnTo>
                <a:lnTo>
                  <a:pt x="224" y="128"/>
                </a:lnTo>
                <a:lnTo>
                  <a:pt x="231" y="133"/>
                </a:lnTo>
                <a:lnTo>
                  <a:pt x="235" y="137"/>
                </a:lnTo>
                <a:lnTo>
                  <a:pt x="247" y="147"/>
                </a:lnTo>
                <a:lnTo>
                  <a:pt x="259" y="158"/>
                </a:lnTo>
                <a:lnTo>
                  <a:pt x="273" y="172"/>
                </a:lnTo>
                <a:lnTo>
                  <a:pt x="301" y="151"/>
                </a:lnTo>
                <a:lnTo>
                  <a:pt x="294" y="135"/>
                </a:lnTo>
                <a:lnTo>
                  <a:pt x="287" y="119"/>
                </a:lnTo>
                <a:lnTo>
                  <a:pt x="280" y="107"/>
                </a:lnTo>
                <a:lnTo>
                  <a:pt x="277" y="100"/>
                </a:lnTo>
                <a:lnTo>
                  <a:pt x="275" y="93"/>
                </a:lnTo>
                <a:lnTo>
                  <a:pt x="277" y="86"/>
                </a:lnTo>
                <a:lnTo>
                  <a:pt x="280" y="79"/>
                </a:lnTo>
                <a:lnTo>
                  <a:pt x="287" y="74"/>
                </a:lnTo>
                <a:lnTo>
                  <a:pt x="294" y="72"/>
                </a:lnTo>
                <a:lnTo>
                  <a:pt x="298" y="72"/>
                </a:lnTo>
                <a:lnTo>
                  <a:pt x="303" y="74"/>
                </a:lnTo>
                <a:lnTo>
                  <a:pt x="308" y="77"/>
                </a:lnTo>
                <a:lnTo>
                  <a:pt x="312" y="79"/>
                </a:lnTo>
                <a:lnTo>
                  <a:pt x="315" y="86"/>
                </a:lnTo>
                <a:lnTo>
                  <a:pt x="324" y="98"/>
                </a:lnTo>
                <a:lnTo>
                  <a:pt x="333" y="112"/>
                </a:lnTo>
                <a:lnTo>
                  <a:pt x="345" y="128"/>
                </a:lnTo>
                <a:lnTo>
                  <a:pt x="377" y="112"/>
                </a:lnTo>
                <a:lnTo>
                  <a:pt x="370" y="88"/>
                </a:lnTo>
                <a:lnTo>
                  <a:pt x="366" y="67"/>
                </a:lnTo>
                <a:lnTo>
                  <a:pt x="364" y="56"/>
                </a:lnTo>
                <a:lnTo>
                  <a:pt x="361" y="49"/>
                </a:lnTo>
                <a:lnTo>
                  <a:pt x="364" y="42"/>
                </a:lnTo>
                <a:lnTo>
                  <a:pt x="368" y="37"/>
                </a:lnTo>
                <a:lnTo>
                  <a:pt x="375" y="32"/>
                </a:lnTo>
                <a:lnTo>
                  <a:pt x="382" y="32"/>
                </a:lnTo>
                <a:lnTo>
                  <a:pt x="389" y="35"/>
                </a:lnTo>
                <a:lnTo>
                  <a:pt x="394" y="35"/>
                </a:lnTo>
                <a:lnTo>
                  <a:pt x="396" y="39"/>
                </a:lnTo>
                <a:lnTo>
                  <a:pt x="398" y="42"/>
                </a:lnTo>
                <a:lnTo>
                  <a:pt x="403" y="51"/>
                </a:lnTo>
                <a:lnTo>
                  <a:pt x="408" y="63"/>
                </a:lnTo>
                <a:lnTo>
                  <a:pt x="417" y="79"/>
                </a:lnTo>
                <a:lnTo>
                  <a:pt x="424" y="95"/>
                </a:lnTo>
                <a:lnTo>
                  <a:pt x="459" y="86"/>
                </a:lnTo>
                <a:lnTo>
                  <a:pt x="457" y="60"/>
                </a:lnTo>
                <a:lnTo>
                  <a:pt x="454" y="39"/>
                </a:lnTo>
                <a:lnTo>
                  <a:pt x="454" y="28"/>
                </a:lnTo>
                <a:lnTo>
                  <a:pt x="454" y="21"/>
                </a:lnTo>
                <a:lnTo>
                  <a:pt x="459" y="16"/>
                </a:lnTo>
                <a:lnTo>
                  <a:pt x="464" y="12"/>
                </a:lnTo>
                <a:lnTo>
                  <a:pt x="471" y="9"/>
                </a:lnTo>
                <a:lnTo>
                  <a:pt x="478" y="9"/>
                </a:lnTo>
                <a:lnTo>
                  <a:pt x="485" y="12"/>
                </a:lnTo>
                <a:lnTo>
                  <a:pt x="489" y="16"/>
                </a:lnTo>
                <a:lnTo>
                  <a:pt x="492" y="21"/>
                </a:lnTo>
                <a:lnTo>
                  <a:pt x="496" y="32"/>
                </a:lnTo>
                <a:lnTo>
                  <a:pt x="501" y="53"/>
                </a:lnTo>
                <a:lnTo>
                  <a:pt x="508" y="77"/>
                </a:lnTo>
                <a:lnTo>
                  <a:pt x="543" y="74"/>
                </a:lnTo>
                <a:lnTo>
                  <a:pt x="545" y="51"/>
                </a:lnTo>
                <a:lnTo>
                  <a:pt x="547" y="30"/>
                </a:lnTo>
                <a:lnTo>
                  <a:pt x="550" y="16"/>
                </a:lnTo>
                <a:lnTo>
                  <a:pt x="552" y="12"/>
                </a:lnTo>
                <a:lnTo>
                  <a:pt x="557" y="5"/>
                </a:lnTo>
                <a:lnTo>
                  <a:pt x="561" y="2"/>
                </a:lnTo>
                <a:lnTo>
                  <a:pt x="568" y="0"/>
                </a:lnTo>
                <a:close/>
              </a:path>
            </a:pathLst>
          </a:custGeom>
          <a:solidFill>
            <a:schemeClr val="accent6">
              <a:alpha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58" name="Ovaal - 3"/>
          <p:cNvSpPr/>
          <p:nvPr/>
        </p:nvSpPr>
        <p:spPr>
          <a:xfrm>
            <a:off x="4160216" y="2583098"/>
            <a:ext cx="1150924" cy="115091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nl-NL" sz="4800" b="1" dirty="0"/>
              <a:t>3</a:t>
            </a:r>
          </a:p>
        </p:txBody>
      </p:sp>
      <p:sp>
        <p:nvSpPr>
          <p:cNvPr id="67" name="Radar - 4"/>
          <p:cNvSpPr>
            <a:spLocks noEditPoints="1"/>
          </p:cNvSpPr>
          <p:nvPr/>
        </p:nvSpPr>
        <p:spPr bwMode="auto">
          <a:xfrm>
            <a:off x="5226355" y="1138694"/>
            <a:ext cx="2098702" cy="2098702"/>
          </a:xfrm>
          <a:custGeom>
            <a:avLst/>
            <a:gdLst>
              <a:gd name="T0" fmla="*/ 149 w 1132"/>
              <a:gd name="T1" fmla="*/ 552 h 1132"/>
              <a:gd name="T2" fmla="*/ 627 w 1132"/>
              <a:gd name="T3" fmla="*/ 978 h 1132"/>
              <a:gd name="T4" fmla="*/ 962 w 1132"/>
              <a:gd name="T5" fmla="*/ 433 h 1132"/>
              <a:gd name="T6" fmla="*/ 582 w 1132"/>
              <a:gd name="T7" fmla="*/ 5 h 1132"/>
              <a:gd name="T8" fmla="*/ 648 w 1132"/>
              <a:gd name="T9" fmla="*/ 16 h 1132"/>
              <a:gd name="T10" fmla="*/ 678 w 1132"/>
              <a:gd name="T11" fmla="*/ 86 h 1132"/>
              <a:gd name="T12" fmla="*/ 769 w 1132"/>
              <a:gd name="T13" fmla="*/ 39 h 1132"/>
              <a:gd name="T14" fmla="*/ 820 w 1132"/>
              <a:gd name="T15" fmla="*/ 88 h 1132"/>
              <a:gd name="T16" fmla="*/ 855 w 1132"/>
              <a:gd name="T17" fmla="*/ 109 h 1132"/>
              <a:gd name="T18" fmla="*/ 918 w 1132"/>
              <a:gd name="T19" fmla="*/ 130 h 1132"/>
              <a:gd name="T20" fmla="*/ 901 w 1132"/>
              <a:gd name="T21" fmla="*/ 207 h 1132"/>
              <a:gd name="T22" fmla="*/ 1004 w 1132"/>
              <a:gd name="T23" fmla="*/ 209 h 1132"/>
              <a:gd name="T24" fmla="*/ 1013 w 1132"/>
              <a:gd name="T25" fmla="*/ 286 h 1132"/>
              <a:gd name="T26" fmla="*/ 1055 w 1132"/>
              <a:gd name="T27" fmla="*/ 307 h 1132"/>
              <a:gd name="T28" fmla="*/ 1083 w 1132"/>
              <a:gd name="T29" fmla="*/ 361 h 1132"/>
              <a:gd name="T30" fmla="*/ 1053 w 1132"/>
              <a:gd name="T31" fmla="*/ 414 h 1132"/>
              <a:gd name="T32" fmla="*/ 1122 w 1132"/>
              <a:gd name="T33" fmla="*/ 477 h 1132"/>
              <a:gd name="T34" fmla="*/ 1115 w 1132"/>
              <a:gd name="T35" fmla="*/ 549 h 1132"/>
              <a:gd name="T36" fmla="*/ 1081 w 1132"/>
              <a:gd name="T37" fmla="*/ 591 h 1132"/>
              <a:gd name="T38" fmla="*/ 1120 w 1132"/>
              <a:gd name="T39" fmla="*/ 673 h 1132"/>
              <a:gd name="T40" fmla="*/ 1081 w 1132"/>
              <a:gd name="T41" fmla="*/ 733 h 1132"/>
              <a:gd name="T42" fmla="*/ 1074 w 1132"/>
              <a:gd name="T43" fmla="*/ 773 h 1132"/>
              <a:gd name="T44" fmla="*/ 1057 w 1132"/>
              <a:gd name="T45" fmla="*/ 836 h 1132"/>
              <a:gd name="T46" fmla="*/ 978 w 1132"/>
              <a:gd name="T47" fmla="*/ 833 h 1132"/>
              <a:gd name="T48" fmla="*/ 992 w 1132"/>
              <a:gd name="T49" fmla="*/ 936 h 1132"/>
              <a:gd name="T50" fmla="*/ 920 w 1132"/>
              <a:gd name="T51" fmla="*/ 957 h 1132"/>
              <a:gd name="T52" fmla="*/ 901 w 1132"/>
              <a:gd name="T53" fmla="*/ 999 h 1132"/>
              <a:gd name="T54" fmla="*/ 857 w 1132"/>
              <a:gd name="T55" fmla="*/ 1038 h 1132"/>
              <a:gd name="T56" fmla="*/ 808 w 1132"/>
              <a:gd name="T57" fmla="*/ 1034 h 1132"/>
              <a:gd name="T58" fmla="*/ 757 w 1132"/>
              <a:gd name="T59" fmla="*/ 1097 h 1132"/>
              <a:gd name="T60" fmla="*/ 675 w 1132"/>
              <a:gd name="T61" fmla="*/ 1069 h 1132"/>
              <a:gd name="T62" fmla="*/ 641 w 1132"/>
              <a:gd name="T63" fmla="*/ 1108 h 1132"/>
              <a:gd name="T64" fmla="*/ 571 w 1132"/>
              <a:gd name="T65" fmla="*/ 1129 h 1132"/>
              <a:gd name="T66" fmla="*/ 496 w 1132"/>
              <a:gd name="T67" fmla="*/ 1076 h 1132"/>
              <a:gd name="T68" fmla="*/ 450 w 1132"/>
              <a:gd name="T69" fmla="*/ 1101 h 1132"/>
              <a:gd name="T70" fmla="*/ 384 w 1132"/>
              <a:gd name="T71" fmla="*/ 1097 h 1132"/>
              <a:gd name="T72" fmla="*/ 340 w 1132"/>
              <a:gd name="T73" fmla="*/ 1001 h 1132"/>
              <a:gd name="T74" fmla="*/ 273 w 1132"/>
              <a:gd name="T75" fmla="*/ 1043 h 1132"/>
              <a:gd name="T76" fmla="*/ 233 w 1132"/>
              <a:gd name="T77" fmla="*/ 992 h 1132"/>
              <a:gd name="T78" fmla="*/ 201 w 1132"/>
              <a:gd name="T79" fmla="*/ 964 h 1132"/>
              <a:gd name="T80" fmla="*/ 145 w 1132"/>
              <a:gd name="T81" fmla="*/ 934 h 1132"/>
              <a:gd name="T82" fmla="*/ 173 w 1132"/>
              <a:gd name="T83" fmla="*/ 859 h 1132"/>
              <a:gd name="T84" fmla="*/ 73 w 1132"/>
              <a:gd name="T85" fmla="*/ 838 h 1132"/>
              <a:gd name="T86" fmla="*/ 89 w 1132"/>
              <a:gd name="T87" fmla="*/ 761 h 1132"/>
              <a:gd name="T88" fmla="*/ 40 w 1132"/>
              <a:gd name="T89" fmla="*/ 736 h 1132"/>
              <a:gd name="T90" fmla="*/ 21 w 1132"/>
              <a:gd name="T91" fmla="*/ 677 h 1132"/>
              <a:gd name="T92" fmla="*/ 80 w 1132"/>
              <a:gd name="T93" fmla="*/ 624 h 1132"/>
              <a:gd name="T94" fmla="*/ 5 w 1132"/>
              <a:gd name="T95" fmla="*/ 549 h 1132"/>
              <a:gd name="T96" fmla="*/ 17 w 1132"/>
              <a:gd name="T97" fmla="*/ 484 h 1132"/>
              <a:gd name="T98" fmla="*/ 89 w 1132"/>
              <a:gd name="T99" fmla="*/ 454 h 1132"/>
              <a:gd name="T100" fmla="*/ 35 w 1132"/>
              <a:gd name="T101" fmla="*/ 370 h 1132"/>
              <a:gd name="T102" fmla="*/ 100 w 1132"/>
              <a:gd name="T103" fmla="*/ 319 h 1132"/>
              <a:gd name="T104" fmla="*/ 96 w 1132"/>
              <a:gd name="T105" fmla="*/ 270 h 1132"/>
              <a:gd name="T106" fmla="*/ 135 w 1132"/>
              <a:gd name="T107" fmla="*/ 226 h 1132"/>
              <a:gd name="T108" fmla="*/ 177 w 1132"/>
              <a:gd name="T109" fmla="*/ 209 h 1132"/>
              <a:gd name="T110" fmla="*/ 201 w 1132"/>
              <a:gd name="T111" fmla="*/ 137 h 1132"/>
              <a:gd name="T112" fmla="*/ 301 w 1132"/>
              <a:gd name="T113" fmla="*/ 151 h 1132"/>
              <a:gd name="T114" fmla="*/ 298 w 1132"/>
              <a:gd name="T115" fmla="*/ 72 h 1132"/>
              <a:gd name="T116" fmla="*/ 366 w 1132"/>
              <a:gd name="T117" fmla="*/ 67 h 1132"/>
              <a:gd name="T118" fmla="*/ 398 w 1132"/>
              <a:gd name="T119" fmla="*/ 42 h 1132"/>
              <a:gd name="T120" fmla="*/ 459 w 1132"/>
              <a:gd name="T121" fmla="*/ 16 h 1132"/>
              <a:gd name="T122" fmla="*/ 543 w 1132"/>
              <a:gd name="T123" fmla="*/ 74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2" h="1132">
                <a:moveTo>
                  <a:pt x="580" y="149"/>
                </a:moveTo>
                <a:lnTo>
                  <a:pt x="506" y="151"/>
                </a:lnTo>
                <a:lnTo>
                  <a:pt x="433" y="170"/>
                </a:lnTo>
                <a:lnTo>
                  <a:pt x="368" y="198"/>
                </a:lnTo>
                <a:lnTo>
                  <a:pt x="308" y="237"/>
                </a:lnTo>
                <a:lnTo>
                  <a:pt x="256" y="286"/>
                </a:lnTo>
                <a:lnTo>
                  <a:pt x="212" y="342"/>
                </a:lnTo>
                <a:lnTo>
                  <a:pt x="180" y="407"/>
                </a:lnTo>
                <a:lnTo>
                  <a:pt x="159" y="477"/>
                </a:lnTo>
                <a:lnTo>
                  <a:pt x="149" y="552"/>
                </a:lnTo>
                <a:lnTo>
                  <a:pt x="152" y="626"/>
                </a:lnTo>
                <a:lnTo>
                  <a:pt x="170" y="698"/>
                </a:lnTo>
                <a:lnTo>
                  <a:pt x="198" y="764"/>
                </a:lnTo>
                <a:lnTo>
                  <a:pt x="238" y="824"/>
                </a:lnTo>
                <a:lnTo>
                  <a:pt x="287" y="875"/>
                </a:lnTo>
                <a:lnTo>
                  <a:pt x="343" y="920"/>
                </a:lnTo>
                <a:lnTo>
                  <a:pt x="408" y="952"/>
                </a:lnTo>
                <a:lnTo>
                  <a:pt x="478" y="973"/>
                </a:lnTo>
                <a:lnTo>
                  <a:pt x="552" y="982"/>
                </a:lnTo>
                <a:lnTo>
                  <a:pt x="627" y="978"/>
                </a:lnTo>
                <a:lnTo>
                  <a:pt x="699" y="962"/>
                </a:lnTo>
                <a:lnTo>
                  <a:pt x="764" y="934"/>
                </a:lnTo>
                <a:lnTo>
                  <a:pt x="824" y="894"/>
                </a:lnTo>
                <a:lnTo>
                  <a:pt x="876" y="845"/>
                </a:lnTo>
                <a:lnTo>
                  <a:pt x="920" y="789"/>
                </a:lnTo>
                <a:lnTo>
                  <a:pt x="952" y="724"/>
                </a:lnTo>
                <a:lnTo>
                  <a:pt x="973" y="654"/>
                </a:lnTo>
                <a:lnTo>
                  <a:pt x="983" y="580"/>
                </a:lnTo>
                <a:lnTo>
                  <a:pt x="980" y="505"/>
                </a:lnTo>
                <a:lnTo>
                  <a:pt x="962" y="433"/>
                </a:lnTo>
                <a:lnTo>
                  <a:pt x="934" y="368"/>
                </a:lnTo>
                <a:lnTo>
                  <a:pt x="894" y="307"/>
                </a:lnTo>
                <a:lnTo>
                  <a:pt x="845" y="256"/>
                </a:lnTo>
                <a:lnTo>
                  <a:pt x="790" y="212"/>
                </a:lnTo>
                <a:lnTo>
                  <a:pt x="724" y="179"/>
                </a:lnTo>
                <a:lnTo>
                  <a:pt x="654" y="156"/>
                </a:lnTo>
                <a:lnTo>
                  <a:pt x="580" y="149"/>
                </a:lnTo>
                <a:close/>
                <a:moveTo>
                  <a:pt x="568" y="0"/>
                </a:moveTo>
                <a:lnTo>
                  <a:pt x="575" y="2"/>
                </a:lnTo>
                <a:lnTo>
                  <a:pt x="582" y="5"/>
                </a:lnTo>
                <a:lnTo>
                  <a:pt x="587" y="12"/>
                </a:lnTo>
                <a:lnTo>
                  <a:pt x="587" y="19"/>
                </a:lnTo>
                <a:lnTo>
                  <a:pt x="589" y="30"/>
                </a:lnTo>
                <a:lnTo>
                  <a:pt x="592" y="51"/>
                </a:lnTo>
                <a:lnTo>
                  <a:pt x="594" y="74"/>
                </a:lnTo>
                <a:lnTo>
                  <a:pt x="629" y="79"/>
                </a:lnTo>
                <a:lnTo>
                  <a:pt x="636" y="53"/>
                </a:lnTo>
                <a:lnTo>
                  <a:pt x="641" y="35"/>
                </a:lnTo>
                <a:lnTo>
                  <a:pt x="645" y="23"/>
                </a:lnTo>
                <a:lnTo>
                  <a:pt x="648" y="16"/>
                </a:lnTo>
                <a:lnTo>
                  <a:pt x="652" y="12"/>
                </a:lnTo>
                <a:lnTo>
                  <a:pt x="659" y="9"/>
                </a:lnTo>
                <a:lnTo>
                  <a:pt x="666" y="9"/>
                </a:lnTo>
                <a:lnTo>
                  <a:pt x="673" y="12"/>
                </a:lnTo>
                <a:lnTo>
                  <a:pt x="678" y="16"/>
                </a:lnTo>
                <a:lnTo>
                  <a:pt x="682" y="23"/>
                </a:lnTo>
                <a:lnTo>
                  <a:pt x="682" y="30"/>
                </a:lnTo>
                <a:lnTo>
                  <a:pt x="682" y="42"/>
                </a:lnTo>
                <a:lnTo>
                  <a:pt x="680" y="63"/>
                </a:lnTo>
                <a:lnTo>
                  <a:pt x="678" y="86"/>
                </a:lnTo>
                <a:lnTo>
                  <a:pt x="713" y="95"/>
                </a:lnTo>
                <a:lnTo>
                  <a:pt x="720" y="79"/>
                </a:lnTo>
                <a:lnTo>
                  <a:pt x="729" y="63"/>
                </a:lnTo>
                <a:lnTo>
                  <a:pt x="734" y="51"/>
                </a:lnTo>
                <a:lnTo>
                  <a:pt x="738" y="44"/>
                </a:lnTo>
                <a:lnTo>
                  <a:pt x="743" y="39"/>
                </a:lnTo>
                <a:lnTo>
                  <a:pt x="748" y="35"/>
                </a:lnTo>
                <a:lnTo>
                  <a:pt x="755" y="35"/>
                </a:lnTo>
                <a:lnTo>
                  <a:pt x="762" y="35"/>
                </a:lnTo>
                <a:lnTo>
                  <a:pt x="769" y="39"/>
                </a:lnTo>
                <a:lnTo>
                  <a:pt x="773" y="44"/>
                </a:lnTo>
                <a:lnTo>
                  <a:pt x="776" y="51"/>
                </a:lnTo>
                <a:lnTo>
                  <a:pt x="773" y="58"/>
                </a:lnTo>
                <a:lnTo>
                  <a:pt x="771" y="70"/>
                </a:lnTo>
                <a:lnTo>
                  <a:pt x="766" y="91"/>
                </a:lnTo>
                <a:lnTo>
                  <a:pt x="759" y="114"/>
                </a:lnTo>
                <a:lnTo>
                  <a:pt x="792" y="128"/>
                </a:lnTo>
                <a:lnTo>
                  <a:pt x="803" y="114"/>
                </a:lnTo>
                <a:lnTo>
                  <a:pt x="813" y="100"/>
                </a:lnTo>
                <a:lnTo>
                  <a:pt x="820" y="88"/>
                </a:lnTo>
                <a:lnTo>
                  <a:pt x="824" y="81"/>
                </a:lnTo>
                <a:lnTo>
                  <a:pt x="831" y="77"/>
                </a:lnTo>
                <a:lnTo>
                  <a:pt x="836" y="74"/>
                </a:lnTo>
                <a:lnTo>
                  <a:pt x="843" y="74"/>
                </a:lnTo>
                <a:lnTo>
                  <a:pt x="850" y="77"/>
                </a:lnTo>
                <a:lnTo>
                  <a:pt x="857" y="81"/>
                </a:lnTo>
                <a:lnTo>
                  <a:pt x="859" y="88"/>
                </a:lnTo>
                <a:lnTo>
                  <a:pt x="862" y="95"/>
                </a:lnTo>
                <a:lnTo>
                  <a:pt x="859" y="102"/>
                </a:lnTo>
                <a:lnTo>
                  <a:pt x="855" y="109"/>
                </a:lnTo>
                <a:lnTo>
                  <a:pt x="850" y="121"/>
                </a:lnTo>
                <a:lnTo>
                  <a:pt x="843" y="137"/>
                </a:lnTo>
                <a:lnTo>
                  <a:pt x="836" y="154"/>
                </a:lnTo>
                <a:lnTo>
                  <a:pt x="864" y="175"/>
                </a:lnTo>
                <a:lnTo>
                  <a:pt x="878" y="161"/>
                </a:lnTo>
                <a:lnTo>
                  <a:pt x="890" y="149"/>
                </a:lnTo>
                <a:lnTo>
                  <a:pt x="899" y="140"/>
                </a:lnTo>
                <a:lnTo>
                  <a:pt x="906" y="135"/>
                </a:lnTo>
                <a:lnTo>
                  <a:pt x="911" y="130"/>
                </a:lnTo>
                <a:lnTo>
                  <a:pt x="918" y="130"/>
                </a:lnTo>
                <a:lnTo>
                  <a:pt x="925" y="130"/>
                </a:lnTo>
                <a:lnTo>
                  <a:pt x="932" y="135"/>
                </a:lnTo>
                <a:lnTo>
                  <a:pt x="936" y="140"/>
                </a:lnTo>
                <a:lnTo>
                  <a:pt x="939" y="147"/>
                </a:lnTo>
                <a:lnTo>
                  <a:pt x="939" y="154"/>
                </a:lnTo>
                <a:lnTo>
                  <a:pt x="936" y="161"/>
                </a:lnTo>
                <a:lnTo>
                  <a:pt x="932" y="165"/>
                </a:lnTo>
                <a:lnTo>
                  <a:pt x="922" y="177"/>
                </a:lnTo>
                <a:lnTo>
                  <a:pt x="913" y="191"/>
                </a:lnTo>
                <a:lnTo>
                  <a:pt x="901" y="207"/>
                </a:lnTo>
                <a:lnTo>
                  <a:pt x="927" y="233"/>
                </a:lnTo>
                <a:lnTo>
                  <a:pt x="943" y="221"/>
                </a:lnTo>
                <a:lnTo>
                  <a:pt x="957" y="212"/>
                </a:lnTo>
                <a:lnTo>
                  <a:pt x="969" y="205"/>
                </a:lnTo>
                <a:lnTo>
                  <a:pt x="976" y="200"/>
                </a:lnTo>
                <a:lnTo>
                  <a:pt x="983" y="198"/>
                </a:lnTo>
                <a:lnTo>
                  <a:pt x="990" y="198"/>
                </a:lnTo>
                <a:lnTo>
                  <a:pt x="994" y="200"/>
                </a:lnTo>
                <a:lnTo>
                  <a:pt x="1001" y="205"/>
                </a:lnTo>
                <a:lnTo>
                  <a:pt x="1004" y="209"/>
                </a:lnTo>
                <a:lnTo>
                  <a:pt x="1006" y="216"/>
                </a:lnTo>
                <a:lnTo>
                  <a:pt x="1004" y="223"/>
                </a:lnTo>
                <a:lnTo>
                  <a:pt x="999" y="230"/>
                </a:lnTo>
                <a:lnTo>
                  <a:pt x="994" y="235"/>
                </a:lnTo>
                <a:lnTo>
                  <a:pt x="985" y="244"/>
                </a:lnTo>
                <a:lnTo>
                  <a:pt x="973" y="258"/>
                </a:lnTo>
                <a:lnTo>
                  <a:pt x="959" y="270"/>
                </a:lnTo>
                <a:lnTo>
                  <a:pt x="980" y="300"/>
                </a:lnTo>
                <a:lnTo>
                  <a:pt x="997" y="293"/>
                </a:lnTo>
                <a:lnTo>
                  <a:pt x="1013" y="286"/>
                </a:lnTo>
                <a:lnTo>
                  <a:pt x="1025" y="279"/>
                </a:lnTo>
                <a:lnTo>
                  <a:pt x="1032" y="277"/>
                </a:lnTo>
                <a:lnTo>
                  <a:pt x="1039" y="275"/>
                </a:lnTo>
                <a:lnTo>
                  <a:pt x="1046" y="277"/>
                </a:lnTo>
                <a:lnTo>
                  <a:pt x="1053" y="279"/>
                </a:lnTo>
                <a:lnTo>
                  <a:pt x="1057" y="284"/>
                </a:lnTo>
                <a:lnTo>
                  <a:pt x="1060" y="291"/>
                </a:lnTo>
                <a:lnTo>
                  <a:pt x="1060" y="298"/>
                </a:lnTo>
                <a:lnTo>
                  <a:pt x="1057" y="303"/>
                </a:lnTo>
                <a:lnTo>
                  <a:pt x="1055" y="307"/>
                </a:lnTo>
                <a:lnTo>
                  <a:pt x="1053" y="310"/>
                </a:lnTo>
                <a:lnTo>
                  <a:pt x="1046" y="314"/>
                </a:lnTo>
                <a:lnTo>
                  <a:pt x="1034" y="324"/>
                </a:lnTo>
                <a:lnTo>
                  <a:pt x="1020" y="333"/>
                </a:lnTo>
                <a:lnTo>
                  <a:pt x="1004" y="344"/>
                </a:lnTo>
                <a:lnTo>
                  <a:pt x="1020" y="377"/>
                </a:lnTo>
                <a:lnTo>
                  <a:pt x="1043" y="370"/>
                </a:lnTo>
                <a:lnTo>
                  <a:pt x="1064" y="365"/>
                </a:lnTo>
                <a:lnTo>
                  <a:pt x="1076" y="361"/>
                </a:lnTo>
                <a:lnTo>
                  <a:pt x="1083" y="361"/>
                </a:lnTo>
                <a:lnTo>
                  <a:pt x="1090" y="363"/>
                </a:lnTo>
                <a:lnTo>
                  <a:pt x="1094" y="368"/>
                </a:lnTo>
                <a:lnTo>
                  <a:pt x="1097" y="375"/>
                </a:lnTo>
                <a:lnTo>
                  <a:pt x="1099" y="382"/>
                </a:lnTo>
                <a:lnTo>
                  <a:pt x="1097" y="389"/>
                </a:lnTo>
                <a:lnTo>
                  <a:pt x="1094" y="393"/>
                </a:lnTo>
                <a:lnTo>
                  <a:pt x="1087" y="398"/>
                </a:lnTo>
                <a:lnTo>
                  <a:pt x="1081" y="403"/>
                </a:lnTo>
                <a:lnTo>
                  <a:pt x="1069" y="407"/>
                </a:lnTo>
                <a:lnTo>
                  <a:pt x="1053" y="414"/>
                </a:lnTo>
                <a:lnTo>
                  <a:pt x="1036" y="424"/>
                </a:lnTo>
                <a:lnTo>
                  <a:pt x="1046" y="459"/>
                </a:lnTo>
                <a:lnTo>
                  <a:pt x="1071" y="456"/>
                </a:lnTo>
                <a:lnTo>
                  <a:pt x="1092" y="454"/>
                </a:lnTo>
                <a:lnTo>
                  <a:pt x="1104" y="454"/>
                </a:lnTo>
                <a:lnTo>
                  <a:pt x="1111" y="454"/>
                </a:lnTo>
                <a:lnTo>
                  <a:pt x="1115" y="459"/>
                </a:lnTo>
                <a:lnTo>
                  <a:pt x="1120" y="463"/>
                </a:lnTo>
                <a:lnTo>
                  <a:pt x="1122" y="470"/>
                </a:lnTo>
                <a:lnTo>
                  <a:pt x="1122" y="477"/>
                </a:lnTo>
                <a:lnTo>
                  <a:pt x="1120" y="484"/>
                </a:lnTo>
                <a:lnTo>
                  <a:pt x="1115" y="489"/>
                </a:lnTo>
                <a:lnTo>
                  <a:pt x="1111" y="491"/>
                </a:lnTo>
                <a:lnTo>
                  <a:pt x="1099" y="496"/>
                </a:lnTo>
                <a:lnTo>
                  <a:pt x="1078" y="500"/>
                </a:lnTo>
                <a:lnTo>
                  <a:pt x="1055" y="507"/>
                </a:lnTo>
                <a:lnTo>
                  <a:pt x="1057" y="542"/>
                </a:lnTo>
                <a:lnTo>
                  <a:pt x="1081" y="545"/>
                </a:lnTo>
                <a:lnTo>
                  <a:pt x="1101" y="547"/>
                </a:lnTo>
                <a:lnTo>
                  <a:pt x="1115" y="549"/>
                </a:lnTo>
                <a:lnTo>
                  <a:pt x="1120" y="549"/>
                </a:lnTo>
                <a:lnTo>
                  <a:pt x="1127" y="554"/>
                </a:lnTo>
                <a:lnTo>
                  <a:pt x="1129" y="561"/>
                </a:lnTo>
                <a:lnTo>
                  <a:pt x="1132" y="568"/>
                </a:lnTo>
                <a:lnTo>
                  <a:pt x="1129" y="575"/>
                </a:lnTo>
                <a:lnTo>
                  <a:pt x="1127" y="582"/>
                </a:lnTo>
                <a:lnTo>
                  <a:pt x="1120" y="584"/>
                </a:lnTo>
                <a:lnTo>
                  <a:pt x="1113" y="587"/>
                </a:lnTo>
                <a:lnTo>
                  <a:pt x="1101" y="589"/>
                </a:lnTo>
                <a:lnTo>
                  <a:pt x="1081" y="591"/>
                </a:lnTo>
                <a:lnTo>
                  <a:pt x="1057" y="594"/>
                </a:lnTo>
                <a:lnTo>
                  <a:pt x="1053" y="629"/>
                </a:lnTo>
                <a:lnTo>
                  <a:pt x="1078" y="636"/>
                </a:lnTo>
                <a:lnTo>
                  <a:pt x="1097" y="640"/>
                </a:lnTo>
                <a:lnTo>
                  <a:pt x="1108" y="645"/>
                </a:lnTo>
                <a:lnTo>
                  <a:pt x="1115" y="647"/>
                </a:lnTo>
                <a:lnTo>
                  <a:pt x="1120" y="652"/>
                </a:lnTo>
                <a:lnTo>
                  <a:pt x="1122" y="659"/>
                </a:lnTo>
                <a:lnTo>
                  <a:pt x="1122" y="666"/>
                </a:lnTo>
                <a:lnTo>
                  <a:pt x="1120" y="673"/>
                </a:lnTo>
                <a:lnTo>
                  <a:pt x="1115" y="677"/>
                </a:lnTo>
                <a:lnTo>
                  <a:pt x="1108" y="682"/>
                </a:lnTo>
                <a:lnTo>
                  <a:pt x="1101" y="682"/>
                </a:lnTo>
                <a:lnTo>
                  <a:pt x="1090" y="682"/>
                </a:lnTo>
                <a:lnTo>
                  <a:pt x="1069" y="680"/>
                </a:lnTo>
                <a:lnTo>
                  <a:pt x="1046" y="677"/>
                </a:lnTo>
                <a:lnTo>
                  <a:pt x="1036" y="712"/>
                </a:lnTo>
                <a:lnTo>
                  <a:pt x="1053" y="719"/>
                </a:lnTo>
                <a:lnTo>
                  <a:pt x="1067" y="726"/>
                </a:lnTo>
                <a:lnTo>
                  <a:pt x="1081" y="733"/>
                </a:lnTo>
                <a:lnTo>
                  <a:pt x="1087" y="736"/>
                </a:lnTo>
                <a:lnTo>
                  <a:pt x="1092" y="740"/>
                </a:lnTo>
                <a:lnTo>
                  <a:pt x="1094" y="743"/>
                </a:lnTo>
                <a:lnTo>
                  <a:pt x="1097" y="747"/>
                </a:lnTo>
                <a:lnTo>
                  <a:pt x="1097" y="754"/>
                </a:lnTo>
                <a:lnTo>
                  <a:pt x="1097" y="761"/>
                </a:lnTo>
                <a:lnTo>
                  <a:pt x="1092" y="768"/>
                </a:lnTo>
                <a:lnTo>
                  <a:pt x="1087" y="771"/>
                </a:lnTo>
                <a:lnTo>
                  <a:pt x="1081" y="773"/>
                </a:lnTo>
                <a:lnTo>
                  <a:pt x="1074" y="773"/>
                </a:lnTo>
                <a:lnTo>
                  <a:pt x="1062" y="771"/>
                </a:lnTo>
                <a:lnTo>
                  <a:pt x="1041" y="766"/>
                </a:lnTo>
                <a:lnTo>
                  <a:pt x="1018" y="759"/>
                </a:lnTo>
                <a:lnTo>
                  <a:pt x="1004" y="792"/>
                </a:lnTo>
                <a:lnTo>
                  <a:pt x="1018" y="801"/>
                </a:lnTo>
                <a:lnTo>
                  <a:pt x="1032" y="813"/>
                </a:lnTo>
                <a:lnTo>
                  <a:pt x="1043" y="819"/>
                </a:lnTo>
                <a:lnTo>
                  <a:pt x="1050" y="824"/>
                </a:lnTo>
                <a:lnTo>
                  <a:pt x="1055" y="829"/>
                </a:lnTo>
                <a:lnTo>
                  <a:pt x="1057" y="836"/>
                </a:lnTo>
                <a:lnTo>
                  <a:pt x="1057" y="843"/>
                </a:lnTo>
                <a:lnTo>
                  <a:pt x="1055" y="850"/>
                </a:lnTo>
                <a:lnTo>
                  <a:pt x="1050" y="854"/>
                </a:lnTo>
                <a:lnTo>
                  <a:pt x="1043" y="859"/>
                </a:lnTo>
                <a:lnTo>
                  <a:pt x="1036" y="859"/>
                </a:lnTo>
                <a:lnTo>
                  <a:pt x="1029" y="859"/>
                </a:lnTo>
                <a:lnTo>
                  <a:pt x="1022" y="854"/>
                </a:lnTo>
                <a:lnTo>
                  <a:pt x="1011" y="850"/>
                </a:lnTo>
                <a:lnTo>
                  <a:pt x="994" y="843"/>
                </a:lnTo>
                <a:lnTo>
                  <a:pt x="978" y="833"/>
                </a:lnTo>
                <a:lnTo>
                  <a:pt x="957" y="864"/>
                </a:lnTo>
                <a:lnTo>
                  <a:pt x="969" y="878"/>
                </a:lnTo>
                <a:lnTo>
                  <a:pt x="983" y="889"/>
                </a:lnTo>
                <a:lnTo>
                  <a:pt x="992" y="899"/>
                </a:lnTo>
                <a:lnTo>
                  <a:pt x="997" y="906"/>
                </a:lnTo>
                <a:lnTo>
                  <a:pt x="1001" y="910"/>
                </a:lnTo>
                <a:lnTo>
                  <a:pt x="1001" y="917"/>
                </a:lnTo>
                <a:lnTo>
                  <a:pt x="1001" y="924"/>
                </a:lnTo>
                <a:lnTo>
                  <a:pt x="997" y="931"/>
                </a:lnTo>
                <a:lnTo>
                  <a:pt x="992" y="936"/>
                </a:lnTo>
                <a:lnTo>
                  <a:pt x="985" y="938"/>
                </a:lnTo>
                <a:lnTo>
                  <a:pt x="978" y="938"/>
                </a:lnTo>
                <a:lnTo>
                  <a:pt x="971" y="934"/>
                </a:lnTo>
                <a:lnTo>
                  <a:pt x="966" y="929"/>
                </a:lnTo>
                <a:lnTo>
                  <a:pt x="955" y="922"/>
                </a:lnTo>
                <a:lnTo>
                  <a:pt x="941" y="913"/>
                </a:lnTo>
                <a:lnTo>
                  <a:pt x="925" y="901"/>
                </a:lnTo>
                <a:lnTo>
                  <a:pt x="899" y="927"/>
                </a:lnTo>
                <a:lnTo>
                  <a:pt x="911" y="943"/>
                </a:lnTo>
                <a:lnTo>
                  <a:pt x="920" y="957"/>
                </a:lnTo>
                <a:lnTo>
                  <a:pt x="927" y="969"/>
                </a:lnTo>
                <a:lnTo>
                  <a:pt x="932" y="976"/>
                </a:lnTo>
                <a:lnTo>
                  <a:pt x="934" y="980"/>
                </a:lnTo>
                <a:lnTo>
                  <a:pt x="934" y="987"/>
                </a:lnTo>
                <a:lnTo>
                  <a:pt x="932" y="994"/>
                </a:lnTo>
                <a:lnTo>
                  <a:pt x="927" y="999"/>
                </a:lnTo>
                <a:lnTo>
                  <a:pt x="922" y="1003"/>
                </a:lnTo>
                <a:lnTo>
                  <a:pt x="915" y="1003"/>
                </a:lnTo>
                <a:lnTo>
                  <a:pt x="908" y="1003"/>
                </a:lnTo>
                <a:lnTo>
                  <a:pt x="901" y="999"/>
                </a:lnTo>
                <a:lnTo>
                  <a:pt x="897" y="994"/>
                </a:lnTo>
                <a:lnTo>
                  <a:pt x="887" y="985"/>
                </a:lnTo>
                <a:lnTo>
                  <a:pt x="873" y="971"/>
                </a:lnTo>
                <a:lnTo>
                  <a:pt x="862" y="959"/>
                </a:lnTo>
                <a:lnTo>
                  <a:pt x="831" y="980"/>
                </a:lnTo>
                <a:lnTo>
                  <a:pt x="838" y="996"/>
                </a:lnTo>
                <a:lnTo>
                  <a:pt x="845" y="1013"/>
                </a:lnTo>
                <a:lnTo>
                  <a:pt x="852" y="1024"/>
                </a:lnTo>
                <a:lnTo>
                  <a:pt x="855" y="1031"/>
                </a:lnTo>
                <a:lnTo>
                  <a:pt x="857" y="1038"/>
                </a:lnTo>
                <a:lnTo>
                  <a:pt x="855" y="1045"/>
                </a:lnTo>
                <a:lnTo>
                  <a:pt x="852" y="1052"/>
                </a:lnTo>
                <a:lnTo>
                  <a:pt x="845" y="1055"/>
                </a:lnTo>
                <a:lnTo>
                  <a:pt x="841" y="1059"/>
                </a:lnTo>
                <a:lnTo>
                  <a:pt x="834" y="1059"/>
                </a:lnTo>
                <a:lnTo>
                  <a:pt x="829" y="1055"/>
                </a:lnTo>
                <a:lnTo>
                  <a:pt x="824" y="1055"/>
                </a:lnTo>
                <a:lnTo>
                  <a:pt x="822" y="1050"/>
                </a:lnTo>
                <a:lnTo>
                  <a:pt x="817" y="1045"/>
                </a:lnTo>
                <a:lnTo>
                  <a:pt x="808" y="1034"/>
                </a:lnTo>
                <a:lnTo>
                  <a:pt x="799" y="1020"/>
                </a:lnTo>
                <a:lnTo>
                  <a:pt x="787" y="1003"/>
                </a:lnTo>
                <a:lnTo>
                  <a:pt x="755" y="1020"/>
                </a:lnTo>
                <a:lnTo>
                  <a:pt x="762" y="1043"/>
                </a:lnTo>
                <a:lnTo>
                  <a:pt x="766" y="1064"/>
                </a:lnTo>
                <a:lnTo>
                  <a:pt x="771" y="1076"/>
                </a:lnTo>
                <a:lnTo>
                  <a:pt x="771" y="1083"/>
                </a:lnTo>
                <a:lnTo>
                  <a:pt x="769" y="1087"/>
                </a:lnTo>
                <a:lnTo>
                  <a:pt x="764" y="1094"/>
                </a:lnTo>
                <a:lnTo>
                  <a:pt x="757" y="1097"/>
                </a:lnTo>
                <a:lnTo>
                  <a:pt x="750" y="1099"/>
                </a:lnTo>
                <a:lnTo>
                  <a:pt x="743" y="1097"/>
                </a:lnTo>
                <a:lnTo>
                  <a:pt x="738" y="1094"/>
                </a:lnTo>
                <a:lnTo>
                  <a:pt x="734" y="1087"/>
                </a:lnTo>
                <a:lnTo>
                  <a:pt x="729" y="1080"/>
                </a:lnTo>
                <a:lnTo>
                  <a:pt x="724" y="1069"/>
                </a:lnTo>
                <a:lnTo>
                  <a:pt x="717" y="1052"/>
                </a:lnTo>
                <a:lnTo>
                  <a:pt x="708" y="1036"/>
                </a:lnTo>
                <a:lnTo>
                  <a:pt x="673" y="1045"/>
                </a:lnTo>
                <a:lnTo>
                  <a:pt x="675" y="1069"/>
                </a:lnTo>
                <a:lnTo>
                  <a:pt x="678" y="1090"/>
                </a:lnTo>
                <a:lnTo>
                  <a:pt x="678" y="1101"/>
                </a:lnTo>
                <a:lnTo>
                  <a:pt x="678" y="1111"/>
                </a:lnTo>
                <a:lnTo>
                  <a:pt x="673" y="1115"/>
                </a:lnTo>
                <a:lnTo>
                  <a:pt x="668" y="1120"/>
                </a:lnTo>
                <a:lnTo>
                  <a:pt x="661" y="1122"/>
                </a:lnTo>
                <a:lnTo>
                  <a:pt x="654" y="1122"/>
                </a:lnTo>
                <a:lnTo>
                  <a:pt x="648" y="1120"/>
                </a:lnTo>
                <a:lnTo>
                  <a:pt x="643" y="1115"/>
                </a:lnTo>
                <a:lnTo>
                  <a:pt x="641" y="1108"/>
                </a:lnTo>
                <a:lnTo>
                  <a:pt x="636" y="1097"/>
                </a:lnTo>
                <a:lnTo>
                  <a:pt x="631" y="1078"/>
                </a:lnTo>
                <a:lnTo>
                  <a:pt x="624" y="1052"/>
                </a:lnTo>
                <a:lnTo>
                  <a:pt x="589" y="1055"/>
                </a:lnTo>
                <a:lnTo>
                  <a:pt x="587" y="1080"/>
                </a:lnTo>
                <a:lnTo>
                  <a:pt x="585" y="1101"/>
                </a:lnTo>
                <a:lnTo>
                  <a:pt x="582" y="1113"/>
                </a:lnTo>
                <a:lnTo>
                  <a:pt x="582" y="1120"/>
                </a:lnTo>
                <a:lnTo>
                  <a:pt x="578" y="1127"/>
                </a:lnTo>
                <a:lnTo>
                  <a:pt x="571" y="1129"/>
                </a:lnTo>
                <a:lnTo>
                  <a:pt x="564" y="1132"/>
                </a:lnTo>
                <a:lnTo>
                  <a:pt x="557" y="1129"/>
                </a:lnTo>
                <a:lnTo>
                  <a:pt x="550" y="1125"/>
                </a:lnTo>
                <a:lnTo>
                  <a:pt x="547" y="1120"/>
                </a:lnTo>
                <a:lnTo>
                  <a:pt x="545" y="1113"/>
                </a:lnTo>
                <a:lnTo>
                  <a:pt x="543" y="1101"/>
                </a:lnTo>
                <a:lnTo>
                  <a:pt x="540" y="1080"/>
                </a:lnTo>
                <a:lnTo>
                  <a:pt x="538" y="1055"/>
                </a:lnTo>
                <a:lnTo>
                  <a:pt x="503" y="1052"/>
                </a:lnTo>
                <a:lnTo>
                  <a:pt x="496" y="1076"/>
                </a:lnTo>
                <a:lnTo>
                  <a:pt x="492" y="1097"/>
                </a:lnTo>
                <a:lnTo>
                  <a:pt x="487" y="1108"/>
                </a:lnTo>
                <a:lnTo>
                  <a:pt x="485" y="1115"/>
                </a:lnTo>
                <a:lnTo>
                  <a:pt x="480" y="1120"/>
                </a:lnTo>
                <a:lnTo>
                  <a:pt x="473" y="1122"/>
                </a:lnTo>
                <a:lnTo>
                  <a:pt x="466" y="1122"/>
                </a:lnTo>
                <a:lnTo>
                  <a:pt x="459" y="1120"/>
                </a:lnTo>
                <a:lnTo>
                  <a:pt x="454" y="1115"/>
                </a:lnTo>
                <a:lnTo>
                  <a:pt x="450" y="1108"/>
                </a:lnTo>
                <a:lnTo>
                  <a:pt x="450" y="1101"/>
                </a:lnTo>
                <a:lnTo>
                  <a:pt x="450" y="1090"/>
                </a:lnTo>
                <a:lnTo>
                  <a:pt x="452" y="1069"/>
                </a:lnTo>
                <a:lnTo>
                  <a:pt x="454" y="1043"/>
                </a:lnTo>
                <a:lnTo>
                  <a:pt x="419" y="1034"/>
                </a:lnTo>
                <a:lnTo>
                  <a:pt x="412" y="1052"/>
                </a:lnTo>
                <a:lnTo>
                  <a:pt x="403" y="1066"/>
                </a:lnTo>
                <a:lnTo>
                  <a:pt x="398" y="1080"/>
                </a:lnTo>
                <a:lnTo>
                  <a:pt x="394" y="1087"/>
                </a:lnTo>
                <a:lnTo>
                  <a:pt x="391" y="1092"/>
                </a:lnTo>
                <a:lnTo>
                  <a:pt x="384" y="1097"/>
                </a:lnTo>
                <a:lnTo>
                  <a:pt x="377" y="1097"/>
                </a:lnTo>
                <a:lnTo>
                  <a:pt x="370" y="1097"/>
                </a:lnTo>
                <a:lnTo>
                  <a:pt x="364" y="1092"/>
                </a:lnTo>
                <a:lnTo>
                  <a:pt x="361" y="1087"/>
                </a:lnTo>
                <a:lnTo>
                  <a:pt x="359" y="1080"/>
                </a:lnTo>
                <a:lnTo>
                  <a:pt x="359" y="1073"/>
                </a:lnTo>
                <a:lnTo>
                  <a:pt x="361" y="1062"/>
                </a:lnTo>
                <a:lnTo>
                  <a:pt x="366" y="1041"/>
                </a:lnTo>
                <a:lnTo>
                  <a:pt x="373" y="1017"/>
                </a:lnTo>
                <a:lnTo>
                  <a:pt x="340" y="1001"/>
                </a:lnTo>
                <a:lnTo>
                  <a:pt x="329" y="1017"/>
                </a:lnTo>
                <a:lnTo>
                  <a:pt x="319" y="1031"/>
                </a:lnTo>
                <a:lnTo>
                  <a:pt x="312" y="1043"/>
                </a:lnTo>
                <a:lnTo>
                  <a:pt x="308" y="1048"/>
                </a:lnTo>
                <a:lnTo>
                  <a:pt x="301" y="1055"/>
                </a:lnTo>
                <a:lnTo>
                  <a:pt x="296" y="1055"/>
                </a:lnTo>
                <a:lnTo>
                  <a:pt x="289" y="1055"/>
                </a:lnTo>
                <a:lnTo>
                  <a:pt x="282" y="1055"/>
                </a:lnTo>
                <a:lnTo>
                  <a:pt x="275" y="1050"/>
                </a:lnTo>
                <a:lnTo>
                  <a:pt x="273" y="1043"/>
                </a:lnTo>
                <a:lnTo>
                  <a:pt x="273" y="1036"/>
                </a:lnTo>
                <a:lnTo>
                  <a:pt x="273" y="1029"/>
                </a:lnTo>
                <a:lnTo>
                  <a:pt x="277" y="1022"/>
                </a:lnTo>
                <a:lnTo>
                  <a:pt x="282" y="1010"/>
                </a:lnTo>
                <a:lnTo>
                  <a:pt x="289" y="994"/>
                </a:lnTo>
                <a:lnTo>
                  <a:pt x="298" y="978"/>
                </a:lnTo>
                <a:lnTo>
                  <a:pt x="268" y="957"/>
                </a:lnTo>
                <a:lnTo>
                  <a:pt x="254" y="969"/>
                </a:lnTo>
                <a:lnTo>
                  <a:pt x="242" y="980"/>
                </a:lnTo>
                <a:lnTo>
                  <a:pt x="233" y="992"/>
                </a:lnTo>
                <a:lnTo>
                  <a:pt x="226" y="996"/>
                </a:lnTo>
                <a:lnTo>
                  <a:pt x="222" y="1001"/>
                </a:lnTo>
                <a:lnTo>
                  <a:pt x="215" y="1001"/>
                </a:lnTo>
                <a:lnTo>
                  <a:pt x="208" y="1001"/>
                </a:lnTo>
                <a:lnTo>
                  <a:pt x="201" y="996"/>
                </a:lnTo>
                <a:lnTo>
                  <a:pt x="196" y="992"/>
                </a:lnTo>
                <a:lnTo>
                  <a:pt x="194" y="985"/>
                </a:lnTo>
                <a:lnTo>
                  <a:pt x="194" y="978"/>
                </a:lnTo>
                <a:lnTo>
                  <a:pt x="198" y="971"/>
                </a:lnTo>
                <a:lnTo>
                  <a:pt x="201" y="964"/>
                </a:lnTo>
                <a:lnTo>
                  <a:pt x="210" y="955"/>
                </a:lnTo>
                <a:lnTo>
                  <a:pt x="219" y="938"/>
                </a:lnTo>
                <a:lnTo>
                  <a:pt x="231" y="924"/>
                </a:lnTo>
                <a:lnTo>
                  <a:pt x="205" y="899"/>
                </a:lnTo>
                <a:lnTo>
                  <a:pt x="189" y="908"/>
                </a:lnTo>
                <a:lnTo>
                  <a:pt x="175" y="920"/>
                </a:lnTo>
                <a:lnTo>
                  <a:pt x="163" y="927"/>
                </a:lnTo>
                <a:lnTo>
                  <a:pt x="156" y="931"/>
                </a:lnTo>
                <a:lnTo>
                  <a:pt x="152" y="934"/>
                </a:lnTo>
                <a:lnTo>
                  <a:pt x="145" y="934"/>
                </a:lnTo>
                <a:lnTo>
                  <a:pt x="138" y="931"/>
                </a:lnTo>
                <a:lnTo>
                  <a:pt x="131" y="927"/>
                </a:lnTo>
                <a:lnTo>
                  <a:pt x="128" y="920"/>
                </a:lnTo>
                <a:lnTo>
                  <a:pt x="126" y="913"/>
                </a:lnTo>
                <a:lnTo>
                  <a:pt x="128" y="908"/>
                </a:lnTo>
                <a:lnTo>
                  <a:pt x="133" y="901"/>
                </a:lnTo>
                <a:lnTo>
                  <a:pt x="138" y="896"/>
                </a:lnTo>
                <a:lnTo>
                  <a:pt x="147" y="885"/>
                </a:lnTo>
                <a:lnTo>
                  <a:pt x="161" y="873"/>
                </a:lnTo>
                <a:lnTo>
                  <a:pt x="173" y="859"/>
                </a:lnTo>
                <a:lnTo>
                  <a:pt x="152" y="831"/>
                </a:lnTo>
                <a:lnTo>
                  <a:pt x="135" y="838"/>
                </a:lnTo>
                <a:lnTo>
                  <a:pt x="119" y="845"/>
                </a:lnTo>
                <a:lnTo>
                  <a:pt x="107" y="852"/>
                </a:lnTo>
                <a:lnTo>
                  <a:pt x="100" y="854"/>
                </a:lnTo>
                <a:lnTo>
                  <a:pt x="93" y="857"/>
                </a:lnTo>
                <a:lnTo>
                  <a:pt x="86" y="854"/>
                </a:lnTo>
                <a:lnTo>
                  <a:pt x="80" y="852"/>
                </a:lnTo>
                <a:lnTo>
                  <a:pt x="75" y="845"/>
                </a:lnTo>
                <a:lnTo>
                  <a:pt x="73" y="838"/>
                </a:lnTo>
                <a:lnTo>
                  <a:pt x="73" y="831"/>
                </a:lnTo>
                <a:lnTo>
                  <a:pt x="75" y="829"/>
                </a:lnTo>
                <a:lnTo>
                  <a:pt x="77" y="824"/>
                </a:lnTo>
                <a:lnTo>
                  <a:pt x="82" y="819"/>
                </a:lnTo>
                <a:lnTo>
                  <a:pt x="86" y="815"/>
                </a:lnTo>
                <a:lnTo>
                  <a:pt x="98" y="808"/>
                </a:lnTo>
                <a:lnTo>
                  <a:pt x="112" y="799"/>
                </a:lnTo>
                <a:lnTo>
                  <a:pt x="128" y="787"/>
                </a:lnTo>
                <a:lnTo>
                  <a:pt x="112" y="754"/>
                </a:lnTo>
                <a:lnTo>
                  <a:pt x="89" y="761"/>
                </a:lnTo>
                <a:lnTo>
                  <a:pt x="68" y="766"/>
                </a:lnTo>
                <a:lnTo>
                  <a:pt x="56" y="768"/>
                </a:lnTo>
                <a:lnTo>
                  <a:pt x="49" y="768"/>
                </a:lnTo>
                <a:lnTo>
                  <a:pt x="42" y="766"/>
                </a:lnTo>
                <a:lnTo>
                  <a:pt x="38" y="764"/>
                </a:lnTo>
                <a:lnTo>
                  <a:pt x="35" y="757"/>
                </a:lnTo>
                <a:lnTo>
                  <a:pt x="33" y="750"/>
                </a:lnTo>
                <a:lnTo>
                  <a:pt x="35" y="743"/>
                </a:lnTo>
                <a:lnTo>
                  <a:pt x="38" y="738"/>
                </a:lnTo>
                <a:lnTo>
                  <a:pt x="40" y="736"/>
                </a:lnTo>
                <a:lnTo>
                  <a:pt x="45" y="733"/>
                </a:lnTo>
                <a:lnTo>
                  <a:pt x="52" y="729"/>
                </a:lnTo>
                <a:lnTo>
                  <a:pt x="63" y="724"/>
                </a:lnTo>
                <a:lnTo>
                  <a:pt x="80" y="715"/>
                </a:lnTo>
                <a:lnTo>
                  <a:pt x="96" y="708"/>
                </a:lnTo>
                <a:lnTo>
                  <a:pt x="86" y="673"/>
                </a:lnTo>
                <a:lnTo>
                  <a:pt x="63" y="675"/>
                </a:lnTo>
                <a:lnTo>
                  <a:pt x="42" y="677"/>
                </a:lnTo>
                <a:lnTo>
                  <a:pt x="28" y="677"/>
                </a:lnTo>
                <a:lnTo>
                  <a:pt x="21" y="677"/>
                </a:lnTo>
                <a:lnTo>
                  <a:pt x="17" y="673"/>
                </a:lnTo>
                <a:lnTo>
                  <a:pt x="12" y="668"/>
                </a:lnTo>
                <a:lnTo>
                  <a:pt x="10" y="661"/>
                </a:lnTo>
                <a:lnTo>
                  <a:pt x="10" y="654"/>
                </a:lnTo>
                <a:lnTo>
                  <a:pt x="12" y="647"/>
                </a:lnTo>
                <a:lnTo>
                  <a:pt x="17" y="643"/>
                </a:lnTo>
                <a:lnTo>
                  <a:pt x="24" y="638"/>
                </a:lnTo>
                <a:lnTo>
                  <a:pt x="35" y="636"/>
                </a:lnTo>
                <a:lnTo>
                  <a:pt x="54" y="631"/>
                </a:lnTo>
                <a:lnTo>
                  <a:pt x="80" y="624"/>
                </a:lnTo>
                <a:lnTo>
                  <a:pt x="75" y="589"/>
                </a:lnTo>
                <a:lnTo>
                  <a:pt x="52" y="587"/>
                </a:lnTo>
                <a:lnTo>
                  <a:pt x="31" y="584"/>
                </a:lnTo>
                <a:lnTo>
                  <a:pt x="19" y="582"/>
                </a:lnTo>
                <a:lnTo>
                  <a:pt x="12" y="580"/>
                </a:lnTo>
                <a:lnTo>
                  <a:pt x="5" y="575"/>
                </a:lnTo>
                <a:lnTo>
                  <a:pt x="3" y="570"/>
                </a:lnTo>
                <a:lnTo>
                  <a:pt x="0" y="563"/>
                </a:lnTo>
                <a:lnTo>
                  <a:pt x="3" y="556"/>
                </a:lnTo>
                <a:lnTo>
                  <a:pt x="5" y="549"/>
                </a:lnTo>
                <a:lnTo>
                  <a:pt x="12" y="545"/>
                </a:lnTo>
                <a:lnTo>
                  <a:pt x="19" y="542"/>
                </a:lnTo>
                <a:lnTo>
                  <a:pt x="31" y="542"/>
                </a:lnTo>
                <a:lnTo>
                  <a:pt x="52" y="540"/>
                </a:lnTo>
                <a:lnTo>
                  <a:pt x="75" y="538"/>
                </a:lnTo>
                <a:lnTo>
                  <a:pt x="80" y="503"/>
                </a:lnTo>
                <a:lnTo>
                  <a:pt x="56" y="496"/>
                </a:lnTo>
                <a:lnTo>
                  <a:pt x="35" y="491"/>
                </a:lnTo>
                <a:lnTo>
                  <a:pt x="24" y="487"/>
                </a:lnTo>
                <a:lnTo>
                  <a:pt x="17" y="484"/>
                </a:lnTo>
                <a:lnTo>
                  <a:pt x="12" y="480"/>
                </a:lnTo>
                <a:lnTo>
                  <a:pt x="10" y="473"/>
                </a:lnTo>
                <a:lnTo>
                  <a:pt x="10" y="466"/>
                </a:lnTo>
                <a:lnTo>
                  <a:pt x="12" y="459"/>
                </a:lnTo>
                <a:lnTo>
                  <a:pt x="17" y="454"/>
                </a:lnTo>
                <a:lnTo>
                  <a:pt x="24" y="449"/>
                </a:lnTo>
                <a:lnTo>
                  <a:pt x="31" y="449"/>
                </a:lnTo>
                <a:lnTo>
                  <a:pt x="42" y="449"/>
                </a:lnTo>
                <a:lnTo>
                  <a:pt x="63" y="452"/>
                </a:lnTo>
                <a:lnTo>
                  <a:pt x="89" y="454"/>
                </a:lnTo>
                <a:lnTo>
                  <a:pt x="98" y="419"/>
                </a:lnTo>
                <a:lnTo>
                  <a:pt x="80" y="412"/>
                </a:lnTo>
                <a:lnTo>
                  <a:pt x="66" y="403"/>
                </a:lnTo>
                <a:lnTo>
                  <a:pt x="52" y="398"/>
                </a:lnTo>
                <a:lnTo>
                  <a:pt x="45" y="393"/>
                </a:lnTo>
                <a:lnTo>
                  <a:pt x="42" y="391"/>
                </a:lnTo>
                <a:lnTo>
                  <a:pt x="38" y="389"/>
                </a:lnTo>
                <a:lnTo>
                  <a:pt x="35" y="384"/>
                </a:lnTo>
                <a:lnTo>
                  <a:pt x="35" y="377"/>
                </a:lnTo>
                <a:lnTo>
                  <a:pt x="35" y="370"/>
                </a:lnTo>
                <a:lnTo>
                  <a:pt x="40" y="363"/>
                </a:lnTo>
                <a:lnTo>
                  <a:pt x="45" y="358"/>
                </a:lnTo>
                <a:lnTo>
                  <a:pt x="52" y="356"/>
                </a:lnTo>
                <a:lnTo>
                  <a:pt x="59" y="358"/>
                </a:lnTo>
                <a:lnTo>
                  <a:pt x="70" y="361"/>
                </a:lnTo>
                <a:lnTo>
                  <a:pt x="91" y="365"/>
                </a:lnTo>
                <a:lnTo>
                  <a:pt x="114" y="372"/>
                </a:lnTo>
                <a:lnTo>
                  <a:pt x="131" y="340"/>
                </a:lnTo>
                <a:lnTo>
                  <a:pt x="114" y="328"/>
                </a:lnTo>
                <a:lnTo>
                  <a:pt x="100" y="319"/>
                </a:lnTo>
                <a:lnTo>
                  <a:pt x="89" y="310"/>
                </a:lnTo>
                <a:lnTo>
                  <a:pt x="82" y="307"/>
                </a:lnTo>
                <a:lnTo>
                  <a:pt x="80" y="303"/>
                </a:lnTo>
                <a:lnTo>
                  <a:pt x="77" y="298"/>
                </a:lnTo>
                <a:lnTo>
                  <a:pt x="75" y="293"/>
                </a:lnTo>
                <a:lnTo>
                  <a:pt x="75" y="286"/>
                </a:lnTo>
                <a:lnTo>
                  <a:pt x="77" y="282"/>
                </a:lnTo>
                <a:lnTo>
                  <a:pt x="82" y="275"/>
                </a:lnTo>
                <a:lnTo>
                  <a:pt x="89" y="272"/>
                </a:lnTo>
                <a:lnTo>
                  <a:pt x="96" y="270"/>
                </a:lnTo>
                <a:lnTo>
                  <a:pt x="103" y="272"/>
                </a:lnTo>
                <a:lnTo>
                  <a:pt x="110" y="275"/>
                </a:lnTo>
                <a:lnTo>
                  <a:pt x="121" y="282"/>
                </a:lnTo>
                <a:lnTo>
                  <a:pt x="138" y="289"/>
                </a:lnTo>
                <a:lnTo>
                  <a:pt x="154" y="296"/>
                </a:lnTo>
                <a:lnTo>
                  <a:pt x="175" y="268"/>
                </a:lnTo>
                <a:lnTo>
                  <a:pt x="163" y="254"/>
                </a:lnTo>
                <a:lnTo>
                  <a:pt x="149" y="242"/>
                </a:lnTo>
                <a:lnTo>
                  <a:pt x="140" y="233"/>
                </a:lnTo>
                <a:lnTo>
                  <a:pt x="135" y="226"/>
                </a:lnTo>
                <a:lnTo>
                  <a:pt x="131" y="221"/>
                </a:lnTo>
                <a:lnTo>
                  <a:pt x="131" y="214"/>
                </a:lnTo>
                <a:lnTo>
                  <a:pt x="131" y="207"/>
                </a:lnTo>
                <a:lnTo>
                  <a:pt x="135" y="200"/>
                </a:lnTo>
                <a:lnTo>
                  <a:pt x="140" y="195"/>
                </a:lnTo>
                <a:lnTo>
                  <a:pt x="147" y="193"/>
                </a:lnTo>
                <a:lnTo>
                  <a:pt x="154" y="193"/>
                </a:lnTo>
                <a:lnTo>
                  <a:pt x="161" y="195"/>
                </a:lnTo>
                <a:lnTo>
                  <a:pt x="168" y="200"/>
                </a:lnTo>
                <a:lnTo>
                  <a:pt x="177" y="209"/>
                </a:lnTo>
                <a:lnTo>
                  <a:pt x="194" y="219"/>
                </a:lnTo>
                <a:lnTo>
                  <a:pt x="208" y="230"/>
                </a:lnTo>
                <a:lnTo>
                  <a:pt x="233" y="205"/>
                </a:lnTo>
                <a:lnTo>
                  <a:pt x="224" y="188"/>
                </a:lnTo>
                <a:lnTo>
                  <a:pt x="212" y="175"/>
                </a:lnTo>
                <a:lnTo>
                  <a:pt x="205" y="163"/>
                </a:lnTo>
                <a:lnTo>
                  <a:pt x="201" y="156"/>
                </a:lnTo>
                <a:lnTo>
                  <a:pt x="198" y="149"/>
                </a:lnTo>
                <a:lnTo>
                  <a:pt x="198" y="142"/>
                </a:lnTo>
                <a:lnTo>
                  <a:pt x="201" y="137"/>
                </a:lnTo>
                <a:lnTo>
                  <a:pt x="205" y="130"/>
                </a:lnTo>
                <a:lnTo>
                  <a:pt x="212" y="128"/>
                </a:lnTo>
                <a:lnTo>
                  <a:pt x="217" y="126"/>
                </a:lnTo>
                <a:lnTo>
                  <a:pt x="224" y="128"/>
                </a:lnTo>
                <a:lnTo>
                  <a:pt x="231" y="133"/>
                </a:lnTo>
                <a:lnTo>
                  <a:pt x="235" y="137"/>
                </a:lnTo>
                <a:lnTo>
                  <a:pt x="247" y="147"/>
                </a:lnTo>
                <a:lnTo>
                  <a:pt x="259" y="158"/>
                </a:lnTo>
                <a:lnTo>
                  <a:pt x="273" y="172"/>
                </a:lnTo>
                <a:lnTo>
                  <a:pt x="301" y="151"/>
                </a:lnTo>
                <a:lnTo>
                  <a:pt x="294" y="135"/>
                </a:lnTo>
                <a:lnTo>
                  <a:pt x="287" y="119"/>
                </a:lnTo>
                <a:lnTo>
                  <a:pt x="280" y="107"/>
                </a:lnTo>
                <a:lnTo>
                  <a:pt x="277" y="100"/>
                </a:lnTo>
                <a:lnTo>
                  <a:pt x="275" y="93"/>
                </a:lnTo>
                <a:lnTo>
                  <a:pt x="277" y="86"/>
                </a:lnTo>
                <a:lnTo>
                  <a:pt x="280" y="79"/>
                </a:lnTo>
                <a:lnTo>
                  <a:pt x="287" y="74"/>
                </a:lnTo>
                <a:lnTo>
                  <a:pt x="294" y="72"/>
                </a:lnTo>
                <a:lnTo>
                  <a:pt x="298" y="72"/>
                </a:lnTo>
                <a:lnTo>
                  <a:pt x="303" y="74"/>
                </a:lnTo>
                <a:lnTo>
                  <a:pt x="308" y="77"/>
                </a:lnTo>
                <a:lnTo>
                  <a:pt x="312" y="79"/>
                </a:lnTo>
                <a:lnTo>
                  <a:pt x="315" y="86"/>
                </a:lnTo>
                <a:lnTo>
                  <a:pt x="324" y="98"/>
                </a:lnTo>
                <a:lnTo>
                  <a:pt x="333" y="112"/>
                </a:lnTo>
                <a:lnTo>
                  <a:pt x="345" y="128"/>
                </a:lnTo>
                <a:lnTo>
                  <a:pt x="377" y="112"/>
                </a:lnTo>
                <a:lnTo>
                  <a:pt x="370" y="88"/>
                </a:lnTo>
                <a:lnTo>
                  <a:pt x="366" y="67"/>
                </a:lnTo>
                <a:lnTo>
                  <a:pt x="364" y="56"/>
                </a:lnTo>
                <a:lnTo>
                  <a:pt x="361" y="49"/>
                </a:lnTo>
                <a:lnTo>
                  <a:pt x="364" y="42"/>
                </a:lnTo>
                <a:lnTo>
                  <a:pt x="368" y="37"/>
                </a:lnTo>
                <a:lnTo>
                  <a:pt x="375" y="32"/>
                </a:lnTo>
                <a:lnTo>
                  <a:pt x="382" y="32"/>
                </a:lnTo>
                <a:lnTo>
                  <a:pt x="389" y="35"/>
                </a:lnTo>
                <a:lnTo>
                  <a:pt x="394" y="35"/>
                </a:lnTo>
                <a:lnTo>
                  <a:pt x="396" y="39"/>
                </a:lnTo>
                <a:lnTo>
                  <a:pt x="398" y="42"/>
                </a:lnTo>
                <a:lnTo>
                  <a:pt x="403" y="51"/>
                </a:lnTo>
                <a:lnTo>
                  <a:pt x="408" y="63"/>
                </a:lnTo>
                <a:lnTo>
                  <a:pt x="417" y="79"/>
                </a:lnTo>
                <a:lnTo>
                  <a:pt x="424" y="95"/>
                </a:lnTo>
                <a:lnTo>
                  <a:pt x="459" y="86"/>
                </a:lnTo>
                <a:lnTo>
                  <a:pt x="457" y="60"/>
                </a:lnTo>
                <a:lnTo>
                  <a:pt x="454" y="39"/>
                </a:lnTo>
                <a:lnTo>
                  <a:pt x="454" y="28"/>
                </a:lnTo>
                <a:lnTo>
                  <a:pt x="454" y="21"/>
                </a:lnTo>
                <a:lnTo>
                  <a:pt x="459" y="16"/>
                </a:lnTo>
                <a:lnTo>
                  <a:pt x="464" y="12"/>
                </a:lnTo>
                <a:lnTo>
                  <a:pt x="471" y="9"/>
                </a:lnTo>
                <a:lnTo>
                  <a:pt x="478" y="9"/>
                </a:lnTo>
                <a:lnTo>
                  <a:pt x="485" y="12"/>
                </a:lnTo>
                <a:lnTo>
                  <a:pt x="489" y="16"/>
                </a:lnTo>
                <a:lnTo>
                  <a:pt x="492" y="21"/>
                </a:lnTo>
                <a:lnTo>
                  <a:pt x="496" y="32"/>
                </a:lnTo>
                <a:lnTo>
                  <a:pt x="501" y="53"/>
                </a:lnTo>
                <a:lnTo>
                  <a:pt x="508" y="77"/>
                </a:lnTo>
                <a:lnTo>
                  <a:pt x="543" y="74"/>
                </a:lnTo>
                <a:lnTo>
                  <a:pt x="545" y="51"/>
                </a:lnTo>
                <a:lnTo>
                  <a:pt x="547" y="30"/>
                </a:lnTo>
                <a:lnTo>
                  <a:pt x="550" y="16"/>
                </a:lnTo>
                <a:lnTo>
                  <a:pt x="552" y="12"/>
                </a:lnTo>
                <a:lnTo>
                  <a:pt x="557" y="5"/>
                </a:lnTo>
                <a:lnTo>
                  <a:pt x="561" y="2"/>
                </a:lnTo>
                <a:lnTo>
                  <a:pt x="568" y="0"/>
                </a:lnTo>
                <a:close/>
              </a:path>
            </a:pathLst>
          </a:custGeom>
          <a:solidFill>
            <a:schemeClr val="accent6">
              <a:alpha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dirty="0"/>
          </a:p>
        </p:txBody>
      </p:sp>
      <p:sp>
        <p:nvSpPr>
          <p:cNvPr id="68" name="Ovaal - 4"/>
          <p:cNvSpPr/>
          <p:nvPr/>
        </p:nvSpPr>
        <p:spPr>
          <a:xfrm>
            <a:off x="5571100" y="1483442"/>
            <a:ext cx="1409214" cy="140920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nl-NL" sz="6000" b="1" dirty="0"/>
              <a:t>4</a:t>
            </a:r>
          </a:p>
        </p:txBody>
      </p:sp>
      <p:sp>
        <p:nvSpPr>
          <p:cNvPr id="70" name="Radar - 5"/>
          <p:cNvSpPr>
            <a:spLocks noEditPoints="1"/>
          </p:cNvSpPr>
          <p:nvPr/>
        </p:nvSpPr>
        <p:spPr bwMode="auto">
          <a:xfrm>
            <a:off x="6788926" y="2440166"/>
            <a:ext cx="1724318" cy="1724318"/>
          </a:xfrm>
          <a:custGeom>
            <a:avLst/>
            <a:gdLst>
              <a:gd name="T0" fmla="*/ 149 w 1132"/>
              <a:gd name="T1" fmla="*/ 552 h 1132"/>
              <a:gd name="T2" fmla="*/ 627 w 1132"/>
              <a:gd name="T3" fmla="*/ 978 h 1132"/>
              <a:gd name="T4" fmla="*/ 962 w 1132"/>
              <a:gd name="T5" fmla="*/ 433 h 1132"/>
              <a:gd name="T6" fmla="*/ 582 w 1132"/>
              <a:gd name="T7" fmla="*/ 5 h 1132"/>
              <a:gd name="T8" fmla="*/ 648 w 1132"/>
              <a:gd name="T9" fmla="*/ 16 h 1132"/>
              <a:gd name="T10" fmla="*/ 678 w 1132"/>
              <a:gd name="T11" fmla="*/ 86 h 1132"/>
              <a:gd name="T12" fmla="*/ 769 w 1132"/>
              <a:gd name="T13" fmla="*/ 39 h 1132"/>
              <a:gd name="T14" fmla="*/ 820 w 1132"/>
              <a:gd name="T15" fmla="*/ 88 h 1132"/>
              <a:gd name="T16" fmla="*/ 855 w 1132"/>
              <a:gd name="T17" fmla="*/ 109 h 1132"/>
              <a:gd name="T18" fmla="*/ 918 w 1132"/>
              <a:gd name="T19" fmla="*/ 130 h 1132"/>
              <a:gd name="T20" fmla="*/ 901 w 1132"/>
              <a:gd name="T21" fmla="*/ 207 h 1132"/>
              <a:gd name="T22" fmla="*/ 1004 w 1132"/>
              <a:gd name="T23" fmla="*/ 209 h 1132"/>
              <a:gd name="T24" fmla="*/ 1013 w 1132"/>
              <a:gd name="T25" fmla="*/ 286 h 1132"/>
              <a:gd name="T26" fmla="*/ 1055 w 1132"/>
              <a:gd name="T27" fmla="*/ 307 h 1132"/>
              <a:gd name="T28" fmla="*/ 1083 w 1132"/>
              <a:gd name="T29" fmla="*/ 361 h 1132"/>
              <a:gd name="T30" fmla="*/ 1053 w 1132"/>
              <a:gd name="T31" fmla="*/ 414 h 1132"/>
              <a:gd name="T32" fmla="*/ 1122 w 1132"/>
              <a:gd name="T33" fmla="*/ 477 h 1132"/>
              <a:gd name="T34" fmla="*/ 1115 w 1132"/>
              <a:gd name="T35" fmla="*/ 549 h 1132"/>
              <a:gd name="T36" fmla="*/ 1081 w 1132"/>
              <a:gd name="T37" fmla="*/ 591 h 1132"/>
              <a:gd name="T38" fmla="*/ 1120 w 1132"/>
              <a:gd name="T39" fmla="*/ 673 h 1132"/>
              <a:gd name="T40" fmla="*/ 1081 w 1132"/>
              <a:gd name="T41" fmla="*/ 733 h 1132"/>
              <a:gd name="T42" fmla="*/ 1074 w 1132"/>
              <a:gd name="T43" fmla="*/ 773 h 1132"/>
              <a:gd name="T44" fmla="*/ 1057 w 1132"/>
              <a:gd name="T45" fmla="*/ 836 h 1132"/>
              <a:gd name="T46" fmla="*/ 978 w 1132"/>
              <a:gd name="T47" fmla="*/ 833 h 1132"/>
              <a:gd name="T48" fmla="*/ 992 w 1132"/>
              <a:gd name="T49" fmla="*/ 936 h 1132"/>
              <a:gd name="T50" fmla="*/ 920 w 1132"/>
              <a:gd name="T51" fmla="*/ 957 h 1132"/>
              <a:gd name="T52" fmla="*/ 901 w 1132"/>
              <a:gd name="T53" fmla="*/ 999 h 1132"/>
              <a:gd name="T54" fmla="*/ 857 w 1132"/>
              <a:gd name="T55" fmla="*/ 1038 h 1132"/>
              <a:gd name="T56" fmla="*/ 808 w 1132"/>
              <a:gd name="T57" fmla="*/ 1034 h 1132"/>
              <a:gd name="T58" fmla="*/ 757 w 1132"/>
              <a:gd name="T59" fmla="*/ 1097 h 1132"/>
              <a:gd name="T60" fmla="*/ 675 w 1132"/>
              <a:gd name="T61" fmla="*/ 1069 h 1132"/>
              <a:gd name="T62" fmla="*/ 641 w 1132"/>
              <a:gd name="T63" fmla="*/ 1108 h 1132"/>
              <a:gd name="T64" fmla="*/ 571 w 1132"/>
              <a:gd name="T65" fmla="*/ 1129 h 1132"/>
              <a:gd name="T66" fmla="*/ 496 w 1132"/>
              <a:gd name="T67" fmla="*/ 1076 h 1132"/>
              <a:gd name="T68" fmla="*/ 450 w 1132"/>
              <a:gd name="T69" fmla="*/ 1101 h 1132"/>
              <a:gd name="T70" fmla="*/ 384 w 1132"/>
              <a:gd name="T71" fmla="*/ 1097 h 1132"/>
              <a:gd name="T72" fmla="*/ 340 w 1132"/>
              <a:gd name="T73" fmla="*/ 1001 h 1132"/>
              <a:gd name="T74" fmla="*/ 273 w 1132"/>
              <a:gd name="T75" fmla="*/ 1043 h 1132"/>
              <a:gd name="T76" fmla="*/ 233 w 1132"/>
              <a:gd name="T77" fmla="*/ 992 h 1132"/>
              <a:gd name="T78" fmla="*/ 201 w 1132"/>
              <a:gd name="T79" fmla="*/ 964 h 1132"/>
              <a:gd name="T80" fmla="*/ 145 w 1132"/>
              <a:gd name="T81" fmla="*/ 934 h 1132"/>
              <a:gd name="T82" fmla="*/ 173 w 1132"/>
              <a:gd name="T83" fmla="*/ 859 h 1132"/>
              <a:gd name="T84" fmla="*/ 73 w 1132"/>
              <a:gd name="T85" fmla="*/ 838 h 1132"/>
              <a:gd name="T86" fmla="*/ 89 w 1132"/>
              <a:gd name="T87" fmla="*/ 761 h 1132"/>
              <a:gd name="T88" fmla="*/ 40 w 1132"/>
              <a:gd name="T89" fmla="*/ 736 h 1132"/>
              <a:gd name="T90" fmla="*/ 21 w 1132"/>
              <a:gd name="T91" fmla="*/ 677 h 1132"/>
              <a:gd name="T92" fmla="*/ 80 w 1132"/>
              <a:gd name="T93" fmla="*/ 624 h 1132"/>
              <a:gd name="T94" fmla="*/ 5 w 1132"/>
              <a:gd name="T95" fmla="*/ 549 h 1132"/>
              <a:gd name="T96" fmla="*/ 17 w 1132"/>
              <a:gd name="T97" fmla="*/ 484 h 1132"/>
              <a:gd name="T98" fmla="*/ 89 w 1132"/>
              <a:gd name="T99" fmla="*/ 454 h 1132"/>
              <a:gd name="T100" fmla="*/ 35 w 1132"/>
              <a:gd name="T101" fmla="*/ 370 h 1132"/>
              <a:gd name="T102" fmla="*/ 100 w 1132"/>
              <a:gd name="T103" fmla="*/ 319 h 1132"/>
              <a:gd name="T104" fmla="*/ 96 w 1132"/>
              <a:gd name="T105" fmla="*/ 270 h 1132"/>
              <a:gd name="T106" fmla="*/ 135 w 1132"/>
              <a:gd name="T107" fmla="*/ 226 h 1132"/>
              <a:gd name="T108" fmla="*/ 177 w 1132"/>
              <a:gd name="T109" fmla="*/ 209 h 1132"/>
              <a:gd name="T110" fmla="*/ 201 w 1132"/>
              <a:gd name="T111" fmla="*/ 137 h 1132"/>
              <a:gd name="T112" fmla="*/ 301 w 1132"/>
              <a:gd name="T113" fmla="*/ 151 h 1132"/>
              <a:gd name="T114" fmla="*/ 298 w 1132"/>
              <a:gd name="T115" fmla="*/ 72 h 1132"/>
              <a:gd name="T116" fmla="*/ 366 w 1132"/>
              <a:gd name="T117" fmla="*/ 67 h 1132"/>
              <a:gd name="T118" fmla="*/ 398 w 1132"/>
              <a:gd name="T119" fmla="*/ 42 h 1132"/>
              <a:gd name="T120" fmla="*/ 459 w 1132"/>
              <a:gd name="T121" fmla="*/ 16 h 1132"/>
              <a:gd name="T122" fmla="*/ 543 w 1132"/>
              <a:gd name="T123" fmla="*/ 74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2" h="1132">
                <a:moveTo>
                  <a:pt x="580" y="149"/>
                </a:moveTo>
                <a:lnTo>
                  <a:pt x="506" y="151"/>
                </a:lnTo>
                <a:lnTo>
                  <a:pt x="433" y="170"/>
                </a:lnTo>
                <a:lnTo>
                  <a:pt x="368" y="198"/>
                </a:lnTo>
                <a:lnTo>
                  <a:pt x="308" y="237"/>
                </a:lnTo>
                <a:lnTo>
                  <a:pt x="256" y="286"/>
                </a:lnTo>
                <a:lnTo>
                  <a:pt x="212" y="342"/>
                </a:lnTo>
                <a:lnTo>
                  <a:pt x="180" y="407"/>
                </a:lnTo>
                <a:lnTo>
                  <a:pt x="159" y="477"/>
                </a:lnTo>
                <a:lnTo>
                  <a:pt x="149" y="552"/>
                </a:lnTo>
                <a:lnTo>
                  <a:pt x="152" y="626"/>
                </a:lnTo>
                <a:lnTo>
                  <a:pt x="170" y="698"/>
                </a:lnTo>
                <a:lnTo>
                  <a:pt x="198" y="764"/>
                </a:lnTo>
                <a:lnTo>
                  <a:pt x="238" y="824"/>
                </a:lnTo>
                <a:lnTo>
                  <a:pt x="287" y="875"/>
                </a:lnTo>
                <a:lnTo>
                  <a:pt x="343" y="920"/>
                </a:lnTo>
                <a:lnTo>
                  <a:pt x="408" y="952"/>
                </a:lnTo>
                <a:lnTo>
                  <a:pt x="478" y="973"/>
                </a:lnTo>
                <a:lnTo>
                  <a:pt x="552" y="982"/>
                </a:lnTo>
                <a:lnTo>
                  <a:pt x="627" y="978"/>
                </a:lnTo>
                <a:lnTo>
                  <a:pt x="699" y="962"/>
                </a:lnTo>
                <a:lnTo>
                  <a:pt x="764" y="934"/>
                </a:lnTo>
                <a:lnTo>
                  <a:pt x="824" y="894"/>
                </a:lnTo>
                <a:lnTo>
                  <a:pt x="876" y="845"/>
                </a:lnTo>
                <a:lnTo>
                  <a:pt x="920" y="789"/>
                </a:lnTo>
                <a:lnTo>
                  <a:pt x="952" y="724"/>
                </a:lnTo>
                <a:lnTo>
                  <a:pt x="973" y="654"/>
                </a:lnTo>
                <a:lnTo>
                  <a:pt x="983" y="580"/>
                </a:lnTo>
                <a:lnTo>
                  <a:pt x="980" y="505"/>
                </a:lnTo>
                <a:lnTo>
                  <a:pt x="962" y="433"/>
                </a:lnTo>
                <a:lnTo>
                  <a:pt x="934" y="368"/>
                </a:lnTo>
                <a:lnTo>
                  <a:pt x="894" y="307"/>
                </a:lnTo>
                <a:lnTo>
                  <a:pt x="845" y="256"/>
                </a:lnTo>
                <a:lnTo>
                  <a:pt x="790" y="212"/>
                </a:lnTo>
                <a:lnTo>
                  <a:pt x="724" y="179"/>
                </a:lnTo>
                <a:lnTo>
                  <a:pt x="654" y="156"/>
                </a:lnTo>
                <a:lnTo>
                  <a:pt x="580" y="149"/>
                </a:lnTo>
                <a:close/>
                <a:moveTo>
                  <a:pt x="568" y="0"/>
                </a:moveTo>
                <a:lnTo>
                  <a:pt x="575" y="2"/>
                </a:lnTo>
                <a:lnTo>
                  <a:pt x="582" y="5"/>
                </a:lnTo>
                <a:lnTo>
                  <a:pt x="587" y="12"/>
                </a:lnTo>
                <a:lnTo>
                  <a:pt x="587" y="19"/>
                </a:lnTo>
                <a:lnTo>
                  <a:pt x="589" y="30"/>
                </a:lnTo>
                <a:lnTo>
                  <a:pt x="592" y="51"/>
                </a:lnTo>
                <a:lnTo>
                  <a:pt x="594" y="74"/>
                </a:lnTo>
                <a:lnTo>
                  <a:pt x="629" y="79"/>
                </a:lnTo>
                <a:lnTo>
                  <a:pt x="636" y="53"/>
                </a:lnTo>
                <a:lnTo>
                  <a:pt x="641" y="35"/>
                </a:lnTo>
                <a:lnTo>
                  <a:pt x="645" y="23"/>
                </a:lnTo>
                <a:lnTo>
                  <a:pt x="648" y="16"/>
                </a:lnTo>
                <a:lnTo>
                  <a:pt x="652" y="12"/>
                </a:lnTo>
                <a:lnTo>
                  <a:pt x="659" y="9"/>
                </a:lnTo>
                <a:lnTo>
                  <a:pt x="666" y="9"/>
                </a:lnTo>
                <a:lnTo>
                  <a:pt x="673" y="12"/>
                </a:lnTo>
                <a:lnTo>
                  <a:pt x="678" y="16"/>
                </a:lnTo>
                <a:lnTo>
                  <a:pt x="682" y="23"/>
                </a:lnTo>
                <a:lnTo>
                  <a:pt x="682" y="30"/>
                </a:lnTo>
                <a:lnTo>
                  <a:pt x="682" y="42"/>
                </a:lnTo>
                <a:lnTo>
                  <a:pt x="680" y="63"/>
                </a:lnTo>
                <a:lnTo>
                  <a:pt x="678" y="86"/>
                </a:lnTo>
                <a:lnTo>
                  <a:pt x="713" y="95"/>
                </a:lnTo>
                <a:lnTo>
                  <a:pt x="720" y="79"/>
                </a:lnTo>
                <a:lnTo>
                  <a:pt x="729" y="63"/>
                </a:lnTo>
                <a:lnTo>
                  <a:pt x="734" y="51"/>
                </a:lnTo>
                <a:lnTo>
                  <a:pt x="738" y="44"/>
                </a:lnTo>
                <a:lnTo>
                  <a:pt x="743" y="39"/>
                </a:lnTo>
                <a:lnTo>
                  <a:pt x="748" y="35"/>
                </a:lnTo>
                <a:lnTo>
                  <a:pt x="755" y="35"/>
                </a:lnTo>
                <a:lnTo>
                  <a:pt x="762" y="35"/>
                </a:lnTo>
                <a:lnTo>
                  <a:pt x="769" y="39"/>
                </a:lnTo>
                <a:lnTo>
                  <a:pt x="773" y="44"/>
                </a:lnTo>
                <a:lnTo>
                  <a:pt x="776" y="51"/>
                </a:lnTo>
                <a:lnTo>
                  <a:pt x="773" y="58"/>
                </a:lnTo>
                <a:lnTo>
                  <a:pt x="771" y="70"/>
                </a:lnTo>
                <a:lnTo>
                  <a:pt x="766" y="91"/>
                </a:lnTo>
                <a:lnTo>
                  <a:pt x="759" y="114"/>
                </a:lnTo>
                <a:lnTo>
                  <a:pt x="792" y="128"/>
                </a:lnTo>
                <a:lnTo>
                  <a:pt x="803" y="114"/>
                </a:lnTo>
                <a:lnTo>
                  <a:pt x="813" y="100"/>
                </a:lnTo>
                <a:lnTo>
                  <a:pt x="820" y="88"/>
                </a:lnTo>
                <a:lnTo>
                  <a:pt x="824" y="81"/>
                </a:lnTo>
                <a:lnTo>
                  <a:pt x="831" y="77"/>
                </a:lnTo>
                <a:lnTo>
                  <a:pt x="836" y="74"/>
                </a:lnTo>
                <a:lnTo>
                  <a:pt x="843" y="74"/>
                </a:lnTo>
                <a:lnTo>
                  <a:pt x="850" y="77"/>
                </a:lnTo>
                <a:lnTo>
                  <a:pt x="857" y="81"/>
                </a:lnTo>
                <a:lnTo>
                  <a:pt x="859" y="88"/>
                </a:lnTo>
                <a:lnTo>
                  <a:pt x="862" y="95"/>
                </a:lnTo>
                <a:lnTo>
                  <a:pt x="859" y="102"/>
                </a:lnTo>
                <a:lnTo>
                  <a:pt x="855" y="109"/>
                </a:lnTo>
                <a:lnTo>
                  <a:pt x="850" y="121"/>
                </a:lnTo>
                <a:lnTo>
                  <a:pt x="843" y="137"/>
                </a:lnTo>
                <a:lnTo>
                  <a:pt x="836" y="154"/>
                </a:lnTo>
                <a:lnTo>
                  <a:pt x="864" y="175"/>
                </a:lnTo>
                <a:lnTo>
                  <a:pt x="878" y="161"/>
                </a:lnTo>
                <a:lnTo>
                  <a:pt x="890" y="149"/>
                </a:lnTo>
                <a:lnTo>
                  <a:pt x="899" y="140"/>
                </a:lnTo>
                <a:lnTo>
                  <a:pt x="906" y="135"/>
                </a:lnTo>
                <a:lnTo>
                  <a:pt x="911" y="130"/>
                </a:lnTo>
                <a:lnTo>
                  <a:pt x="918" y="130"/>
                </a:lnTo>
                <a:lnTo>
                  <a:pt x="925" y="130"/>
                </a:lnTo>
                <a:lnTo>
                  <a:pt x="932" y="135"/>
                </a:lnTo>
                <a:lnTo>
                  <a:pt x="936" y="140"/>
                </a:lnTo>
                <a:lnTo>
                  <a:pt x="939" y="147"/>
                </a:lnTo>
                <a:lnTo>
                  <a:pt x="939" y="154"/>
                </a:lnTo>
                <a:lnTo>
                  <a:pt x="936" y="161"/>
                </a:lnTo>
                <a:lnTo>
                  <a:pt x="932" y="165"/>
                </a:lnTo>
                <a:lnTo>
                  <a:pt x="922" y="177"/>
                </a:lnTo>
                <a:lnTo>
                  <a:pt x="913" y="191"/>
                </a:lnTo>
                <a:lnTo>
                  <a:pt x="901" y="207"/>
                </a:lnTo>
                <a:lnTo>
                  <a:pt x="927" y="233"/>
                </a:lnTo>
                <a:lnTo>
                  <a:pt x="943" y="221"/>
                </a:lnTo>
                <a:lnTo>
                  <a:pt x="957" y="212"/>
                </a:lnTo>
                <a:lnTo>
                  <a:pt x="969" y="205"/>
                </a:lnTo>
                <a:lnTo>
                  <a:pt x="976" y="200"/>
                </a:lnTo>
                <a:lnTo>
                  <a:pt x="983" y="198"/>
                </a:lnTo>
                <a:lnTo>
                  <a:pt x="990" y="198"/>
                </a:lnTo>
                <a:lnTo>
                  <a:pt x="994" y="200"/>
                </a:lnTo>
                <a:lnTo>
                  <a:pt x="1001" y="205"/>
                </a:lnTo>
                <a:lnTo>
                  <a:pt x="1004" y="209"/>
                </a:lnTo>
                <a:lnTo>
                  <a:pt x="1006" y="216"/>
                </a:lnTo>
                <a:lnTo>
                  <a:pt x="1004" y="223"/>
                </a:lnTo>
                <a:lnTo>
                  <a:pt x="999" y="230"/>
                </a:lnTo>
                <a:lnTo>
                  <a:pt x="994" y="235"/>
                </a:lnTo>
                <a:lnTo>
                  <a:pt x="985" y="244"/>
                </a:lnTo>
                <a:lnTo>
                  <a:pt x="973" y="258"/>
                </a:lnTo>
                <a:lnTo>
                  <a:pt x="959" y="270"/>
                </a:lnTo>
                <a:lnTo>
                  <a:pt x="980" y="300"/>
                </a:lnTo>
                <a:lnTo>
                  <a:pt x="997" y="293"/>
                </a:lnTo>
                <a:lnTo>
                  <a:pt x="1013" y="286"/>
                </a:lnTo>
                <a:lnTo>
                  <a:pt x="1025" y="279"/>
                </a:lnTo>
                <a:lnTo>
                  <a:pt x="1032" y="277"/>
                </a:lnTo>
                <a:lnTo>
                  <a:pt x="1039" y="275"/>
                </a:lnTo>
                <a:lnTo>
                  <a:pt x="1046" y="277"/>
                </a:lnTo>
                <a:lnTo>
                  <a:pt x="1053" y="279"/>
                </a:lnTo>
                <a:lnTo>
                  <a:pt x="1057" y="284"/>
                </a:lnTo>
                <a:lnTo>
                  <a:pt x="1060" y="291"/>
                </a:lnTo>
                <a:lnTo>
                  <a:pt x="1060" y="298"/>
                </a:lnTo>
                <a:lnTo>
                  <a:pt x="1057" y="303"/>
                </a:lnTo>
                <a:lnTo>
                  <a:pt x="1055" y="307"/>
                </a:lnTo>
                <a:lnTo>
                  <a:pt x="1053" y="310"/>
                </a:lnTo>
                <a:lnTo>
                  <a:pt x="1046" y="314"/>
                </a:lnTo>
                <a:lnTo>
                  <a:pt x="1034" y="324"/>
                </a:lnTo>
                <a:lnTo>
                  <a:pt x="1020" y="333"/>
                </a:lnTo>
                <a:lnTo>
                  <a:pt x="1004" y="344"/>
                </a:lnTo>
                <a:lnTo>
                  <a:pt x="1020" y="377"/>
                </a:lnTo>
                <a:lnTo>
                  <a:pt x="1043" y="370"/>
                </a:lnTo>
                <a:lnTo>
                  <a:pt x="1064" y="365"/>
                </a:lnTo>
                <a:lnTo>
                  <a:pt x="1076" y="361"/>
                </a:lnTo>
                <a:lnTo>
                  <a:pt x="1083" y="361"/>
                </a:lnTo>
                <a:lnTo>
                  <a:pt x="1090" y="363"/>
                </a:lnTo>
                <a:lnTo>
                  <a:pt x="1094" y="368"/>
                </a:lnTo>
                <a:lnTo>
                  <a:pt x="1097" y="375"/>
                </a:lnTo>
                <a:lnTo>
                  <a:pt x="1099" y="382"/>
                </a:lnTo>
                <a:lnTo>
                  <a:pt x="1097" y="389"/>
                </a:lnTo>
                <a:lnTo>
                  <a:pt x="1094" y="393"/>
                </a:lnTo>
                <a:lnTo>
                  <a:pt x="1087" y="398"/>
                </a:lnTo>
                <a:lnTo>
                  <a:pt x="1081" y="403"/>
                </a:lnTo>
                <a:lnTo>
                  <a:pt x="1069" y="407"/>
                </a:lnTo>
                <a:lnTo>
                  <a:pt x="1053" y="414"/>
                </a:lnTo>
                <a:lnTo>
                  <a:pt x="1036" y="424"/>
                </a:lnTo>
                <a:lnTo>
                  <a:pt x="1046" y="459"/>
                </a:lnTo>
                <a:lnTo>
                  <a:pt x="1071" y="456"/>
                </a:lnTo>
                <a:lnTo>
                  <a:pt x="1092" y="454"/>
                </a:lnTo>
                <a:lnTo>
                  <a:pt x="1104" y="454"/>
                </a:lnTo>
                <a:lnTo>
                  <a:pt x="1111" y="454"/>
                </a:lnTo>
                <a:lnTo>
                  <a:pt x="1115" y="459"/>
                </a:lnTo>
                <a:lnTo>
                  <a:pt x="1120" y="463"/>
                </a:lnTo>
                <a:lnTo>
                  <a:pt x="1122" y="470"/>
                </a:lnTo>
                <a:lnTo>
                  <a:pt x="1122" y="477"/>
                </a:lnTo>
                <a:lnTo>
                  <a:pt x="1120" y="484"/>
                </a:lnTo>
                <a:lnTo>
                  <a:pt x="1115" y="489"/>
                </a:lnTo>
                <a:lnTo>
                  <a:pt x="1111" y="491"/>
                </a:lnTo>
                <a:lnTo>
                  <a:pt x="1099" y="496"/>
                </a:lnTo>
                <a:lnTo>
                  <a:pt x="1078" y="500"/>
                </a:lnTo>
                <a:lnTo>
                  <a:pt x="1055" y="507"/>
                </a:lnTo>
                <a:lnTo>
                  <a:pt x="1057" y="542"/>
                </a:lnTo>
                <a:lnTo>
                  <a:pt x="1081" y="545"/>
                </a:lnTo>
                <a:lnTo>
                  <a:pt x="1101" y="547"/>
                </a:lnTo>
                <a:lnTo>
                  <a:pt x="1115" y="549"/>
                </a:lnTo>
                <a:lnTo>
                  <a:pt x="1120" y="549"/>
                </a:lnTo>
                <a:lnTo>
                  <a:pt x="1127" y="554"/>
                </a:lnTo>
                <a:lnTo>
                  <a:pt x="1129" y="561"/>
                </a:lnTo>
                <a:lnTo>
                  <a:pt x="1132" y="568"/>
                </a:lnTo>
                <a:lnTo>
                  <a:pt x="1129" y="575"/>
                </a:lnTo>
                <a:lnTo>
                  <a:pt x="1127" y="582"/>
                </a:lnTo>
                <a:lnTo>
                  <a:pt x="1120" y="584"/>
                </a:lnTo>
                <a:lnTo>
                  <a:pt x="1113" y="587"/>
                </a:lnTo>
                <a:lnTo>
                  <a:pt x="1101" y="589"/>
                </a:lnTo>
                <a:lnTo>
                  <a:pt x="1081" y="591"/>
                </a:lnTo>
                <a:lnTo>
                  <a:pt x="1057" y="594"/>
                </a:lnTo>
                <a:lnTo>
                  <a:pt x="1053" y="629"/>
                </a:lnTo>
                <a:lnTo>
                  <a:pt x="1078" y="636"/>
                </a:lnTo>
                <a:lnTo>
                  <a:pt x="1097" y="640"/>
                </a:lnTo>
                <a:lnTo>
                  <a:pt x="1108" y="645"/>
                </a:lnTo>
                <a:lnTo>
                  <a:pt x="1115" y="647"/>
                </a:lnTo>
                <a:lnTo>
                  <a:pt x="1120" y="652"/>
                </a:lnTo>
                <a:lnTo>
                  <a:pt x="1122" y="659"/>
                </a:lnTo>
                <a:lnTo>
                  <a:pt x="1122" y="666"/>
                </a:lnTo>
                <a:lnTo>
                  <a:pt x="1120" y="673"/>
                </a:lnTo>
                <a:lnTo>
                  <a:pt x="1115" y="677"/>
                </a:lnTo>
                <a:lnTo>
                  <a:pt x="1108" y="682"/>
                </a:lnTo>
                <a:lnTo>
                  <a:pt x="1101" y="682"/>
                </a:lnTo>
                <a:lnTo>
                  <a:pt x="1090" y="682"/>
                </a:lnTo>
                <a:lnTo>
                  <a:pt x="1069" y="680"/>
                </a:lnTo>
                <a:lnTo>
                  <a:pt x="1046" y="677"/>
                </a:lnTo>
                <a:lnTo>
                  <a:pt x="1036" y="712"/>
                </a:lnTo>
                <a:lnTo>
                  <a:pt x="1053" y="719"/>
                </a:lnTo>
                <a:lnTo>
                  <a:pt x="1067" y="726"/>
                </a:lnTo>
                <a:lnTo>
                  <a:pt x="1081" y="733"/>
                </a:lnTo>
                <a:lnTo>
                  <a:pt x="1087" y="736"/>
                </a:lnTo>
                <a:lnTo>
                  <a:pt x="1092" y="740"/>
                </a:lnTo>
                <a:lnTo>
                  <a:pt x="1094" y="743"/>
                </a:lnTo>
                <a:lnTo>
                  <a:pt x="1097" y="747"/>
                </a:lnTo>
                <a:lnTo>
                  <a:pt x="1097" y="754"/>
                </a:lnTo>
                <a:lnTo>
                  <a:pt x="1097" y="761"/>
                </a:lnTo>
                <a:lnTo>
                  <a:pt x="1092" y="768"/>
                </a:lnTo>
                <a:lnTo>
                  <a:pt x="1087" y="771"/>
                </a:lnTo>
                <a:lnTo>
                  <a:pt x="1081" y="773"/>
                </a:lnTo>
                <a:lnTo>
                  <a:pt x="1074" y="773"/>
                </a:lnTo>
                <a:lnTo>
                  <a:pt x="1062" y="771"/>
                </a:lnTo>
                <a:lnTo>
                  <a:pt x="1041" y="766"/>
                </a:lnTo>
                <a:lnTo>
                  <a:pt x="1018" y="759"/>
                </a:lnTo>
                <a:lnTo>
                  <a:pt x="1004" y="792"/>
                </a:lnTo>
                <a:lnTo>
                  <a:pt x="1018" y="801"/>
                </a:lnTo>
                <a:lnTo>
                  <a:pt x="1032" y="813"/>
                </a:lnTo>
                <a:lnTo>
                  <a:pt x="1043" y="819"/>
                </a:lnTo>
                <a:lnTo>
                  <a:pt x="1050" y="824"/>
                </a:lnTo>
                <a:lnTo>
                  <a:pt x="1055" y="829"/>
                </a:lnTo>
                <a:lnTo>
                  <a:pt x="1057" y="836"/>
                </a:lnTo>
                <a:lnTo>
                  <a:pt x="1057" y="843"/>
                </a:lnTo>
                <a:lnTo>
                  <a:pt x="1055" y="850"/>
                </a:lnTo>
                <a:lnTo>
                  <a:pt x="1050" y="854"/>
                </a:lnTo>
                <a:lnTo>
                  <a:pt x="1043" y="859"/>
                </a:lnTo>
                <a:lnTo>
                  <a:pt x="1036" y="859"/>
                </a:lnTo>
                <a:lnTo>
                  <a:pt x="1029" y="859"/>
                </a:lnTo>
                <a:lnTo>
                  <a:pt x="1022" y="854"/>
                </a:lnTo>
                <a:lnTo>
                  <a:pt x="1011" y="850"/>
                </a:lnTo>
                <a:lnTo>
                  <a:pt x="994" y="843"/>
                </a:lnTo>
                <a:lnTo>
                  <a:pt x="978" y="833"/>
                </a:lnTo>
                <a:lnTo>
                  <a:pt x="957" y="864"/>
                </a:lnTo>
                <a:lnTo>
                  <a:pt x="969" y="878"/>
                </a:lnTo>
                <a:lnTo>
                  <a:pt x="983" y="889"/>
                </a:lnTo>
                <a:lnTo>
                  <a:pt x="992" y="899"/>
                </a:lnTo>
                <a:lnTo>
                  <a:pt x="997" y="906"/>
                </a:lnTo>
                <a:lnTo>
                  <a:pt x="1001" y="910"/>
                </a:lnTo>
                <a:lnTo>
                  <a:pt x="1001" y="917"/>
                </a:lnTo>
                <a:lnTo>
                  <a:pt x="1001" y="924"/>
                </a:lnTo>
                <a:lnTo>
                  <a:pt x="997" y="931"/>
                </a:lnTo>
                <a:lnTo>
                  <a:pt x="992" y="936"/>
                </a:lnTo>
                <a:lnTo>
                  <a:pt x="985" y="938"/>
                </a:lnTo>
                <a:lnTo>
                  <a:pt x="978" y="938"/>
                </a:lnTo>
                <a:lnTo>
                  <a:pt x="971" y="934"/>
                </a:lnTo>
                <a:lnTo>
                  <a:pt x="966" y="929"/>
                </a:lnTo>
                <a:lnTo>
                  <a:pt x="955" y="922"/>
                </a:lnTo>
                <a:lnTo>
                  <a:pt x="941" y="913"/>
                </a:lnTo>
                <a:lnTo>
                  <a:pt x="925" y="901"/>
                </a:lnTo>
                <a:lnTo>
                  <a:pt x="899" y="927"/>
                </a:lnTo>
                <a:lnTo>
                  <a:pt x="911" y="943"/>
                </a:lnTo>
                <a:lnTo>
                  <a:pt x="920" y="957"/>
                </a:lnTo>
                <a:lnTo>
                  <a:pt x="927" y="969"/>
                </a:lnTo>
                <a:lnTo>
                  <a:pt x="932" y="976"/>
                </a:lnTo>
                <a:lnTo>
                  <a:pt x="934" y="980"/>
                </a:lnTo>
                <a:lnTo>
                  <a:pt x="934" y="987"/>
                </a:lnTo>
                <a:lnTo>
                  <a:pt x="932" y="994"/>
                </a:lnTo>
                <a:lnTo>
                  <a:pt x="927" y="999"/>
                </a:lnTo>
                <a:lnTo>
                  <a:pt x="922" y="1003"/>
                </a:lnTo>
                <a:lnTo>
                  <a:pt x="915" y="1003"/>
                </a:lnTo>
                <a:lnTo>
                  <a:pt x="908" y="1003"/>
                </a:lnTo>
                <a:lnTo>
                  <a:pt x="901" y="999"/>
                </a:lnTo>
                <a:lnTo>
                  <a:pt x="897" y="994"/>
                </a:lnTo>
                <a:lnTo>
                  <a:pt x="887" y="985"/>
                </a:lnTo>
                <a:lnTo>
                  <a:pt x="873" y="971"/>
                </a:lnTo>
                <a:lnTo>
                  <a:pt x="862" y="959"/>
                </a:lnTo>
                <a:lnTo>
                  <a:pt x="831" y="980"/>
                </a:lnTo>
                <a:lnTo>
                  <a:pt x="838" y="996"/>
                </a:lnTo>
                <a:lnTo>
                  <a:pt x="845" y="1013"/>
                </a:lnTo>
                <a:lnTo>
                  <a:pt x="852" y="1024"/>
                </a:lnTo>
                <a:lnTo>
                  <a:pt x="855" y="1031"/>
                </a:lnTo>
                <a:lnTo>
                  <a:pt x="857" y="1038"/>
                </a:lnTo>
                <a:lnTo>
                  <a:pt x="855" y="1045"/>
                </a:lnTo>
                <a:lnTo>
                  <a:pt x="852" y="1052"/>
                </a:lnTo>
                <a:lnTo>
                  <a:pt x="845" y="1055"/>
                </a:lnTo>
                <a:lnTo>
                  <a:pt x="841" y="1059"/>
                </a:lnTo>
                <a:lnTo>
                  <a:pt x="834" y="1059"/>
                </a:lnTo>
                <a:lnTo>
                  <a:pt x="829" y="1055"/>
                </a:lnTo>
                <a:lnTo>
                  <a:pt x="824" y="1055"/>
                </a:lnTo>
                <a:lnTo>
                  <a:pt x="822" y="1050"/>
                </a:lnTo>
                <a:lnTo>
                  <a:pt x="817" y="1045"/>
                </a:lnTo>
                <a:lnTo>
                  <a:pt x="808" y="1034"/>
                </a:lnTo>
                <a:lnTo>
                  <a:pt x="799" y="1020"/>
                </a:lnTo>
                <a:lnTo>
                  <a:pt x="787" y="1003"/>
                </a:lnTo>
                <a:lnTo>
                  <a:pt x="755" y="1020"/>
                </a:lnTo>
                <a:lnTo>
                  <a:pt x="762" y="1043"/>
                </a:lnTo>
                <a:lnTo>
                  <a:pt x="766" y="1064"/>
                </a:lnTo>
                <a:lnTo>
                  <a:pt x="771" y="1076"/>
                </a:lnTo>
                <a:lnTo>
                  <a:pt x="771" y="1083"/>
                </a:lnTo>
                <a:lnTo>
                  <a:pt x="769" y="1087"/>
                </a:lnTo>
                <a:lnTo>
                  <a:pt x="764" y="1094"/>
                </a:lnTo>
                <a:lnTo>
                  <a:pt x="757" y="1097"/>
                </a:lnTo>
                <a:lnTo>
                  <a:pt x="750" y="1099"/>
                </a:lnTo>
                <a:lnTo>
                  <a:pt x="743" y="1097"/>
                </a:lnTo>
                <a:lnTo>
                  <a:pt x="738" y="1094"/>
                </a:lnTo>
                <a:lnTo>
                  <a:pt x="734" y="1087"/>
                </a:lnTo>
                <a:lnTo>
                  <a:pt x="729" y="1080"/>
                </a:lnTo>
                <a:lnTo>
                  <a:pt x="724" y="1069"/>
                </a:lnTo>
                <a:lnTo>
                  <a:pt x="717" y="1052"/>
                </a:lnTo>
                <a:lnTo>
                  <a:pt x="708" y="1036"/>
                </a:lnTo>
                <a:lnTo>
                  <a:pt x="673" y="1045"/>
                </a:lnTo>
                <a:lnTo>
                  <a:pt x="675" y="1069"/>
                </a:lnTo>
                <a:lnTo>
                  <a:pt x="678" y="1090"/>
                </a:lnTo>
                <a:lnTo>
                  <a:pt x="678" y="1101"/>
                </a:lnTo>
                <a:lnTo>
                  <a:pt x="678" y="1111"/>
                </a:lnTo>
                <a:lnTo>
                  <a:pt x="673" y="1115"/>
                </a:lnTo>
                <a:lnTo>
                  <a:pt x="668" y="1120"/>
                </a:lnTo>
                <a:lnTo>
                  <a:pt x="661" y="1122"/>
                </a:lnTo>
                <a:lnTo>
                  <a:pt x="654" y="1122"/>
                </a:lnTo>
                <a:lnTo>
                  <a:pt x="648" y="1120"/>
                </a:lnTo>
                <a:lnTo>
                  <a:pt x="643" y="1115"/>
                </a:lnTo>
                <a:lnTo>
                  <a:pt x="641" y="1108"/>
                </a:lnTo>
                <a:lnTo>
                  <a:pt x="636" y="1097"/>
                </a:lnTo>
                <a:lnTo>
                  <a:pt x="631" y="1078"/>
                </a:lnTo>
                <a:lnTo>
                  <a:pt x="624" y="1052"/>
                </a:lnTo>
                <a:lnTo>
                  <a:pt x="589" y="1055"/>
                </a:lnTo>
                <a:lnTo>
                  <a:pt x="587" y="1080"/>
                </a:lnTo>
                <a:lnTo>
                  <a:pt x="585" y="1101"/>
                </a:lnTo>
                <a:lnTo>
                  <a:pt x="582" y="1113"/>
                </a:lnTo>
                <a:lnTo>
                  <a:pt x="582" y="1120"/>
                </a:lnTo>
                <a:lnTo>
                  <a:pt x="578" y="1127"/>
                </a:lnTo>
                <a:lnTo>
                  <a:pt x="571" y="1129"/>
                </a:lnTo>
                <a:lnTo>
                  <a:pt x="564" y="1132"/>
                </a:lnTo>
                <a:lnTo>
                  <a:pt x="557" y="1129"/>
                </a:lnTo>
                <a:lnTo>
                  <a:pt x="550" y="1125"/>
                </a:lnTo>
                <a:lnTo>
                  <a:pt x="547" y="1120"/>
                </a:lnTo>
                <a:lnTo>
                  <a:pt x="545" y="1113"/>
                </a:lnTo>
                <a:lnTo>
                  <a:pt x="543" y="1101"/>
                </a:lnTo>
                <a:lnTo>
                  <a:pt x="540" y="1080"/>
                </a:lnTo>
                <a:lnTo>
                  <a:pt x="538" y="1055"/>
                </a:lnTo>
                <a:lnTo>
                  <a:pt x="503" y="1052"/>
                </a:lnTo>
                <a:lnTo>
                  <a:pt x="496" y="1076"/>
                </a:lnTo>
                <a:lnTo>
                  <a:pt x="492" y="1097"/>
                </a:lnTo>
                <a:lnTo>
                  <a:pt x="487" y="1108"/>
                </a:lnTo>
                <a:lnTo>
                  <a:pt x="485" y="1115"/>
                </a:lnTo>
                <a:lnTo>
                  <a:pt x="480" y="1120"/>
                </a:lnTo>
                <a:lnTo>
                  <a:pt x="473" y="1122"/>
                </a:lnTo>
                <a:lnTo>
                  <a:pt x="466" y="1122"/>
                </a:lnTo>
                <a:lnTo>
                  <a:pt x="459" y="1120"/>
                </a:lnTo>
                <a:lnTo>
                  <a:pt x="454" y="1115"/>
                </a:lnTo>
                <a:lnTo>
                  <a:pt x="450" y="1108"/>
                </a:lnTo>
                <a:lnTo>
                  <a:pt x="450" y="1101"/>
                </a:lnTo>
                <a:lnTo>
                  <a:pt x="450" y="1090"/>
                </a:lnTo>
                <a:lnTo>
                  <a:pt x="452" y="1069"/>
                </a:lnTo>
                <a:lnTo>
                  <a:pt x="454" y="1043"/>
                </a:lnTo>
                <a:lnTo>
                  <a:pt x="419" y="1034"/>
                </a:lnTo>
                <a:lnTo>
                  <a:pt x="412" y="1052"/>
                </a:lnTo>
                <a:lnTo>
                  <a:pt x="403" y="1066"/>
                </a:lnTo>
                <a:lnTo>
                  <a:pt x="398" y="1080"/>
                </a:lnTo>
                <a:lnTo>
                  <a:pt x="394" y="1087"/>
                </a:lnTo>
                <a:lnTo>
                  <a:pt x="391" y="1092"/>
                </a:lnTo>
                <a:lnTo>
                  <a:pt x="384" y="1097"/>
                </a:lnTo>
                <a:lnTo>
                  <a:pt x="377" y="1097"/>
                </a:lnTo>
                <a:lnTo>
                  <a:pt x="370" y="1097"/>
                </a:lnTo>
                <a:lnTo>
                  <a:pt x="364" y="1092"/>
                </a:lnTo>
                <a:lnTo>
                  <a:pt x="361" y="1087"/>
                </a:lnTo>
                <a:lnTo>
                  <a:pt x="359" y="1080"/>
                </a:lnTo>
                <a:lnTo>
                  <a:pt x="359" y="1073"/>
                </a:lnTo>
                <a:lnTo>
                  <a:pt x="361" y="1062"/>
                </a:lnTo>
                <a:lnTo>
                  <a:pt x="366" y="1041"/>
                </a:lnTo>
                <a:lnTo>
                  <a:pt x="373" y="1017"/>
                </a:lnTo>
                <a:lnTo>
                  <a:pt x="340" y="1001"/>
                </a:lnTo>
                <a:lnTo>
                  <a:pt x="329" y="1017"/>
                </a:lnTo>
                <a:lnTo>
                  <a:pt x="319" y="1031"/>
                </a:lnTo>
                <a:lnTo>
                  <a:pt x="312" y="1043"/>
                </a:lnTo>
                <a:lnTo>
                  <a:pt x="308" y="1048"/>
                </a:lnTo>
                <a:lnTo>
                  <a:pt x="301" y="1055"/>
                </a:lnTo>
                <a:lnTo>
                  <a:pt x="296" y="1055"/>
                </a:lnTo>
                <a:lnTo>
                  <a:pt x="289" y="1055"/>
                </a:lnTo>
                <a:lnTo>
                  <a:pt x="282" y="1055"/>
                </a:lnTo>
                <a:lnTo>
                  <a:pt x="275" y="1050"/>
                </a:lnTo>
                <a:lnTo>
                  <a:pt x="273" y="1043"/>
                </a:lnTo>
                <a:lnTo>
                  <a:pt x="273" y="1036"/>
                </a:lnTo>
                <a:lnTo>
                  <a:pt x="273" y="1029"/>
                </a:lnTo>
                <a:lnTo>
                  <a:pt x="277" y="1022"/>
                </a:lnTo>
                <a:lnTo>
                  <a:pt x="282" y="1010"/>
                </a:lnTo>
                <a:lnTo>
                  <a:pt x="289" y="994"/>
                </a:lnTo>
                <a:lnTo>
                  <a:pt x="298" y="978"/>
                </a:lnTo>
                <a:lnTo>
                  <a:pt x="268" y="957"/>
                </a:lnTo>
                <a:lnTo>
                  <a:pt x="254" y="969"/>
                </a:lnTo>
                <a:lnTo>
                  <a:pt x="242" y="980"/>
                </a:lnTo>
                <a:lnTo>
                  <a:pt x="233" y="992"/>
                </a:lnTo>
                <a:lnTo>
                  <a:pt x="226" y="996"/>
                </a:lnTo>
                <a:lnTo>
                  <a:pt x="222" y="1001"/>
                </a:lnTo>
                <a:lnTo>
                  <a:pt x="215" y="1001"/>
                </a:lnTo>
                <a:lnTo>
                  <a:pt x="208" y="1001"/>
                </a:lnTo>
                <a:lnTo>
                  <a:pt x="201" y="996"/>
                </a:lnTo>
                <a:lnTo>
                  <a:pt x="196" y="992"/>
                </a:lnTo>
                <a:lnTo>
                  <a:pt x="194" y="985"/>
                </a:lnTo>
                <a:lnTo>
                  <a:pt x="194" y="978"/>
                </a:lnTo>
                <a:lnTo>
                  <a:pt x="198" y="971"/>
                </a:lnTo>
                <a:lnTo>
                  <a:pt x="201" y="964"/>
                </a:lnTo>
                <a:lnTo>
                  <a:pt x="210" y="955"/>
                </a:lnTo>
                <a:lnTo>
                  <a:pt x="219" y="938"/>
                </a:lnTo>
                <a:lnTo>
                  <a:pt x="231" y="924"/>
                </a:lnTo>
                <a:lnTo>
                  <a:pt x="205" y="899"/>
                </a:lnTo>
                <a:lnTo>
                  <a:pt x="189" y="908"/>
                </a:lnTo>
                <a:lnTo>
                  <a:pt x="175" y="920"/>
                </a:lnTo>
                <a:lnTo>
                  <a:pt x="163" y="927"/>
                </a:lnTo>
                <a:lnTo>
                  <a:pt x="156" y="931"/>
                </a:lnTo>
                <a:lnTo>
                  <a:pt x="152" y="934"/>
                </a:lnTo>
                <a:lnTo>
                  <a:pt x="145" y="934"/>
                </a:lnTo>
                <a:lnTo>
                  <a:pt x="138" y="931"/>
                </a:lnTo>
                <a:lnTo>
                  <a:pt x="131" y="927"/>
                </a:lnTo>
                <a:lnTo>
                  <a:pt x="128" y="920"/>
                </a:lnTo>
                <a:lnTo>
                  <a:pt x="126" y="913"/>
                </a:lnTo>
                <a:lnTo>
                  <a:pt x="128" y="908"/>
                </a:lnTo>
                <a:lnTo>
                  <a:pt x="133" y="901"/>
                </a:lnTo>
                <a:lnTo>
                  <a:pt x="138" y="896"/>
                </a:lnTo>
                <a:lnTo>
                  <a:pt x="147" y="885"/>
                </a:lnTo>
                <a:lnTo>
                  <a:pt x="161" y="873"/>
                </a:lnTo>
                <a:lnTo>
                  <a:pt x="173" y="859"/>
                </a:lnTo>
                <a:lnTo>
                  <a:pt x="152" y="831"/>
                </a:lnTo>
                <a:lnTo>
                  <a:pt x="135" y="838"/>
                </a:lnTo>
                <a:lnTo>
                  <a:pt x="119" y="845"/>
                </a:lnTo>
                <a:lnTo>
                  <a:pt x="107" y="852"/>
                </a:lnTo>
                <a:lnTo>
                  <a:pt x="100" y="854"/>
                </a:lnTo>
                <a:lnTo>
                  <a:pt x="93" y="857"/>
                </a:lnTo>
                <a:lnTo>
                  <a:pt x="86" y="854"/>
                </a:lnTo>
                <a:lnTo>
                  <a:pt x="80" y="852"/>
                </a:lnTo>
                <a:lnTo>
                  <a:pt x="75" y="845"/>
                </a:lnTo>
                <a:lnTo>
                  <a:pt x="73" y="838"/>
                </a:lnTo>
                <a:lnTo>
                  <a:pt x="73" y="831"/>
                </a:lnTo>
                <a:lnTo>
                  <a:pt x="75" y="829"/>
                </a:lnTo>
                <a:lnTo>
                  <a:pt x="77" y="824"/>
                </a:lnTo>
                <a:lnTo>
                  <a:pt x="82" y="819"/>
                </a:lnTo>
                <a:lnTo>
                  <a:pt x="86" y="815"/>
                </a:lnTo>
                <a:lnTo>
                  <a:pt x="98" y="808"/>
                </a:lnTo>
                <a:lnTo>
                  <a:pt x="112" y="799"/>
                </a:lnTo>
                <a:lnTo>
                  <a:pt x="128" y="787"/>
                </a:lnTo>
                <a:lnTo>
                  <a:pt x="112" y="754"/>
                </a:lnTo>
                <a:lnTo>
                  <a:pt x="89" y="761"/>
                </a:lnTo>
                <a:lnTo>
                  <a:pt x="68" y="766"/>
                </a:lnTo>
                <a:lnTo>
                  <a:pt x="56" y="768"/>
                </a:lnTo>
                <a:lnTo>
                  <a:pt x="49" y="768"/>
                </a:lnTo>
                <a:lnTo>
                  <a:pt x="42" y="766"/>
                </a:lnTo>
                <a:lnTo>
                  <a:pt x="38" y="764"/>
                </a:lnTo>
                <a:lnTo>
                  <a:pt x="35" y="757"/>
                </a:lnTo>
                <a:lnTo>
                  <a:pt x="33" y="750"/>
                </a:lnTo>
                <a:lnTo>
                  <a:pt x="35" y="743"/>
                </a:lnTo>
                <a:lnTo>
                  <a:pt x="38" y="738"/>
                </a:lnTo>
                <a:lnTo>
                  <a:pt x="40" y="736"/>
                </a:lnTo>
                <a:lnTo>
                  <a:pt x="45" y="733"/>
                </a:lnTo>
                <a:lnTo>
                  <a:pt x="52" y="729"/>
                </a:lnTo>
                <a:lnTo>
                  <a:pt x="63" y="724"/>
                </a:lnTo>
                <a:lnTo>
                  <a:pt x="80" y="715"/>
                </a:lnTo>
                <a:lnTo>
                  <a:pt x="96" y="708"/>
                </a:lnTo>
                <a:lnTo>
                  <a:pt x="86" y="673"/>
                </a:lnTo>
                <a:lnTo>
                  <a:pt x="63" y="675"/>
                </a:lnTo>
                <a:lnTo>
                  <a:pt x="42" y="677"/>
                </a:lnTo>
                <a:lnTo>
                  <a:pt x="28" y="677"/>
                </a:lnTo>
                <a:lnTo>
                  <a:pt x="21" y="677"/>
                </a:lnTo>
                <a:lnTo>
                  <a:pt x="17" y="673"/>
                </a:lnTo>
                <a:lnTo>
                  <a:pt x="12" y="668"/>
                </a:lnTo>
                <a:lnTo>
                  <a:pt x="10" y="661"/>
                </a:lnTo>
                <a:lnTo>
                  <a:pt x="10" y="654"/>
                </a:lnTo>
                <a:lnTo>
                  <a:pt x="12" y="647"/>
                </a:lnTo>
                <a:lnTo>
                  <a:pt x="17" y="643"/>
                </a:lnTo>
                <a:lnTo>
                  <a:pt x="24" y="638"/>
                </a:lnTo>
                <a:lnTo>
                  <a:pt x="35" y="636"/>
                </a:lnTo>
                <a:lnTo>
                  <a:pt x="54" y="631"/>
                </a:lnTo>
                <a:lnTo>
                  <a:pt x="80" y="624"/>
                </a:lnTo>
                <a:lnTo>
                  <a:pt x="75" y="589"/>
                </a:lnTo>
                <a:lnTo>
                  <a:pt x="52" y="587"/>
                </a:lnTo>
                <a:lnTo>
                  <a:pt x="31" y="584"/>
                </a:lnTo>
                <a:lnTo>
                  <a:pt x="19" y="582"/>
                </a:lnTo>
                <a:lnTo>
                  <a:pt x="12" y="580"/>
                </a:lnTo>
                <a:lnTo>
                  <a:pt x="5" y="575"/>
                </a:lnTo>
                <a:lnTo>
                  <a:pt x="3" y="570"/>
                </a:lnTo>
                <a:lnTo>
                  <a:pt x="0" y="563"/>
                </a:lnTo>
                <a:lnTo>
                  <a:pt x="3" y="556"/>
                </a:lnTo>
                <a:lnTo>
                  <a:pt x="5" y="549"/>
                </a:lnTo>
                <a:lnTo>
                  <a:pt x="12" y="545"/>
                </a:lnTo>
                <a:lnTo>
                  <a:pt x="19" y="542"/>
                </a:lnTo>
                <a:lnTo>
                  <a:pt x="31" y="542"/>
                </a:lnTo>
                <a:lnTo>
                  <a:pt x="52" y="540"/>
                </a:lnTo>
                <a:lnTo>
                  <a:pt x="75" y="538"/>
                </a:lnTo>
                <a:lnTo>
                  <a:pt x="80" y="503"/>
                </a:lnTo>
                <a:lnTo>
                  <a:pt x="56" y="496"/>
                </a:lnTo>
                <a:lnTo>
                  <a:pt x="35" y="491"/>
                </a:lnTo>
                <a:lnTo>
                  <a:pt x="24" y="487"/>
                </a:lnTo>
                <a:lnTo>
                  <a:pt x="17" y="484"/>
                </a:lnTo>
                <a:lnTo>
                  <a:pt x="12" y="480"/>
                </a:lnTo>
                <a:lnTo>
                  <a:pt x="10" y="473"/>
                </a:lnTo>
                <a:lnTo>
                  <a:pt x="10" y="466"/>
                </a:lnTo>
                <a:lnTo>
                  <a:pt x="12" y="459"/>
                </a:lnTo>
                <a:lnTo>
                  <a:pt x="17" y="454"/>
                </a:lnTo>
                <a:lnTo>
                  <a:pt x="24" y="449"/>
                </a:lnTo>
                <a:lnTo>
                  <a:pt x="31" y="449"/>
                </a:lnTo>
                <a:lnTo>
                  <a:pt x="42" y="449"/>
                </a:lnTo>
                <a:lnTo>
                  <a:pt x="63" y="452"/>
                </a:lnTo>
                <a:lnTo>
                  <a:pt x="89" y="454"/>
                </a:lnTo>
                <a:lnTo>
                  <a:pt x="98" y="419"/>
                </a:lnTo>
                <a:lnTo>
                  <a:pt x="80" y="412"/>
                </a:lnTo>
                <a:lnTo>
                  <a:pt x="66" y="403"/>
                </a:lnTo>
                <a:lnTo>
                  <a:pt x="52" y="398"/>
                </a:lnTo>
                <a:lnTo>
                  <a:pt x="45" y="393"/>
                </a:lnTo>
                <a:lnTo>
                  <a:pt x="42" y="391"/>
                </a:lnTo>
                <a:lnTo>
                  <a:pt x="38" y="389"/>
                </a:lnTo>
                <a:lnTo>
                  <a:pt x="35" y="384"/>
                </a:lnTo>
                <a:lnTo>
                  <a:pt x="35" y="377"/>
                </a:lnTo>
                <a:lnTo>
                  <a:pt x="35" y="370"/>
                </a:lnTo>
                <a:lnTo>
                  <a:pt x="40" y="363"/>
                </a:lnTo>
                <a:lnTo>
                  <a:pt x="45" y="358"/>
                </a:lnTo>
                <a:lnTo>
                  <a:pt x="52" y="356"/>
                </a:lnTo>
                <a:lnTo>
                  <a:pt x="59" y="358"/>
                </a:lnTo>
                <a:lnTo>
                  <a:pt x="70" y="361"/>
                </a:lnTo>
                <a:lnTo>
                  <a:pt x="91" y="365"/>
                </a:lnTo>
                <a:lnTo>
                  <a:pt x="114" y="372"/>
                </a:lnTo>
                <a:lnTo>
                  <a:pt x="131" y="340"/>
                </a:lnTo>
                <a:lnTo>
                  <a:pt x="114" y="328"/>
                </a:lnTo>
                <a:lnTo>
                  <a:pt x="100" y="319"/>
                </a:lnTo>
                <a:lnTo>
                  <a:pt x="89" y="310"/>
                </a:lnTo>
                <a:lnTo>
                  <a:pt x="82" y="307"/>
                </a:lnTo>
                <a:lnTo>
                  <a:pt x="80" y="303"/>
                </a:lnTo>
                <a:lnTo>
                  <a:pt x="77" y="298"/>
                </a:lnTo>
                <a:lnTo>
                  <a:pt x="75" y="293"/>
                </a:lnTo>
                <a:lnTo>
                  <a:pt x="75" y="286"/>
                </a:lnTo>
                <a:lnTo>
                  <a:pt x="77" y="282"/>
                </a:lnTo>
                <a:lnTo>
                  <a:pt x="82" y="275"/>
                </a:lnTo>
                <a:lnTo>
                  <a:pt x="89" y="272"/>
                </a:lnTo>
                <a:lnTo>
                  <a:pt x="96" y="270"/>
                </a:lnTo>
                <a:lnTo>
                  <a:pt x="103" y="272"/>
                </a:lnTo>
                <a:lnTo>
                  <a:pt x="110" y="275"/>
                </a:lnTo>
                <a:lnTo>
                  <a:pt x="121" y="282"/>
                </a:lnTo>
                <a:lnTo>
                  <a:pt x="138" y="289"/>
                </a:lnTo>
                <a:lnTo>
                  <a:pt x="154" y="296"/>
                </a:lnTo>
                <a:lnTo>
                  <a:pt x="175" y="268"/>
                </a:lnTo>
                <a:lnTo>
                  <a:pt x="163" y="254"/>
                </a:lnTo>
                <a:lnTo>
                  <a:pt x="149" y="242"/>
                </a:lnTo>
                <a:lnTo>
                  <a:pt x="140" y="233"/>
                </a:lnTo>
                <a:lnTo>
                  <a:pt x="135" y="226"/>
                </a:lnTo>
                <a:lnTo>
                  <a:pt x="131" y="221"/>
                </a:lnTo>
                <a:lnTo>
                  <a:pt x="131" y="214"/>
                </a:lnTo>
                <a:lnTo>
                  <a:pt x="131" y="207"/>
                </a:lnTo>
                <a:lnTo>
                  <a:pt x="135" y="200"/>
                </a:lnTo>
                <a:lnTo>
                  <a:pt x="140" y="195"/>
                </a:lnTo>
                <a:lnTo>
                  <a:pt x="147" y="193"/>
                </a:lnTo>
                <a:lnTo>
                  <a:pt x="154" y="193"/>
                </a:lnTo>
                <a:lnTo>
                  <a:pt x="161" y="195"/>
                </a:lnTo>
                <a:lnTo>
                  <a:pt x="168" y="200"/>
                </a:lnTo>
                <a:lnTo>
                  <a:pt x="177" y="209"/>
                </a:lnTo>
                <a:lnTo>
                  <a:pt x="194" y="219"/>
                </a:lnTo>
                <a:lnTo>
                  <a:pt x="208" y="230"/>
                </a:lnTo>
                <a:lnTo>
                  <a:pt x="233" y="205"/>
                </a:lnTo>
                <a:lnTo>
                  <a:pt x="224" y="188"/>
                </a:lnTo>
                <a:lnTo>
                  <a:pt x="212" y="175"/>
                </a:lnTo>
                <a:lnTo>
                  <a:pt x="205" y="163"/>
                </a:lnTo>
                <a:lnTo>
                  <a:pt x="201" y="156"/>
                </a:lnTo>
                <a:lnTo>
                  <a:pt x="198" y="149"/>
                </a:lnTo>
                <a:lnTo>
                  <a:pt x="198" y="142"/>
                </a:lnTo>
                <a:lnTo>
                  <a:pt x="201" y="137"/>
                </a:lnTo>
                <a:lnTo>
                  <a:pt x="205" y="130"/>
                </a:lnTo>
                <a:lnTo>
                  <a:pt x="212" y="128"/>
                </a:lnTo>
                <a:lnTo>
                  <a:pt x="217" y="126"/>
                </a:lnTo>
                <a:lnTo>
                  <a:pt x="224" y="128"/>
                </a:lnTo>
                <a:lnTo>
                  <a:pt x="231" y="133"/>
                </a:lnTo>
                <a:lnTo>
                  <a:pt x="235" y="137"/>
                </a:lnTo>
                <a:lnTo>
                  <a:pt x="247" y="147"/>
                </a:lnTo>
                <a:lnTo>
                  <a:pt x="259" y="158"/>
                </a:lnTo>
                <a:lnTo>
                  <a:pt x="273" y="172"/>
                </a:lnTo>
                <a:lnTo>
                  <a:pt x="301" y="151"/>
                </a:lnTo>
                <a:lnTo>
                  <a:pt x="294" y="135"/>
                </a:lnTo>
                <a:lnTo>
                  <a:pt x="287" y="119"/>
                </a:lnTo>
                <a:lnTo>
                  <a:pt x="280" y="107"/>
                </a:lnTo>
                <a:lnTo>
                  <a:pt x="277" y="100"/>
                </a:lnTo>
                <a:lnTo>
                  <a:pt x="275" y="93"/>
                </a:lnTo>
                <a:lnTo>
                  <a:pt x="277" y="86"/>
                </a:lnTo>
                <a:lnTo>
                  <a:pt x="280" y="79"/>
                </a:lnTo>
                <a:lnTo>
                  <a:pt x="287" y="74"/>
                </a:lnTo>
                <a:lnTo>
                  <a:pt x="294" y="72"/>
                </a:lnTo>
                <a:lnTo>
                  <a:pt x="298" y="72"/>
                </a:lnTo>
                <a:lnTo>
                  <a:pt x="303" y="74"/>
                </a:lnTo>
                <a:lnTo>
                  <a:pt x="308" y="77"/>
                </a:lnTo>
                <a:lnTo>
                  <a:pt x="312" y="79"/>
                </a:lnTo>
                <a:lnTo>
                  <a:pt x="315" y="86"/>
                </a:lnTo>
                <a:lnTo>
                  <a:pt x="324" y="98"/>
                </a:lnTo>
                <a:lnTo>
                  <a:pt x="333" y="112"/>
                </a:lnTo>
                <a:lnTo>
                  <a:pt x="345" y="128"/>
                </a:lnTo>
                <a:lnTo>
                  <a:pt x="377" y="112"/>
                </a:lnTo>
                <a:lnTo>
                  <a:pt x="370" y="88"/>
                </a:lnTo>
                <a:lnTo>
                  <a:pt x="366" y="67"/>
                </a:lnTo>
                <a:lnTo>
                  <a:pt x="364" y="56"/>
                </a:lnTo>
                <a:lnTo>
                  <a:pt x="361" y="49"/>
                </a:lnTo>
                <a:lnTo>
                  <a:pt x="364" y="42"/>
                </a:lnTo>
                <a:lnTo>
                  <a:pt x="368" y="37"/>
                </a:lnTo>
                <a:lnTo>
                  <a:pt x="375" y="32"/>
                </a:lnTo>
                <a:lnTo>
                  <a:pt x="382" y="32"/>
                </a:lnTo>
                <a:lnTo>
                  <a:pt x="389" y="35"/>
                </a:lnTo>
                <a:lnTo>
                  <a:pt x="394" y="35"/>
                </a:lnTo>
                <a:lnTo>
                  <a:pt x="396" y="39"/>
                </a:lnTo>
                <a:lnTo>
                  <a:pt x="398" y="42"/>
                </a:lnTo>
                <a:lnTo>
                  <a:pt x="403" y="51"/>
                </a:lnTo>
                <a:lnTo>
                  <a:pt x="408" y="63"/>
                </a:lnTo>
                <a:lnTo>
                  <a:pt x="417" y="79"/>
                </a:lnTo>
                <a:lnTo>
                  <a:pt x="424" y="95"/>
                </a:lnTo>
                <a:lnTo>
                  <a:pt x="459" y="86"/>
                </a:lnTo>
                <a:lnTo>
                  <a:pt x="457" y="60"/>
                </a:lnTo>
                <a:lnTo>
                  <a:pt x="454" y="39"/>
                </a:lnTo>
                <a:lnTo>
                  <a:pt x="454" y="28"/>
                </a:lnTo>
                <a:lnTo>
                  <a:pt x="454" y="21"/>
                </a:lnTo>
                <a:lnTo>
                  <a:pt x="459" y="16"/>
                </a:lnTo>
                <a:lnTo>
                  <a:pt x="464" y="12"/>
                </a:lnTo>
                <a:lnTo>
                  <a:pt x="471" y="9"/>
                </a:lnTo>
                <a:lnTo>
                  <a:pt x="478" y="9"/>
                </a:lnTo>
                <a:lnTo>
                  <a:pt x="485" y="12"/>
                </a:lnTo>
                <a:lnTo>
                  <a:pt x="489" y="16"/>
                </a:lnTo>
                <a:lnTo>
                  <a:pt x="492" y="21"/>
                </a:lnTo>
                <a:lnTo>
                  <a:pt x="496" y="32"/>
                </a:lnTo>
                <a:lnTo>
                  <a:pt x="501" y="53"/>
                </a:lnTo>
                <a:lnTo>
                  <a:pt x="508" y="77"/>
                </a:lnTo>
                <a:lnTo>
                  <a:pt x="543" y="74"/>
                </a:lnTo>
                <a:lnTo>
                  <a:pt x="545" y="51"/>
                </a:lnTo>
                <a:lnTo>
                  <a:pt x="547" y="30"/>
                </a:lnTo>
                <a:lnTo>
                  <a:pt x="550" y="16"/>
                </a:lnTo>
                <a:lnTo>
                  <a:pt x="552" y="12"/>
                </a:lnTo>
                <a:lnTo>
                  <a:pt x="557" y="5"/>
                </a:lnTo>
                <a:lnTo>
                  <a:pt x="561" y="2"/>
                </a:lnTo>
                <a:lnTo>
                  <a:pt x="568" y="0"/>
                </a:lnTo>
                <a:close/>
              </a:path>
            </a:pathLst>
          </a:custGeom>
          <a:solidFill>
            <a:schemeClr val="accent6">
              <a:alpha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71" name="Ovaal - 5"/>
          <p:cNvSpPr/>
          <p:nvPr/>
        </p:nvSpPr>
        <p:spPr>
          <a:xfrm>
            <a:off x="7075624" y="2726867"/>
            <a:ext cx="1150924" cy="1150918"/>
          </a:xfrm>
          <a:prstGeom prst="ellips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nl-NL" sz="4800" b="1"/>
              <a:t>5</a:t>
            </a:r>
          </a:p>
        </p:txBody>
      </p:sp>
      <p:sp>
        <p:nvSpPr>
          <p:cNvPr id="73" name="Radar - 6"/>
          <p:cNvSpPr>
            <a:spLocks noEditPoints="1"/>
          </p:cNvSpPr>
          <p:nvPr/>
        </p:nvSpPr>
        <p:spPr bwMode="auto">
          <a:xfrm>
            <a:off x="8193886" y="1429054"/>
            <a:ext cx="2098702" cy="2098702"/>
          </a:xfrm>
          <a:custGeom>
            <a:avLst/>
            <a:gdLst>
              <a:gd name="T0" fmla="*/ 149 w 1132"/>
              <a:gd name="T1" fmla="*/ 552 h 1132"/>
              <a:gd name="T2" fmla="*/ 627 w 1132"/>
              <a:gd name="T3" fmla="*/ 978 h 1132"/>
              <a:gd name="T4" fmla="*/ 962 w 1132"/>
              <a:gd name="T5" fmla="*/ 433 h 1132"/>
              <a:gd name="T6" fmla="*/ 582 w 1132"/>
              <a:gd name="T7" fmla="*/ 5 h 1132"/>
              <a:gd name="T8" fmla="*/ 648 w 1132"/>
              <a:gd name="T9" fmla="*/ 16 h 1132"/>
              <a:gd name="T10" fmla="*/ 678 w 1132"/>
              <a:gd name="T11" fmla="*/ 86 h 1132"/>
              <a:gd name="T12" fmla="*/ 769 w 1132"/>
              <a:gd name="T13" fmla="*/ 39 h 1132"/>
              <a:gd name="T14" fmla="*/ 820 w 1132"/>
              <a:gd name="T15" fmla="*/ 88 h 1132"/>
              <a:gd name="T16" fmla="*/ 855 w 1132"/>
              <a:gd name="T17" fmla="*/ 109 h 1132"/>
              <a:gd name="T18" fmla="*/ 918 w 1132"/>
              <a:gd name="T19" fmla="*/ 130 h 1132"/>
              <a:gd name="T20" fmla="*/ 901 w 1132"/>
              <a:gd name="T21" fmla="*/ 207 h 1132"/>
              <a:gd name="T22" fmla="*/ 1004 w 1132"/>
              <a:gd name="T23" fmla="*/ 209 h 1132"/>
              <a:gd name="T24" fmla="*/ 1013 w 1132"/>
              <a:gd name="T25" fmla="*/ 286 h 1132"/>
              <a:gd name="T26" fmla="*/ 1055 w 1132"/>
              <a:gd name="T27" fmla="*/ 307 h 1132"/>
              <a:gd name="T28" fmla="*/ 1083 w 1132"/>
              <a:gd name="T29" fmla="*/ 361 h 1132"/>
              <a:gd name="T30" fmla="*/ 1053 w 1132"/>
              <a:gd name="T31" fmla="*/ 414 h 1132"/>
              <a:gd name="T32" fmla="*/ 1122 w 1132"/>
              <a:gd name="T33" fmla="*/ 477 h 1132"/>
              <a:gd name="T34" fmla="*/ 1115 w 1132"/>
              <a:gd name="T35" fmla="*/ 549 h 1132"/>
              <a:gd name="T36" fmla="*/ 1081 w 1132"/>
              <a:gd name="T37" fmla="*/ 591 h 1132"/>
              <a:gd name="T38" fmla="*/ 1120 w 1132"/>
              <a:gd name="T39" fmla="*/ 673 h 1132"/>
              <a:gd name="T40" fmla="*/ 1081 w 1132"/>
              <a:gd name="T41" fmla="*/ 733 h 1132"/>
              <a:gd name="T42" fmla="*/ 1074 w 1132"/>
              <a:gd name="T43" fmla="*/ 773 h 1132"/>
              <a:gd name="T44" fmla="*/ 1057 w 1132"/>
              <a:gd name="T45" fmla="*/ 836 h 1132"/>
              <a:gd name="T46" fmla="*/ 978 w 1132"/>
              <a:gd name="T47" fmla="*/ 833 h 1132"/>
              <a:gd name="T48" fmla="*/ 992 w 1132"/>
              <a:gd name="T49" fmla="*/ 936 h 1132"/>
              <a:gd name="T50" fmla="*/ 920 w 1132"/>
              <a:gd name="T51" fmla="*/ 957 h 1132"/>
              <a:gd name="T52" fmla="*/ 901 w 1132"/>
              <a:gd name="T53" fmla="*/ 999 h 1132"/>
              <a:gd name="T54" fmla="*/ 857 w 1132"/>
              <a:gd name="T55" fmla="*/ 1038 h 1132"/>
              <a:gd name="T56" fmla="*/ 808 w 1132"/>
              <a:gd name="T57" fmla="*/ 1034 h 1132"/>
              <a:gd name="T58" fmla="*/ 757 w 1132"/>
              <a:gd name="T59" fmla="*/ 1097 h 1132"/>
              <a:gd name="T60" fmla="*/ 675 w 1132"/>
              <a:gd name="T61" fmla="*/ 1069 h 1132"/>
              <a:gd name="T62" fmla="*/ 641 w 1132"/>
              <a:gd name="T63" fmla="*/ 1108 h 1132"/>
              <a:gd name="T64" fmla="*/ 571 w 1132"/>
              <a:gd name="T65" fmla="*/ 1129 h 1132"/>
              <a:gd name="T66" fmla="*/ 496 w 1132"/>
              <a:gd name="T67" fmla="*/ 1076 h 1132"/>
              <a:gd name="T68" fmla="*/ 450 w 1132"/>
              <a:gd name="T69" fmla="*/ 1101 h 1132"/>
              <a:gd name="T70" fmla="*/ 384 w 1132"/>
              <a:gd name="T71" fmla="*/ 1097 h 1132"/>
              <a:gd name="T72" fmla="*/ 340 w 1132"/>
              <a:gd name="T73" fmla="*/ 1001 h 1132"/>
              <a:gd name="T74" fmla="*/ 273 w 1132"/>
              <a:gd name="T75" fmla="*/ 1043 h 1132"/>
              <a:gd name="T76" fmla="*/ 233 w 1132"/>
              <a:gd name="T77" fmla="*/ 992 h 1132"/>
              <a:gd name="T78" fmla="*/ 201 w 1132"/>
              <a:gd name="T79" fmla="*/ 964 h 1132"/>
              <a:gd name="T80" fmla="*/ 145 w 1132"/>
              <a:gd name="T81" fmla="*/ 934 h 1132"/>
              <a:gd name="T82" fmla="*/ 173 w 1132"/>
              <a:gd name="T83" fmla="*/ 859 h 1132"/>
              <a:gd name="T84" fmla="*/ 73 w 1132"/>
              <a:gd name="T85" fmla="*/ 838 h 1132"/>
              <a:gd name="T86" fmla="*/ 89 w 1132"/>
              <a:gd name="T87" fmla="*/ 761 h 1132"/>
              <a:gd name="T88" fmla="*/ 40 w 1132"/>
              <a:gd name="T89" fmla="*/ 736 h 1132"/>
              <a:gd name="T90" fmla="*/ 21 w 1132"/>
              <a:gd name="T91" fmla="*/ 677 h 1132"/>
              <a:gd name="T92" fmla="*/ 80 w 1132"/>
              <a:gd name="T93" fmla="*/ 624 h 1132"/>
              <a:gd name="T94" fmla="*/ 5 w 1132"/>
              <a:gd name="T95" fmla="*/ 549 h 1132"/>
              <a:gd name="T96" fmla="*/ 17 w 1132"/>
              <a:gd name="T97" fmla="*/ 484 h 1132"/>
              <a:gd name="T98" fmla="*/ 89 w 1132"/>
              <a:gd name="T99" fmla="*/ 454 h 1132"/>
              <a:gd name="T100" fmla="*/ 35 w 1132"/>
              <a:gd name="T101" fmla="*/ 370 h 1132"/>
              <a:gd name="T102" fmla="*/ 100 w 1132"/>
              <a:gd name="T103" fmla="*/ 319 h 1132"/>
              <a:gd name="T104" fmla="*/ 96 w 1132"/>
              <a:gd name="T105" fmla="*/ 270 h 1132"/>
              <a:gd name="T106" fmla="*/ 135 w 1132"/>
              <a:gd name="T107" fmla="*/ 226 h 1132"/>
              <a:gd name="T108" fmla="*/ 177 w 1132"/>
              <a:gd name="T109" fmla="*/ 209 h 1132"/>
              <a:gd name="T110" fmla="*/ 201 w 1132"/>
              <a:gd name="T111" fmla="*/ 137 h 1132"/>
              <a:gd name="T112" fmla="*/ 301 w 1132"/>
              <a:gd name="T113" fmla="*/ 151 h 1132"/>
              <a:gd name="T114" fmla="*/ 298 w 1132"/>
              <a:gd name="T115" fmla="*/ 72 h 1132"/>
              <a:gd name="T116" fmla="*/ 366 w 1132"/>
              <a:gd name="T117" fmla="*/ 67 h 1132"/>
              <a:gd name="T118" fmla="*/ 398 w 1132"/>
              <a:gd name="T119" fmla="*/ 42 h 1132"/>
              <a:gd name="T120" fmla="*/ 459 w 1132"/>
              <a:gd name="T121" fmla="*/ 16 h 1132"/>
              <a:gd name="T122" fmla="*/ 543 w 1132"/>
              <a:gd name="T123" fmla="*/ 74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2" h="1132">
                <a:moveTo>
                  <a:pt x="580" y="149"/>
                </a:moveTo>
                <a:lnTo>
                  <a:pt x="506" y="151"/>
                </a:lnTo>
                <a:lnTo>
                  <a:pt x="433" y="170"/>
                </a:lnTo>
                <a:lnTo>
                  <a:pt x="368" y="198"/>
                </a:lnTo>
                <a:lnTo>
                  <a:pt x="308" y="237"/>
                </a:lnTo>
                <a:lnTo>
                  <a:pt x="256" y="286"/>
                </a:lnTo>
                <a:lnTo>
                  <a:pt x="212" y="342"/>
                </a:lnTo>
                <a:lnTo>
                  <a:pt x="180" y="407"/>
                </a:lnTo>
                <a:lnTo>
                  <a:pt x="159" y="477"/>
                </a:lnTo>
                <a:lnTo>
                  <a:pt x="149" y="552"/>
                </a:lnTo>
                <a:lnTo>
                  <a:pt x="152" y="626"/>
                </a:lnTo>
                <a:lnTo>
                  <a:pt x="170" y="698"/>
                </a:lnTo>
                <a:lnTo>
                  <a:pt x="198" y="764"/>
                </a:lnTo>
                <a:lnTo>
                  <a:pt x="238" y="824"/>
                </a:lnTo>
                <a:lnTo>
                  <a:pt x="287" y="875"/>
                </a:lnTo>
                <a:lnTo>
                  <a:pt x="343" y="920"/>
                </a:lnTo>
                <a:lnTo>
                  <a:pt x="408" y="952"/>
                </a:lnTo>
                <a:lnTo>
                  <a:pt x="478" y="973"/>
                </a:lnTo>
                <a:lnTo>
                  <a:pt x="552" y="982"/>
                </a:lnTo>
                <a:lnTo>
                  <a:pt x="627" y="978"/>
                </a:lnTo>
                <a:lnTo>
                  <a:pt x="699" y="962"/>
                </a:lnTo>
                <a:lnTo>
                  <a:pt x="764" y="934"/>
                </a:lnTo>
                <a:lnTo>
                  <a:pt x="824" y="894"/>
                </a:lnTo>
                <a:lnTo>
                  <a:pt x="876" y="845"/>
                </a:lnTo>
                <a:lnTo>
                  <a:pt x="920" y="789"/>
                </a:lnTo>
                <a:lnTo>
                  <a:pt x="952" y="724"/>
                </a:lnTo>
                <a:lnTo>
                  <a:pt x="973" y="654"/>
                </a:lnTo>
                <a:lnTo>
                  <a:pt x="983" y="580"/>
                </a:lnTo>
                <a:lnTo>
                  <a:pt x="980" y="505"/>
                </a:lnTo>
                <a:lnTo>
                  <a:pt x="962" y="433"/>
                </a:lnTo>
                <a:lnTo>
                  <a:pt x="934" y="368"/>
                </a:lnTo>
                <a:lnTo>
                  <a:pt x="894" y="307"/>
                </a:lnTo>
                <a:lnTo>
                  <a:pt x="845" y="256"/>
                </a:lnTo>
                <a:lnTo>
                  <a:pt x="790" y="212"/>
                </a:lnTo>
                <a:lnTo>
                  <a:pt x="724" y="179"/>
                </a:lnTo>
                <a:lnTo>
                  <a:pt x="654" y="156"/>
                </a:lnTo>
                <a:lnTo>
                  <a:pt x="580" y="149"/>
                </a:lnTo>
                <a:close/>
                <a:moveTo>
                  <a:pt x="568" y="0"/>
                </a:moveTo>
                <a:lnTo>
                  <a:pt x="575" y="2"/>
                </a:lnTo>
                <a:lnTo>
                  <a:pt x="582" y="5"/>
                </a:lnTo>
                <a:lnTo>
                  <a:pt x="587" y="12"/>
                </a:lnTo>
                <a:lnTo>
                  <a:pt x="587" y="19"/>
                </a:lnTo>
                <a:lnTo>
                  <a:pt x="589" y="30"/>
                </a:lnTo>
                <a:lnTo>
                  <a:pt x="592" y="51"/>
                </a:lnTo>
                <a:lnTo>
                  <a:pt x="594" y="74"/>
                </a:lnTo>
                <a:lnTo>
                  <a:pt x="629" y="79"/>
                </a:lnTo>
                <a:lnTo>
                  <a:pt x="636" y="53"/>
                </a:lnTo>
                <a:lnTo>
                  <a:pt x="641" y="35"/>
                </a:lnTo>
                <a:lnTo>
                  <a:pt x="645" y="23"/>
                </a:lnTo>
                <a:lnTo>
                  <a:pt x="648" y="16"/>
                </a:lnTo>
                <a:lnTo>
                  <a:pt x="652" y="12"/>
                </a:lnTo>
                <a:lnTo>
                  <a:pt x="659" y="9"/>
                </a:lnTo>
                <a:lnTo>
                  <a:pt x="666" y="9"/>
                </a:lnTo>
                <a:lnTo>
                  <a:pt x="673" y="12"/>
                </a:lnTo>
                <a:lnTo>
                  <a:pt x="678" y="16"/>
                </a:lnTo>
                <a:lnTo>
                  <a:pt x="682" y="23"/>
                </a:lnTo>
                <a:lnTo>
                  <a:pt x="682" y="30"/>
                </a:lnTo>
                <a:lnTo>
                  <a:pt x="682" y="42"/>
                </a:lnTo>
                <a:lnTo>
                  <a:pt x="680" y="63"/>
                </a:lnTo>
                <a:lnTo>
                  <a:pt x="678" y="86"/>
                </a:lnTo>
                <a:lnTo>
                  <a:pt x="713" y="95"/>
                </a:lnTo>
                <a:lnTo>
                  <a:pt x="720" y="79"/>
                </a:lnTo>
                <a:lnTo>
                  <a:pt x="729" y="63"/>
                </a:lnTo>
                <a:lnTo>
                  <a:pt x="734" y="51"/>
                </a:lnTo>
                <a:lnTo>
                  <a:pt x="738" y="44"/>
                </a:lnTo>
                <a:lnTo>
                  <a:pt x="743" y="39"/>
                </a:lnTo>
                <a:lnTo>
                  <a:pt x="748" y="35"/>
                </a:lnTo>
                <a:lnTo>
                  <a:pt x="755" y="35"/>
                </a:lnTo>
                <a:lnTo>
                  <a:pt x="762" y="35"/>
                </a:lnTo>
                <a:lnTo>
                  <a:pt x="769" y="39"/>
                </a:lnTo>
                <a:lnTo>
                  <a:pt x="773" y="44"/>
                </a:lnTo>
                <a:lnTo>
                  <a:pt x="776" y="51"/>
                </a:lnTo>
                <a:lnTo>
                  <a:pt x="773" y="58"/>
                </a:lnTo>
                <a:lnTo>
                  <a:pt x="771" y="70"/>
                </a:lnTo>
                <a:lnTo>
                  <a:pt x="766" y="91"/>
                </a:lnTo>
                <a:lnTo>
                  <a:pt x="759" y="114"/>
                </a:lnTo>
                <a:lnTo>
                  <a:pt x="792" y="128"/>
                </a:lnTo>
                <a:lnTo>
                  <a:pt x="803" y="114"/>
                </a:lnTo>
                <a:lnTo>
                  <a:pt x="813" y="100"/>
                </a:lnTo>
                <a:lnTo>
                  <a:pt x="820" y="88"/>
                </a:lnTo>
                <a:lnTo>
                  <a:pt x="824" y="81"/>
                </a:lnTo>
                <a:lnTo>
                  <a:pt x="831" y="77"/>
                </a:lnTo>
                <a:lnTo>
                  <a:pt x="836" y="74"/>
                </a:lnTo>
                <a:lnTo>
                  <a:pt x="843" y="74"/>
                </a:lnTo>
                <a:lnTo>
                  <a:pt x="850" y="77"/>
                </a:lnTo>
                <a:lnTo>
                  <a:pt x="857" y="81"/>
                </a:lnTo>
                <a:lnTo>
                  <a:pt x="859" y="88"/>
                </a:lnTo>
                <a:lnTo>
                  <a:pt x="862" y="95"/>
                </a:lnTo>
                <a:lnTo>
                  <a:pt x="859" y="102"/>
                </a:lnTo>
                <a:lnTo>
                  <a:pt x="855" y="109"/>
                </a:lnTo>
                <a:lnTo>
                  <a:pt x="850" y="121"/>
                </a:lnTo>
                <a:lnTo>
                  <a:pt x="843" y="137"/>
                </a:lnTo>
                <a:lnTo>
                  <a:pt x="836" y="154"/>
                </a:lnTo>
                <a:lnTo>
                  <a:pt x="864" y="175"/>
                </a:lnTo>
                <a:lnTo>
                  <a:pt x="878" y="161"/>
                </a:lnTo>
                <a:lnTo>
                  <a:pt x="890" y="149"/>
                </a:lnTo>
                <a:lnTo>
                  <a:pt x="899" y="140"/>
                </a:lnTo>
                <a:lnTo>
                  <a:pt x="906" y="135"/>
                </a:lnTo>
                <a:lnTo>
                  <a:pt x="911" y="130"/>
                </a:lnTo>
                <a:lnTo>
                  <a:pt x="918" y="130"/>
                </a:lnTo>
                <a:lnTo>
                  <a:pt x="925" y="130"/>
                </a:lnTo>
                <a:lnTo>
                  <a:pt x="932" y="135"/>
                </a:lnTo>
                <a:lnTo>
                  <a:pt x="936" y="140"/>
                </a:lnTo>
                <a:lnTo>
                  <a:pt x="939" y="147"/>
                </a:lnTo>
                <a:lnTo>
                  <a:pt x="939" y="154"/>
                </a:lnTo>
                <a:lnTo>
                  <a:pt x="936" y="161"/>
                </a:lnTo>
                <a:lnTo>
                  <a:pt x="932" y="165"/>
                </a:lnTo>
                <a:lnTo>
                  <a:pt x="922" y="177"/>
                </a:lnTo>
                <a:lnTo>
                  <a:pt x="913" y="191"/>
                </a:lnTo>
                <a:lnTo>
                  <a:pt x="901" y="207"/>
                </a:lnTo>
                <a:lnTo>
                  <a:pt x="927" y="233"/>
                </a:lnTo>
                <a:lnTo>
                  <a:pt x="943" y="221"/>
                </a:lnTo>
                <a:lnTo>
                  <a:pt x="957" y="212"/>
                </a:lnTo>
                <a:lnTo>
                  <a:pt x="969" y="205"/>
                </a:lnTo>
                <a:lnTo>
                  <a:pt x="976" y="200"/>
                </a:lnTo>
                <a:lnTo>
                  <a:pt x="983" y="198"/>
                </a:lnTo>
                <a:lnTo>
                  <a:pt x="990" y="198"/>
                </a:lnTo>
                <a:lnTo>
                  <a:pt x="994" y="200"/>
                </a:lnTo>
                <a:lnTo>
                  <a:pt x="1001" y="205"/>
                </a:lnTo>
                <a:lnTo>
                  <a:pt x="1004" y="209"/>
                </a:lnTo>
                <a:lnTo>
                  <a:pt x="1006" y="216"/>
                </a:lnTo>
                <a:lnTo>
                  <a:pt x="1004" y="223"/>
                </a:lnTo>
                <a:lnTo>
                  <a:pt x="999" y="230"/>
                </a:lnTo>
                <a:lnTo>
                  <a:pt x="994" y="235"/>
                </a:lnTo>
                <a:lnTo>
                  <a:pt x="985" y="244"/>
                </a:lnTo>
                <a:lnTo>
                  <a:pt x="973" y="258"/>
                </a:lnTo>
                <a:lnTo>
                  <a:pt x="959" y="270"/>
                </a:lnTo>
                <a:lnTo>
                  <a:pt x="980" y="300"/>
                </a:lnTo>
                <a:lnTo>
                  <a:pt x="997" y="293"/>
                </a:lnTo>
                <a:lnTo>
                  <a:pt x="1013" y="286"/>
                </a:lnTo>
                <a:lnTo>
                  <a:pt x="1025" y="279"/>
                </a:lnTo>
                <a:lnTo>
                  <a:pt x="1032" y="277"/>
                </a:lnTo>
                <a:lnTo>
                  <a:pt x="1039" y="275"/>
                </a:lnTo>
                <a:lnTo>
                  <a:pt x="1046" y="277"/>
                </a:lnTo>
                <a:lnTo>
                  <a:pt x="1053" y="279"/>
                </a:lnTo>
                <a:lnTo>
                  <a:pt x="1057" y="284"/>
                </a:lnTo>
                <a:lnTo>
                  <a:pt x="1060" y="291"/>
                </a:lnTo>
                <a:lnTo>
                  <a:pt x="1060" y="298"/>
                </a:lnTo>
                <a:lnTo>
                  <a:pt x="1057" y="303"/>
                </a:lnTo>
                <a:lnTo>
                  <a:pt x="1055" y="307"/>
                </a:lnTo>
                <a:lnTo>
                  <a:pt x="1053" y="310"/>
                </a:lnTo>
                <a:lnTo>
                  <a:pt x="1046" y="314"/>
                </a:lnTo>
                <a:lnTo>
                  <a:pt x="1034" y="324"/>
                </a:lnTo>
                <a:lnTo>
                  <a:pt x="1020" y="333"/>
                </a:lnTo>
                <a:lnTo>
                  <a:pt x="1004" y="344"/>
                </a:lnTo>
                <a:lnTo>
                  <a:pt x="1020" y="377"/>
                </a:lnTo>
                <a:lnTo>
                  <a:pt x="1043" y="370"/>
                </a:lnTo>
                <a:lnTo>
                  <a:pt x="1064" y="365"/>
                </a:lnTo>
                <a:lnTo>
                  <a:pt x="1076" y="361"/>
                </a:lnTo>
                <a:lnTo>
                  <a:pt x="1083" y="361"/>
                </a:lnTo>
                <a:lnTo>
                  <a:pt x="1090" y="363"/>
                </a:lnTo>
                <a:lnTo>
                  <a:pt x="1094" y="368"/>
                </a:lnTo>
                <a:lnTo>
                  <a:pt x="1097" y="375"/>
                </a:lnTo>
                <a:lnTo>
                  <a:pt x="1099" y="382"/>
                </a:lnTo>
                <a:lnTo>
                  <a:pt x="1097" y="389"/>
                </a:lnTo>
                <a:lnTo>
                  <a:pt x="1094" y="393"/>
                </a:lnTo>
                <a:lnTo>
                  <a:pt x="1087" y="398"/>
                </a:lnTo>
                <a:lnTo>
                  <a:pt x="1081" y="403"/>
                </a:lnTo>
                <a:lnTo>
                  <a:pt x="1069" y="407"/>
                </a:lnTo>
                <a:lnTo>
                  <a:pt x="1053" y="414"/>
                </a:lnTo>
                <a:lnTo>
                  <a:pt x="1036" y="424"/>
                </a:lnTo>
                <a:lnTo>
                  <a:pt x="1046" y="459"/>
                </a:lnTo>
                <a:lnTo>
                  <a:pt x="1071" y="456"/>
                </a:lnTo>
                <a:lnTo>
                  <a:pt x="1092" y="454"/>
                </a:lnTo>
                <a:lnTo>
                  <a:pt x="1104" y="454"/>
                </a:lnTo>
                <a:lnTo>
                  <a:pt x="1111" y="454"/>
                </a:lnTo>
                <a:lnTo>
                  <a:pt x="1115" y="459"/>
                </a:lnTo>
                <a:lnTo>
                  <a:pt x="1120" y="463"/>
                </a:lnTo>
                <a:lnTo>
                  <a:pt x="1122" y="470"/>
                </a:lnTo>
                <a:lnTo>
                  <a:pt x="1122" y="477"/>
                </a:lnTo>
                <a:lnTo>
                  <a:pt x="1120" y="484"/>
                </a:lnTo>
                <a:lnTo>
                  <a:pt x="1115" y="489"/>
                </a:lnTo>
                <a:lnTo>
                  <a:pt x="1111" y="491"/>
                </a:lnTo>
                <a:lnTo>
                  <a:pt x="1099" y="496"/>
                </a:lnTo>
                <a:lnTo>
                  <a:pt x="1078" y="500"/>
                </a:lnTo>
                <a:lnTo>
                  <a:pt x="1055" y="507"/>
                </a:lnTo>
                <a:lnTo>
                  <a:pt x="1057" y="542"/>
                </a:lnTo>
                <a:lnTo>
                  <a:pt x="1081" y="545"/>
                </a:lnTo>
                <a:lnTo>
                  <a:pt x="1101" y="547"/>
                </a:lnTo>
                <a:lnTo>
                  <a:pt x="1115" y="549"/>
                </a:lnTo>
                <a:lnTo>
                  <a:pt x="1120" y="549"/>
                </a:lnTo>
                <a:lnTo>
                  <a:pt x="1127" y="554"/>
                </a:lnTo>
                <a:lnTo>
                  <a:pt x="1129" y="561"/>
                </a:lnTo>
                <a:lnTo>
                  <a:pt x="1132" y="568"/>
                </a:lnTo>
                <a:lnTo>
                  <a:pt x="1129" y="575"/>
                </a:lnTo>
                <a:lnTo>
                  <a:pt x="1127" y="582"/>
                </a:lnTo>
                <a:lnTo>
                  <a:pt x="1120" y="584"/>
                </a:lnTo>
                <a:lnTo>
                  <a:pt x="1113" y="587"/>
                </a:lnTo>
                <a:lnTo>
                  <a:pt x="1101" y="589"/>
                </a:lnTo>
                <a:lnTo>
                  <a:pt x="1081" y="591"/>
                </a:lnTo>
                <a:lnTo>
                  <a:pt x="1057" y="594"/>
                </a:lnTo>
                <a:lnTo>
                  <a:pt x="1053" y="629"/>
                </a:lnTo>
                <a:lnTo>
                  <a:pt x="1078" y="636"/>
                </a:lnTo>
                <a:lnTo>
                  <a:pt x="1097" y="640"/>
                </a:lnTo>
                <a:lnTo>
                  <a:pt x="1108" y="645"/>
                </a:lnTo>
                <a:lnTo>
                  <a:pt x="1115" y="647"/>
                </a:lnTo>
                <a:lnTo>
                  <a:pt x="1120" y="652"/>
                </a:lnTo>
                <a:lnTo>
                  <a:pt x="1122" y="659"/>
                </a:lnTo>
                <a:lnTo>
                  <a:pt x="1122" y="666"/>
                </a:lnTo>
                <a:lnTo>
                  <a:pt x="1120" y="673"/>
                </a:lnTo>
                <a:lnTo>
                  <a:pt x="1115" y="677"/>
                </a:lnTo>
                <a:lnTo>
                  <a:pt x="1108" y="682"/>
                </a:lnTo>
                <a:lnTo>
                  <a:pt x="1101" y="682"/>
                </a:lnTo>
                <a:lnTo>
                  <a:pt x="1090" y="682"/>
                </a:lnTo>
                <a:lnTo>
                  <a:pt x="1069" y="680"/>
                </a:lnTo>
                <a:lnTo>
                  <a:pt x="1046" y="677"/>
                </a:lnTo>
                <a:lnTo>
                  <a:pt x="1036" y="712"/>
                </a:lnTo>
                <a:lnTo>
                  <a:pt x="1053" y="719"/>
                </a:lnTo>
                <a:lnTo>
                  <a:pt x="1067" y="726"/>
                </a:lnTo>
                <a:lnTo>
                  <a:pt x="1081" y="733"/>
                </a:lnTo>
                <a:lnTo>
                  <a:pt x="1087" y="736"/>
                </a:lnTo>
                <a:lnTo>
                  <a:pt x="1092" y="740"/>
                </a:lnTo>
                <a:lnTo>
                  <a:pt x="1094" y="743"/>
                </a:lnTo>
                <a:lnTo>
                  <a:pt x="1097" y="747"/>
                </a:lnTo>
                <a:lnTo>
                  <a:pt x="1097" y="754"/>
                </a:lnTo>
                <a:lnTo>
                  <a:pt x="1097" y="761"/>
                </a:lnTo>
                <a:lnTo>
                  <a:pt x="1092" y="768"/>
                </a:lnTo>
                <a:lnTo>
                  <a:pt x="1087" y="771"/>
                </a:lnTo>
                <a:lnTo>
                  <a:pt x="1081" y="773"/>
                </a:lnTo>
                <a:lnTo>
                  <a:pt x="1074" y="773"/>
                </a:lnTo>
                <a:lnTo>
                  <a:pt x="1062" y="771"/>
                </a:lnTo>
                <a:lnTo>
                  <a:pt x="1041" y="766"/>
                </a:lnTo>
                <a:lnTo>
                  <a:pt x="1018" y="759"/>
                </a:lnTo>
                <a:lnTo>
                  <a:pt x="1004" y="792"/>
                </a:lnTo>
                <a:lnTo>
                  <a:pt x="1018" y="801"/>
                </a:lnTo>
                <a:lnTo>
                  <a:pt x="1032" y="813"/>
                </a:lnTo>
                <a:lnTo>
                  <a:pt x="1043" y="819"/>
                </a:lnTo>
                <a:lnTo>
                  <a:pt x="1050" y="824"/>
                </a:lnTo>
                <a:lnTo>
                  <a:pt x="1055" y="829"/>
                </a:lnTo>
                <a:lnTo>
                  <a:pt x="1057" y="836"/>
                </a:lnTo>
                <a:lnTo>
                  <a:pt x="1057" y="843"/>
                </a:lnTo>
                <a:lnTo>
                  <a:pt x="1055" y="850"/>
                </a:lnTo>
                <a:lnTo>
                  <a:pt x="1050" y="854"/>
                </a:lnTo>
                <a:lnTo>
                  <a:pt x="1043" y="859"/>
                </a:lnTo>
                <a:lnTo>
                  <a:pt x="1036" y="859"/>
                </a:lnTo>
                <a:lnTo>
                  <a:pt x="1029" y="859"/>
                </a:lnTo>
                <a:lnTo>
                  <a:pt x="1022" y="854"/>
                </a:lnTo>
                <a:lnTo>
                  <a:pt x="1011" y="850"/>
                </a:lnTo>
                <a:lnTo>
                  <a:pt x="994" y="843"/>
                </a:lnTo>
                <a:lnTo>
                  <a:pt x="978" y="833"/>
                </a:lnTo>
                <a:lnTo>
                  <a:pt x="957" y="864"/>
                </a:lnTo>
                <a:lnTo>
                  <a:pt x="969" y="878"/>
                </a:lnTo>
                <a:lnTo>
                  <a:pt x="983" y="889"/>
                </a:lnTo>
                <a:lnTo>
                  <a:pt x="992" y="899"/>
                </a:lnTo>
                <a:lnTo>
                  <a:pt x="997" y="906"/>
                </a:lnTo>
                <a:lnTo>
                  <a:pt x="1001" y="910"/>
                </a:lnTo>
                <a:lnTo>
                  <a:pt x="1001" y="917"/>
                </a:lnTo>
                <a:lnTo>
                  <a:pt x="1001" y="924"/>
                </a:lnTo>
                <a:lnTo>
                  <a:pt x="997" y="931"/>
                </a:lnTo>
                <a:lnTo>
                  <a:pt x="992" y="936"/>
                </a:lnTo>
                <a:lnTo>
                  <a:pt x="985" y="938"/>
                </a:lnTo>
                <a:lnTo>
                  <a:pt x="978" y="938"/>
                </a:lnTo>
                <a:lnTo>
                  <a:pt x="971" y="934"/>
                </a:lnTo>
                <a:lnTo>
                  <a:pt x="966" y="929"/>
                </a:lnTo>
                <a:lnTo>
                  <a:pt x="955" y="922"/>
                </a:lnTo>
                <a:lnTo>
                  <a:pt x="941" y="913"/>
                </a:lnTo>
                <a:lnTo>
                  <a:pt x="925" y="901"/>
                </a:lnTo>
                <a:lnTo>
                  <a:pt x="899" y="927"/>
                </a:lnTo>
                <a:lnTo>
                  <a:pt x="911" y="943"/>
                </a:lnTo>
                <a:lnTo>
                  <a:pt x="920" y="957"/>
                </a:lnTo>
                <a:lnTo>
                  <a:pt x="927" y="969"/>
                </a:lnTo>
                <a:lnTo>
                  <a:pt x="932" y="976"/>
                </a:lnTo>
                <a:lnTo>
                  <a:pt x="934" y="980"/>
                </a:lnTo>
                <a:lnTo>
                  <a:pt x="934" y="987"/>
                </a:lnTo>
                <a:lnTo>
                  <a:pt x="932" y="994"/>
                </a:lnTo>
                <a:lnTo>
                  <a:pt x="927" y="999"/>
                </a:lnTo>
                <a:lnTo>
                  <a:pt x="922" y="1003"/>
                </a:lnTo>
                <a:lnTo>
                  <a:pt x="915" y="1003"/>
                </a:lnTo>
                <a:lnTo>
                  <a:pt x="908" y="1003"/>
                </a:lnTo>
                <a:lnTo>
                  <a:pt x="901" y="999"/>
                </a:lnTo>
                <a:lnTo>
                  <a:pt x="897" y="994"/>
                </a:lnTo>
                <a:lnTo>
                  <a:pt x="887" y="985"/>
                </a:lnTo>
                <a:lnTo>
                  <a:pt x="873" y="971"/>
                </a:lnTo>
                <a:lnTo>
                  <a:pt x="862" y="959"/>
                </a:lnTo>
                <a:lnTo>
                  <a:pt x="831" y="980"/>
                </a:lnTo>
                <a:lnTo>
                  <a:pt x="838" y="996"/>
                </a:lnTo>
                <a:lnTo>
                  <a:pt x="845" y="1013"/>
                </a:lnTo>
                <a:lnTo>
                  <a:pt x="852" y="1024"/>
                </a:lnTo>
                <a:lnTo>
                  <a:pt x="855" y="1031"/>
                </a:lnTo>
                <a:lnTo>
                  <a:pt x="857" y="1038"/>
                </a:lnTo>
                <a:lnTo>
                  <a:pt x="855" y="1045"/>
                </a:lnTo>
                <a:lnTo>
                  <a:pt x="852" y="1052"/>
                </a:lnTo>
                <a:lnTo>
                  <a:pt x="845" y="1055"/>
                </a:lnTo>
                <a:lnTo>
                  <a:pt x="841" y="1059"/>
                </a:lnTo>
                <a:lnTo>
                  <a:pt x="834" y="1059"/>
                </a:lnTo>
                <a:lnTo>
                  <a:pt x="829" y="1055"/>
                </a:lnTo>
                <a:lnTo>
                  <a:pt x="824" y="1055"/>
                </a:lnTo>
                <a:lnTo>
                  <a:pt x="822" y="1050"/>
                </a:lnTo>
                <a:lnTo>
                  <a:pt x="817" y="1045"/>
                </a:lnTo>
                <a:lnTo>
                  <a:pt x="808" y="1034"/>
                </a:lnTo>
                <a:lnTo>
                  <a:pt x="799" y="1020"/>
                </a:lnTo>
                <a:lnTo>
                  <a:pt x="787" y="1003"/>
                </a:lnTo>
                <a:lnTo>
                  <a:pt x="755" y="1020"/>
                </a:lnTo>
                <a:lnTo>
                  <a:pt x="762" y="1043"/>
                </a:lnTo>
                <a:lnTo>
                  <a:pt x="766" y="1064"/>
                </a:lnTo>
                <a:lnTo>
                  <a:pt x="771" y="1076"/>
                </a:lnTo>
                <a:lnTo>
                  <a:pt x="771" y="1083"/>
                </a:lnTo>
                <a:lnTo>
                  <a:pt x="769" y="1087"/>
                </a:lnTo>
                <a:lnTo>
                  <a:pt x="764" y="1094"/>
                </a:lnTo>
                <a:lnTo>
                  <a:pt x="757" y="1097"/>
                </a:lnTo>
                <a:lnTo>
                  <a:pt x="750" y="1099"/>
                </a:lnTo>
                <a:lnTo>
                  <a:pt x="743" y="1097"/>
                </a:lnTo>
                <a:lnTo>
                  <a:pt x="738" y="1094"/>
                </a:lnTo>
                <a:lnTo>
                  <a:pt x="734" y="1087"/>
                </a:lnTo>
                <a:lnTo>
                  <a:pt x="729" y="1080"/>
                </a:lnTo>
                <a:lnTo>
                  <a:pt x="724" y="1069"/>
                </a:lnTo>
                <a:lnTo>
                  <a:pt x="717" y="1052"/>
                </a:lnTo>
                <a:lnTo>
                  <a:pt x="708" y="1036"/>
                </a:lnTo>
                <a:lnTo>
                  <a:pt x="673" y="1045"/>
                </a:lnTo>
                <a:lnTo>
                  <a:pt x="675" y="1069"/>
                </a:lnTo>
                <a:lnTo>
                  <a:pt x="678" y="1090"/>
                </a:lnTo>
                <a:lnTo>
                  <a:pt x="678" y="1101"/>
                </a:lnTo>
                <a:lnTo>
                  <a:pt x="678" y="1111"/>
                </a:lnTo>
                <a:lnTo>
                  <a:pt x="673" y="1115"/>
                </a:lnTo>
                <a:lnTo>
                  <a:pt x="668" y="1120"/>
                </a:lnTo>
                <a:lnTo>
                  <a:pt x="661" y="1122"/>
                </a:lnTo>
                <a:lnTo>
                  <a:pt x="654" y="1122"/>
                </a:lnTo>
                <a:lnTo>
                  <a:pt x="648" y="1120"/>
                </a:lnTo>
                <a:lnTo>
                  <a:pt x="643" y="1115"/>
                </a:lnTo>
                <a:lnTo>
                  <a:pt x="641" y="1108"/>
                </a:lnTo>
                <a:lnTo>
                  <a:pt x="636" y="1097"/>
                </a:lnTo>
                <a:lnTo>
                  <a:pt x="631" y="1078"/>
                </a:lnTo>
                <a:lnTo>
                  <a:pt x="624" y="1052"/>
                </a:lnTo>
                <a:lnTo>
                  <a:pt x="589" y="1055"/>
                </a:lnTo>
                <a:lnTo>
                  <a:pt x="587" y="1080"/>
                </a:lnTo>
                <a:lnTo>
                  <a:pt x="585" y="1101"/>
                </a:lnTo>
                <a:lnTo>
                  <a:pt x="582" y="1113"/>
                </a:lnTo>
                <a:lnTo>
                  <a:pt x="582" y="1120"/>
                </a:lnTo>
                <a:lnTo>
                  <a:pt x="578" y="1127"/>
                </a:lnTo>
                <a:lnTo>
                  <a:pt x="571" y="1129"/>
                </a:lnTo>
                <a:lnTo>
                  <a:pt x="564" y="1132"/>
                </a:lnTo>
                <a:lnTo>
                  <a:pt x="557" y="1129"/>
                </a:lnTo>
                <a:lnTo>
                  <a:pt x="550" y="1125"/>
                </a:lnTo>
                <a:lnTo>
                  <a:pt x="547" y="1120"/>
                </a:lnTo>
                <a:lnTo>
                  <a:pt x="545" y="1113"/>
                </a:lnTo>
                <a:lnTo>
                  <a:pt x="543" y="1101"/>
                </a:lnTo>
                <a:lnTo>
                  <a:pt x="540" y="1080"/>
                </a:lnTo>
                <a:lnTo>
                  <a:pt x="538" y="1055"/>
                </a:lnTo>
                <a:lnTo>
                  <a:pt x="503" y="1052"/>
                </a:lnTo>
                <a:lnTo>
                  <a:pt x="496" y="1076"/>
                </a:lnTo>
                <a:lnTo>
                  <a:pt x="492" y="1097"/>
                </a:lnTo>
                <a:lnTo>
                  <a:pt x="487" y="1108"/>
                </a:lnTo>
                <a:lnTo>
                  <a:pt x="485" y="1115"/>
                </a:lnTo>
                <a:lnTo>
                  <a:pt x="480" y="1120"/>
                </a:lnTo>
                <a:lnTo>
                  <a:pt x="473" y="1122"/>
                </a:lnTo>
                <a:lnTo>
                  <a:pt x="466" y="1122"/>
                </a:lnTo>
                <a:lnTo>
                  <a:pt x="459" y="1120"/>
                </a:lnTo>
                <a:lnTo>
                  <a:pt x="454" y="1115"/>
                </a:lnTo>
                <a:lnTo>
                  <a:pt x="450" y="1108"/>
                </a:lnTo>
                <a:lnTo>
                  <a:pt x="450" y="1101"/>
                </a:lnTo>
                <a:lnTo>
                  <a:pt x="450" y="1090"/>
                </a:lnTo>
                <a:lnTo>
                  <a:pt x="452" y="1069"/>
                </a:lnTo>
                <a:lnTo>
                  <a:pt x="454" y="1043"/>
                </a:lnTo>
                <a:lnTo>
                  <a:pt x="419" y="1034"/>
                </a:lnTo>
                <a:lnTo>
                  <a:pt x="412" y="1052"/>
                </a:lnTo>
                <a:lnTo>
                  <a:pt x="403" y="1066"/>
                </a:lnTo>
                <a:lnTo>
                  <a:pt x="398" y="1080"/>
                </a:lnTo>
                <a:lnTo>
                  <a:pt x="394" y="1087"/>
                </a:lnTo>
                <a:lnTo>
                  <a:pt x="391" y="1092"/>
                </a:lnTo>
                <a:lnTo>
                  <a:pt x="384" y="1097"/>
                </a:lnTo>
                <a:lnTo>
                  <a:pt x="377" y="1097"/>
                </a:lnTo>
                <a:lnTo>
                  <a:pt x="370" y="1097"/>
                </a:lnTo>
                <a:lnTo>
                  <a:pt x="364" y="1092"/>
                </a:lnTo>
                <a:lnTo>
                  <a:pt x="361" y="1087"/>
                </a:lnTo>
                <a:lnTo>
                  <a:pt x="359" y="1080"/>
                </a:lnTo>
                <a:lnTo>
                  <a:pt x="359" y="1073"/>
                </a:lnTo>
                <a:lnTo>
                  <a:pt x="361" y="1062"/>
                </a:lnTo>
                <a:lnTo>
                  <a:pt x="366" y="1041"/>
                </a:lnTo>
                <a:lnTo>
                  <a:pt x="373" y="1017"/>
                </a:lnTo>
                <a:lnTo>
                  <a:pt x="340" y="1001"/>
                </a:lnTo>
                <a:lnTo>
                  <a:pt x="329" y="1017"/>
                </a:lnTo>
                <a:lnTo>
                  <a:pt x="319" y="1031"/>
                </a:lnTo>
                <a:lnTo>
                  <a:pt x="312" y="1043"/>
                </a:lnTo>
                <a:lnTo>
                  <a:pt x="308" y="1048"/>
                </a:lnTo>
                <a:lnTo>
                  <a:pt x="301" y="1055"/>
                </a:lnTo>
                <a:lnTo>
                  <a:pt x="296" y="1055"/>
                </a:lnTo>
                <a:lnTo>
                  <a:pt x="289" y="1055"/>
                </a:lnTo>
                <a:lnTo>
                  <a:pt x="282" y="1055"/>
                </a:lnTo>
                <a:lnTo>
                  <a:pt x="275" y="1050"/>
                </a:lnTo>
                <a:lnTo>
                  <a:pt x="273" y="1043"/>
                </a:lnTo>
                <a:lnTo>
                  <a:pt x="273" y="1036"/>
                </a:lnTo>
                <a:lnTo>
                  <a:pt x="273" y="1029"/>
                </a:lnTo>
                <a:lnTo>
                  <a:pt x="277" y="1022"/>
                </a:lnTo>
                <a:lnTo>
                  <a:pt x="282" y="1010"/>
                </a:lnTo>
                <a:lnTo>
                  <a:pt x="289" y="994"/>
                </a:lnTo>
                <a:lnTo>
                  <a:pt x="298" y="978"/>
                </a:lnTo>
                <a:lnTo>
                  <a:pt x="268" y="957"/>
                </a:lnTo>
                <a:lnTo>
                  <a:pt x="254" y="969"/>
                </a:lnTo>
                <a:lnTo>
                  <a:pt x="242" y="980"/>
                </a:lnTo>
                <a:lnTo>
                  <a:pt x="233" y="992"/>
                </a:lnTo>
                <a:lnTo>
                  <a:pt x="226" y="996"/>
                </a:lnTo>
                <a:lnTo>
                  <a:pt x="222" y="1001"/>
                </a:lnTo>
                <a:lnTo>
                  <a:pt x="215" y="1001"/>
                </a:lnTo>
                <a:lnTo>
                  <a:pt x="208" y="1001"/>
                </a:lnTo>
                <a:lnTo>
                  <a:pt x="201" y="996"/>
                </a:lnTo>
                <a:lnTo>
                  <a:pt x="196" y="992"/>
                </a:lnTo>
                <a:lnTo>
                  <a:pt x="194" y="985"/>
                </a:lnTo>
                <a:lnTo>
                  <a:pt x="194" y="978"/>
                </a:lnTo>
                <a:lnTo>
                  <a:pt x="198" y="971"/>
                </a:lnTo>
                <a:lnTo>
                  <a:pt x="201" y="964"/>
                </a:lnTo>
                <a:lnTo>
                  <a:pt x="210" y="955"/>
                </a:lnTo>
                <a:lnTo>
                  <a:pt x="219" y="938"/>
                </a:lnTo>
                <a:lnTo>
                  <a:pt x="231" y="924"/>
                </a:lnTo>
                <a:lnTo>
                  <a:pt x="205" y="899"/>
                </a:lnTo>
                <a:lnTo>
                  <a:pt x="189" y="908"/>
                </a:lnTo>
                <a:lnTo>
                  <a:pt x="175" y="920"/>
                </a:lnTo>
                <a:lnTo>
                  <a:pt x="163" y="927"/>
                </a:lnTo>
                <a:lnTo>
                  <a:pt x="156" y="931"/>
                </a:lnTo>
                <a:lnTo>
                  <a:pt x="152" y="934"/>
                </a:lnTo>
                <a:lnTo>
                  <a:pt x="145" y="934"/>
                </a:lnTo>
                <a:lnTo>
                  <a:pt x="138" y="931"/>
                </a:lnTo>
                <a:lnTo>
                  <a:pt x="131" y="927"/>
                </a:lnTo>
                <a:lnTo>
                  <a:pt x="128" y="920"/>
                </a:lnTo>
                <a:lnTo>
                  <a:pt x="126" y="913"/>
                </a:lnTo>
                <a:lnTo>
                  <a:pt x="128" y="908"/>
                </a:lnTo>
                <a:lnTo>
                  <a:pt x="133" y="901"/>
                </a:lnTo>
                <a:lnTo>
                  <a:pt x="138" y="896"/>
                </a:lnTo>
                <a:lnTo>
                  <a:pt x="147" y="885"/>
                </a:lnTo>
                <a:lnTo>
                  <a:pt x="161" y="873"/>
                </a:lnTo>
                <a:lnTo>
                  <a:pt x="173" y="859"/>
                </a:lnTo>
                <a:lnTo>
                  <a:pt x="152" y="831"/>
                </a:lnTo>
                <a:lnTo>
                  <a:pt x="135" y="838"/>
                </a:lnTo>
                <a:lnTo>
                  <a:pt x="119" y="845"/>
                </a:lnTo>
                <a:lnTo>
                  <a:pt x="107" y="852"/>
                </a:lnTo>
                <a:lnTo>
                  <a:pt x="100" y="854"/>
                </a:lnTo>
                <a:lnTo>
                  <a:pt x="93" y="857"/>
                </a:lnTo>
                <a:lnTo>
                  <a:pt x="86" y="854"/>
                </a:lnTo>
                <a:lnTo>
                  <a:pt x="80" y="852"/>
                </a:lnTo>
                <a:lnTo>
                  <a:pt x="75" y="845"/>
                </a:lnTo>
                <a:lnTo>
                  <a:pt x="73" y="838"/>
                </a:lnTo>
                <a:lnTo>
                  <a:pt x="73" y="831"/>
                </a:lnTo>
                <a:lnTo>
                  <a:pt x="75" y="829"/>
                </a:lnTo>
                <a:lnTo>
                  <a:pt x="77" y="824"/>
                </a:lnTo>
                <a:lnTo>
                  <a:pt x="82" y="819"/>
                </a:lnTo>
                <a:lnTo>
                  <a:pt x="86" y="815"/>
                </a:lnTo>
                <a:lnTo>
                  <a:pt x="98" y="808"/>
                </a:lnTo>
                <a:lnTo>
                  <a:pt x="112" y="799"/>
                </a:lnTo>
                <a:lnTo>
                  <a:pt x="128" y="787"/>
                </a:lnTo>
                <a:lnTo>
                  <a:pt x="112" y="754"/>
                </a:lnTo>
                <a:lnTo>
                  <a:pt x="89" y="761"/>
                </a:lnTo>
                <a:lnTo>
                  <a:pt x="68" y="766"/>
                </a:lnTo>
                <a:lnTo>
                  <a:pt x="56" y="768"/>
                </a:lnTo>
                <a:lnTo>
                  <a:pt x="49" y="768"/>
                </a:lnTo>
                <a:lnTo>
                  <a:pt x="42" y="766"/>
                </a:lnTo>
                <a:lnTo>
                  <a:pt x="38" y="764"/>
                </a:lnTo>
                <a:lnTo>
                  <a:pt x="35" y="757"/>
                </a:lnTo>
                <a:lnTo>
                  <a:pt x="33" y="750"/>
                </a:lnTo>
                <a:lnTo>
                  <a:pt x="35" y="743"/>
                </a:lnTo>
                <a:lnTo>
                  <a:pt x="38" y="738"/>
                </a:lnTo>
                <a:lnTo>
                  <a:pt x="40" y="736"/>
                </a:lnTo>
                <a:lnTo>
                  <a:pt x="45" y="733"/>
                </a:lnTo>
                <a:lnTo>
                  <a:pt x="52" y="729"/>
                </a:lnTo>
                <a:lnTo>
                  <a:pt x="63" y="724"/>
                </a:lnTo>
                <a:lnTo>
                  <a:pt x="80" y="715"/>
                </a:lnTo>
                <a:lnTo>
                  <a:pt x="96" y="708"/>
                </a:lnTo>
                <a:lnTo>
                  <a:pt x="86" y="673"/>
                </a:lnTo>
                <a:lnTo>
                  <a:pt x="63" y="675"/>
                </a:lnTo>
                <a:lnTo>
                  <a:pt x="42" y="677"/>
                </a:lnTo>
                <a:lnTo>
                  <a:pt x="28" y="677"/>
                </a:lnTo>
                <a:lnTo>
                  <a:pt x="21" y="677"/>
                </a:lnTo>
                <a:lnTo>
                  <a:pt x="17" y="673"/>
                </a:lnTo>
                <a:lnTo>
                  <a:pt x="12" y="668"/>
                </a:lnTo>
                <a:lnTo>
                  <a:pt x="10" y="661"/>
                </a:lnTo>
                <a:lnTo>
                  <a:pt x="10" y="654"/>
                </a:lnTo>
                <a:lnTo>
                  <a:pt x="12" y="647"/>
                </a:lnTo>
                <a:lnTo>
                  <a:pt x="17" y="643"/>
                </a:lnTo>
                <a:lnTo>
                  <a:pt x="24" y="638"/>
                </a:lnTo>
                <a:lnTo>
                  <a:pt x="35" y="636"/>
                </a:lnTo>
                <a:lnTo>
                  <a:pt x="54" y="631"/>
                </a:lnTo>
                <a:lnTo>
                  <a:pt x="80" y="624"/>
                </a:lnTo>
                <a:lnTo>
                  <a:pt x="75" y="589"/>
                </a:lnTo>
                <a:lnTo>
                  <a:pt x="52" y="587"/>
                </a:lnTo>
                <a:lnTo>
                  <a:pt x="31" y="584"/>
                </a:lnTo>
                <a:lnTo>
                  <a:pt x="19" y="582"/>
                </a:lnTo>
                <a:lnTo>
                  <a:pt x="12" y="580"/>
                </a:lnTo>
                <a:lnTo>
                  <a:pt x="5" y="575"/>
                </a:lnTo>
                <a:lnTo>
                  <a:pt x="3" y="570"/>
                </a:lnTo>
                <a:lnTo>
                  <a:pt x="0" y="563"/>
                </a:lnTo>
                <a:lnTo>
                  <a:pt x="3" y="556"/>
                </a:lnTo>
                <a:lnTo>
                  <a:pt x="5" y="549"/>
                </a:lnTo>
                <a:lnTo>
                  <a:pt x="12" y="545"/>
                </a:lnTo>
                <a:lnTo>
                  <a:pt x="19" y="542"/>
                </a:lnTo>
                <a:lnTo>
                  <a:pt x="31" y="542"/>
                </a:lnTo>
                <a:lnTo>
                  <a:pt x="52" y="540"/>
                </a:lnTo>
                <a:lnTo>
                  <a:pt x="75" y="538"/>
                </a:lnTo>
                <a:lnTo>
                  <a:pt x="80" y="503"/>
                </a:lnTo>
                <a:lnTo>
                  <a:pt x="56" y="496"/>
                </a:lnTo>
                <a:lnTo>
                  <a:pt x="35" y="491"/>
                </a:lnTo>
                <a:lnTo>
                  <a:pt x="24" y="487"/>
                </a:lnTo>
                <a:lnTo>
                  <a:pt x="17" y="484"/>
                </a:lnTo>
                <a:lnTo>
                  <a:pt x="12" y="480"/>
                </a:lnTo>
                <a:lnTo>
                  <a:pt x="10" y="473"/>
                </a:lnTo>
                <a:lnTo>
                  <a:pt x="10" y="466"/>
                </a:lnTo>
                <a:lnTo>
                  <a:pt x="12" y="459"/>
                </a:lnTo>
                <a:lnTo>
                  <a:pt x="17" y="454"/>
                </a:lnTo>
                <a:lnTo>
                  <a:pt x="24" y="449"/>
                </a:lnTo>
                <a:lnTo>
                  <a:pt x="31" y="449"/>
                </a:lnTo>
                <a:lnTo>
                  <a:pt x="42" y="449"/>
                </a:lnTo>
                <a:lnTo>
                  <a:pt x="63" y="452"/>
                </a:lnTo>
                <a:lnTo>
                  <a:pt x="89" y="454"/>
                </a:lnTo>
                <a:lnTo>
                  <a:pt x="98" y="419"/>
                </a:lnTo>
                <a:lnTo>
                  <a:pt x="80" y="412"/>
                </a:lnTo>
                <a:lnTo>
                  <a:pt x="66" y="403"/>
                </a:lnTo>
                <a:lnTo>
                  <a:pt x="52" y="398"/>
                </a:lnTo>
                <a:lnTo>
                  <a:pt x="45" y="393"/>
                </a:lnTo>
                <a:lnTo>
                  <a:pt x="42" y="391"/>
                </a:lnTo>
                <a:lnTo>
                  <a:pt x="38" y="389"/>
                </a:lnTo>
                <a:lnTo>
                  <a:pt x="35" y="384"/>
                </a:lnTo>
                <a:lnTo>
                  <a:pt x="35" y="377"/>
                </a:lnTo>
                <a:lnTo>
                  <a:pt x="35" y="370"/>
                </a:lnTo>
                <a:lnTo>
                  <a:pt x="40" y="363"/>
                </a:lnTo>
                <a:lnTo>
                  <a:pt x="45" y="358"/>
                </a:lnTo>
                <a:lnTo>
                  <a:pt x="52" y="356"/>
                </a:lnTo>
                <a:lnTo>
                  <a:pt x="59" y="358"/>
                </a:lnTo>
                <a:lnTo>
                  <a:pt x="70" y="361"/>
                </a:lnTo>
                <a:lnTo>
                  <a:pt x="91" y="365"/>
                </a:lnTo>
                <a:lnTo>
                  <a:pt x="114" y="372"/>
                </a:lnTo>
                <a:lnTo>
                  <a:pt x="131" y="340"/>
                </a:lnTo>
                <a:lnTo>
                  <a:pt x="114" y="328"/>
                </a:lnTo>
                <a:lnTo>
                  <a:pt x="100" y="319"/>
                </a:lnTo>
                <a:lnTo>
                  <a:pt x="89" y="310"/>
                </a:lnTo>
                <a:lnTo>
                  <a:pt x="82" y="307"/>
                </a:lnTo>
                <a:lnTo>
                  <a:pt x="80" y="303"/>
                </a:lnTo>
                <a:lnTo>
                  <a:pt x="77" y="298"/>
                </a:lnTo>
                <a:lnTo>
                  <a:pt x="75" y="293"/>
                </a:lnTo>
                <a:lnTo>
                  <a:pt x="75" y="286"/>
                </a:lnTo>
                <a:lnTo>
                  <a:pt x="77" y="282"/>
                </a:lnTo>
                <a:lnTo>
                  <a:pt x="82" y="275"/>
                </a:lnTo>
                <a:lnTo>
                  <a:pt x="89" y="272"/>
                </a:lnTo>
                <a:lnTo>
                  <a:pt x="96" y="270"/>
                </a:lnTo>
                <a:lnTo>
                  <a:pt x="103" y="272"/>
                </a:lnTo>
                <a:lnTo>
                  <a:pt x="110" y="275"/>
                </a:lnTo>
                <a:lnTo>
                  <a:pt x="121" y="282"/>
                </a:lnTo>
                <a:lnTo>
                  <a:pt x="138" y="289"/>
                </a:lnTo>
                <a:lnTo>
                  <a:pt x="154" y="296"/>
                </a:lnTo>
                <a:lnTo>
                  <a:pt x="175" y="268"/>
                </a:lnTo>
                <a:lnTo>
                  <a:pt x="163" y="254"/>
                </a:lnTo>
                <a:lnTo>
                  <a:pt x="149" y="242"/>
                </a:lnTo>
                <a:lnTo>
                  <a:pt x="140" y="233"/>
                </a:lnTo>
                <a:lnTo>
                  <a:pt x="135" y="226"/>
                </a:lnTo>
                <a:lnTo>
                  <a:pt x="131" y="221"/>
                </a:lnTo>
                <a:lnTo>
                  <a:pt x="131" y="214"/>
                </a:lnTo>
                <a:lnTo>
                  <a:pt x="131" y="207"/>
                </a:lnTo>
                <a:lnTo>
                  <a:pt x="135" y="200"/>
                </a:lnTo>
                <a:lnTo>
                  <a:pt x="140" y="195"/>
                </a:lnTo>
                <a:lnTo>
                  <a:pt x="147" y="193"/>
                </a:lnTo>
                <a:lnTo>
                  <a:pt x="154" y="193"/>
                </a:lnTo>
                <a:lnTo>
                  <a:pt x="161" y="195"/>
                </a:lnTo>
                <a:lnTo>
                  <a:pt x="168" y="200"/>
                </a:lnTo>
                <a:lnTo>
                  <a:pt x="177" y="209"/>
                </a:lnTo>
                <a:lnTo>
                  <a:pt x="194" y="219"/>
                </a:lnTo>
                <a:lnTo>
                  <a:pt x="208" y="230"/>
                </a:lnTo>
                <a:lnTo>
                  <a:pt x="233" y="205"/>
                </a:lnTo>
                <a:lnTo>
                  <a:pt x="224" y="188"/>
                </a:lnTo>
                <a:lnTo>
                  <a:pt x="212" y="175"/>
                </a:lnTo>
                <a:lnTo>
                  <a:pt x="205" y="163"/>
                </a:lnTo>
                <a:lnTo>
                  <a:pt x="201" y="156"/>
                </a:lnTo>
                <a:lnTo>
                  <a:pt x="198" y="149"/>
                </a:lnTo>
                <a:lnTo>
                  <a:pt x="198" y="142"/>
                </a:lnTo>
                <a:lnTo>
                  <a:pt x="201" y="137"/>
                </a:lnTo>
                <a:lnTo>
                  <a:pt x="205" y="130"/>
                </a:lnTo>
                <a:lnTo>
                  <a:pt x="212" y="128"/>
                </a:lnTo>
                <a:lnTo>
                  <a:pt x="217" y="126"/>
                </a:lnTo>
                <a:lnTo>
                  <a:pt x="224" y="128"/>
                </a:lnTo>
                <a:lnTo>
                  <a:pt x="231" y="133"/>
                </a:lnTo>
                <a:lnTo>
                  <a:pt x="235" y="137"/>
                </a:lnTo>
                <a:lnTo>
                  <a:pt x="247" y="147"/>
                </a:lnTo>
                <a:lnTo>
                  <a:pt x="259" y="158"/>
                </a:lnTo>
                <a:lnTo>
                  <a:pt x="273" y="172"/>
                </a:lnTo>
                <a:lnTo>
                  <a:pt x="301" y="151"/>
                </a:lnTo>
                <a:lnTo>
                  <a:pt x="294" y="135"/>
                </a:lnTo>
                <a:lnTo>
                  <a:pt x="287" y="119"/>
                </a:lnTo>
                <a:lnTo>
                  <a:pt x="280" y="107"/>
                </a:lnTo>
                <a:lnTo>
                  <a:pt x="277" y="100"/>
                </a:lnTo>
                <a:lnTo>
                  <a:pt x="275" y="93"/>
                </a:lnTo>
                <a:lnTo>
                  <a:pt x="277" y="86"/>
                </a:lnTo>
                <a:lnTo>
                  <a:pt x="280" y="79"/>
                </a:lnTo>
                <a:lnTo>
                  <a:pt x="287" y="74"/>
                </a:lnTo>
                <a:lnTo>
                  <a:pt x="294" y="72"/>
                </a:lnTo>
                <a:lnTo>
                  <a:pt x="298" y="72"/>
                </a:lnTo>
                <a:lnTo>
                  <a:pt x="303" y="74"/>
                </a:lnTo>
                <a:lnTo>
                  <a:pt x="308" y="77"/>
                </a:lnTo>
                <a:lnTo>
                  <a:pt x="312" y="79"/>
                </a:lnTo>
                <a:lnTo>
                  <a:pt x="315" y="86"/>
                </a:lnTo>
                <a:lnTo>
                  <a:pt x="324" y="98"/>
                </a:lnTo>
                <a:lnTo>
                  <a:pt x="333" y="112"/>
                </a:lnTo>
                <a:lnTo>
                  <a:pt x="345" y="128"/>
                </a:lnTo>
                <a:lnTo>
                  <a:pt x="377" y="112"/>
                </a:lnTo>
                <a:lnTo>
                  <a:pt x="370" y="88"/>
                </a:lnTo>
                <a:lnTo>
                  <a:pt x="366" y="67"/>
                </a:lnTo>
                <a:lnTo>
                  <a:pt x="364" y="56"/>
                </a:lnTo>
                <a:lnTo>
                  <a:pt x="361" y="49"/>
                </a:lnTo>
                <a:lnTo>
                  <a:pt x="364" y="42"/>
                </a:lnTo>
                <a:lnTo>
                  <a:pt x="368" y="37"/>
                </a:lnTo>
                <a:lnTo>
                  <a:pt x="375" y="32"/>
                </a:lnTo>
                <a:lnTo>
                  <a:pt x="382" y="32"/>
                </a:lnTo>
                <a:lnTo>
                  <a:pt x="389" y="35"/>
                </a:lnTo>
                <a:lnTo>
                  <a:pt x="394" y="35"/>
                </a:lnTo>
                <a:lnTo>
                  <a:pt x="396" y="39"/>
                </a:lnTo>
                <a:lnTo>
                  <a:pt x="398" y="42"/>
                </a:lnTo>
                <a:lnTo>
                  <a:pt x="403" y="51"/>
                </a:lnTo>
                <a:lnTo>
                  <a:pt x="408" y="63"/>
                </a:lnTo>
                <a:lnTo>
                  <a:pt x="417" y="79"/>
                </a:lnTo>
                <a:lnTo>
                  <a:pt x="424" y="95"/>
                </a:lnTo>
                <a:lnTo>
                  <a:pt x="459" y="86"/>
                </a:lnTo>
                <a:lnTo>
                  <a:pt x="457" y="60"/>
                </a:lnTo>
                <a:lnTo>
                  <a:pt x="454" y="39"/>
                </a:lnTo>
                <a:lnTo>
                  <a:pt x="454" y="28"/>
                </a:lnTo>
                <a:lnTo>
                  <a:pt x="454" y="21"/>
                </a:lnTo>
                <a:lnTo>
                  <a:pt x="459" y="16"/>
                </a:lnTo>
                <a:lnTo>
                  <a:pt x="464" y="12"/>
                </a:lnTo>
                <a:lnTo>
                  <a:pt x="471" y="9"/>
                </a:lnTo>
                <a:lnTo>
                  <a:pt x="478" y="9"/>
                </a:lnTo>
                <a:lnTo>
                  <a:pt x="485" y="12"/>
                </a:lnTo>
                <a:lnTo>
                  <a:pt x="489" y="16"/>
                </a:lnTo>
                <a:lnTo>
                  <a:pt x="492" y="21"/>
                </a:lnTo>
                <a:lnTo>
                  <a:pt x="496" y="32"/>
                </a:lnTo>
                <a:lnTo>
                  <a:pt x="501" y="53"/>
                </a:lnTo>
                <a:lnTo>
                  <a:pt x="508" y="77"/>
                </a:lnTo>
                <a:lnTo>
                  <a:pt x="543" y="74"/>
                </a:lnTo>
                <a:lnTo>
                  <a:pt x="545" y="51"/>
                </a:lnTo>
                <a:lnTo>
                  <a:pt x="547" y="30"/>
                </a:lnTo>
                <a:lnTo>
                  <a:pt x="550" y="16"/>
                </a:lnTo>
                <a:lnTo>
                  <a:pt x="552" y="12"/>
                </a:lnTo>
                <a:lnTo>
                  <a:pt x="557" y="5"/>
                </a:lnTo>
                <a:lnTo>
                  <a:pt x="561" y="2"/>
                </a:lnTo>
                <a:lnTo>
                  <a:pt x="568" y="0"/>
                </a:lnTo>
                <a:close/>
              </a:path>
            </a:pathLst>
          </a:custGeom>
          <a:solidFill>
            <a:schemeClr val="accent6">
              <a:alpha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74" name="Ovaal - 6"/>
          <p:cNvSpPr/>
          <p:nvPr/>
        </p:nvSpPr>
        <p:spPr>
          <a:xfrm>
            <a:off x="8538631" y="1773802"/>
            <a:ext cx="1409214" cy="140920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nl-NL" sz="6000" b="1"/>
              <a:t>6</a:t>
            </a:r>
          </a:p>
        </p:txBody>
      </p:sp>
      <p:sp>
        <p:nvSpPr>
          <p:cNvPr id="78" name="Radar - 7"/>
          <p:cNvSpPr>
            <a:spLocks noEditPoints="1"/>
          </p:cNvSpPr>
          <p:nvPr/>
        </p:nvSpPr>
        <p:spPr bwMode="auto">
          <a:xfrm>
            <a:off x="9599949" y="2958752"/>
            <a:ext cx="1724318" cy="1724318"/>
          </a:xfrm>
          <a:custGeom>
            <a:avLst/>
            <a:gdLst>
              <a:gd name="T0" fmla="*/ 149 w 1132"/>
              <a:gd name="T1" fmla="*/ 552 h 1132"/>
              <a:gd name="T2" fmla="*/ 627 w 1132"/>
              <a:gd name="T3" fmla="*/ 978 h 1132"/>
              <a:gd name="T4" fmla="*/ 962 w 1132"/>
              <a:gd name="T5" fmla="*/ 433 h 1132"/>
              <a:gd name="T6" fmla="*/ 582 w 1132"/>
              <a:gd name="T7" fmla="*/ 5 h 1132"/>
              <a:gd name="T8" fmla="*/ 648 w 1132"/>
              <a:gd name="T9" fmla="*/ 16 h 1132"/>
              <a:gd name="T10" fmla="*/ 678 w 1132"/>
              <a:gd name="T11" fmla="*/ 86 h 1132"/>
              <a:gd name="T12" fmla="*/ 769 w 1132"/>
              <a:gd name="T13" fmla="*/ 39 h 1132"/>
              <a:gd name="T14" fmla="*/ 820 w 1132"/>
              <a:gd name="T15" fmla="*/ 88 h 1132"/>
              <a:gd name="T16" fmla="*/ 855 w 1132"/>
              <a:gd name="T17" fmla="*/ 109 h 1132"/>
              <a:gd name="T18" fmla="*/ 918 w 1132"/>
              <a:gd name="T19" fmla="*/ 130 h 1132"/>
              <a:gd name="T20" fmla="*/ 901 w 1132"/>
              <a:gd name="T21" fmla="*/ 207 h 1132"/>
              <a:gd name="T22" fmla="*/ 1004 w 1132"/>
              <a:gd name="T23" fmla="*/ 209 h 1132"/>
              <a:gd name="T24" fmla="*/ 1013 w 1132"/>
              <a:gd name="T25" fmla="*/ 286 h 1132"/>
              <a:gd name="T26" fmla="*/ 1055 w 1132"/>
              <a:gd name="T27" fmla="*/ 307 h 1132"/>
              <a:gd name="T28" fmla="*/ 1083 w 1132"/>
              <a:gd name="T29" fmla="*/ 361 h 1132"/>
              <a:gd name="T30" fmla="*/ 1053 w 1132"/>
              <a:gd name="T31" fmla="*/ 414 h 1132"/>
              <a:gd name="T32" fmla="*/ 1122 w 1132"/>
              <a:gd name="T33" fmla="*/ 477 h 1132"/>
              <a:gd name="T34" fmla="*/ 1115 w 1132"/>
              <a:gd name="T35" fmla="*/ 549 h 1132"/>
              <a:gd name="T36" fmla="*/ 1081 w 1132"/>
              <a:gd name="T37" fmla="*/ 591 h 1132"/>
              <a:gd name="T38" fmla="*/ 1120 w 1132"/>
              <a:gd name="T39" fmla="*/ 673 h 1132"/>
              <a:gd name="T40" fmla="*/ 1081 w 1132"/>
              <a:gd name="T41" fmla="*/ 733 h 1132"/>
              <a:gd name="T42" fmla="*/ 1074 w 1132"/>
              <a:gd name="T43" fmla="*/ 773 h 1132"/>
              <a:gd name="T44" fmla="*/ 1057 w 1132"/>
              <a:gd name="T45" fmla="*/ 836 h 1132"/>
              <a:gd name="T46" fmla="*/ 978 w 1132"/>
              <a:gd name="T47" fmla="*/ 833 h 1132"/>
              <a:gd name="T48" fmla="*/ 992 w 1132"/>
              <a:gd name="T49" fmla="*/ 936 h 1132"/>
              <a:gd name="T50" fmla="*/ 920 w 1132"/>
              <a:gd name="T51" fmla="*/ 957 h 1132"/>
              <a:gd name="T52" fmla="*/ 901 w 1132"/>
              <a:gd name="T53" fmla="*/ 999 h 1132"/>
              <a:gd name="T54" fmla="*/ 857 w 1132"/>
              <a:gd name="T55" fmla="*/ 1038 h 1132"/>
              <a:gd name="T56" fmla="*/ 808 w 1132"/>
              <a:gd name="T57" fmla="*/ 1034 h 1132"/>
              <a:gd name="T58" fmla="*/ 757 w 1132"/>
              <a:gd name="T59" fmla="*/ 1097 h 1132"/>
              <a:gd name="T60" fmla="*/ 675 w 1132"/>
              <a:gd name="T61" fmla="*/ 1069 h 1132"/>
              <a:gd name="T62" fmla="*/ 641 w 1132"/>
              <a:gd name="T63" fmla="*/ 1108 h 1132"/>
              <a:gd name="T64" fmla="*/ 571 w 1132"/>
              <a:gd name="T65" fmla="*/ 1129 h 1132"/>
              <a:gd name="T66" fmla="*/ 496 w 1132"/>
              <a:gd name="T67" fmla="*/ 1076 h 1132"/>
              <a:gd name="T68" fmla="*/ 450 w 1132"/>
              <a:gd name="T69" fmla="*/ 1101 h 1132"/>
              <a:gd name="T70" fmla="*/ 384 w 1132"/>
              <a:gd name="T71" fmla="*/ 1097 h 1132"/>
              <a:gd name="T72" fmla="*/ 340 w 1132"/>
              <a:gd name="T73" fmla="*/ 1001 h 1132"/>
              <a:gd name="T74" fmla="*/ 273 w 1132"/>
              <a:gd name="T75" fmla="*/ 1043 h 1132"/>
              <a:gd name="T76" fmla="*/ 233 w 1132"/>
              <a:gd name="T77" fmla="*/ 992 h 1132"/>
              <a:gd name="T78" fmla="*/ 201 w 1132"/>
              <a:gd name="T79" fmla="*/ 964 h 1132"/>
              <a:gd name="T80" fmla="*/ 145 w 1132"/>
              <a:gd name="T81" fmla="*/ 934 h 1132"/>
              <a:gd name="T82" fmla="*/ 173 w 1132"/>
              <a:gd name="T83" fmla="*/ 859 h 1132"/>
              <a:gd name="T84" fmla="*/ 73 w 1132"/>
              <a:gd name="T85" fmla="*/ 838 h 1132"/>
              <a:gd name="T86" fmla="*/ 89 w 1132"/>
              <a:gd name="T87" fmla="*/ 761 h 1132"/>
              <a:gd name="T88" fmla="*/ 40 w 1132"/>
              <a:gd name="T89" fmla="*/ 736 h 1132"/>
              <a:gd name="T90" fmla="*/ 21 w 1132"/>
              <a:gd name="T91" fmla="*/ 677 h 1132"/>
              <a:gd name="T92" fmla="*/ 80 w 1132"/>
              <a:gd name="T93" fmla="*/ 624 h 1132"/>
              <a:gd name="T94" fmla="*/ 5 w 1132"/>
              <a:gd name="T95" fmla="*/ 549 h 1132"/>
              <a:gd name="T96" fmla="*/ 17 w 1132"/>
              <a:gd name="T97" fmla="*/ 484 h 1132"/>
              <a:gd name="T98" fmla="*/ 89 w 1132"/>
              <a:gd name="T99" fmla="*/ 454 h 1132"/>
              <a:gd name="T100" fmla="*/ 35 w 1132"/>
              <a:gd name="T101" fmla="*/ 370 h 1132"/>
              <a:gd name="T102" fmla="*/ 100 w 1132"/>
              <a:gd name="T103" fmla="*/ 319 h 1132"/>
              <a:gd name="T104" fmla="*/ 96 w 1132"/>
              <a:gd name="T105" fmla="*/ 270 h 1132"/>
              <a:gd name="T106" fmla="*/ 135 w 1132"/>
              <a:gd name="T107" fmla="*/ 226 h 1132"/>
              <a:gd name="T108" fmla="*/ 177 w 1132"/>
              <a:gd name="T109" fmla="*/ 209 h 1132"/>
              <a:gd name="T110" fmla="*/ 201 w 1132"/>
              <a:gd name="T111" fmla="*/ 137 h 1132"/>
              <a:gd name="T112" fmla="*/ 301 w 1132"/>
              <a:gd name="T113" fmla="*/ 151 h 1132"/>
              <a:gd name="T114" fmla="*/ 298 w 1132"/>
              <a:gd name="T115" fmla="*/ 72 h 1132"/>
              <a:gd name="T116" fmla="*/ 366 w 1132"/>
              <a:gd name="T117" fmla="*/ 67 h 1132"/>
              <a:gd name="T118" fmla="*/ 398 w 1132"/>
              <a:gd name="T119" fmla="*/ 42 h 1132"/>
              <a:gd name="T120" fmla="*/ 459 w 1132"/>
              <a:gd name="T121" fmla="*/ 16 h 1132"/>
              <a:gd name="T122" fmla="*/ 543 w 1132"/>
              <a:gd name="T123" fmla="*/ 74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2" h="1132">
                <a:moveTo>
                  <a:pt x="580" y="149"/>
                </a:moveTo>
                <a:lnTo>
                  <a:pt x="506" y="151"/>
                </a:lnTo>
                <a:lnTo>
                  <a:pt x="433" y="170"/>
                </a:lnTo>
                <a:lnTo>
                  <a:pt x="368" y="198"/>
                </a:lnTo>
                <a:lnTo>
                  <a:pt x="308" y="237"/>
                </a:lnTo>
                <a:lnTo>
                  <a:pt x="256" y="286"/>
                </a:lnTo>
                <a:lnTo>
                  <a:pt x="212" y="342"/>
                </a:lnTo>
                <a:lnTo>
                  <a:pt x="180" y="407"/>
                </a:lnTo>
                <a:lnTo>
                  <a:pt x="159" y="477"/>
                </a:lnTo>
                <a:lnTo>
                  <a:pt x="149" y="552"/>
                </a:lnTo>
                <a:lnTo>
                  <a:pt x="152" y="626"/>
                </a:lnTo>
                <a:lnTo>
                  <a:pt x="170" y="698"/>
                </a:lnTo>
                <a:lnTo>
                  <a:pt x="198" y="764"/>
                </a:lnTo>
                <a:lnTo>
                  <a:pt x="238" y="824"/>
                </a:lnTo>
                <a:lnTo>
                  <a:pt x="287" y="875"/>
                </a:lnTo>
                <a:lnTo>
                  <a:pt x="343" y="920"/>
                </a:lnTo>
                <a:lnTo>
                  <a:pt x="408" y="952"/>
                </a:lnTo>
                <a:lnTo>
                  <a:pt x="478" y="973"/>
                </a:lnTo>
                <a:lnTo>
                  <a:pt x="552" y="982"/>
                </a:lnTo>
                <a:lnTo>
                  <a:pt x="627" y="978"/>
                </a:lnTo>
                <a:lnTo>
                  <a:pt x="699" y="962"/>
                </a:lnTo>
                <a:lnTo>
                  <a:pt x="764" y="934"/>
                </a:lnTo>
                <a:lnTo>
                  <a:pt x="824" y="894"/>
                </a:lnTo>
                <a:lnTo>
                  <a:pt x="876" y="845"/>
                </a:lnTo>
                <a:lnTo>
                  <a:pt x="920" y="789"/>
                </a:lnTo>
                <a:lnTo>
                  <a:pt x="952" y="724"/>
                </a:lnTo>
                <a:lnTo>
                  <a:pt x="973" y="654"/>
                </a:lnTo>
                <a:lnTo>
                  <a:pt x="983" y="580"/>
                </a:lnTo>
                <a:lnTo>
                  <a:pt x="980" y="505"/>
                </a:lnTo>
                <a:lnTo>
                  <a:pt x="962" y="433"/>
                </a:lnTo>
                <a:lnTo>
                  <a:pt x="934" y="368"/>
                </a:lnTo>
                <a:lnTo>
                  <a:pt x="894" y="307"/>
                </a:lnTo>
                <a:lnTo>
                  <a:pt x="845" y="256"/>
                </a:lnTo>
                <a:lnTo>
                  <a:pt x="790" y="212"/>
                </a:lnTo>
                <a:lnTo>
                  <a:pt x="724" y="179"/>
                </a:lnTo>
                <a:lnTo>
                  <a:pt x="654" y="156"/>
                </a:lnTo>
                <a:lnTo>
                  <a:pt x="580" y="149"/>
                </a:lnTo>
                <a:close/>
                <a:moveTo>
                  <a:pt x="568" y="0"/>
                </a:moveTo>
                <a:lnTo>
                  <a:pt x="575" y="2"/>
                </a:lnTo>
                <a:lnTo>
                  <a:pt x="582" y="5"/>
                </a:lnTo>
                <a:lnTo>
                  <a:pt x="587" y="12"/>
                </a:lnTo>
                <a:lnTo>
                  <a:pt x="587" y="19"/>
                </a:lnTo>
                <a:lnTo>
                  <a:pt x="589" y="30"/>
                </a:lnTo>
                <a:lnTo>
                  <a:pt x="592" y="51"/>
                </a:lnTo>
                <a:lnTo>
                  <a:pt x="594" y="74"/>
                </a:lnTo>
                <a:lnTo>
                  <a:pt x="629" y="79"/>
                </a:lnTo>
                <a:lnTo>
                  <a:pt x="636" y="53"/>
                </a:lnTo>
                <a:lnTo>
                  <a:pt x="641" y="35"/>
                </a:lnTo>
                <a:lnTo>
                  <a:pt x="645" y="23"/>
                </a:lnTo>
                <a:lnTo>
                  <a:pt x="648" y="16"/>
                </a:lnTo>
                <a:lnTo>
                  <a:pt x="652" y="12"/>
                </a:lnTo>
                <a:lnTo>
                  <a:pt x="659" y="9"/>
                </a:lnTo>
                <a:lnTo>
                  <a:pt x="666" y="9"/>
                </a:lnTo>
                <a:lnTo>
                  <a:pt x="673" y="12"/>
                </a:lnTo>
                <a:lnTo>
                  <a:pt x="678" y="16"/>
                </a:lnTo>
                <a:lnTo>
                  <a:pt x="682" y="23"/>
                </a:lnTo>
                <a:lnTo>
                  <a:pt x="682" y="30"/>
                </a:lnTo>
                <a:lnTo>
                  <a:pt x="682" y="42"/>
                </a:lnTo>
                <a:lnTo>
                  <a:pt x="680" y="63"/>
                </a:lnTo>
                <a:lnTo>
                  <a:pt x="678" y="86"/>
                </a:lnTo>
                <a:lnTo>
                  <a:pt x="713" y="95"/>
                </a:lnTo>
                <a:lnTo>
                  <a:pt x="720" y="79"/>
                </a:lnTo>
                <a:lnTo>
                  <a:pt x="729" y="63"/>
                </a:lnTo>
                <a:lnTo>
                  <a:pt x="734" y="51"/>
                </a:lnTo>
                <a:lnTo>
                  <a:pt x="738" y="44"/>
                </a:lnTo>
                <a:lnTo>
                  <a:pt x="743" y="39"/>
                </a:lnTo>
                <a:lnTo>
                  <a:pt x="748" y="35"/>
                </a:lnTo>
                <a:lnTo>
                  <a:pt x="755" y="35"/>
                </a:lnTo>
                <a:lnTo>
                  <a:pt x="762" y="35"/>
                </a:lnTo>
                <a:lnTo>
                  <a:pt x="769" y="39"/>
                </a:lnTo>
                <a:lnTo>
                  <a:pt x="773" y="44"/>
                </a:lnTo>
                <a:lnTo>
                  <a:pt x="776" y="51"/>
                </a:lnTo>
                <a:lnTo>
                  <a:pt x="773" y="58"/>
                </a:lnTo>
                <a:lnTo>
                  <a:pt x="771" y="70"/>
                </a:lnTo>
                <a:lnTo>
                  <a:pt x="766" y="91"/>
                </a:lnTo>
                <a:lnTo>
                  <a:pt x="759" y="114"/>
                </a:lnTo>
                <a:lnTo>
                  <a:pt x="792" y="128"/>
                </a:lnTo>
                <a:lnTo>
                  <a:pt x="803" y="114"/>
                </a:lnTo>
                <a:lnTo>
                  <a:pt x="813" y="100"/>
                </a:lnTo>
                <a:lnTo>
                  <a:pt x="820" y="88"/>
                </a:lnTo>
                <a:lnTo>
                  <a:pt x="824" y="81"/>
                </a:lnTo>
                <a:lnTo>
                  <a:pt x="831" y="77"/>
                </a:lnTo>
                <a:lnTo>
                  <a:pt x="836" y="74"/>
                </a:lnTo>
                <a:lnTo>
                  <a:pt x="843" y="74"/>
                </a:lnTo>
                <a:lnTo>
                  <a:pt x="850" y="77"/>
                </a:lnTo>
                <a:lnTo>
                  <a:pt x="857" y="81"/>
                </a:lnTo>
                <a:lnTo>
                  <a:pt x="859" y="88"/>
                </a:lnTo>
                <a:lnTo>
                  <a:pt x="862" y="95"/>
                </a:lnTo>
                <a:lnTo>
                  <a:pt x="859" y="102"/>
                </a:lnTo>
                <a:lnTo>
                  <a:pt x="855" y="109"/>
                </a:lnTo>
                <a:lnTo>
                  <a:pt x="850" y="121"/>
                </a:lnTo>
                <a:lnTo>
                  <a:pt x="843" y="137"/>
                </a:lnTo>
                <a:lnTo>
                  <a:pt x="836" y="154"/>
                </a:lnTo>
                <a:lnTo>
                  <a:pt x="864" y="175"/>
                </a:lnTo>
                <a:lnTo>
                  <a:pt x="878" y="161"/>
                </a:lnTo>
                <a:lnTo>
                  <a:pt x="890" y="149"/>
                </a:lnTo>
                <a:lnTo>
                  <a:pt x="899" y="140"/>
                </a:lnTo>
                <a:lnTo>
                  <a:pt x="906" y="135"/>
                </a:lnTo>
                <a:lnTo>
                  <a:pt x="911" y="130"/>
                </a:lnTo>
                <a:lnTo>
                  <a:pt x="918" y="130"/>
                </a:lnTo>
                <a:lnTo>
                  <a:pt x="925" y="130"/>
                </a:lnTo>
                <a:lnTo>
                  <a:pt x="932" y="135"/>
                </a:lnTo>
                <a:lnTo>
                  <a:pt x="936" y="140"/>
                </a:lnTo>
                <a:lnTo>
                  <a:pt x="939" y="147"/>
                </a:lnTo>
                <a:lnTo>
                  <a:pt x="939" y="154"/>
                </a:lnTo>
                <a:lnTo>
                  <a:pt x="936" y="161"/>
                </a:lnTo>
                <a:lnTo>
                  <a:pt x="932" y="165"/>
                </a:lnTo>
                <a:lnTo>
                  <a:pt x="922" y="177"/>
                </a:lnTo>
                <a:lnTo>
                  <a:pt x="913" y="191"/>
                </a:lnTo>
                <a:lnTo>
                  <a:pt x="901" y="207"/>
                </a:lnTo>
                <a:lnTo>
                  <a:pt x="927" y="233"/>
                </a:lnTo>
                <a:lnTo>
                  <a:pt x="943" y="221"/>
                </a:lnTo>
                <a:lnTo>
                  <a:pt x="957" y="212"/>
                </a:lnTo>
                <a:lnTo>
                  <a:pt x="969" y="205"/>
                </a:lnTo>
                <a:lnTo>
                  <a:pt x="976" y="200"/>
                </a:lnTo>
                <a:lnTo>
                  <a:pt x="983" y="198"/>
                </a:lnTo>
                <a:lnTo>
                  <a:pt x="990" y="198"/>
                </a:lnTo>
                <a:lnTo>
                  <a:pt x="994" y="200"/>
                </a:lnTo>
                <a:lnTo>
                  <a:pt x="1001" y="205"/>
                </a:lnTo>
                <a:lnTo>
                  <a:pt x="1004" y="209"/>
                </a:lnTo>
                <a:lnTo>
                  <a:pt x="1006" y="216"/>
                </a:lnTo>
                <a:lnTo>
                  <a:pt x="1004" y="223"/>
                </a:lnTo>
                <a:lnTo>
                  <a:pt x="999" y="230"/>
                </a:lnTo>
                <a:lnTo>
                  <a:pt x="994" y="235"/>
                </a:lnTo>
                <a:lnTo>
                  <a:pt x="985" y="244"/>
                </a:lnTo>
                <a:lnTo>
                  <a:pt x="973" y="258"/>
                </a:lnTo>
                <a:lnTo>
                  <a:pt x="959" y="270"/>
                </a:lnTo>
                <a:lnTo>
                  <a:pt x="980" y="300"/>
                </a:lnTo>
                <a:lnTo>
                  <a:pt x="997" y="293"/>
                </a:lnTo>
                <a:lnTo>
                  <a:pt x="1013" y="286"/>
                </a:lnTo>
                <a:lnTo>
                  <a:pt x="1025" y="279"/>
                </a:lnTo>
                <a:lnTo>
                  <a:pt x="1032" y="277"/>
                </a:lnTo>
                <a:lnTo>
                  <a:pt x="1039" y="275"/>
                </a:lnTo>
                <a:lnTo>
                  <a:pt x="1046" y="277"/>
                </a:lnTo>
                <a:lnTo>
                  <a:pt x="1053" y="279"/>
                </a:lnTo>
                <a:lnTo>
                  <a:pt x="1057" y="284"/>
                </a:lnTo>
                <a:lnTo>
                  <a:pt x="1060" y="291"/>
                </a:lnTo>
                <a:lnTo>
                  <a:pt x="1060" y="298"/>
                </a:lnTo>
                <a:lnTo>
                  <a:pt x="1057" y="303"/>
                </a:lnTo>
                <a:lnTo>
                  <a:pt x="1055" y="307"/>
                </a:lnTo>
                <a:lnTo>
                  <a:pt x="1053" y="310"/>
                </a:lnTo>
                <a:lnTo>
                  <a:pt x="1046" y="314"/>
                </a:lnTo>
                <a:lnTo>
                  <a:pt x="1034" y="324"/>
                </a:lnTo>
                <a:lnTo>
                  <a:pt x="1020" y="333"/>
                </a:lnTo>
                <a:lnTo>
                  <a:pt x="1004" y="344"/>
                </a:lnTo>
                <a:lnTo>
                  <a:pt x="1020" y="377"/>
                </a:lnTo>
                <a:lnTo>
                  <a:pt x="1043" y="370"/>
                </a:lnTo>
                <a:lnTo>
                  <a:pt x="1064" y="365"/>
                </a:lnTo>
                <a:lnTo>
                  <a:pt x="1076" y="361"/>
                </a:lnTo>
                <a:lnTo>
                  <a:pt x="1083" y="361"/>
                </a:lnTo>
                <a:lnTo>
                  <a:pt x="1090" y="363"/>
                </a:lnTo>
                <a:lnTo>
                  <a:pt x="1094" y="368"/>
                </a:lnTo>
                <a:lnTo>
                  <a:pt x="1097" y="375"/>
                </a:lnTo>
                <a:lnTo>
                  <a:pt x="1099" y="382"/>
                </a:lnTo>
                <a:lnTo>
                  <a:pt x="1097" y="389"/>
                </a:lnTo>
                <a:lnTo>
                  <a:pt x="1094" y="393"/>
                </a:lnTo>
                <a:lnTo>
                  <a:pt x="1087" y="398"/>
                </a:lnTo>
                <a:lnTo>
                  <a:pt x="1081" y="403"/>
                </a:lnTo>
                <a:lnTo>
                  <a:pt x="1069" y="407"/>
                </a:lnTo>
                <a:lnTo>
                  <a:pt x="1053" y="414"/>
                </a:lnTo>
                <a:lnTo>
                  <a:pt x="1036" y="424"/>
                </a:lnTo>
                <a:lnTo>
                  <a:pt x="1046" y="459"/>
                </a:lnTo>
                <a:lnTo>
                  <a:pt x="1071" y="456"/>
                </a:lnTo>
                <a:lnTo>
                  <a:pt x="1092" y="454"/>
                </a:lnTo>
                <a:lnTo>
                  <a:pt x="1104" y="454"/>
                </a:lnTo>
                <a:lnTo>
                  <a:pt x="1111" y="454"/>
                </a:lnTo>
                <a:lnTo>
                  <a:pt x="1115" y="459"/>
                </a:lnTo>
                <a:lnTo>
                  <a:pt x="1120" y="463"/>
                </a:lnTo>
                <a:lnTo>
                  <a:pt x="1122" y="470"/>
                </a:lnTo>
                <a:lnTo>
                  <a:pt x="1122" y="477"/>
                </a:lnTo>
                <a:lnTo>
                  <a:pt x="1120" y="484"/>
                </a:lnTo>
                <a:lnTo>
                  <a:pt x="1115" y="489"/>
                </a:lnTo>
                <a:lnTo>
                  <a:pt x="1111" y="491"/>
                </a:lnTo>
                <a:lnTo>
                  <a:pt x="1099" y="496"/>
                </a:lnTo>
                <a:lnTo>
                  <a:pt x="1078" y="500"/>
                </a:lnTo>
                <a:lnTo>
                  <a:pt x="1055" y="507"/>
                </a:lnTo>
                <a:lnTo>
                  <a:pt x="1057" y="542"/>
                </a:lnTo>
                <a:lnTo>
                  <a:pt x="1081" y="545"/>
                </a:lnTo>
                <a:lnTo>
                  <a:pt x="1101" y="547"/>
                </a:lnTo>
                <a:lnTo>
                  <a:pt x="1115" y="549"/>
                </a:lnTo>
                <a:lnTo>
                  <a:pt x="1120" y="549"/>
                </a:lnTo>
                <a:lnTo>
                  <a:pt x="1127" y="554"/>
                </a:lnTo>
                <a:lnTo>
                  <a:pt x="1129" y="561"/>
                </a:lnTo>
                <a:lnTo>
                  <a:pt x="1132" y="568"/>
                </a:lnTo>
                <a:lnTo>
                  <a:pt x="1129" y="575"/>
                </a:lnTo>
                <a:lnTo>
                  <a:pt x="1127" y="582"/>
                </a:lnTo>
                <a:lnTo>
                  <a:pt x="1120" y="584"/>
                </a:lnTo>
                <a:lnTo>
                  <a:pt x="1113" y="587"/>
                </a:lnTo>
                <a:lnTo>
                  <a:pt x="1101" y="589"/>
                </a:lnTo>
                <a:lnTo>
                  <a:pt x="1081" y="591"/>
                </a:lnTo>
                <a:lnTo>
                  <a:pt x="1057" y="594"/>
                </a:lnTo>
                <a:lnTo>
                  <a:pt x="1053" y="629"/>
                </a:lnTo>
                <a:lnTo>
                  <a:pt x="1078" y="636"/>
                </a:lnTo>
                <a:lnTo>
                  <a:pt x="1097" y="640"/>
                </a:lnTo>
                <a:lnTo>
                  <a:pt x="1108" y="645"/>
                </a:lnTo>
                <a:lnTo>
                  <a:pt x="1115" y="647"/>
                </a:lnTo>
                <a:lnTo>
                  <a:pt x="1120" y="652"/>
                </a:lnTo>
                <a:lnTo>
                  <a:pt x="1122" y="659"/>
                </a:lnTo>
                <a:lnTo>
                  <a:pt x="1122" y="666"/>
                </a:lnTo>
                <a:lnTo>
                  <a:pt x="1120" y="673"/>
                </a:lnTo>
                <a:lnTo>
                  <a:pt x="1115" y="677"/>
                </a:lnTo>
                <a:lnTo>
                  <a:pt x="1108" y="682"/>
                </a:lnTo>
                <a:lnTo>
                  <a:pt x="1101" y="682"/>
                </a:lnTo>
                <a:lnTo>
                  <a:pt x="1090" y="682"/>
                </a:lnTo>
                <a:lnTo>
                  <a:pt x="1069" y="680"/>
                </a:lnTo>
                <a:lnTo>
                  <a:pt x="1046" y="677"/>
                </a:lnTo>
                <a:lnTo>
                  <a:pt x="1036" y="712"/>
                </a:lnTo>
                <a:lnTo>
                  <a:pt x="1053" y="719"/>
                </a:lnTo>
                <a:lnTo>
                  <a:pt x="1067" y="726"/>
                </a:lnTo>
                <a:lnTo>
                  <a:pt x="1081" y="733"/>
                </a:lnTo>
                <a:lnTo>
                  <a:pt x="1087" y="736"/>
                </a:lnTo>
                <a:lnTo>
                  <a:pt x="1092" y="740"/>
                </a:lnTo>
                <a:lnTo>
                  <a:pt x="1094" y="743"/>
                </a:lnTo>
                <a:lnTo>
                  <a:pt x="1097" y="747"/>
                </a:lnTo>
                <a:lnTo>
                  <a:pt x="1097" y="754"/>
                </a:lnTo>
                <a:lnTo>
                  <a:pt x="1097" y="761"/>
                </a:lnTo>
                <a:lnTo>
                  <a:pt x="1092" y="768"/>
                </a:lnTo>
                <a:lnTo>
                  <a:pt x="1087" y="771"/>
                </a:lnTo>
                <a:lnTo>
                  <a:pt x="1081" y="773"/>
                </a:lnTo>
                <a:lnTo>
                  <a:pt x="1074" y="773"/>
                </a:lnTo>
                <a:lnTo>
                  <a:pt x="1062" y="771"/>
                </a:lnTo>
                <a:lnTo>
                  <a:pt x="1041" y="766"/>
                </a:lnTo>
                <a:lnTo>
                  <a:pt x="1018" y="759"/>
                </a:lnTo>
                <a:lnTo>
                  <a:pt x="1004" y="792"/>
                </a:lnTo>
                <a:lnTo>
                  <a:pt x="1018" y="801"/>
                </a:lnTo>
                <a:lnTo>
                  <a:pt x="1032" y="813"/>
                </a:lnTo>
                <a:lnTo>
                  <a:pt x="1043" y="819"/>
                </a:lnTo>
                <a:lnTo>
                  <a:pt x="1050" y="824"/>
                </a:lnTo>
                <a:lnTo>
                  <a:pt x="1055" y="829"/>
                </a:lnTo>
                <a:lnTo>
                  <a:pt x="1057" y="836"/>
                </a:lnTo>
                <a:lnTo>
                  <a:pt x="1057" y="843"/>
                </a:lnTo>
                <a:lnTo>
                  <a:pt x="1055" y="850"/>
                </a:lnTo>
                <a:lnTo>
                  <a:pt x="1050" y="854"/>
                </a:lnTo>
                <a:lnTo>
                  <a:pt x="1043" y="859"/>
                </a:lnTo>
                <a:lnTo>
                  <a:pt x="1036" y="859"/>
                </a:lnTo>
                <a:lnTo>
                  <a:pt x="1029" y="859"/>
                </a:lnTo>
                <a:lnTo>
                  <a:pt x="1022" y="854"/>
                </a:lnTo>
                <a:lnTo>
                  <a:pt x="1011" y="850"/>
                </a:lnTo>
                <a:lnTo>
                  <a:pt x="994" y="843"/>
                </a:lnTo>
                <a:lnTo>
                  <a:pt x="978" y="833"/>
                </a:lnTo>
                <a:lnTo>
                  <a:pt x="957" y="864"/>
                </a:lnTo>
                <a:lnTo>
                  <a:pt x="969" y="878"/>
                </a:lnTo>
                <a:lnTo>
                  <a:pt x="983" y="889"/>
                </a:lnTo>
                <a:lnTo>
                  <a:pt x="992" y="899"/>
                </a:lnTo>
                <a:lnTo>
                  <a:pt x="997" y="906"/>
                </a:lnTo>
                <a:lnTo>
                  <a:pt x="1001" y="910"/>
                </a:lnTo>
                <a:lnTo>
                  <a:pt x="1001" y="917"/>
                </a:lnTo>
                <a:lnTo>
                  <a:pt x="1001" y="924"/>
                </a:lnTo>
                <a:lnTo>
                  <a:pt x="997" y="931"/>
                </a:lnTo>
                <a:lnTo>
                  <a:pt x="992" y="936"/>
                </a:lnTo>
                <a:lnTo>
                  <a:pt x="985" y="938"/>
                </a:lnTo>
                <a:lnTo>
                  <a:pt x="978" y="938"/>
                </a:lnTo>
                <a:lnTo>
                  <a:pt x="971" y="934"/>
                </a:lnTo>
                <a:lnTo>
                  <a:pt x="966" y="929"/>
                </a:lnTo>
                <a:lnTo>
                  <a:pt x="955" y="922"/>
                </a:lnTo>
                <a:lnTo>
                  <a:pt x="941" y="913"/>
                </a:lnTo>
                <a:lnTo>
                  <a:pt x="925" y="901"/>
                </a:lnTo>
                <a:lnTo>
                  <a:pt x="899" y="927"/>
                </a:lnTo>
                <a:lnTo>
                  <a:pt x="911" y="943"/>
                </a:lnTo>
                <a:lnTo>
                  <a:pt x="920" y="957"/>
                </a:lnTo>
                <a:lnTo>
                  <a:pt x="927" y="969"/>
                </a:lnTo>
                <a:lnTo>
                  <a:pt x="932" y="976"/>
                </a:lnTo>
                <a:lnTo>
                  <a:pt x="934" y="980"/>
                </a:lnTo>
                <a:lnTo>
                  <a:pt x="934" y="987"/>
                </a:lnTo>
                <a:lnTo>
                  <a:pt x="932" y="994"/>
                </a:lnTo>
                <a:lnTo>
                  <a:pt x="927" y="999"/>
                </a:lnTo>
                <a:lnTo>
                  <a:pt x="922" y="1003"/>
                </a:lnTo>
                <a:lnTo>
                  <a:pt x="915" y="1003"/>
                </a:lnTo>
                <a:lnTo>
                  <a:pt x="908" y="1003"/>
                </a:lnTo>
                <a:lnTo>
                  <a:pt x="901" y="999"/>
                </a:lnTo>
                <a:lnTo>
                  <a:pt x="897" y="994"/>
                </a:lnTo>
                <a:lnTo>
                  <a:pt x="887" y="985"/>
                </a:lnTo>
                <a:lnTo>
                  <a:pt x="873" y="971"/>
                </a:lnTo>
                <a:lnTo>
                  <a:pt x="862" y="959"/>
                </a:lnTo>
                <a:lnTo>
                  <a:pt x="831" y="980"/>
                </a:lnTo>
                <a:lnTo>
                  <a:pt x="838" y="996"/>
                </a:lnTo>
                <a:lnTo>
                  <a:pt x="845" y="1013"/>
                </a:lnTo>
                <a:lnTo>
                  <a:pt x="852" y="1024"/>
                </a:lnTo>
                <a:lnTo>
                  <a:pt x="855" y="1031"/>
                </a:lnTo>
                <a:lnTo>
                  <a:pt x="857" y="1038"/>
                </a:lnTo>
                <a:lnTo>
                  <a:pt x="855" y="1045"/>
                </a:lnTo>
                <a:lnTo>
                  <a:pt x="852" y="1052"/>
                </a:lnTo>
                <a:lnTo>
                  <a:pt x="845" y="1055"/>
                </a:lnTo>
                <a:lnTo>
                  <a:pt x="841" y="1059"/>
                </a:lnTo>
                <a:lnTo>
                  <a:pt x="834" y="1059"/>
                </a:lnTo>
                <a:lnTo>
                  <a:pt x="829" y="1055"/>
                </a:lnTo>
                <a:lnTo>
                  <a:pt x="824" y="1055"/>
                </a:lnTo>
                <a:lnTo>
                  <a:pt x="822" y="1050"/>
                </a:lnTo>
                <a:lnTo>
                  <a:pt x="817" y="1045"/>
                </a:lnTo>
                <a:lnTo>
                  <a:pt x="808" y="1034"/>
                </a:lnTo>
                <a:lnTo>
                  <a:pt x="799" y="1020"/>
                </a:lnTo>
                <a:lnTo>
                  <a:pt x="787" y="1003"/>
                </a:lnTo>
                <a:lnTo>
                  <a:pt x="755" y="1020"/>
                </a:lnTo>
                <a:lnTo>
                  <a:pt x="762" y="1043"/>
                </a:lnTo>
                <a:lnTo>
                  <a:pt x="766" y="1064"/>
                </a:lnTo>
                <a:lnTo>
                  <a:pt x="771" y="1076"/>
                </a:lnTo>
                <a:lnTo>
                  <a:pt x="771" y="1083"/>
                </a:lnTo>
                <a:lnTo>
                  <a:pt x="769" y="1087"/>
                </a:lnTo>
                <a:lnTo>
                  <a:pt x="764" y="1094"/>
                </a:lnTo>
                <a:lnTo>
                  <a:pt x="757" y="1097"/>
                </a:lnTo>
                <a:lnTo>
                  <a:pt x="750" y="1099"/>
                </a:lnTo>
                <a:lnTo>
                  <a:pt x="743" y="1097"/>
                </a:lnTo>
                <a:lnTo>
                  <a:pt x="738" y="1094"/>
                </a:lnTo>
                <a:lnTo>
                  <a:pt x="734" y="1087"/>
                </a:lnTo>
                <a:lnTo>
                  <a:pt x="729" y="1080"/>
                </a:lnTo>
                <a:lnTo>
                  <a:pt x="724" y="1069"/>
                </a:lnTo>
                <a:lnTo>
                  <a:pt x="717" y="1052"/>
                </a:lnTo>
                <a:lnTo>
                  <a:pt x="708" y="1036"/>
                </a:lnTo>
                <a:lnTo>
                  <a:pt x="673" y="1045"/>
                </a:lnTo>
                <a:lnTo>
                  <a:pt x="675" y="1069"/>
                </a:lnTo>
                <a:lnTo>
                  <a:pt x="678" y="1090"/>
                </a:lnTo>
                <a:lnTo>
                  <a:pt x="678" y="1101"/>
                </a:lnTo>
                <a:lnTo>
                  <a:pt x="678" y="1111"/>
                </a:lnTo>
                <a:lnTo>
                  <a:pt x="673" y="1115"/>
                </a:lnTo>
                <a:lnTo>
                  <a:pt x="668" y="1120"/>
                </a:lnTo>
                <a:lnTo>
                  <a:pt x="661" y="1122"/>
                </a:lnTo>
                <a:lnTo>
                  <a:pt x="654" y="1122"/>
                </a:lnTo>
                <a:lnTo>
                  <a:pt x="648" y="1120"/>
                </a:lnTo>
                <a:lnTo>
                  <a:pt x="643" y="1115"/>
                </a:lnTo>
                <a:lnTo>
                  <a:pt x="641" y="1108"/>
                </a:lnTo>
                <a:lnTo>
                  <a:pt x="636" y="1097"/>
                </a:lnTo>
                <a:lnTo>
                  <a:pt x="631" y="1078"/>
                </a:lnTo>
                <a:lnTo>
                  <a:pt x="624" y="1052"/>
                </a:lnTo>
                <a:lnTo>
                  <a:pt x="589" y="1055"/>
                </a:lnTo>
                <a:lnTo>
                  <a:pt x="587" y="1080"/>
                </a:lnTo>
                <a:lnTo>
                  <a:pt x="585" y="1101"/>
                </a:lnTo>
                <a:lnTo>
                  <a:pt x="582" y="1113"/>
                </a:lnTo>
                <a:lnTo>
                  <a:pt x="582" y="1120"/>
                </a:lnTo>
                <a:lnTo>
                  <a:pt x="578" y="1127"/>
                </a:lnTo>
                <a:lnTo>
                  <a:pt x="571" y="1129"/>
                </a:lnTo>
                <a:lnTo>
                  <a:pt x="564" y="1132"/>
                </a:lnTo>
                <a:lnTo>
                  <a:pt x="557" y="1129"/>
                </a:lnTo>
                <a:lnTo>
                  <a:pt x="550" y="1125"/>
                </a:lnTo>
                <a:lnTo>
                  <a:pt x="547" y="1120"/>
                </a:lnTo>
                <a:lnTo>
                  <a:pt x="545" y="1113"/>
                </a:lnTo>
                <a:lnTo>
                  <a:pt x="543" y="1101"/>
                </a:lnTo>
                <a:lnTo>
                  <a:pt x="540" y="1080"/>
                </a:lnTo>
                <a:lnTo>
                  <a:pt x="538" y="1055"/>
                </a:lnTo>
                <a:lnTo>
                  <a:pt x="503" y="1052"/>
                </a:lnTo>
                <a:lnTo>
                  <a:pt x="496" y="1076"/>
                </a:lnTo>
                <a:lnTo>
                  <a:pt x="492" y="1097"/>
                </a:lnTo>
                <a:lnTo>
                  <a:pt x="487" y="1108"/>
                </a:lnTo>
                <a:lnTo>
                  <a:pt x="485" y="1115"/>
                </a:lnTo>
                <a:lnTo>
                  <a:pt x="480" y="1120"/>
                </a:lnTo>
                <a:lnTo>
                  <a:pt x="473" y="1122"/>
                </a:lnTo>
                <a:lnTo>
                  <a:pt x="466" y="1122"/>
                </a:lnTo>
                <a:lnTo>
                  <a:pt x="459" y="1120"/>
                </a:lnTo>
                <a:lnTo>
                  <a:pt x="454" y="1115"/>
                </a:lnTo>
                <a:lnTo>
                  <a:pt x="450" y="1108"/>
                </a:lnTo>
                <a:lnTo>
                  <a:pt x="450" y="1101"/>
                </a:lnTo>
                <a:lnTo>
                  <a:pt x="450" y="1090"/>
                </a:lnTo>
                <a:lnTo>
                  <a:pt x="452" y="1069"/>
                </a:lnTo>
                <a:lnTo>
                  <a:pt x="454" y="1043"/>
                </a:lnTo>
                <a:lnTo>
                  <a:pt x="419" y="1034"/>
                </a:lnTo>
                <a:lnTo>
                  <a:pt x="412" y="1052"/>
                </a:lnTo>
                <a:lnTo>
                  <a:pt x="403" y="1066"/>
                </a:lnTo>
                <a:lnTo>
                  <a:pt x="398" y="1080"/>
                </a:lnTo>
                <a:lnTo>
                  <a:pt x="394" y="1087"/>
                </a:lnTo>
                <a:lnTo>
                  <a:pt x="391" y="1092"/>
                </a:lnTo>
                <a:lnTo>
                  <a:pt x="384" y="1097"/>
                </a:lnTo>
                <a:lnTo>
                  <a:pt x="377" y="1097"/>
                </a:lnTo>
                <a:lnTo>
                  <a:pt x="370" y="1097"/>
                </a:lnTo>
                <a:lnTo>
                  <a:pt x="364" y="1092"/>
                </a:lnTo>
                <a:lnTo>
                  <a:pt x="361" y="1087"/>
                </a:lnTo>
                <a:lnTo>
                  <a:pt x="359" y="1080"/>
                </a:lnTo>
                <a:lnTo>
                  <a:pt x="359" y="1073"/>
                </a:lnTo>
                <a:lnTo>
                  <a:pt x="361" y="1062"/>
                </a:lnTo>
                <a:lnTo>
                  <a:pt x="366" y="1041"/>
                </a:lnTo>
                <a:lnTo>
                  <a:pt x="373" y="1017"/>
                </a:lnTo>
                <a:lnTo>
                  <a:pt x="340" y="1001"/>
                </a:lnTo>
                <a:lnTo>
                  <a:pt x="329" y="1017"/>
                </a:lnTo>
                <a:lnTo>
                  <a:pt x="319" y="1031"/>
                </a:lnTo>
                <a:lnTo>
                  <a:pt x="312" y="1043"/>
                </a:lnTo>
                <a:lnTo>
                  <a:pt x="308" y="1048"/>
                </a:lnTo>
                <a:lnTo>
                  <a:pt x="301" y="1055"/>
                </a:lnTo>
                <a:lnTo>
                  <a:pt x="296" y="1055"/>
                </a:lnTo>
                <a:lnTo>
                  <a:pt x="289" y="1055"/>
                </a:lnTo>
                <a:lnTo>
                  <a:pt x="282" y="1055"/>
                </a:lnTo>
                <a:lnTo>
                  <a:pt x="275" y="1050"/>
                </a:lnTo>
                <a:lnTo>
                  <a:pt x="273" y="1043"/>
                </a:lnTo>
                <a:lnTo>
                  <a:pt x="273" y="1036"/>
                </a:lnTo>
                <a:lnTo>
                  <a:pt x="273" y="1029"/>
                </a:lnTo>
                <a:lnTo>
                  <a:pt x="277" y="1022"/>
                </a:lnTo>
                <a:lnTo>
                  <a:pt x="282" y="1010"/>
                </a:lnTo>
                <a:lnTo>
                  <a:pt x="289" y="994"/>
                </a:lnTo>
                <a:lnTo>
                  <a:pt x="298" y="978"/>
                </a:lnTo>
                <a:lnTo>
                  <a:pt x="268" y="957"/>
                </a:lnTo>
                <a:lnTo>
                  <a:pt x="254" y="969"/>
                </a:lnTo>
                <a:lnTo>
                  <a:pt x="242" y="980"/>
                </a:lnTo>
                <a:lnTo>
                  <a:pt x="233" y="992"/>
                </a:lnTo>
                <a:lnTo>
                  <a:pt x="226" y="996"/>
                </a:lnTo>
                <a:lnTo>
                  <a:pt x="222" y="1001"/>
                </a:lnTo>
                <a:lnTo>
                  <a:pt x="215" y="1001"/>
                </a:lnTo>
                <a:lnTo>
                  <a:pt x="208" y="1001"/>
                </a:lnTo>
                <a:lnTo>
                  <a:pt x="201" y="996"/>
                </a:lnTo>
                <a:lnTo>
                  <a:pt x="196" y="992"/>
                </a:lnTo>
                <a:lnTo>
                  <a:pt x="194" y="985"/>
                </a:lnTo>
                <a:lnTo>
                  <a:pt x="194" y="978"/>
                </a:lnTo>
                <a:lnTo>
                  <a:pt x="198" y="971"/>
                </a:lnTo>
                <a:lnTo>
                  <a:pt x="201" y="964"/>
                </a:lnTo>
                <a:lnTo>
                  <a:pt x="210" y="955"/>
                </a:lnTo>
                <a:lnTo>
                  <a:pt x="219" y="938"/>
                </a:lnTo>
                <a:lnTo>
                  <a:pt x="231" y="924"/>
                </a:lnTo>
                <a:lnTo>
                  <a:pt x="205" y="899"/>
                </a:lnTo>
                <a:lnTo>
                  <a:pt x="189" y="908"/>
                </a:lnTo>
                <a:lnTo>
                  <a:pt x="175" y="920"/>
                </a:lnTo>
                <a:lnTo>
                  <a:pt x="163" y="927"/>
                </a:lnTo>
                <a:lnTo>
                  <a:pt x="156" y="931"/>
                </a:lnTo>
                <a:lnTo>
                  <a:pt x="152" y="934"/>
                </a:lnTo>
                <a:lnTo>
                  <a:pt x="145" y="934"/>
                </a:lnTo>
                <a:lnTo>
                  <a:pt x="138" y="931"/>
                </a:lnTo>
                <a:lnTo>
                  <a:pt x="131" y="927"/>
                </a:lnTo>
                <a:lnTo>
                  <a:pt x="128" y="920"/>
                </a:lnTo>
                <a:lnTo>
                  <a:pt x="126" y="913"/>
                </a:lnTo>
                <a:lnTo>
                  <a:pt x="128" y="908"/>
                </a:lnTo>
                <a:lnTo>
                  <a:pt x="133" y="901"/>
                </a:lnTo>
                <a:lnTo>
                  <a:pt x="138" y="896"/>
                </a:lnTo>
                <a:lnTo>
                  <a:pt x="147" y="885"/>
                </a:lnTo>
                <a:lnTo>
                  <a:pt x="161" y="873"/>
                </a:lnTo>
                <a:lnTo>
                  <a:pt x="173" y="859"/>
                </a:lnTo>
                <a:lnTo>
                  <a:pt x="152" y="831"/>
                </a:lnTo>
                <a:lnTo>
                  <a:pt x="135" y="838"/>
                </a:lnTo>
                <a:lnTo>
                  <a:pt x="119" y="845"/>
                </a:lnTo>
                <a:lnTo>
                  <a:pt x="107" y="852"/>
                </a:lnTo>
                <a:lnTo>
                  <a:pt x="100" y="854"/>
                </a:lnTo>
                <a:lnTo>
                  <a:pt x="93" y="857"/>
                </a:lnTo>
                <a:lnTo>
                  <a:pt x="86" y="854"/>
                </a:lnTo>
                <a:lnTo>
                  <a:pt x="80" y="852"/>
                </a:lnTo>
                <a:lnTo>
                  <a:pt x="75" y="845"/>
                </a:lnTo>
                <a:lnTo>
                  <a:pt x="73" y="838"/>
                </a:lnTo>
                <a:lnTo>
                  <a:pt x="73" y="831"/>
                </a:lnTo>
                <a:lnTo>
                  <a:pt x="75" y="829"/>
                </a:lnTo>
                <a:lnTo>
                  <a:pt x="77" y="824"/>
                </a:lnTo>
                <a:lnTo>
                  <a:pt x="82" y="819"/>
                </a:lnTo>
                <a:lnTo>
                  <a:pt x="86" y="815"/>
                </a:lnTo>
                <a:lnTo>
                  <a:pt x="98" y="808"/>
                </a:lnTo>
                <a:lnTo>
                  <a:pt x="112" y="799"/>
                </a:lnTo>
                <a:lnTo>
                  <a:pt x="128" y="787"/>
                </a:lnTo>
                <a:lnTo>
                  <a:pt x="112" y="754"/>
                </a:lnTo>
                <a:lnTo>
                  <a:pt x="89" y="761"/>
                </a:lnTo>
                <a:lnTo>
                  <a:pt x="68" y="766"/>
                </a:lnTo>
                <a:lnTo>
                  <a:pt x="56" y="768"/>
                </a:lnTo>
                <a:lnTo>
                  <a:pt x="49" y="768"/>
                </a:lnTo>
                <a:lnTo>
                  <a:pt x="42" y="766"/>
                </a:lnTo>
                <a:lnTo>
                  <a:pt x="38" y="764"/>
                </a:lnTo>
                <a:lnTo>
                  <a:pt x="35" y="757"/>
                </a:lnTo>
                <a:lnTo>
                  <a:pt x="33" y="750"/>
                </a:lnTo>
                <a:lnTo>
                  <a:pt x="35" y="743"/>
                </a:lnTo>
                <a:lnTo>
                  <a:pt x="38" y="738"/>
                </a:lnTo>
                <a:lnTo>
                  <a:pt x="40" y="736"/>
                </a:lnTo>
                <a:lnTo>
                  <a:pt x="45" y="733"/>
                </a:lnTo>
                <a:lnTo>
                  <a:pt x="52" y="729"/>
                </a:lnTo>
                <a:lnTo>
                  <a:pt x="63" y="724"/>
                </a:lnTo>
                <a:lnTo>
                  <a:pt x="80" y="715"/>
                </a:lnTo>
                <a:lnTo>
                  <a:pt x="96" y="708"/>
                </a:lnTo>
                <a:lnTo>
                  <a:pt x="86" y="673"/>
                </a:lnTo>
                <a:lnTo>
                  <a:pt x="63" y="675"/>
                </a:lnTo>
                <a:lnTo>
                  <a:pt x="42" y="677"/>
                </a:lnTo>
                <a:lnTo>
                  <a:pt x="28" y="677"/>
                </a:lnTo>
                <a:lnTo>
                  <a:pt x="21" y="677"/>
                </a:lnTo>
                <a:lnTo>
                  <a:pt x="17" y="673"/>
                </a:lnTo>
                <a:lnTo>
                  <a:pt x="12" y="668"/>
                </a:lnTo>
                <a:lnTo>
                  <a:pt x="10" y="661"/>
                </a:lnTo>
                <a:lnTo>
                  <a:pt x="10" y="654"/>
                </a:lnTo>
                <a:lnTo>
                  <a:pt x="12" y="647"/>
                </a:lnTo>
                <a:lnTo>
                  <a:pt x="17" y="643"/>
                </a:lnTo>
                <a:lnTo>
                  <a:pt x="24" y="638"/>
                </a:lnTo>
                <a:lnTo>
                  <a:pt x="35" y="636"/>
                </a:lnTo>
                <a:lnTo>
                  <a:pt x="54" y="631"/>
                </a:lnTo>
                <a:lnTo>
                  <a:pt x="80" y="624"/>
                </a:lnTo>
                <a:lnTo>
                  <a:pt x="75" y="589"/>
                </a:lnTo>
                <a:lnTo>
                  <a:pt x="52" y="587"/>
                </a:lnTo>
                <a:lnTo>
                  <a:pt x="31" y="584"/>
                </a:lnTo>
                <a:lnTo>
                  <a:pt x="19" y="582"/>
                </a:lnTo>
                <a:lnTo>
                  <a:pt x="12" y="580"/>
                </a:lnTo>
                <a:lnTo>
                  <a:pt x="5" y="575"/>
                </a:lnTo>
                <a:lnTo>
                  <a:pt x="3" y="570"/>
                </a:lnTo>
                <a:lnTo>
                  <a:pt x="0" y="563"/>
                </a:lnTo>
                <a:lnTo>
                  <a:pt x="3" y="556"/>
                </a:lnTo>
                <a:lnTo>
                  <a:pt x="5" y="549"/>
                </a:lnTo>
                <a:lnTo>
                  <a:pt x="12" y="545"/>
                </a:lnTo>
                <a:lnTo>
                  <a:pt x="19" y="542"/>
                </a:lnTo>
                <a:lnTo>
                  <a:pt x="31" y="542"/>
                </a:lnTo>
                <a:lnTo>
                  <a:pt x="52" y="540"/>
                </a:lnTo>
                <a:lnTo>
                  <a:pt x="75" y="538"/>
                </a:lnTo>
                <a:lnTo>
                  <a:pt x="80" y="503"/>
                </a:lnTo>
                <a:lnTo>
                  <a:pt x="56" y="496"/>
                </a:lnTo>
                <a:lnTo>
                  <a:pt x="35" y="491"/>
                </a:lnTo>
                <a:lnTo>
                  <a:pt x="24" y="487"/>
                </a:lnTo>
                <a:lnTo>
                  <a:pt x="17" y="484"/>
                </a:lnTo>
                <a:lnTo>
                  <a:pt x="12" y="480"/>
                </a:lnTo>
                <a:lnTo>
                  <a:pt x="10" y="473"/>
                </a:lnTo>
                <a:lnTo>
                  <a:pt x="10" y="466"/>
                </a:lnTo>
                <a:lnTo>
                  <a:pt x="12" y="459"/>
                </a:lnTo>
                <a:lnTo>
                  <a:pt x="17" y="454"/>
                </a:lnTo>
                <a:lnTo>
                  <a:pt x="24" y="449"/>
                </a:lnTo>
                <a:lnTo>
                  <a:pt x="31" y="449"/>
                </a:lnTo>
                <a:lnTo>
                  <a:pt x="42" y="449"/>
                </a:lnTo>
                <a:lnTo>
                  <a:pt x="63" y="452"/>
                </a:lnTo>
                <a:lnTo>
                  <a:pt x="89" y="454"/>
                </a:lnTo>
                <a:lnTo>
                  <a:pt x="98" y="419"/>
                </a:lnTo>
                <a:lnTo>
                  <a:pt x="80" y="412"/>
                </a:lnTo>
                <a:lnTo>
                  <a:pt x="66" y="403"/>
                </a:lnTo>
                <a:lnTo>
                  <a:pt x="52" y="398"/>
                </a:lnTo>
                <a:lnTo>
                  <a:pt x="45" y="393"/>
                </a:lnTo>
                <a:lnTo>
                  <a:pt x="42" y="391"/>
                </a:lnTo>
                <a:lnTo>
                  <a:pt x="38" y="389"/>
                </a:lnTo>
                <a:lnTo>
                  <a:pt x="35" y="384"/>
                </a:lnTo>
                <a:lnTo>
                  <a:pt x="35" y="377"/>
                </a:lnTo>
                <a:lnTo>
                  <a:pt x="35" y="370"/>
                </a:lnTo>
                <a:lnTo>
                  <a:pt x="40" y="363"/>
                </a:lnTo>
                <a:lnTo>
                  <a:pt x="45" y="358"/>
                </a:lnTo>
                <a:lnTo>
                  <a:pt x="52" y="356"/>
                </a:lnTo>
                <a:lnTo>
                  <a:pt x="59" y="358"/>
                </a:lnTo>
                <a:lnTo>
                  <a:pt x="70" y="361"/>
                </a:lnTo>
                <a:lnTo>
                  <a:pt x="91" y="365"/>
                </a:lnTo>
                <a:lnTo>
                  <a:pt x="114" y="372"/>
                </a:lnTo>
                <a:lnTo>
                  <a:pt x="131" y="340"/>
                </a:lnTo>
                <a:lnTo>
                  <a:pt x="114" y="328"/>
                </a:lnTo>
                <a:lnTo>
                  <a:pt x="100" y="319"/>
                </a:lnTo>
                <a:lnTo>
                  <a:pt x="89" y="310"/>
                </a:lnTo>
                <a:lnTo>
                  <a:pt x="82" y="307"/>
                </a:lnTo>
                <a:lnTo>
                  <a:pt x="80" y="303"/>
                </a:lnTo>
                <a:lnTo>
                  <a:pt x="77" y="298"/>
                </a:lnTo>
                <a:lnTo>
                  <a:pt x="75" y="293"/>
                </a:lnTo>
                <a:lnTo>
                  <a:pt x="75" y="286"/>
                </a:lnTo>
                <a:lnTo>
                  <a:pt x="77" y="282"/>
                </a:lnTo>
                <a:lnTo>
                  <a:pt x="82" y="275"/>
                </a:lnTo>
                <a:lnTo>
                  <a:pt x="89" y="272"/>
                </a:lnTo>
                <a:lnTo>
                  <a:pt x="96" y="270"/>
                </a:lnTo>
                <a:lnTo>
                  <a:pt x="103" y="272"/>
                </a:lnTo>
                <a:lnTo>
                  <a:pt x="110" y="275"/>
                </a:lnTo>
                <a:lnTo>
                  <a:pt x="121" y="282"/>
                </a:lnTo>
                <a:lnTo>
                  <a:pt x="138" y="289"/>
                </a:lnTo>
                <a:lnTo>
                  <a:pt x="154" y="296"/>
                </a:lnTo>
                <a:lnTo>
                  <a:pt x="175" y="268"/>
                </a:lnTo>
                <a:lnTo>
                  <a:pt x="163" y="254"/>
                </a:lnTo>
                <a:lnTo>
                  <a:pt x="149" y="242"/>
                </a:lnTo>
                <a:lnTo>
                  <a:pt x="140" y="233"/>
                </a:lnTo>
                <a:lnTo>
                  <a:pt x="135" y="226"/>
                </a:lnTo>
                <a:lnTo>
                  <a:pt x="131" y="221"/>
                </a:lnTo>
                <a:lnTo>
                  <a:pt x="131" y="214"/>
                </a:lnTo>
                <a:lnTo>
                  <a:pt x="131" y="207"/>
                </a:lnTo>
                <a:lnTo>
                  <a:pt x="135" y="200"/>
                </a:lnTo>
                <a:lnTo>
                  <a:pt x="140" y="195"/>
                </a:lnTo>
                <a:lnTo>
                  <a:pt x="147" y="193"/>
                </a:lnTo>
                <a:lnTo>
                  <a:pt x="154" y="193"/>
                </a:lnTo>
                <a:lnTo>
                  <a:pt x="161" y="195"/>
                </a:lnTo>
                <a:lnTo>
                  <a:pt x="168" y="200"/>
                </a:lnTo>
                <a:lnTo>
                  <a:pt x="177" y="209"/>
                </a:lnTo>
                <a:lnTo>
                  <a:pt x="194" y="219"/>
                </a:lnTo>
                <a:lnTo>
                  <a:pt x="208" y="230"/>
                </a:lnTo>
                <a:lnTo>
                  <a:pt x="233" y="205"/>
                </a:lnTo>
                <a:lnTo>
                  <a:pt x="224" y="188"/>
                </a:lnTo>
                <a:lnTo>
                  <a:pt x="212" y="175"/>
                </a:lnTo>
                <a:lnTo>
                  <a:pt x="205" y="163"/>
                </a:lnTo>
                <a:lnTo>
                  <a:pt x="201" y="156"/>
                </a:lnTo>
                <a:lnTo>
                  <a:pt x="198" y="149"/>
                </a:lnTo>
                <a:lnTo>
                  <a:pt x="198" y="142"/>
                </a:lnTo>
                <a:lnTo>
                  <a:pt x="201" y="137"/>
                </a:lnTo>
                <a:lnTo>
                  <a:pt x="205" y="130"/>
                </a:lnTo>
                <a:lnTo>
                  <a:pt x="212" y="128"/>
                </a:lnTo>
                <a:lnTo>
                  <a:pt x="217" y="126"/>
                </a:lnTo>
                <a:lnTo>
                  <a:pt x="224" y="128"/>
                </a:lnTo>
                <a:lnTo>
                  <a:pt x="231" y="133"/>
                </a:lnTo>
                <a:lnTo>
                  <a:pt x="235" y="137"/>
                </a:lnTo>
                <a:lnTo>
                  <a:pt x="247" y="147"/>
                </a:lnTo>
                <a:lnTo>
                  <a:pt x="259" y="158"/>
                </a:lnTo>
                <a:lnTo>
                  <a:pt x="273" y="172"/>
                </a:lnTo>
                <a:lnTo>
                  <a:pt x="301" y="151"/>
                </a:lnTo>
                <a:lnTo>
                  <a:pt x="294" y="135"/>
                </a:lnTo>
                <a:lnTo>
                  <a:pt x="287" y="119"/>
                </a:lnTo>
                <a:lnTo>
                  <a:pt x="280" y="107"/>
                </a:lnTo>
                <a:lnTo>
                  <a:pt x="277" y="100"/>
                </a:lnTo>
                <a:lnTo>
                  <a:pt x="275" y="93"/>
                </a:lnTo>
                <a:lnTo>
                  <a:pt x="277" y="86"/>
                </a:lnTo>
                <a:lnTo>
                  <a:pt x="280" y="79"/>
                </a:lnTo>
                <a:lnTo>
                  <a:pt x="287" y="74"/>
                </a:lnTo>
                <a:lnTo>
                  <a:pt x="294" y="72"/>
                </a:lnTo>
                <a:lnTo>
                  <a:pt x="298" y="72"/>
                </a:lnTo>
                <a:lnTo>
                  <a:pt x="303" y="74"/>
                </a:lnTo>
                <a:lnTo>
                  <a:pt x="308" y="77"/>
                </a:lnTo>
                <a:lnTo>
                  <a:pt x="312" y="79"/>
                </a:lnTo>
                <a:lnTo>
                  <a:pt x="315" y="86"/>
                </a:lnTo>
                <a:lnTo>
                  <a:pt x="324" y="98"/>
                </a:lnTo>
                <a:lnTo>
                  <a:pt x="333" y="112"/>
                </a:lnTo>
                <a:lnTo>
                  <a:pt x="345" y="128"/>
                </a:lnTo>
                <a:lnTo>
                  <a:pt x="377" y="112"/>
                </a:lnTo>
                <a:lnTo>
                  <a:pt x="370" y="88"/>
                </a:lnTo>
                <a:lnTo>
                  <a:pt x="366" y="67"/>
                </a:lnTo>
                <a:lnTo>
                  <a:pt x="364" y="56"/>
                </a:lnTo>
                <a:lnTo>
                  <a:pt x="361" y="49"/>
                </a:lnTo>
                <a:lnTo>
                  <a:pt x="364" y="42"/>
                </a:lnTo>
                <a:lnTo>
                  <a:pt x="368" y="37"/>
                </a:lnTo>
                <a:lnTo>
                  <a:pt x="375" y="32"/>
                </a:lnTo>
                <a:lnTo>
                  <a:pt x="382" y="32"/>
                </a:lnTo>
                <a:lnTo>
                  <a:pt x="389" y="35"/>
                </a:lnTo>
                <a:lnTo>
                  <a:pt x="394" y="35"/>
                </a:lnTo>
                <a:lnTo>
                  <a:pt x="396" y="39"/>
                </a:lnTo>
                <a:lnTo>
                  <a:pt x="398" y="42"/>
                </a:lnTo>
                <a:lnTo>
                  <a:pt x="403" y="51"/>
                </a:lnTo>
                <a:lnTo>
                  <a:pt x="408" y="63"/>
                </a:lnTo>
                <a:lnTo>
                  <a:pt x="417" y="79"/>
                </a:lnTo>
                <a:lnTo>
                  <a:pt x="424" y="95"/>
                </a:lnTo>
                <a:lnTo>
                  <a:pt x="459" y="86"/>
                </a:lnTo>
                <a:lnTo>
                  <a:pt x="457" y="60"/>
                </a:lnTo>
                <a:lnTo>
                  <a:pt x="454" y="39"/>
                </a:lnTo>
                <a:lnTo>
                  <a:pt x="454" y="28"/>
                </a:lnTo>
                <a:lnTo>
                  <a:pt x="454" y="21"/>
                </a:lnTo>
                <a:lnTo>
                  <a:pt x="459" y="16"/>
                </a:lnTo>
                <a:lnTo>
                  <a:pt x="464" y="12"/>
                </a:lnTo>
                <a:lnTo>
                  <a:pt x="471" y="9"/>
                </a:lnTo>
                <a:lnTo>
                  <a:pt x="478" y="9"/>
                </a:lnTo>
                <a:lnTo>
                  <a:pt x="485" y="12"/>
                </a:lnTo>
                <a:lnTo>
                  <a:pt x="489" y="16"/>
                </a:lnTo>
                <a:lnTo>
                  <a:pt x="492" y="21"/>
                </a:lnTo>
                <a:lnTo>
                  <a:pt x="496" y="32"/>
                </a:lnTo>
                <a:lnTo>
                  <a:pt x="501" y="53"/>
                </a:lnTo>
                <a:lnTo>
                  <a:pt x="508" y="77"/>
                </a:lnTo>
                <a:lnTo>
                  <a:pt x="543" y="74"/>
                </a:lnTo>
                <a:lnTo>
                  <a:pt x="545" y="51"/>
                </a:lnTo>
                <a:lnTo>
                  <a:pt x="547" y="30"/>
                </a:lnTo>
                <a:lnTo>
                  <a:pt x="550" y="16"/>
                </a:lnTo>
                <a:lnTo>
                  <a:pt x="552" y="12"/>
                </a:lnTo>
                <a:lnTo>
                  <a:pt x="557" y="5"/>
                </a:lnTo>
                <a:lnTo>
                  <a:pt x="561" y="2"/>
                </a:lnTo>
                <a:lnTo>
                  <a:pt x="568" y="0"/>
                </a:lnTo>
                <a:close/>
              </a:path>
            </a:pathLst>
          </a:custGeom>
          <a:solidFill>
            <a:schemeClr val="accent6">
              <a:alpha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sp>
        <p:nvSpPr>
          <p:cNvPr id="79" name="Ovaal - 7"/>
          <p:cNvSpPr/>
          <p:nvPr/>
        </p:nvSpPr>
        <p:spPr>
          <a:xfrm>
            <a:off x="9886647" y="3245453"/>
            <a:ext cx="1150924" cy="115091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nl-NL" sz="4800" b="1" dirty="0"/>
              <a:t>7</a:t>
            </a:r>
          </a:p>
        </p:txBody>
      </p:sp>
      <p:sp>
        <p:nvSpPr>
          <p:cNvPr id="53" name="Tekstblok - Praat"/>
          <p:cNvSpPr/>
          <p:nvPr/>
        </p:nvSpPr>
        <p:spPr>
          <a:xfrm>
            <a:off x="1081943" y="3606985"/>
            <a:ext cx="1308598" cy="914067"/>
          </a:xfrm>
          <a:prstGeom prst="rect">
            <a:avLst/>
          </a:prstGeom>
          <a:solidFill>
            <a:srgbClr val="EE174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lnSpc>
                <a:spcPct val="80000"/>
              </a:lnSpc>
              <a:spcAft>
                <a:spcPts val="300"/>
              </a:spcAft>
            </a:pPr>
            <a:r>
              <a:rPr lang="nl-NL" sz="1200" b="1" cap="all" dirty="0">
                <a:solidFill>
                  <a:schemeClr val="tx2"/>
                </a:solidFill>
              </a:rPr>
              <a:t>Vergunningen</a:t>
            </a:r>
          </a:p>
          <a:p>
            <a:pPr algn="ctr">
              <a:lnSpc>
                <a:spcPct val="80000"/>
              </a:lnSpc>
              <a:spcAft>
                <a:spcPts val="300"/>
              </a:spcAft>
            </a:pPr>
            <a:endParaRPr lang="nl-NL" sz="800" dirty="0">
              <a:solidFill>
                <a:schemeClr val="tx2"/>
              </a:solidFill>
            </a:endParaRPr>
          </a:p>
        </p:txBody>
      </p:sp>
      <p:sp>
        <p:nvSpPr>
          <p:cNvPr id="56" name="Tekstblok - Bespreek"/>
          <p:cNvSpPr/>
          <p:nvPr/>
        </p:nvSpPr>
        <p:spPr>
          <a:xfrm>
            <a:off x="2390541" y="4857212"/>
            <a:ext cx="1548393" cy="914067"/>
          </a:xfrm>
          <a:prstGeom prst="rect">
            <a:avLst/>
          </a:prstGeom>
          <a:solidFill>
            <a:srgbClr val="EE174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lnSpc>
                <a:spcPct val="80000"/>
              </a:lnSpc>
              <a:spcAft>
                <a:spcPts val="300"/>
              </a:spcAft>
            </a:pPr>
            <a:r>
              <a:rPr lang="nl-NL" sz="1200" b="1" cap="all" dirty="0">
                <a:solidFill>
                  <a:schemeClr val="tx2"/>
                </a:solidFill>
              </a:rPr>
              <a:t>Douaneregelingen</a:t>
            </a:r>
          </a:p>
        </p:txBody>
      </p:sp>
      <p:sp>
        <p:nvSpPr>
          <p:cNvPr id="59" name="Tekstblok - Zoek"/>
          <p:cNvSpPr/>
          <p:nvPr/>
        </p:nvSpPr>
        <p:spPr>
          <a:xfrm>
            <a:off x="4077363" y="3847513"/>
            <a:ext cx="1316631" cy="919806"/>
          </a:xfrm>
          <a:prstGeom prst="rect">
            <a:avLst/>
          </a:prstGeom>
          <a:solidFill>
            <a:srgbClr val="EE174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indent="-457055" algn="ctr">
              <a:lnSpc>
                <a:spcPct val="80000"/>
              </a:lnSpc>
              <a:spcAft>
                <a:spcPts val="300"/>
              </a:spcAft>
            </a:pPr>
            <a:r>
              <a:rPr lang="nl-NL" sz="1200" b="1" cap="all" dirty="0">
                <a:solidFill>
                  <a:schemeClr val="tx2"/>
                </a:solidFill>
              </a:rPr>
              <a:t>Oorsprong</a:t>
            </a:r>
          </a:p>
          <a:p>
            <a:pPr indent="-457055" algn="ctr">
              <a:lnSpc>
                <a:spcPct val="80000"/>
              </a:lnSpc>
              <a:spcAft>
                <a:spcPts val="300"/>
              </a:spcAft>
            </a:pPr>
            <a:endParaRPr lang="nl-NL" sz="800" dirty="0">
              <a:solidFill>
                <a:schemeClr val="tx2"/>
              </a:solidFill>
            </a:endParaRPr>
          </a:p>
        </p:txBody>
      </p:sp>
      <p:sp>
        <p:nvSpPr>
          <p:cNvPr id="69" name="Tekstblok - Vraag"/>
          <p:cNvSpPr/>
          <p:nvPr/>
        </p:nvSpPr>
        <p:spPr>
          <a:xfrm>
            <a:off x="5617392" y="2989362"/>
            <a:ext cx="1316631" cy="914400"/>
          </a:xfrm>
          <a:prstGeom prst="rect">
            <a:avLst/>
          </a:prstGeom>
          <a:solidFill>
            <a:srgbClr val="EE174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lnSpc>
                <a:spcPct val="80000"/>
              </a:lnSpc>
              <a:spcAft>
                <a:spcPts val="300"/>
              </a:spcAft>
            </a:pPr>
            <a:r>
              <a:rPr lang="nl-NL" sz="1200" b="1" cap="all" dirty="0">
                <a:solidFill>
                  <a:schemeClr val="tx2"/>
                </a:solidFill>
              </a:rPr>
              <a:t>tariefindeling</a:t>
            </a:r>
          </a:p>
        </p:txBody>
      </p:sp>
      <p:sp>
        <p:nvSpPr>
          <p:cNvPr id="72" name="Tekstblok - Durf"/>
          <p:cNvSpPr/>
          <p:nvPr/>
        </p:nvSpPr>
        <p:spPr>
          <a:xfrm>
            <a:off x="6934023" y="4010856"/>
            <a:ext cx="1433482" cy="914067"/>
          </a:xfrm>
          <a:prstGeom prst="rect">
            <a:avLst/>
          </a:prstGeom>
          <a:solidFill>
            <a:srgbClr val="EE174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indent="-457055" algn="ctr">
              <a:lnSpc>
                <a:spcPct val="80000"/>
              </a:lnSpc>
              <a:spcAft>
                <a:spcPts val="300"/>
              </a:spcAft>
            </a:pPr>
            <a:r>
              <a:rPr lang="nl-NL" sz="1200" b="1" cap="all" dirty="0">
                <a:solidFill>
                  <a:schemeClr val="tx2"/>
                </a:solidFill>
              </a:rPr>
              <a:t>Douane aangifte en formaliteiten</a:t>
            </a:r>
          </a:p>
        </p:txBody>
      </p:sp>
      <p:sp>
        <p:nvSpPr>
          <p:cNvPr id="75" name="Tekstblok - Ontwikkel"/>
          <p:cNvSpPr/>
          <p:nvPr/>
        </p:nvSpPr>
        <p:spPr>
          <a:xfrm>
            <a:off x="8462815" y="3302325"/>
            <a:ext cx="1439825" cy="914755"/>
          </a:xfrm>
          <a:prstGeom prst="rect">
            <a:avLst/>
          </a:prstGeom>
          <a:solidFill>
            <a:srgbClr val="EE174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lnSpc>
                <a:spcPct val="80000"/>
              </a:lnSpc>
              <a:spcAft>
                <a:spcPts val="300"/>
              </a:spcAft>
            </a:pPr>
            <a:r>
              <a:rPr lang="nl-NL" sz="1200" b="1" cap="all" dirty="0">
                <a:solidFill>
                  <a:schemeClr val="tx2"/>
                </a:solidFill>
              </a:rPr>
              <a:t>Contracten en handelspartners</a:t>
            </a:r>
            <a:endParaRPr lang="nl-NL" sz="1200" dirty="0">
              <a:solidFill>
                <a:schemeClr val="tx2"/>
              </a:solidFill>
            </a:endParaRPr>
          </a:p>
        </p:txBody>
      </p:sp>
      <p:sp>
        <p:nvSpPr>
          <p:cNvPr id="82" name="Tekstblok - Evalueer"/>
          <p:cNvSpPr/>
          <p:nvPr/>
        </p:nvSpPr>
        <p:spPr>
          <a:xfrm>
            <a:off x="9801047" y="4472311"/>
            <a:ext cx="1316631" cy="914755"/>
          </a:xfrm>
          <a:prstGeom prst="rect">
            <a:avLst/>
          </a:prstGeom>
          <a:solidFill>
            <a:srgbClr val="EE174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indent="-457055" algn="ctr">
              <a:lnSpc>
                <a:spcPct val="80000"/>
              </a:lnSpc>
              <a:spcAft>
                <a:spcPts val="300"/>
              </a:spcAft>
            </a:pPr>
            <a:r>
              <a:rPr lang="nl-NL" sz="1200" b="1" cap="all" dirty="0" err="1">
                <a:solidFill>
                  <a:schemeClr val="tx2"/>
                </a:solidFill>
              </a:rPr>
              <a:t>Brexit</a:t>
            </a:r>
            <a:r>
              <a:rPr lang="nl-NL" sz="1200" b="1" cap="all" dirty="0">
                <a:solidFill>
                  <a:schemeClr val="tx2"/>
                </a:solidFill>
              </a:rPr>
              <a:t>-voucher</a:t>
            </a:r>
            <a:endParaRPr lang="nl-NL" sz="1200" dirty="0">
              <a:solidFill>
                <a:schemeClr val="tx2"/>
              </a:solidFill>
            </a:endParaRPr>
          </a:p>
        </p:txBody>
      </p:sp>
    </p:spTree>
    <p:extLst>
      <p:ext uri="{BB962C8B-B14F-4D97-AF65-F5344CB8AC3E}">
        <p14:creationId xmlns:p14="http://schemas.microsoft.com/office/powerpoint/2010/main" val="2246006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after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par>
                                <p:cTn id="8" presetID="8" presetClass="emph" presetSubtype="0" repeatCount="indefinite" fill="hold" grpId="0" nodeType="withEffect">
                                  <p:stCondLst>
                                    <p:cond delay="0"/>
                                  </p:stCondLst>
                                  <p:childTnLst>
                                    <p:animRot by="21600000">
                                      <p:cBhvr>
                                        <p:cTn id="9" dur="6000" fill="hold"/>
                                        <p:tgtEl>
                                          <p:spTgt spid="52"/>
                                        </p:tgtEl>
                                        <p:attrNameLst>
                                          <p:attrName>r</p:attrName>
                                        </p:attrNameLst>
                                      </p:cBhvr>
                                    </p:animRot>
                                  </p:childTnLst>
                                </p:cTn>
                              </p:par>
                              <p:par>
                                <p:cTn id="10" presetID="53" presetClass="entr" presetSubtype="16" fill="hold" grpId="0" nodeType="withEffect">
                                  <p:stCondLst>
                                    <p:cond delay="0"/>
                                  </p:stCondLst>
                                  <p:childTnLst>
                                    <p:set>
                                      <p:cBhvr>
                                        <p:cTn id="11" dur="1" fill="hold">
                                          <p:stCondLst>
                                            <p:cond delay="0"/>
                                          </p:stCondLst>
                                        </p:cTn>
                                        <p:tgtEl>
                                          <p:spTgt spid="42"/>
                                        </p:tgtEl>
                                        <p:attrNameLst>
                                          <p:attrName>style.visibility</p:attrName>
                                        </p:attrNameLst>
                                      </p:cBhvr>
                                      <p:to>
                                        <p:strVal val="visible"/>
                                      </p:to>
                                    </p:set>
                                    <p:anim calcmode="lin" valueType="num">
                                      <p:cBhvr>
                                        <p:cTn id="12" dur="500" fill="hold"/>
                                        <p:tgtEl>
                                          <p:spTgt spid="42"/>
                                        </p:tgtEl>
                                        <p:attrNameLst>
                                          <p:attrName>ppt_w</p:attrName>
                                        </p:attrNameLst>
                                      </p:cBhvr>
                                      <p:tavLst>
                                        <p:tav tm="0">
                                          <p:val>
                                            <p:fltVal val="0"/>
                                          </p:val>
                                        </p:tav>
                                        <p:tav tm="100000">
                                          <p:val>
                                            <p:strVal val="#ppt_w"/>
                                          </p:val>
                                        </p:tav>
                                      </p:tavLst>
                                    </p:anim>
                                    <p:anim calcmode="lin" valueType="num">
                                      <p:cBhvr>
                                        <p:cTn id="13" dur="500" fill="hold"/>
                                        <p:tgtEl>
                                          <p:spTgt spid="42"/>
                                        </p:tgtEl>
                                        <p:attrNameLst>
                                          <p:attrName>ppt_h</p:attrName>
                                        </p:attrNameLst>
                                      </p:cBhvr>
                                      <p:tavLst>
                                        <p:tav tm="0">
                                          <p:val>
                                            <p:fltVal val="0"/>
                                          </p:val>
                                        </p:tav>
                                        <p:tav tm="100000">
                                          <p:val>
                                            <p:strVal val="#ppt_h"/>
                                          </p:val>
                                        </p:tav>
                                      </p:tavLst>
                                    </p:anim>
                                    <p:animEffect transition="in" filter="fade">
                                      <p:cBhvr>
                                        <p:cTn id="14" dur="500"/>
                                        <p:tgtEl>
                                          <p:spTgt spid="42"/>
                                        </p:tgtEl>
                                      </p:cBhvr>
                                    </p:animEffect>
                                  </p:childTnLst>
                                </p:cTn>
                              </p:par>
                              <p:par>
                                <p:cTn id="15" presetID="6" presetClass="emph" presetSubtype="0" decel="100000" autoRev="1" fill="hold" grpId="1" nodeType="withEffect">
                                  <p:stCondLst>
                                    <p:cond delay="0"/>
                                  </p:stCondLst>
                                  <p:childTnLst>
                                    <p:animScale>
                                      <p:cBhvr>
                                        <p:cTn id="16" dur="500" fill="hold"/>
                                        <p:tgtEl>
                                          <p:spTgt spid="42"/>
                                        </p:tgtEl>
                                      </p:cBhvr>
                                      <p:by x="125000" y="125000"/>
                                    </p:animScale>
                                  </p:childTnLst>
                                </p:cTn>
                              </p:par>
                              <p:par>
                                <p:cTn id="17" presetID="10" presetClass="entr" presetSubtype="0" fill="hold" grpId="0" nodeType="withEffect">
                                  <p:stCondLst>
                                    <p:cond delay="500"/>
                                  </p:stCondLst>
                                  <p:childTnLst>
                                    <p:set>
                                      <p:cBhvr>
                                        <p:cTn id="18" dur="1" fill="hold">
                                          <p:stCondLst>
                                            <p:cond delay="0"/>
                                          </p:stCondLst>
                                        </p:cTn>
                                        <p:tgtEl>
                                          <p:spTgt spid="53"/>
                                        </p:tgtEl>
                                        <p:attrNameLst>
                                          <p:attrName>style.visibility</p:attrName>
                                        </p:attrNameLst>
                                      </p:cBhvr>
                                      <p:to>
                                        <p:strVal val="visible"/>
                                      </p:to>
                                    </p:set>
                                    <p:animEffect transition="in" filter="fade">
                                      <p:cBhvr>
                                        <p:cTn id="19" dur="500"/>
                                        <p:tgtEl>
                                          <p:spTgt spid="53"/>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1" nodeType="click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par>
                                <p:cTn id="25" presetID="8" presetClass="emph" presetSubtype="0" repeatCount="indefinite" fill="hold" grpId="0" nodeType="withEffect">
                                  <p:stCondLst>
                                    <p:cond delay="0"/>
                                  </p:stCondLst>
                                  <p:childTnLst>
                                    <p:animRot by="-21600000">
                                      <p:cBhvr>
                                        <p:cTn id="26" dur="6000" fill="hold"/>
                                        <p:tgtEl>
                                          <p:spTgt spid="54"/>
                                        </p:tgtEl>
                                        <p:attrNameLst>
                                          <p:attrName>r</p:attrName>
                                        </p:attrNameLst>
                                      </p:cBhvr>
                                    </p:animRot>
                                  </p:childTnLst>
                                </p:cTn>
                              </p:par>
                              <p:par>
                                <p:cTn id="27" presetID="53" presetClass="entr" presetSubtype="16" fill="hold" grpId="0" nodeType="withEffect">
                                  <p:stCondLst>
                                    <p:cond delay="0"/>
                                  </p:stCondLst>
                                  <p:childTnLst>
                                    <p:set>
                                      <p:cBhvr>
                                        <p:cTn id="28" dur="1" fill="hold">
                                          <p:stCondLst>
                                            <p:cond delay="0"/>
                                          </p:stCondLst>
                                        </p:cTn>
                                        <p:tgtEl>
                                          <p:spTgt spid="55"/>
                                        </p:tgtEl>
                                        <p:attrNameLst>
                                          <p:attrName>style.visibility</p:attrName>
                                        </p:attrNameLst>
                                      </p:cBhvr>
                                      <p:to>
                                        <p:strVal val="visible"/>
                                      </p:to>
                                    </p:set>
                                    <p:anim calcmode="lin" valueType="num">
                                      <p:cBhvr>
                                        <p:cTn id="29" dur="500" fill="hold"/>
                                        <p:tgtEl>
                                          <p:spTgt spid="55"/>
                                        </p:tgtEl>
                                        <p:attrNameLst>
                                          <p:attrName>ppt_w</p:attrName>
                                        </p:attrNameLst>
                                      </p:cBhvr>
                                      <p:tavLst>
                                        <p:tav tm="0">
                                          <p:val>
                                            <p:fltVal val="0"/>
                                          </p:val>
                                        </p:tav>
                                        <p:tav tm="100000">
                                          <p:val>
                                            <p:strVal val="#ppt_w"/>
                                          </p:val>
                                        </p:tav>
                                      </p:tavLst>
                                    </p:anim>
                                    <p:anim calcmode="lin" valueType="num">
                                      <p:cBhvr>
                                        <p:cTn id="30" dur="500" fill="hold"/>
                                        <p:tgtEl>
                                          <p:spTgt spid="55"/>
                                        </p:tgtEl>
                                        <p:attrNameLst>
                                          <p:attrName>ppt_h</p:attrName>
                                        </p:attrNameLst>
                                      </p:cBhvr>
                                      <p:tavLst>
                                        <p:tav tm="0">
                                          <p:val>
                                            <p:fltVal val="0"/>
                                          </p:val>
                                        </p:tav>
                                        <p:tav tm="100000">
                                          <p:val>
                                            <p:strVal val="#ppt_h"/>
                                          </p:val>
                                        </p:tav>
                                      </p:tavLst>
                                    </p:anim>
                                    <p:animEffect transition="in" filter="fade">
                                      <p:cBhvr>
                                        <p:cTn id="31" dur="500"/>
                                        <p:tgtEl>
                                          <p:spTgt spid="55"/>
                                        </p:tgtEl>
                                      </p:cBhvr>
                                    </p:animEffect>
                                  </p:childTnLst>
                                </p:cTn>
                              </p:par>
                              <p:par>
                                <p:cTn id="32" presetID="6" presetClass="emph" presetSubtype="0" decel="100000" autoRev="1" fill="hold" grpId="1" nodeType="withEffect">
                                  <p:stCondLst>
                                    <p:cond delay="0"/>
                                  </p:stCondLst>
                                  <p:childTnLst>
                                    <p:animScale>
                                      <p:cBhvr>
                                        <p:cTn id="33" dur="500" fill="hold"/>
                                        <p:tgtEl>
                                          <p:spTgt spid="55"/>
                                        </p:tgtEl>
                                      </p:cBhvr>
                                      <p:by x="125000" y="125000"/>
                                    </p:animScale>
                                  </p:childTnLst>
                                </p:cTn>
                              </p:par>
                              <p:par>
                                <p:cTn id="34" presetID="10" presetClass="entr" presetSubtype="0" fill="hold" grpId="0" nodeType="withEffect">
                                  <p:stCondLst>
                                    <p:cond delay="500"/>
                                  </p:stCondLst>
                                  <p:childTnLst>
                                    <p:set>
                                      <p:cBhvr>
                                        <p:cTn id="35" dur="1" fill="hold">
                                          <p:stCondLst>
                                            <p:cond delay="0"/>
                                          </p:stCondLst>
                                        </p:cTn>
                                        <p:tgtEl>
                                          <p:spTgt spid="56"/>
                                        </p:tgtEl>
                                        <p:attrNameLst>
                                          <p:attrName>style.visibility</p:attrName>
                                        </p:attrNameLst>
                                      </p:cBhvr>
                                      <p:to>
                                        <p:strVal val="visible"/>
                                      </p:to>
                                    </p:set>
                                    <p:animEffect transition="in" filter="fade">
                                      <p:cBhvr>
                                        <p:cTn id="36" dur="500"/>
                                        <p:tgtEl>
                                          <p:spTgt spid="56"/>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1" nodeType="clickEffect">
                                  <p:stCondLst>
                                    <p:cond delay="0"/>
                                  </p:stCondLst>
                                  <p:childTnLst>
                                    <p:set>
                                      <p:cBhvr>
                                        <p:cTn id="40" dur="1" fill="hold">
                                          <p:stCondLst>
                                            <p:cond delay="0"/>
                                          </p:stCondLst>
                                        </p:cTn>
                                        <p:tgtEl>
                                          <p:spTgt spid="57"/>
                                        </p:tgtEl>
                                        <p:attrNameLst>
                                          <p:attrName>style.visibility</p:attrName>
                                        </p:attrNameLst>
                                      </p:cBhvr>
                                      <p:to>
                                        <p:strVal val="visible"/>
                                      </p:to>
                                    </p:set>
                                    <p:animEffect transition="in" filter="fade">
                                      <p:cBhvr>
                                        <p:cTn id="41" dur="500"/>
                                        <p:tgtEl>
                                          <p:spTgt spid="57"/>
                                        </p:tgtEl>
                                      </p:cBhvr>
                                    </p:animEffect>
                                  </p:childTnLst>
                                </p:cTn>
                              </p:par>
                              <p:par>
                                <p:cTn id="42" presetID="8" presetClass="emph" presetSubtype="0" repeatCount="indefinite" fill="hold" grpId="0" nodeType="withEffect">
                                  <p:stCondLst>
                                    <p:cond delay="0"/>
                                  </p:stCondLst>
                                  <p:childTnLst>
                                    <p:animRot by="21600000">
                                      <p:cBhvr>
                                        <p:cTn id="43" dur="6000" fill="hold"/>
                                        <p:tgtEl>
                                          <p:spTgt spid="57"/>
                                        </p:tgtEl>
                                        <p:attrNameLst>
                                          <p:attrName>r</p:attrName>
                                        </p:attrNameLst>
                                      </p:cBhvr>
                                    </p:animRot>
                                  </p:childTnLst>
                                </p:cTn>
                              </p:par>
                              <p:par>
                                <p:cTn id="44" presetID="53" presetClass="entr" presetSubtype="16" fill="hold" grpId="0" nodeType="withEffect">
                                  <p:stCondLst>
                                    <p:cond delay="0"/>
                                  </p:stCondLst>
                                  <p:childTnLst>
                                    <p:set>
                                      <p:cBhvr>
                                        <p:cTn id="45" dur="1" fill="hold">
                                          <p:stCondLst>
                                            <p:cond delay="0"/>
                                          </p:stCondLst>
                                        </p:cTn>
                                        <p:tgtEl>
                                          <p:spTgt spid="58"/>
                                        </p:tgtEl>
                                        <p:attrNameLst>
                                          <p:attrName>style.visibility</p:attrName>
                                        </p:attrNameLst>
                                      </p:cBhvr>
                                      <p:to>
                                        <p:strVal val="visible"/>
                                      </p:to>
                                    </p:set>
                                    <p:anim calcmode="lin" valueType="num">
                                      <p:cBhvr>
                                        <p:cTn id="46" dur="500" fill="hold"/>
                                        <p:tgtEl>
                                          <p:spTgt spid="58"/>
                                        </p:tgtEl>
                                        <p:attrNameLst>
                                          <p:attrName>ppt_w</p:attrName>
                                        </p:attrNameLst>
                                      </p:cBhvr>
                                      <p:tavLst>
                                        <p:tav tm="0">
                                          <p:val>
                                            <p:fltVal val="0"/>
                                          </p:val>
                                        </p:tav>
                                        <p:tav tm="100000">
                                          <p:val>
                                            <p:strVal val="#ppt_w"/>
                                          </p:val>
                                        </p:tav>
                                      </p:tavLst>
                                    </p:anim>
                                    <p:anim calcmode="lin" valueType="num">
                                      <p:cBhvr>
                                        <p:cTn id="47" dur="500" fill="hold"/>
                                        <p:tgtEl>
                                          <p:spTgt spid="58"/>
                                        </p:tgtEl>
                                        <p:attrNameLst>
                                          <p:attrName>ppt_h</p:attrName>
                                        </p:attrNameLst>
                                      </p:cBhvr>
                                      <p:tavLst>
                                        <p:tav tm="0">
                                          <p:val>
                                            <p:fltVal val="0"/>
                                          </p:val>
                                        </p:tav>
                                        <p:tav tm="100000">
                                          <p:val>
                                            <p:strVal val="#ppt_h"/>
                                          </p:val>
                                        </p:tav>
                                      </p:tavLst>
                                    </p:anim>
                                    <p:animEffect transition="in" filter="fade">
                                      <p:cBhvr>
                                        <p:cTn id="48" dur="500"/>
                                        <p:tgtEl>
                                          <p:spTgt spid="58"/>
                                        </p:tgtEl>
                                      </p:cBhvr>
                                    </p:animEffect>
                                  </p:childTnLst>
                                </p:cTn>
                              </p:par>
                              <p:par>
                                <p:cTn id="49" presetID="6" presetClass="emph" presetSubtype="0" decel="100000" autoRev="1" fill="hold" grpId="1" nodeType="withEffect">
                                  <p:stCondLst>
                                    <p:cond delay="0"/>
                                  </p:stCondLst>
                                  <p:childTnLst>
                                    <p:animScale>
                                      <p:cBhvr>
                                        <p:cTn id="50" dur="500" fill="hold"/>
                                        <p:tgtEl>
                                          <p:spTgt spid="58"/>
                                        </p:tgtEl>
                                      </p:cBhvr>
                                      <p:by x="125000" y="125000"/>
                                    </p:animScale>
                                  </p:childTnLst>
                                </p:cTn>
                              </p:par>
                              <p:par>
                                <p:cTn id="51" presetID="10" presetClass="entr" presetSubtype="0" fill="hold" grpId="0" nodeType="withEffect">
                                  <p:stCondLst>
                                    <p:cond delay="500"/>
                                  </p:stCondLst>
                                  <p:childTnLst>
                                    <p:set>
                                      <p:cBhvr>
                                        <p:cTn id="52" dur="1" fill="hold">
                                          <p:stCondLst>
                                            <p:cond delay="0"/>
                                          </p:stCondLst>
                                        </p:cTn>
                                        <p:tgtEl>
                                          <p:spTgt spid="59"/>
                                        </p:tgtEl>
                                        <p:attrNameLst>
                                          <p:attrName>style.visibility</p:attrName>
                                        </p:attrNameLst>
                                      </p:cBhvr>
                                      <p:to>
                                        <p:strVal val="visible"/>
                                      </p:to>
                                    </p:set>
                                    <p:animEffect transition="in" filter="fade">
                                      <p:cBhvr>
                                        <p:cTn id="53" dur="500"/>
                                        <p:tgtEl>
                                          <p:spTgt spid="59"/>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1" nodeType="clickEffect">
                                  <p:stCondLst>
                                    <p:cond delay="0"/>
                                  </p:stCondLst>
                                  <p:childTnLst>
                                    <p:set>
                                      <p:cBhvr>
                                        <p:cTn id="57" dur="1" fill="hold">
                                          <p:stCondLst>
                                            <p:cond delay="0"/>
                                          </p:stCondLst>
                                        </p:cTn>
                                        <p:tgtEl>
                                          <p:spTgt spid="67"/>
                                        </p:tgtEl>
                                        <p:attrNameLst>
                                          <p:attrName>style.visibility</p:attrName>
                                        </p:attrNameLst>
                                      </p:cBhvr>
                                      <p:to>
                                        <p:strVal val="visible"/>
                                      </p:to>
                                    </p:set>
                                    <p:animEffect transition="in" filter="fade">
                                      <p:cBhvr>
                                        <p:cTn id="58" dur="500"/>
                                        <p:tgtEl>
                                          <p:spTgt spid="67"/>
                                        </p:tgtEl>
                                      </p:cBhvr>
                                    </p:animEffect>
                                  </p:childTnLst>
                                </p:cTn>
                              </p:par>
                              <p:par>
                                <p:cTn id="59" presetID="8" presetClass="emph" presetSubtype="0" repeatCount="indefinite" fill="hold" grpId="0" nodeType="withEffect">
                                  <p:stCondLst>
                                    <p:cond delay="0"/>
                                  </p:stCondLst>
                                  <p:childTnLst>
                                    <p:animRot by="-21600000">
                                      <p:cBhvr>
                                        <p:cTn id="60" dur="6000" fill="hold"/>
                                        <p:tgtEl>
                                          <p:spTgt spid="67"/>
                                        </p:tgtEl>
                                        <p:attrNameLst>
                                          <p:attrName>r</p:attrName>
                                        </p:attrNameLst>
                                      </p:cBhvr>
                                    </p:animRot>
                                  </p:childTnLst>
                                </p:cTn>
                              </p:par>
                              <p:par>
                                <p:cTn id="61" presetID="53" presetClass="entr" presetSubtype="16" fill="hold" grpId="0" nodeType="withEffect">
                                  <p:stCondLst>
                                    <p:cond delay="0"/>
                                  </p:stCondLst>
                                  <p:childTnLst>
                                    <p:set>
                                      <p:cBhvr>
                                        <p:cTn id="62" dur="1" fill="hold">
                                          <p:stCondLst>
                                            <p:cond delay="0"/>
                                          </p:stCondLst>
                                        </p:cTn>
                                        <p:tgtEl>
                                          <p:spTgt spid="68"/>
                                        </p:tgtEl>
                                        <p:attrNameLst>
                                          <p:attrName>style.visibility</p:attrName>
                                        </p:attrNameLst>
                                      </p:cBhvr>
                                      <p:to>
                                        <p:strVal val="visible"/>
                                      </p:to>
                                    </p:set>
                                    <p:anim calcmode="lin" valueType="num">
                                      <p:cBhvr>
                                        <p:cTn id="63" dur="500" fill="hold"/>
                                        <p:tgtEl>
                                          <p:spTgt spid="68"/>
                                        </p:tgtEl>
                                        <p:attrNameLst>
                                          <p:attrName>ppt_w</p:attrName>
                                        </p:attrNameLst>
                                      </p:cBhvr>
                                      <p:tavLst>
                                        <p:tav tm="0">
                                          <p:val>
                                            <p:fltVal val="0"/>
                                          </p:val>
                                        </p:tav>
                                        <p:tav tm="100000">
                                          <p:val>
                                            <p:strVal val="#ppt_w"/>
                                          </p:val>
                                        </p:tav>
                                      </p:tavLst>
                                    </p:anim>
                                    <p:anim calcmode="lin" valueType="num">
                                      <p:cBhvr>
                                        <p:cTn id="64" dur="500" fill="hold"/>
                                        <p:tgtEl>
                                          <p:spTgt spid="68"/>
                                        </p:tgtEl>
                                        <p:attrNameLst>
                                          <p:attrName>ppt_h</p:attrName>
                                        </p:attrNameLst>
                                      </p:cBhvr>
                                      <p:tavLst>
                                        <p:tav tm="0">
                                          <p:val>
                                            <p:fltVal val="0"/>
                                          </p:val>
                                        </p:tav>
                                        <p:tav tm="100000">
                                          <p:val>
                                            <p:strVal val="#ppt_h"/>
                                          </p:val>
                                        </p:tav>
                                      </p:tavLst>
                                    </p:anim>
                                    <p:animEffect transition="in" filter="fade">
                                      <p:cBhvr>
                                        <p:cTn id="65" dur="500"/>
                                        <p:tgtEl>
                                          <p:spTgt spid="68"/>
                                        </p:tgtEl>
                                      </p:cBhvr>
                                    </p:animEffect>
                                  </p:childTnLst>
                                </p:cTn>
                              </p:par>
                              <p:par>
                                <p:cTn id="66" presetID="6" presetClass="emph" presetSubtype="0" decel="100000" autoRev="1" fill="hold" grpId="1" nodeType="withEffect">
                                  <p:stCondLst>
                                    <p:cond delay="0"/>
                                  </p:stCondLst>
                                  <p:childTnLst>
                                    <p:animScale>
                                      <p:cBhvr>
                                        <p:cTn id="67" dur="500" fill="hold"/>
                                        <p:tgtEl>
                                          <p:spTgt spid="68"/>
                                        </p:tgtEl>
                                      </p:cBhvr>
                                      <p:by x="125000" y="125000"/>
                                    </p:animScale>
                                  </p:childTnLst>
                                </p:cTn>
                              </p:par>
                              <p:par>
                                <p:cTn id="68" presetID="10" presetClass="entr" presetSubtype="0" fill="hold" grpId="0" nodeType="withEffect">
                                  <p:stCondLst>
                                    <p:cond delay="500"/>
                                  </p:stCondLst>
                                  <p:childTnLst>
                                    <p:set>
                                      <p:cBhvr>
                                        <p:cTn id="69" dur="1" fill="hold">
                                          <p:stCondLst>
                                            <p:cond delay="0"/>
                                          </p:stCondLst>
                                        </p:cTn>
                                        <p:tgtEl>
                                          <p:spTgt spid="69"/>
                                        </p:tgtEl>
                                        <p:attrNameLst>
                                          <p:attrName>style.visibility</p:attrName>
                                        </p:attrNameLst>
                                      </p:cBhvr>
                                      <p:to>
                                        <p:strVal val="visible"/>
                                      </p:to>
                                    </p:set>
                                    <p:animEffect transition="in" filter="fade">
                                      <p:cBhvr>
                                        <p:cTn id="70" dur="500"/>
                                        <p:tgtEl>
                                          <p:spTgt spid="69"/>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1" nodeType="clickEffect">
                                  <p:stCondLst>
                                    <p:cond delay="0"/>
                                  </p:stCondLst>
                                  <p:childTnLst>
                                    <p:set>
                                      <p:cBhvr>
                                        <p:cTn id="74" dur="1" fill="hold">
                                          <p:stCondLst>
                                            <p:cond delay="0"/>
                                          </p:stCondLst>
                                        </p:cTn>
                                        <p:tgtEl>
                                          <p:spTgt spid="70"/>
                                        </p:tgtEl>
                                        <p:attrNameLst>
                                          <p:attrName>style.visibility</p:attrName>
                                        </p:attrNameLst>
                                      </p:cBhvr>
                                      <p:to>
                                        <p:strVal val="visible"/>
                                      </p:to>
                                    </p:set>
                                    <p:animEffect transition="in" filter="fade">
                                      <p:cBhvr>
                                        <p:cTn id="75" dur="500"/>
                                        <p:tgtEl>
                                          <p:spTgt spid="70"/>
                                        </p:tgtEl>
                                      </p:cBhvr>
                                    </p:animEffect>
                                  </p:childTnLst>
                                </p:cTn>
                              </p:par>
                              <p:par>
                                <p:cTn id="76" presetID="8" presetClass="emph" presetSubtype="0" repeatCount="indefinite" fill="hold" grpId="0" nodeType="withEffect">
                                  <p:stCondLst>
                                    <p:cond delay="0"/>
                                  </p:stCondLst>
                                  <p:childTnLst>
                                    <p:animRot by="21600000">
                                      <p:cBhvr>
                                        <p:cTn id="77" dur="6000" fill="hold"/>
                                        <p:tgtEl>
                                          <p:spTgt spid="70"/>
                                        </p:tgtEl>
                                        <p:attrNameLst>
                                          <p:attrName>r</p:attrName>
                                        </p:attrNameLst>
                                      </p:cBhvr>
                                    </p:animRot>
                                  </p:childTnLst>
                                </p:cTn>
                              </p:par>
                              <p:par>
                                <p:cTn id="78" presetID="53" presetClass="entr" presetSubtype="16" fill="hold" grpId="0" nodeType="withEffect">
                                  <p:stCondLst>
                                    <p:cond delay="0"/>
                                  </p:stCondLst>
                                  <p:childTnLst>
                                    <p:set>
                                      <p:cBhvr>
                                        <p:cTn id="79" dur="1" fill="hold">
                                          <p:stCondLst>
                                            <p:cond delay="0"/>
                                          </p:stCondLst>
                                        </p:cTn>
                                        <p:tgtEl>
                                          <p:spTgt spid="71"/>
                                        </p:tgtEl>
                                        <p:attrNameLst>
                                          <p:attrName>style.visibility</p:attrName>
                                        </p:attrNameLst>
                                      </p:cBhvr>
                                      <p:to>
                                        <p:strVal val="visible"/>
                                      </p:to>
                                    </p:set>
                                    <p:anim calcmode="lin" valueType="num">
                                      <p:cBhvr>
                                        <p:cTn id="80" dur="500" fill="hold"/>
                                        <p:tgtEl>
                                          <p:spTgt spid="71"/>
                                        </p:tgtEl>
                                        <p:attrNameLst>
                                          <p:attrName>ppt_w</p:attrName>
                                        </p:attrNameLst>
                                      </p:cBhvr>
                                      <p:tavLst>
                                        <p:tav tm="0">
                                          <p:val>
                                            <p:fltVal val="0"/>
                                          </p:val>
                                        </p:tav>
                                        <p:tav tm="100000">
                                          <p:val>
                                            <p:strVal val="#ppt_w"/>
                                          </p:val>
                                        </p:tav>
                                      </p:tavLst>
                                    </p:anim>
                                    <p:anim calcmode="lin" valueType="num">
                                      <p:cBhvr>
                                        <p:cTn id="81" dur="500" fill="hold"/>
                                        <p:tgtEl>
                                          <p:spTgt spid="71"/>
                                        </p:tgtEl>
                                        <p:attrNameLst>
                                          <p:attrName>ppt_h</p:attrName>
                                        </p:attrNameLst>
                                      </p:cBhvr>
                                      <p:tavLst>
                                        <p:tav tm="0">
                                          <p:val>
                                            <p:fltVal val="0"/>
                                          </p:val>
                                        </p:tav>
                                        <p:tav tm="100000">
                                          <p:val>
                                            <p:strVal val="#ppt_h"/>
                                          </p:val>
                                        </p:tav>
                                      </p:tavLst>
                                    </p:anim>
                                    <p:animEffect transition="in" filter="fade">
                                      <p:cBhvr>
                                        <p:cTn id="82" dur="500"/>
                                        <p:tgtEl>
                                          <p:spTgt spid="71"/>
                                        </p:tgtEl>
                                      </p:cBhvr>
                                    </p:animEffect>
                                  </p:childTnLst>
                                </p:cTn>
                              </p:par>
                              <p:par>
                                <p:cTn id="83" presetID="6" presetClass="emph" presetSubtype="0" decel="100000" autoRev="1" fill="hold" grpId="1" nodeType="withEffect">
                                  <p:stCondLst>
                                    <p:cond delay="0"/>
                                  </p:stCondLst>
                                  <p:childTnLst>
                                    <p:animScale>
                                      <p:cBhvr>
                                        <p:cTn id="84" dur="500" fill="hold"/>
                                        <p:tgtEl>
                                          <p:spTgt spid="71"/>
                                        </p:tgtEl>
                                      </p:cBhvr>
                                      <p:by x="125000" y="125000"/>
                                    </p:animScale>
                                  </p:childTnLst>
                                </p:cTn>
                              </p:par>
                              <p:par>
                                <p:cTn id="85" presetID="10" presetClass="entr" presetSubtype="0" fill="hold" grpId="0" nodeType="withEffect">
                                  <p:stCondLst>
                                    <p:cond delay="500"/>
                                  </p:stCondLst>
                                  <p:childTnLst>
                                    <p:set>
                                      <p:cBhvr>
                                        <p:cTn id="86" dur="1" fill="hold">
                                          <p:stCondLst>
                                            <p:cond delay="0"/>
                                          </p:stCondLst>
                                        </p:cTn>
                                        <p:tgtEl>
                                          <p:spTgt spid="72"/>
                                        </p:tgtEl>
                                        <p:attrNameLst>
                                          <p:attrName>style.visibility</p:attrName>
                                        </p:attrNameLst>
                                      </p:cBhvr>
                                      <p:to>
                                        <p:strVal val="visible"/>
                                      </p:to>
                                    </p:set>
                                    <p:animEffect transition="in" filter="fade">
                                      <p:cBhvr>
                                        <p:cTn id="87" dur="500"/>
                                        <p:tgtEl>
                                          <p:spTgt spid="72"/>
                                        </p:tgtEl>
                                      </p:cBhvr>
                                    </p:animEffect>
                                  </p:childTnLst>
                                </p:cTn>
                              </p:par>
                            </p:childTnLst>
                          </p:cTn>
                        </p:par>
                      </p:childTnLst>
                    </p:cTn>
                  </p:par>
                  <p:par>
                    <p:cTn id="88" fill="hold">
                      <p:stCondLst>
                        <p:cond delay="indefinite"/>
                      </p:stCondLst>
                      <p:childTnLst>
                        <p:par>
                          <p:cTn id="89" fill="hold">
                            <p:stCondLst>
                              <p:cond delay="0"/>
                            </p:stCondLst>
                            <p:childTnLst>
                              <p:par>
                                <p:cTn id="90" presetID="10" presetClass="entr" presetSubtype="0" fill="hold" grpId="1" nodeType="clickEffect">
                                  <p:stCondLst>
                                    <p:cond delay="0"/>
                                  </p:stCondLst>
                                  <p:childTnLst>
                                    <p:set>
                                      <p:cBhvr>
                                        <p:cTn id="91" dur="1" fill="hold">
                                          <p:stCondLst>
                                            <p:cond delay="0"/>
                                          </p:stCondLst>
                                        </p:cTn>
                                        <p:tgtEl>
                                          <p:spTgt spid="73"/>
                                        </p:tgtEl>
                                        <p:attrNameLst>
                                          <p:attrName>style.visibility</p:attrName>
                                        </p:attrNameLst>
                                      </p:cBhvr>
                                      <p:to>
                                        <p:strVal val="visible"/>
                                      </p:to>
                                    </p:set>
                                    <p:animEffect transition="in" filter="fade">
                                      <p:cBhvr>
                                        <p:cTn id="92" dur="500"/>
                                        <p:tgtEl>
                                          <p:spTgt spid="73"/>
                                        </p:tgtEl>
                                      </p:cBhvr>
                                    </p:animEffect>
                                  </p:childTnLst>
                                </p:cTn>
                              </p:par>
                              <p:par>
                                <p:cTn id="93" presetID="8" presetClass="emph" presetSubtype="0" repeatCount="indefinite" fill="hold" grpId="0" nodeType="withEffect">
                                  <p:stCondLst>
                                    <p:cond delay="0"/>
                                  </p:stCondLst>
                                  <p:childTnLst>
                                    <p:animRot by="-21600000">
                                      <p:cBhvr>
                                        <p:cTn id="94" dur="6000" fill="hold"/>
                                        <p:tgtEl>
                                          <p:spTgt spid="73"/>
                                        </p:tgtEl>
                                        <p:attrNameLst>
                                          <p:attrName>r</p:attrName>
                                        </p:attrNameLst>
                                      </p:cBhvr>
                                    </p:animRot>
                                  </p:childTnLst>
                                </p:cTn>
                              </p:par>
                              <p:par>
                                <p:cTn id="95" presetID="53" presetClass="entr" presetSubtype="16" fill="hold" grpId="0" nodeType="withEffect">
                                  <p:stCondLst>
                                    <p:cond delay="0"/>
                                  </p:stCondLst>
                                  <p:childTnLst>
                                    <p:set>
                                      <p:cBhvr>
                                        <p:cTn id="96" dur="1" fill="hold">
                                          <p:stCondLst>
                                            <p:cond delay="0"/>
                                          </p:stCondLst>
                                        </p:cTn>
                                        <p:tgtEl>
                                          <p:spTgt spid="74"/>
                                        </p:tgtEl>
                                        <p:attrNameLst>
                                          <p:attrName>style.visibility</p:attrName>
                                        </p:attrNameLst>
                                      </p:cBhvr>
                                      <p:to>
                                        <p:strVal val="visible"/>
                                      </p:to>
                                    </p:set>
                                    <p:anim calcmode="lin" valueType="num">
                                      <p:cBhvr>
                                        <p:cTn id="97" dur="500" fill="hold"/>
                                        <p:tgtEl>
                                          <p:spTgt spid="74"/>
                                        </p:tgtEl>
                                        <p:attrNameLst>
                                          <p:attrName>ppt_w</p:attrName>
                                        </p:attrNameLst>
                                      </p:cBhvr>
                                      <p:tavLst>
                                        <p:tav tm="0">
                                          <p:val>
                                            <p:fltVal val="0"/>
                                          </p:val>
                                        </p:tav>
                                        <p:tav tm="100000">
                                          <p:val>
                                            <p:strVal val="#ppt_w"/>
                                          </p:val>
                                        </p:tav>
                                      </p:tavLst>
                                    </p:anim>
                                    <p:anim calcmode="lin" valueType="num">
                                      <p:cBhvr>
                                        <p:cTn id="98" dur="500" fill="hold"/>
                                        <p:tgtEl>
                                          <p:spTgt spid="74"/>
                                        </p:tgtEl>
                                        <p:attrNameLst>
                                          <p:attrName>ppt_h</p:attrName>
                                        </p:attrNameLst>
                                      </p:cBhvr>
                                      <p:tavLst>
                                        <p:tav tm="0">
                                          <p:val>
                                            <p:fltVal val="0"/>
                                          </p:val>
                                        </p:tav>
                                        <p:tav tm="100000">
                                          <p:val>
                                            <p:strVal val="#ppt_h"/>
                                          </p:val>
                                        </p:tav>
                                      </p:tavLst>
                                    </p:anim>
                                    <p:animEffect transition="in" filter="fade">
                                      <p:cBhvr>
                                        <p:cTn id="99" dur="500"/>
                                        <p:tgtEl>
                                          <p:spTgt spid="74"/>
                                        </p:tgtEl>
                                      </p:cBhvr>
                                    </p:animEffect>
                                  </p:childTnLst>
                                </p:cTn>
                              </p:par>
                              <p:par>
                                <p:cTn id="100" presetID="6" presetClass="emph" presetSubtype="0" decel="100000" autoRev="1" fill="hold" grpId="1" nodeType="withEffect">
                                  <p:stCondLst>
                                    <p:cond delay="0"/>
                                  </p:stCondLst>
                                  <p:childTnLst>
                                    <p:animScale>
                                      <p:cBhvr>
                                        <p:cTn id="101" dur="500" fill="hold"/>
                                        <p:tgtEl>
                                          <p:spTgt spid="74"/>
                                        </p:tgtEl>
                                      </p:cBhvr>
                                      <p:by x="125000" y="125000"/>
                                    </p:animScale>
                                  </p:childTnLst>
                                </p:cTn>
                              </p:par>
                              <p:par>
                                <p:cTn id="102" presetID="10" presetClass="entr" presetSubtype="0" fill="hold" grpId="0" nodeType="withEffect">
                                  <p:stCondLst>
                                    <p:cond delay="500"/>
                                  </p:stCondLst>
                                  <p:childTnLst>
                                    <p:set>
                                      <p:cBhvr>
                                        <p:cTn id="103" dur="1" fill="hold">
                                          <p:stCondLst>
                                            <p:cond delay="0"/>
                                          </p:stCondLst>
                                        </p:cTn>
                                        <p:tgtEl>
                                          <p:spTgt spid="75"/>
                                        </p:tgtEl>
                                        <p:attrNameLst>
                                          <p:attrName>style.visibility</p:attrName>
                                        </p:attrNameLst>
                                      </p:cBhvr>
                                      <p:to>
                                        <p:strVal val="visible"/>
                                      </p:to>
                                    </p:set>
                                    <p:animEffect transition="in" filter="fade">
                                      <p:cBhvr>
                                        <p:cTn id="104" dur="500"/>
                                        <p:tgtEl>
                                          <p:spTgt spid="75"/>
                                        </p:tgtEl>
                                      </p:cBhvr>
                                    </p:animEffect>
                                  </p:childTnLst>
                                </p:cTn>
                              </p:par>
                            </p:childTnLst>
                          </p:cTn>
                        </p:par>
                      </p:childTnLst>
                    </p:cTn>
                  </p:par>
                  <p:par>
                    <p:cTn id="105" fill="hold">
                      <p:stCondLst>
                        <p:cond delay="indefinite"/>
                      </p:stCondLst>
                      <p:childTnLst>
                        <p:par>
                          <p:cTn id="106" fill="hold">
                            <p:stCondLst>
                              <p:cond delay="0"/>
                            </p:stCondLst>
                            <p:childTnLst>
                              <p:par>
                                <p:cTn id="107" presetID="10" presetClass="entr" presetSubtype="0" fill="hold" grpId="1" nodeType="clickEffect">
                                  <p:stCondLst>
                                    <p:cond delay="0"/>
                                  </p:stCondLst>
                                  <p:childTnLst>
                                    <p:set>
                                      <p:cBhvr>
                                        <p:cTn id="108" dur="1" fill="hold">
                                          <p:stCondLst>
                                            <p:cond delay="0"/>
                                          </p:stCondLst>
                                        </p:cTn>
                                        <p:tgtEl>
                                          <p:spTgt spid="78"/>
                                        </p:tgtEl>
                                        <p:attrNameLst>
                                          <p:attrName>style.visibility</p:attrName>
                                        </p:attrNameLst>
                                      </p:cBhvr>
                                      <p:to>
                                        <p:strVal val="visible"/>
                                      </p:to>
                                    </p:set>
                                    <p:animEffect transition="in" filter="fade">
                                      <p:cBhvr>
                                        <p:cTn id="109" dur="500"/>
                                        <p:tgtEl>
                                          <p:spTgt spid="78"/>
                                        </p:tgtEl>
                                      </p:cBhvr>
                                    </p:animEffect>
                                  </p:childTnLst>
                                </p:cTn>
                              </p:par>
                              <p:par>
                                <p:cTn id="110" presetID="8" presetClass="emph" presetSubtype="0" repeatCount="indefinite" fill="hold" grpId="0" nodeType="withEffect">
                                  <p:stCondLst>
                                    <p:cond delay="0"/>
                                  </p:stCondLst>
                                  <p:childTnLst>
                                    <p:animRot by="21600000">
                                      <p:cBhvr>
                                        <p:cTn id="111" dur="6000" fill="hold"/>
                                        <p:tgtEl>
                                          <p:spTgt spid="78"/>
                                        </p:tgtEl>
                                        <p:attrNameLst>
                                          <p:attrName>r</p:attrName>
                                        </p:attrNameLst>
                                      </p:cBhvr>
                                    </p:animRot>
                                  </p:childTnLst>
                                </p:cTn>
                              </p:par>
                              <p:par>
                                <p:cTn id="112" presetID="53" presetClass="entr" presetSubtype="16" fill="hold" grpId="0" nodeType="withEffect">
                                  <p:stCondLst>
                                    <p:cond delay="0"/>
                                  </p:stCondLst>
                                  <p:childTnLst>
                                    <p:set>
                                      <p:cBhvr>
                                        <p:cTn id="113" dur="1" fill="hold">
                                          <p:stCondLst>
                                            <p:cond delay="0"/>
                                          </p:stCondLst>
                                        </p:cTn>
                                        <p:tgtEl>
                                          <p:spTgt spid="79"/>
                                        </p:tgtEl>
                                        <p:attrNameLst>
                                          <p:attrName>style.visibility</p:attrName>
                                        </p:attrNameLst>
                                      </p:cBhvr>
                                      <p:to>
                                        <p:strVal val="visible"/>
                                      </p:to>
                                    </p:set>
                                    <p:anim calcmode="lin" valueType="num">
                                      <p:cBhvr>
                                        <p:cTn id="114" dur="500" fill="hold"/>
                                        <p:tgtEl>
                                          <p:spTgt spid="79"/>
                                        </p:tgtEl>
                                        <p:attrNameLst>
                                          <p:attrName>ppt_w</p:attrName>
                                        </p:attrNameLst>
                                      </p:cBhvr>
                                      <p:tavLst>
                                        <p:tav tm="0">
                                          <p:val>
                                            <p:fltVal val="0"/>
                                          </p:val>
                                        </p:tav>
                                        <p:tav tm="100000">
                                          <p:val>
                                            <p:strVal val="#ppt_w"/>
                                          </p:val>
                                        </p:tav>
                                      </p:tavLst>
                                    </p:anim>
                                    <p:anim calcmode="lin" valueType="num">
                                      <p:cBhvr>
                                        <p:cTn id="115" dur="500" fill="hold"/>
                                        <p:tgtEl>
                                          <p:spTgt spid="79"/>
                                        </p:tgtEl>
                                        <p:attrNameLst>
                                          <p:attrName>ppt_h</p:attrName>
                                        </p:attrNameLst>
                                      </p:cBhvr>
                                      <p:tavLst>
                                        <p:tav tm="0">
                                          <p:val>
                                            <p:fltVal val="0"/>
                                          </p:val>
                                        </p:tav>
                                        <p:tav tm="100000">
                                          <p:val>
                                            <p:strVal val="#ppt_h"/>
                                          </p:val>
                                        </p:tav>
                                      </p:tavLst>
                                    </p:anim>
                                    <p:animEffect transition="in" filter="fade">
                                      <p:cBhvr>
                                        <p:cTn id="116" dur="500"/>
                                        <p:tgtEl>
                                          <p:spTgt spid="79"/>
                                        </p:tgtEl>
                                      </p:cBhvr>
                                    </p:animEffect>
                                  </p:childTnLst>
                                </p:cTn>
                              </p:par>
                              <p:par>
                                <p:cTn id="117" presetID="6" presetClass="emph" presetSubtype="0" decel="100000" autoRev="1" fill="hold" grpId="1" nodeType="withEffect">
                                  <p:stCondLst>
                                    <p:cond delay="0"/>
                                  </p:stCondLst>
                                  <p:childTnLst>
                                    <p:animScale>
                                      <p:cBhvr>
                                        <p:cTn id="118" dur="500" fill="hold"/>
                                        <p:tgtEl>
                                          <p:spTgt spid="79"/>
                                        </p:tgtEl>
                                      </p:cBhvr>
                                      <p:by x="125000" y="125000"/>
                                    </p:animScale>
                                  </p:childTnLst>
                                </p:cTn>
                              </p:par>
                              <p:par>
                                <p:cTn id="119" presetID="10" presetClass="entr" presetSubtype="0" fill="hold" grpId="0" nodeType="withEffect">
                                  <p:stCondLst>
                                    <p:cond delay="500"/>
                                  </p:stCondLst>
                                  <p:childTnLst>
                                    <p:set>
                                      <p:cBhvr>
                                        <p:cTn id="120" dur="1" fill="hold">
                                          <p:stCondLst>
                                            <p:cond delay="0"/>
                                          </p:stCondLst>
                                        </p:cTn>
                                        <p:tgtEl>
                                          <p:spTgt spid="82"/>
                                        </p:tgtEl>
                                        <p:attrNameLst>
                                          <p:attrName>style.visibility</p:attrName>
                                        </p:attrNameLst>
                                      </p:cBhvr>
                                      <p:to>
                                        <p:strVal val="visible"/>
                                      </p:to>
                                    </p:set>
                                    <p:animEffect transition="in" filter="fade">
                                      <p:cBhvr>
                                        <p:cTn id="121" dur="500"/>
                                        <p:tgtEl>
                                          <p:spTgt spid="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2" grpId="1" animBg="1"/>
      <p:bldP spid="42" grpId="0" animBg="1"/>
      <p:bldP spid="42" grpId="1" animBg="1"/>
      <p:bldP spid="54" grpId="0" animBg="1"/>
      <p:bldP spid="54" grpId="1" animBg="1"/>
      <p:bldP spid="55" grpId="0" animBg="1"/>
      <p:bldP spid="55" grpId="1" animBg="1"/>
      <p:bldP spid="57" grpId="0" animBg="1"/>
      <p:bldP spid="57" grpId="1" animBg="1"/>
      <p:bldP spid="58" grpId="0" animBg="1"/>
      <p:bldP spid="58" grpId="1" animBg="1"/>
      <p:bldP spid="67" grpId="0" animBg="1"/>
      <p:bldP spid="67" grpId="1" animBg="1"/>
      <p:bldP spid="68" grpId="0" animBg="1"/>
      <p:bldP spid="68" grpId="1" animBg="1"/>
      <p:bldP spid="70" grpId="0" animBg="1"/>
      <p:bldP spid="70" grpId="1" animBg="1"/>
      <p:bldP spid="71" grpId="0" animBg="1"/>
      <p:bldP spid="71" grpId="1" animBg="1"/>
      <p:bldP spid="73" grpId="0" animBg="1"/>
      <p:bldP spid="73" grpId="1" animBg="1"/>
      <p:bldP spid="74" grpId="0" animBg="1"/>
      <p:bldP spid="74" grpId="1" animBg="1"/>
      <p:bldP spid="78" grpId="0" animBg="1"/>
      <p:bldP spid="78" grpId="1" animBg="1"/>
      <p:bldP spid="79" grpId="0" animBg="1"/>
      <p:bldP spid="79" grpId="1" animBg="1"/>
      <p:bldP spid="53" grpId="0" animBg="1"/>
      <p:bldP spid="56" grpId="0" animBg="1"/>
      <p:bldP spid="59" grpId="0" animBg="1"/>
      <p:bldP spid="69" grpId="0" animBg="1"/>
      <p:bldP spid="72" grpId="0" animBg="1"/>
      <p:bldP spid="75" grpId="0" animBg="1"/>
      <p:bldP spid="82"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F50CCF-4D2B-4FD7-9F36-DA4B3C67E983}"/>
              </a:ext>
            </a:extLst>
          </p:cNvPr>
          <p:cNvSpPr>
            <a:spLocks noGrp="1"/>
          </p:cNvSpPr>
          <p:nvPr>
            <p:ph type="title"/>
          </p:nvPr>
        </p:nvSpPr>
        <p:spPr/>
        <p:txBody>
          <a:bodyPr/>
          <a:lstStyle/>
          <a:p>
            <a:r>
              <a:rPr lang="nl-NL" dirty="0"/>
              <a:t>1. Vergunningen </a:t>
            </a:r>
          </a:p>
        </p:txBody>
      </p:sp>
      <p:sp>
        <p:nvSpPr>
          <p:cNvPr id="3" name="Tijdelijke aanduiding voor inhoud 2">
            <a:extLst>
              <a:ext uri="{FF2B5EF4-FFF2-40B4-BE49-F238E27FC236}">
                <a16:creationId xmlns:a16="http://schemas.microsoft.com/office/drawing/2014/main" id="{ACB9A94C-A66A-4984-BD7A-EBBD55A89BE1}"/>
              </a:ext>
            </a:extLst>
          </p:cNvPr>
          <p:cNvSpPr>
            <a:spLocks noGrp="1"/>
          </p:cNvSpPr>
          <p:nvPr>
            <p:ph idx="1"/>
          </p:nvPr>
        </p:nvSpPr>
        <p:spPr>
          <a:xfrm>
            <a:off x="549712" y="1336564"/>
            <a:ext cx="11093775" cy="5049836"/>
          </a:xfrm>
        </p:spPr>
        <p:txBody>
          <a:bodyPr>
            <a:normAutofit/>
          </a:bodyPr>
          <a:lstStyle/>
          <a:p>
            <a:pPr marL="285750" indent="-285750">
              <a:buFont typeface="Arial" panose="020B0604020202020204" pitchFamily="34" charset="0"/>
              <a:buChar char="•"/>
            </a:pPr>
            <a:r>
              <a:rPr lang="nl-NL" dirty="0"/>
              <a:t>Verplicht</a:t>
            </a:r>
          </a:p>
          <a:p>
            <a:pPr marL="555750" lvl="1" indent="-285750">
              <a:buFont typeface="Arial" panose="020B0604020202020204" pitchFamily="34" charset="0"/>
              <a:buChar char="•"/>
            </a:pPr>
            <a:r>
              <a:rPr lang="nl-NL" dirty="0"/>
              <a:t>Exportcertificaten</a:t>
            </a:r>
          </a:p>
          <a:p>
            <a:pPr marL="555750" lvl="1" indent="-285750">
              <a:buFont typeface="Arial" panose="020B0604020202020204" pitchFamily="34" charset="0"/>
              <a:buChar char="•"/>
            </a:pPr>
            <a:r>
              <a:rPr lang="nl-NL" dirty="0"/>
              <a:t>Fytosanitaire certificaten</a:t>
            </a:r>
          </a:p>
          <a:p>
            <a:pPr marL="555750" lvl="1" indent="-285750">
              <a:buFont typeface="Arial" panose="020B0604020202020204" pitchFamily="34" charset="0"/>
              <a:buChar char="•"/>
            </a:pPr>
            <a:r>
              <a:rPr lang="nl-NL" dirty="0" err="1"/>
              <a:t>Oorsprongcertificaten</a:t>
            </a:r>
            <a:endParaRPr lang="nl-NL" dirty="0"/>
          </a:p>
          <a:p>
            <a:pPr lvl="1" indent="0">
              <a:buNone/>
            </a:pPr>
            <a:endParaRPr lang="nl-NL" dirty="0"/>
          </a:p>
          <a:p>
            <a:pPr marL="285750" indent="-285750">
              <a:buFont typeface="Arial" panose="020B0604020202020204" pitchFamily="34" charset="0"/>
              <a:buChar char="•"/>
            </a:pPr>
            <a:r>
              <a:rPr lang="nl-NL" dirty="0"/>
              <a:t>Facultatief</a:t>
            </a:r>
          </a:p>
          <a:p>
            <a:pPr marL="555750" lvl="1" indent="-285750">
              <a:buFont typeface="Arial" panose="020B0604020202020204" pitchFamily="34" charset="0"/>
              <a:buChar char="•"/>
            </a:pPr>
            <a:r>
              <a:rPr lang="nl-NL" dirty="0"/>
              <a:t>AEO-vergunning</a:t>
            </a:r>
          </a:p>
          <a:p>
            <a:pPr marL="555750" lvl="1" indent="-285750">
              <a:buFont typeface="Arial" panose="020B0604020202020204" pitchFamily="34" charset="0"/>
              <a:buChar char="•"/>
            </a:pPr>
            <a:r>
              <a:rPr lang="nl-NL" dirty="0"/>
              <a:t>Doorlopende zekerheid</a:t>
            </a:r>
          </a:p>
          <a:p>
            <a:pPr lvl="1" indent="0">
              <a:buNone/>
            </a:pPr>
            <a:endParaRPr lang="nl-NL" dirty="0"/>
          </a:p>
          <a:p>
            <a:r>
              <a:rPr lang="nl-NL" dirty="0"/>
              <a:t>Biedt ook kansen om belasting te besparen en op een snellere douanebehandeling</a:t>
            </a:r>
          </a:p>
        </p:txBody>
      </p:sp>
    </p:spTree>
    <p:extLst>
      <p:ext uri="{BB962C8B-B14F-4D97-AF65-F5344CB8AC3E}">
        <p14:creationId xmlns:p14="http://schemas.microsoft.com/office/powerpoint/2010/main" val="167752482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F50CCF-4D2B-4FD7-9F36-DA4B3C67E983}"/>
              </a:ext>
            </a:extLst>
          </p:cNvPr>
          <p:cNvSpPr>
            <a:spLocks noGrp="1"/>
          </p:cNvSpPr>
          <p:nvPr>
            <p:ph type="title"/>
          </p:nvPr>
        </p:nvSpPr>
        <p:spPr/>
        <p:txBody>
          <a:bodyPr/>
          <a:lstStyle/>
          <a:p>
            <a:r>
              <a:rPr lang="nl-NL" dirty="0"/>
              <a:t>2. Douaneregelingen </a:t>
            </a:r>
          </a:p>
        </p:txBody>
      </p:sp>
      <p:sp>
        <p:nvSpPr>
          <p:cNvPr id="3" name="Tijdelijke aanduiding voor inhoud 2">
            <a:extLst>
              <a:ext uri="{FF2B5EF4-FFF2-40B4-BE49-F238E27FC236}">
                <a16:creationId xmlns:a16="http://schemas.microsoft.com/office/drawing/2014/main" id="{ACB9A94C-A66A-4984-BD7A-EBBD55A89BE1}"/>
              </a:ext>
            </a:extLst>
          </p:cNvPr>
          <p:cNvSpPr>
            <a:spLocks noGrp="1"/>
          </p:cNvSpPr>
          <p:nvPr>
            <p:ph idx="1"/>
          </p:nvPr>
        </p:nvSpPr>
        <p:spPr/>
        <p:txBody>
          <a:bodyPr/>
          <a:lstStyle/>
          <a:p>
            <a:pPr marL="285750" indent="-285750">
              <a:buFont typeface="Arial" panose="020B0604020202020204" pitchFamily="34" charset="0"/>
              <a:buChar char="•"/>
            </a:pPr>
            <a:r>
              <a:rPr lang="nl-NL" dirty="0"/>
              <a:t>Actieve veredeling </a:t>
            </a:r>
          </a:p>
          <a:p>
            <a:pPr marL="555750" lvl="1" indent="-285750">
              <a:buFont typeface="Arial" panose="020B0604020202020204" pitchFamily="34" charset="0"/>
              <a:buChar char="•"/>
            </a:pPr>
            <a:r>
              <a:rPr lang="nl-NL" dirty="0"/>
              <a:t>Bijv. Engelse goederen binnen Europa bewerken of herstellen, zonder de goederen in te voeren en deze daarna weer uit te voeren</a:t>
            </a:r>
          </a:p>
          <a:p>
            <a:pPr marL="555750" lvl="1" indent="-285750">
              <a:buFont typeface="Arial" panose="020B0604020202020204" pitchFamily="34" charset="0"/>
              <a:buChar char="•"/>
            </a:pPr>
            <a:r>
              <a:rPr lang="nl-NL" dirty="0"/>
              <a:t>Bijv. NL bedrijf haalt grondstoffen uit Azië om eindproducten te maken en deze te verkopen aan afnemers in het VK</a:t>
            </a:r>
          </a:p>
          <a:p>
            <a:pPr marL="555750" lvl="1" indent="-285750">
              <a:buFont typeface="Arial" panose="020B0604020202020204" pitchFamily="34" charset="0"/>
              <a:buChar char="•"/>
            </a:pPr>
            <a:endParaRPr lang="nl-NL" dirty="0"/>
          </a:p>
          <a:p>
            <a:pPr marL="285750" indent="-285750">
              <a:buFont typeface="Arial" panose="020B0604020202020204" pitchFamily="34" charset="0"/>
              <a:buChar char="•"/>
            </a:pPr>
            <a:r>
              <a:rPr lang="nl-NL" dirty="0"/>
              <a:t>Passieve veredeling</a:t>
            </a:r>
          </a:p>
          <a:p>
            <a:pPr marL="555750" lvl="1" indent="-285750">
              <a:buFont typeface="Arial" panose="020B0604020202020204" pitchFamily="34" charset="0"/>
              <a:buChar char="•"/>
            </a:pPr>
            <a:r>
              <a:rPr lang="nl-NL" dirty="0"/>
              <a:t>Uniegoederen in Engeland bewerken of herstellen, en deze daarna weer terughalen naar Nederland</a:t>
            </a:r>
          </a:p>
          <a:p>
            <a:pPr marL="555750" lvl="1" indent="-285750">
              <a:buFont typeface="Arial" panose="020B0604020202020204" pitchFamily="34" charset="0"/>
              <a:buChar char="•"/>
            </a:pPr>
            <a:r>
              <a:rPr lang="nl-NL" dirty="0"/>
              <a:t>Zonder invoerrechten terug naar Nederland </a:t>
            </a:r>
          </a:p>
          <a:p>
            <a:pPr lvl="1" indent="0">
              <a:buNone/>
            </a:pPr>
            <a:endParaRPr lang="nl-NL" dirty="0"/>
          </a:p>
          <a:p>
            <a:pPr marL="285750" indent="-285750">
              <a:buFont typeface="Arial" panose="020B0604020202020204" pitchFamily="34" charset="0"/>
              <a:buChar char="•"/>
            </a:pPr>
            <a:r>
              <a:rPr lang="nl-NL" dirty="0"/>
              <a:t>Douane-entrepot</a:t>
            </a:r>
          </a:p>
          <a:p>
            <a:pPr marL="555750" lvl="1" indent="-285750">
              <a:buFont typeface="Arial" panose="020B0604020202020204" pitchFamily="34" charset="0"/>
              <a:buChar char="•"/>
            </a:pPr>
            <a:r>
              <a:rPr lang="nl-NL" dirty="0"/>
              <a:t>Goederen in opslag in Nederland of Engeland zonder goederen in te voeren</a:t>
            </a:r>
          </a:p>
          <a:p>
            <a:endParaRPr lang="nl-NL" dirty="0"/>
          </a:p>
        </p:txBody>
      </p:sp>
      <p:pic>
        <p:nvPicPr>
          <p:cNvPr id="5" name="Afbeelding 4" descr="Afbeelding met plafond, magazijn, gebouw&#10;&#10;Automatisch gegenereerde beschrijving">
            <a:extLst>
              <a:ext uri="{FF2B5EF4-FFF2-40B4-BE49-F238E27FC236}">
                <a16:creationId xmlns:a16="http://schemas.microsoft.com/office/drawing/2014/main" id="{839A364E-2817-44AB-81CD-EBBCA6C4328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42791" y="5392543"/>
            <a:ext cx="7253924" cy="1420833"/>
          </a:xfrm>
          <a:prstGeom prst="ellipse">
            <a:avLst/>
          </a:prstGeom>
          <a:ln>
            <a:noFill/>
          </a:ln>
          <a:effectLst>
            <a:softEdge rad="112500"/>
          </a:effectLst>
        </p:spPr>
      </p:pic>
    </p:spTree>
    <p:extLst>
      <p:ext uri="{BB962C8B-B14F-4D97-AF65-F5344CB8AC3E}">
        <p14:creationId xmlns:p14="http://schemas.microsoft.com/office/powerpoint/2010/main" val="314769822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553D291D-03FB-414B-A1CF-500D4D343EB3}"/>
              </a:ext>
            </a:extLst>
          </p:cNvPr>
          <p:cNvSpPr>
            <a:spLocks noGrp="1"/>
          </p:cNvSpPr>
          <p:nvPr>
            <p:ph type="body" orient="vert" idx="1"/>
          </p:nvPr>
        </p:nvSpPr>
        <p:spPr>
          <a:xfrm>
            <a:off x="664110" y="1720867"/>
            <a:ext cx="10870130" cy="3694492"/>
          </a:xfrm>
        </p:spPr>
        <p:txBody>
          <a:bodyPr/>
          <a:lstStyle/>
          <a:p>
            <a:r>
              <a:rPr lang="nl-NL" dirty="0"/>
              <a:t>Op dit moment profiteert het VK van de vele vrijhandelsakkoorden die de EU heeft afgesloten met derde landen</a:t>
            </a:r>
          </a:p>
          <a:p>
            <a:endParaRPr lang="nl-NL" dirty="0"/>
          </a:p>
          <a:p>
            <a:pPr>
              <a:lnSpc>
                <a:spcPct val="150000"/>
              </a:lnSpc>
            </a:pPr>
            <a:r>
              <a:rPr lang="nl-NL" dirty="0"/>
              <a:t>Gevolgen </a:t>
            </a:r>
            <a:r>
              <a:rPr lang="nl-NL" dirty="0" err="1"/>
              <a:t>Brexit</a:t>
            </a:r>
            <a:r>
              <a:rPr lang="nl-NL" dirty="0"/>
              <a:t>:</a:t>
            </a:r>
          </a:p>
          <a:p>
            <a:pPr marL="285750" indent="-285750">
              <a:lnSpc>
                <a:spcPct val="150000"/>
              </a:lnSpc>
              <a:buFont typeface="Arial" panose="020B0604020202020204" pitchFamily="34" charset="0"/>
              <a:buChar char="•"/>
            </a:pPr>
            <a:r>
              <a:rPr lang="nl-NL" dirty="0"/>
              <a:t>Britse goederen na </a:t>
            </a:r>
            <a:r>
              <a:rPr lang="nl-NL" dirty="0" err="1"/>
              <a:t>Brexit</a:t>
            </a:r>
            <a:r>
              <a:rPr lang="nl-NL" dirty="0"/>
              <a:t> niet meer aangemerkt als Uniegoederen</a:t>
            </a:r>
          </a:p>
          <a:p>
            <a:pPr marL="285750" indent="-285750">
              <a:lnSpc>
                <a:spcPct val="150000"/>
              </a:lnSpc>
              <a:buFont typeface="Arial" panose="020B0604020202020204" pitchFamily="34" charset="0"/>
              <a:buChar char="•"/>
            </a:pPr>
            <a:r>
              <a:rPr lang="nl-NL" dirty="0"/>
              <a:t>Het Verenigd Koninkrijk moet zelf nieuwe handelsakkoorden sluiten</a:t>
            </a:r>
          </a:p>
          <a:p>
            <a:pPr marL="555750" lvl="1" indent="-285750">
              <a:lnSpc>
                <a:spcPct val="150000"/>
              </a:lnSpc>
              <a:buFont typeface="Arial" panose="020B0604020202020204" pitchFamily="34" charset="0"/>
              <a:buChar char="•"/>
            </a:pPr>
            <a:r>
              <a:rPr lang="nl-NL" dirty="0"/>
              <a:t>Kan wel 10 tot 15 jaar duren per handelsakkoord</a:t>
            </a:r>
          </a:p>
          <a:p>
            <a:endParaRPr lang="nl-NL" dirty="0"/>
          </a:p>
          <a:p>
            <a:pPr marL="285750" indent="-285750">
              <a:buFont typeface="Arial" panose="020B0604020202020204" pitchFamily="34" charset="0"/>
              <a:buChar char="•"/>
            </a:pPr>
            <a:endParaRPr lang="nl-NL" dirty="0"/>
          </a:p>
          <a:p>
            <a:endParaRPr lang="nl-NL" dirty="0"/>
          </a:p>
        </p:txBody>
      </p:sp>
      <p:pic>
        <p:nvPicPr>
          <p:cNvPr id="6" name="Afbeelding 5" descr="Afbeelding met binnen&#10;&#10;Automatisch gegenereerde beschrijving">
            <a:extLst>
              <a:ext uri="{FF2B5EF4-FFF2-40B4-BE49-F238E27FC236}">
                <a16:creationId xmlns:a16="http://schemas.microsoft.com/office/drawing/2014/main" id="{689AB345-3E28-4323-8AC7-ABD82BBA5C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02571" y="2276872"/>
            <a:ext cx="3363756" cy="3363756"/>
          </a:xfrm>
          <a:prstGeom prst="rect">
            <a:avLst/>
          </a:prstGeom>
          <a:ln>
            <a:noFill/>
          </a:ln>
          <a:effectLst>
            <a:softEdge rad="112500"/>
          </a:effectLst>
        </p:spPr>
      </p:pic>
      <p:sp>
        <p:nvSpPr>
          <p:cNvPr id="3" name="Tijdelijke aanduiding voor tekst 2">
            <a:extLst>
              <a:ext uri="{FF2B5EF4-FFF2-40B4-BE49-F238E27FC236}">
                <a16:creationId xmlns:a16="http://schemas.microsoft.com/office/drawing/2014/main" id="{69AB1F0F-7DF5-4EC9-9354-019D38B85EA2}"/>
              </a:ext>
            </a:extLst>
          </p:cNvPr>
          <p:cNvSpPr>
            <a:spLocks noGrp="1"/>
          </p:cNvSpPr>
          <p:nvPr>
            <p:ph type="body" idx="14"/>
          </p:nvPr>
        </p:nvSpPr>
        <p:spPr/>
        <p:txBody>
          <a:bodyPr/>
          <a:lstStyle/>
          <a:p>
            <a:endParaRPr lang="nl-NL"/>
          </a:p>
        </p:txBody>
      </p:sp>
      <p:sp>
        <p:nvSpPr>
          <p:cNvPr id="4" name="Titel 3">
            <a:extLst>
              <a:ext uri="{FF2B5EF4-FFF2-40B4-BE49-F238E27FC236}">
                <a16:creationId xmlns:a16="http://schemas.microsoft.com/office/drawing/2014/main" id="{56320199-3D26-497E-8882-2EAB09E33E34}"/>
              </a:ext>
            </a:extLst>
          </p:cNvPr>
          <p:cNvSpPr>
            <a:spLocks noGrp="1"/>
          </p:cNvSpPr>
          <p:nvPr>
            <p:ph type="title"/>
          </p:nvPr>
        </p:nvSpPr>
        <p:spPr/>
        <p:txBody>
          <a:bodyPr/>
          <a:lstStyle/>
          <a:p>
            <a:r>
              <a:rPr lang="nl-NL" dirty="0"/>
              <a:t>3. Oorsprong</a:t>
            </a:r>
          </a:p>
        </p:txBody>
      </p:sp>
    </p:spTree>
    <p:extLst>
      <p:ext uri="{BB962C8B-B14F-4D97-AF65-F5344CB8AC3E}">
        <p14:creationId xmlns:p14="http://schemas.microsoft.com/office/powerpoint/2010/main" val="2132143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DE5D49E-EDAD-4344-8D9E-AC032242460C}"/>
              </a:ext>
            </a:extLst>
          </p:cNvPr>
          <p:cNvSpPr>
            <a:spLocks noGrp="1"/>
          </p:cNvSpPr>
          <p:nvPr>
            <p:ph type="title"/>
          </p:nvPr>
        </p:nvSpPr>
        <p:spPr/>
        <p:txBody>
          <a:bodyPr/>
          <a:lstStyle/>
          <a:p>
            <a:r>
              <a:rPr lang="nl-NL" dirty="0"/>
              <a:t>It depends..</a:t>
            </a:r>
          </a:p>
        </p:txBody>
      </p:sp>
      <p:sp>
        <p:nvSpPr>
          <p:cNvPr id="3" name="Tijdelijke aanduiding voor tekst 2">
            <a:extLst>
              <a:ext uri="{FF2B5EF4-FFF2-40B4-BE49-F238E27FC236}">
                <a16:creationId xmlns:a16="http://schemas.microsoft.com/office/drawing/2014/main" id="{88768E8B-B4A6-48BA-B418-6DDB2FB2EA60}"/>
              </a:ext>
            </a:extLst>
          </p:cNvPr>
          <p:cNvSpPr>
            <a:spLocks noGrp="1"/>
          </p:cNvSpPr>
          <p:nvPr>
            <p:ph type="body" idx="14"/>
          </p:nvPr>
        </p:nvSpPr>
        <p:spPr/>
        <p:txBody>
          <a:bodyPr/>
          <a:lstStyle/>
          <a:p>
            <a:endParaRPr lang="nl-NL"/>
          </a:p>
        </p:txBody>
      </p:sp>
      <p:sp>
        <p:nvSpPr>
          <p:cNvPr id="4" name="Tijdelijke aanduiding voor verticale tekst 3">
            <a:extLst>
              <a:ext uri="{FF2B5EF4-FFF2-40B4-BE49-F238E27FC236}">
                <a16:creationId xmlns:a16="http://schemas.microsoft.com/office/drawing/2014/main" id="{AB3CBD37-5EF9-4F29-8AD0-CDBEAB536865}"/>
              </a:ext>
            </a:extLst>
          </p:cNvPr>
          <p:cNvSpPr>
            <a:spLocks noGrp="1"/>
          </p:cNvSpPr>
          <p:nvPr>
            <p:ph type="body" orient="vert" idx="1"/>
          </p:nvPr>
        </p:nvSpPr>
        <p:spPr/>
        <p:txBody>
          <a:bodyPr/>
          <a:lstStyle/>
          <a:p>
            <a:endParaRPr lang="nl-NL" dirty="0"/>
          </a:p>
        </p:txBody>
      </p:sp>
      <p:pic>
        <p:nvPicPr>
          <p:cNvPr id="1026" name="Picture 2" descr="Afbeeldingsresultaat voor it depends">
            <a:hlinkClick r:id="rId3"/>
            <a:extLst>
              <a:ext uri="{FF2B5EF4-FFF2-40B4-BE49-F238E27FC236}">
                <a16:creationId xmlns:a16="http://schemas.microsoft.com/office/drawing/2014/main" id="{CB69B057-AE55-4E90-AF3C-EEBC5A72D6C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88532" y="1876288"/>
            <a:ext cx="6765228" cy="33826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7641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Afbeelding 3" descr="Afbeelding met tekst&#10;&#10;Automatisch gegenereerde beschrijving">
            <a:extLst>
              <a:ext uri="{FF2B5EF4-FFF2-40B4-BE49-F238E27FC236}">
                <a16:creationId xmlns:a16="http://schemas.microsoft.com/office/drawing/2014/main" id="{0D01D6DC-4942-4B97-8E66-430F57606C5D}"/>
              </a:ext>
            </a:extLst>
          </p:cNvPr>
          <p:cNvPicPr>
            <a:picLocks noChangeAspect="1"/>
          </p:cNvPicPr>
          <p:nvPr/>
        </p:nvPicPr>
        <p:blipFill rotWithShape="1">
          <a:blip r:embed="rId3">
            <a:extLst>
              <a:ext uri="{28A0092B-C50C-407E-A947-70E740481C1C}">
                <a14:useLocalDpi xmlns:a14="http://schemas.microsoft.com/office/drawing/2010/main" val="0"/>
              </a:ext>
            </a:extLst>
          </a:blip>
          <a:srcRect b="9952"/>
          <a:stretch/>
        </p:blipFill>
        <p:spPr>
          <a:xfrm>
            <a:off x="6350735" y="2776622"/>
            <a:ext cx="5205141" cy="2664296"/>
          </a:xfrm>
          <a:prstGeom prst="rect">
            <a:avLst/>
          </a:prstGeom>
        </p:spPr>
      </p:pic>
      <p:sp>
        <p:nvSpPr>
          <p:cNvPr id="18" name="Tijdelijke aanduiding voor tekst 17">
            <a:extLst>
              <a:ext uri="{FF2B5EF4-FFF2-40B4-BE49-F238E27FC236}">
                <a16:creationId xmlns:a16="http://schemas.microsoft.com/office/drawing/2014/main" id="{9D75E6DA-8764-40F5-BC2A-2CEB49302534}"/>
              </a:ext>
            </a:extLst>
          </p:cNvPr>
          <p:cNvSpPr>
            <a:spLocks noGrp="1"/>
          </p:cNvSpPr>
          <p:nvPr>
            <p:ph type="body" idx="14"/>
          </p:nvPr>
        </p:nvSpPr>
        <p:spPr/>
        <p:txBody>
          <a:bodyPr/>
          <a:lstStyle/>
          <a:p>
            <a:r>
              <a:rPr lang="nl-NL" dirty="0"/>
              <a:t>Voorbeeld gevolgen </a:t>
            </a:r>
            <a:r>
              <a:rPr lang="nl-NL" dirty="0" err="1"/>
              <a:t>Brexit</a:t>
            </a:r>
            <a:endParaRPr lang="nl-NL" dirty="0"/>
          </a:p>
        </p:txBody>
      </p:sp>
      <p:sp>
        <p:nvSpPr>
          <p:cNvPr id="16" name="Titel 15">
            <a:extLst>
              <a:ext uri="{FF2B5EF4-FFF2-40B4-BE49-F238E27FC236}">
                <a16:creationId xmlns:a16="http://schemas.microsoft.com/office/drawing/2014/main" id="{C619C9C7-3F5E-4EF0-A6BD-8D786C675E62}"/>
              </a:ext>
            </a:extLst>
          </p:cNvPr>
          <p:cNvSpPr>
            <a:spLocks noGrp="1"/>
          </p:cNvSpPr>
          <p:nvPr>
            <p:ph type="title"/>
          </p:nvPr>
        </p:nvSpPr>
        <p:spPr/>
        <p:txBody>
          <a:bodyPr/>
          <a:lstStyle/>
          <a:p>
            <a:r>
              <a:rPr lang="nl-NL" dirty="0"/>
              <a:t>3. Oorsprong 	</a:t>
            </a:r>
          </a:p>
        </p:txBody>
      </p:sp>
      <p:sp>
        <p:nvSpPr>
          <p:cNvPr id="5" name="Tekstballon: rechthoek 4">
            <a:extLst>
              <a:ext uri="{FF2B5EF4-FFF2-40B4-BE49-F238E27FC236}">
                <a16:creationId xmlns:a16="http://schemas.microsoft.com/office/drawing/2014/main" id="{0C410420-2E04-4BAF-A87D-22849FAA0DE0}"/>
              </a:ext>
            </a:extLst>
          </p:cNvPr>
          <p:cNvSpPr/>
          <p:nvPr/>
        </p:nvSpPr>
        <p:spPr>
          <a:xfrm>
            <a:off x="8043391" y="1938690"/>
            <a:ext cx="1594899" cy="637051"/>
          </a:xfrm>
          <a:prstGeom prst="wedgeRectCallout">
            <a:avLst>
              <a:gd name="adj1" fmla="val 2275"/>
              <a:gd name="adj2" fmla="val 152995"/>
            </a:avLst>
          </a:prstGeom>
          <a:solidFill>
            <a:srgbClr val="FFFF00"/>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nl-NL" sz="1300" dirty="0"/>
              <a:t>5% van de auto-onderdelen komt uit het VK</a:t>
            </a:r>
          </a:p>
        </p:txBody>
      </p:sp>
      <p:sp>
        <p:nvSpPr>
          <p:cNvPr id="9" name="Tijdelijke aanduiding voor verticale tekst 8">
            <a:extLst>
              <a:ext uri="{FF2B5EF4-FFF2-40B4-BE49-F238E27FC236}">
                <a16:creationId xmlns:a16="http://schemas.microsoft.com/office/drawing/2014/main" id="{CF1E528F-6CBD-4C57-9044-22C69294E7D6}"/>
              </a:ext>
            </a:extLst>
          </p:cNvPr>
          <p:cNvSpPr>
            <a:spLocks noGrp="1"/>
          </p:cNvSpPr>
          <p:nvPr>
            <p:ph type="body" orient="vert" idx="1"/>
          </p:nvPr>
        </p:nvSpPr>
        <p:spPr>
          <a:xfrm>
            <a:off x="6115380" y="2251887"/>
            <a:ext cx="1512168" cy="863868"/>
          </a:xfrm>
          <a:prstGeom prst="wedgeRectCallout">
            <a:avLst>
              <a:gd name="adj1" fmla="val 23775"/>
              <a:gd name="adj2" fmla="val 127300"/>
            </a:avLst>
          </a:prstGeom>
          <a:solidFill>
            <a:srgbClr val="FF0000"/>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nl-NL" sz="1300" dirty="0"/>
              <a:t>52% van de auto-onderdelen komt uit de EU</a:t>
            </a:r>
          </a:p>
        </p:txBody>
      </p:sp>
      <p:sp>
        <p:nvSpPr>
          <p:cNvPr id="10" name="Tekstballon: rechthoek 9">
            <a:extLst>
              <a:ext uri="{FF2B5EF4-FFF2-40B4-BE49-F238E27FC236}">
                <a16:creationId xmlns:a16="http://schemas.microsoft.com/office/drawing/2014/main" id="{FB801619-A57D-4976-9510-84A308C18613}"/>
              </a:ext>
            </a:extLst>
          </p:cNvPr>
          <p:cNvSpPr/>
          <p:nvPr/>
        </p:nvSpPr>
        <p:spPr>
          <a:xfrm>
            <a:off x="9843591" y="2377908"/>
            <a:ext cx="1767908" cy="720080"/>
          </a:xfrm>
          <a:prstGeom prst="wedgeRectCallout">
            <a:avLst>
              <a:gd name="adj1" fmla="val -6755"/>
              <a:gd name="adj2" fmla="val 184973"/>
            </a:avLst>
          </a:prstGeom>
          <a:solidFill>
            <a:srgbClr val="00B0F0"/>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nl-NL" sz="1300" dirty="0"/>
              <a:t>43% van de auto-onderdelen komt uit</a:t>
            </a:r>
          </a:p>
          <a:p>
            <a:pPr algn="ctr"/>
            <a:r>
              <a:rPr lang="en-US" sz="1300" dirty="0"/>
              <a:t>de VS</a:t>
            </a:r>
            <a:endParaRPr lang="nl-NL" sz="1300" dirty="0"/>
          </a:p>
        </p:txBody>
      </p:sp>
      <p:sp>
        <p:nvSpPr>
          <p:cNvPr id="12" name="Tijdelijke aanduiding voor verticale tekst 32">
            <a:extLst>
              <a:ext uri="{FF2B5EF4-FFF2-40B4-BE49-F238E27FC236}">
                <a16:creationId xmlns:a16="http://schemas.microsoft.com/office/drawing/2014/main" id="{091ACD76-16D5-4795-ADBA-BA956B5D5F98}"/>
              </a:ext>
            </a:extLst>
          </p:cNvPr>
          <p:cNvSpPr txBox="1">
            <a:spLocks/>
          </p:cNvSpPr>
          <p:nvPr/>
        </p:nvSpPr>
        <p:spPr>
          <a:xfrm>
            <a:off x="664109" y="1720867"/>
            <a:ext cx="10947389" cy="3693600"/>
          </a:xfrm>
          <a:prstGeom prst="rect">
            <a:avLst/>
          </a:prstGeom>
        </p:spPr>
        <p:txBody>
          <a:bodyPr vert="horz" lIns="0" tIns="0" rIns="0" bIns="0" numCol="2" spcCol="360000" rtlCol="0">
            <a:noAutofit/>
          </a:bodyPr>
          <a:lstStyle>
            <a:lvl1pPr marL="0" indent="0" algn="l" defTabSz="287338" rtl="0" eaLnBrk="1" latinLnBrk="0" hangingPunct="1">
              <a:spcBef>
                <a:spcPts val="0"/>
              </a:spcBef>
              <a:spcAft>
                <a:spcPts val="900"/>
              </a:spcAft>
              <a:buFont typeface="Arial" panose="020B0604020202020204" pitchFamily="34" charset="0"/>
              <a:buNone/>
              <a:defRPr sz="1600" kern="1200">
                <a:solidFill>
                  <a:schemeClr val="tx2"/>
                </a:solidFill>
                <a:latin typeface="+mn-lt"/>
                <a:ea typeface="+mn-ea"/>
                <a:cs typeface="+mn-cs"/>
              </a:defRPr>
            </a:lvl1pPr>
            <a:lvl2pPr marL="270000" indent="-270000" algn="l" defTabSz="287338" rtl="0" eaLnBrk="1" latinLnBrk="0" hangingPunct="1">
              <a:spcBef>
                <a:spcPts val="0"/>
              </a:spcBef>
              <a:spcAft>
                <a:spcPts val="900"/>
              </a:spcAft>
              <a:buClr>
                <a:schemeClr val="accent1"/>
              </a:buClr>
              <a:buSzPct val="80000"/>
              <a:buFont typeface="Wingdings 3" panose="05040102010807070707" pitchFamily="18" charset="2"/>
              <a:buChar char="u"/>
              <a:defRPr sz="1600" kern="1200">
                <a:solidFill>
                  <a:schemeClr val="tx2"/>
                </a:solidFill>
                <a:latin typeface="+mn-lt"/>
                <a:ea typeface="+mn-ea"/>
                <a:cs typeface="+mn-cs"/>
              </a:defRPr>
            </a:lvl2pPr>
            <a:lvl3pPr marL="540000" indent="-270000" algn="l" defTabSz="287338" rtl="0" eaLnBrk="1" latinLnBrk="0" hangingPunct="1">
              <a:spcBef>
                <a:spcPts val="0"/>
              </a:spcBef>
              <a:spcAft>
                <a:spcPts val="900"/>
              </a:spcAft>
              <a:buClr>
                <a:schemeClr val="accent1"/>
              </a:buClr>
              <a:buSzPct val="80000"/>
              <a:buFont typeface="Wingdings 3" panose="05040102010807070707" pitchFamily="18" charset="2"/>
              <a:buChar char="w"/>
              <a:defRPr sz="1600" kern="1200">
                <a:solidFill>
                  <a:schemeClr val="tx2"/>
                </a:solidFill>
                <a:latin typeface="+mn-lt"/>
                <a:ea typeface="+mn-ea"/>
                <a:cs typeface="+mn-cs"/>
              </a:defRPr>
            </a:lvl3pPr>
            <a:lvl4pPr marL="808038" indent="-270000" algn="l" defTabSz="287338" rtl="0" eaLnBrk="1" latinLnBrk="0" hangingPunct="1">
              <a:spcBef>
                <a:spcPts val="0"/>
              </a:spcBef>
              <a:spcAft>
                <a:spcPts val="900"/>
              </a:spcAft>
              <a:buClr>
                <a:schemeClr val="accent2"/>
              </a:buClr>
              <a:buSzPct val="80000"/>
              <a:buFont typeface="Wingdings 3" panose="05040102010807070707" pitchFamily="18" charset="2"/>
              <a:buChar char="u"/>
              <a:defRPr sz="1600" kern="1200">
                <a:solidFill>
                  <a:schemeClr val="tx2"/>
                </a:solidFill>
                <a:latin typeface="+mn-lt"/>
                <a:ea typeface="+mn-ea"/>
                <a:cs typeface="+mn-cs"/>
              </a:defRPr>
            </a:lvl4pPr>
            <a:lvl5pPr marL="360000" indent="-360000" algn="l" defTabSz="287338" rtl="0" eaLnBrk="1" latinLnBrk="0" hangingPunct="1">
              <a:spcBef>
                <a:spcPts val="0"/>
              </a:spcBef>
              <a:spcAft>
                <a:spcPts val="900"/>
              </a:spcAft>
              <a:buClr>
                <a:schemeClr val="accent1"/>
              </a:buClr>
              <a:buFont typeface="+mj-lt"/>
              <a:buAutoNum type="arabicPeriod"/>
              <a:defRPr sz="1600" kern="1200">
                <a:solidFill>
                  <a:schemeClr val="tx2"/>
                </a:solidFill>
                <a:latin typeface="+mn-lt"/>
                <a:ea typeface="+mn-ea"/>
                <a:cs typeface="+mn-cs"/>
              </a:defRPr>
            </a:lvl5pPr>
            <a:lvl6pPr marL="630000" indent="-270000" algn="l" defTabSz="287338" rtl="0" eaLnBrk="1" latinLnBrk="0" hangingPunct="1">
              <a:spcBef>
                <a:spcPts val="0"/>
              </a:spcBef>
              <a:spcAft>
                <a:spcPts val="900"/>
              </a:spcAft>
              <a:buClr>
                <a:schemeClr val="accent1"/>
              </a:buClr>
              <a:buSzPct val="80000"/>
              <a:buFont typeface="Wingdings 3" panose="05040102010807070707" pitchFamily="18" charset="2"/>
              <a:buChar char="u"/>
              <a:defRPr sz="1600" kern="1200">
                <a:solidFill>
                  <a:schemeClr val="tx2"/>
                </a:solidFill>
                <a:latin typeface="+mn-lt"/>
                <a:ea typeface="+mn-ea"/>
                <a:cs typeface="+mn-cs"/>
              </a:defRPr>
            </a:lvl6pPr>
            <a:lvl7pPr marL="0" indent="0" algn="l" defTabSz="287338" rtl="0" eaLnBrk="1" latinLnBrk="0" hangingPunct="1">
              <a:spcBef>
                <a:spcPts val="0"/>
              </a:spcBef>
              <a:spcAft>
                <a:spcPts val="900"/>
              </a:spcAft>
              <a:buFont typeface="Arial" panose="020B0604020202020204" pitchFamily="34" charset="0"/>
              <a:buNone/>
              <a:defRPr sz="1600" i="1" kern="1200" baseline="0">
                <a:solidFill>
                  <a:schemeClr val="tx2"/>
                </a:solidFill>
                <a:latin typeface="+mn-lt"/>
                <a:ea typeface="+mn-ea"/>
                <a:cs typeface="+mn-cs"/>
              </a:defRPr>
            </a:lvl7pPr>
            <a:lvl8pPr marL="0" indent="0" algn="l" defTabSz="287338" rtl="0" eaLnBrk="1" latinLnBrk="0" hangingPunct="1">
              <a:spcBef>
                <a:spcPts val="0"/>
              </a:spcBef>
              <a:spcAft>
                <a:spcPts val="900"/>
              </a:spcAft>
              <a:buFont typeface="Arial" panose="020B0604020202020204" pitchFamily="34" charset="0"/>
              <a:buNone/>
              <a:defRPr sz="1600" i="1" kern="1200" baseline="0">
                <a:solidFill>
                  <a:schemeClr val="accent6"/>
                </a:solidFill>
                <a:latin typeface="+mn-lt"/>
                <a:ea typeface="+mn-ea"/>
                <a:cs typeface="+mn-cs"/>
              </a:defRPr>
            </a:lvl8pPr>
            <a:lvl9pPr marL="0" indent="0" algn="l" defTabSz="287338" rtl="0" eaLnBrk="1" latinLnBrk="0" hangingPunct="1">
              <a:spcBef>
                <a:spcPts val="0"/>
              </a:spcBef>
              <a:spcAft>
                <a:spcPts val="900"/>
              </a:spcAft>
              <a:buFont typeface="Arial" panose="020B0604020202020204" pitchFamily="34" charset="0"/>
              <a:buNone/>
              <a:defRPr sz="1800" b="1" kern="1200">
                <a:solidFill>
                  <a:schemeClr val="accent1"/>
                </a:solidFill>
                <a:latin typeface="+mn-lt"/>
                <a:ea typeface="+mn-ea"/>
                <a:cs typeface="+mn-cs"/>
              </a:defRPr>
            </a:lvl9pPr>
          </a:lstStyle>
          <a:p>
            <a:pPr lvl="1"/>
            <a:r>
              <a:rPr lang="nl-NL" dirty="0"/>
              <a:t>EU en Canada hebben een vrijhandelsverdrag</a:t>
            </a:r>
            <a:br>
              <a:rPr lang="nl-NL" dirty="0"/>
            </a:br>
            <a:r>
              <a:rPr lang="nl-NL" dirty="0"/>
              <a:t>met daarin een oorsprongseis</a:t>
            </a:r>
          </a:p>
          <a:p>
            <a:pPr lvl="1"/>
            <a:r>
              <a:rPr lang="nl-NL" dirty="0"/>
              <a:t>Voor EU oorsprong moet 55% van de onderdelen uit de EU afkomstig zijn, dan is het vrijhandelsverdrag </a:t>
            </a:r>
            <a:br>
              <a:rPr lang="nl-NL" dirty="0"/>
            </a:br>
            <a:r>
              <a:rPr lang="nl-NL" dirty="0"/>
              <a:t>van toepassing</a:t>
            </a:r>
          </a:p>
          <a:p>
            <a:pPr lvl="1"/>
            <a:r>
              <a:rPr lang="nl-NL" b="1" dirty="0"/>
              <a:t>Vóór Brexit</a:t>
            </a:r>
            <a:r>
              <a:rPr lang="nl-NL" dirty="0"/>
              <a:t>: auto verkrijgt EU oorsprong </a:t>
            </a:r>
            <a:r>
              <a:rPr lang="nl-NL" dirty="0">
                <a:sym typeface="Wingdings" panose="05000000000000000000" pitchFamily="2" charset="2"/>
              </a:rPr>
              <a:t> dus geen invoerrechten aan bij invoer in Canada</a:t>
            </a:r>
            <a:endParaRPr lang="nl-NL" dirty="0"/>
          </a:p>
          <a:p>
            <a:pPr lvl="1"/>
            <a:r>
              <a:rPr lang="nl-NL" b="1" dirty="0"/>
              <a:t>Na </a:t>
            </a:r>
            <a:r>
              <a:rPr lang="nl-NL" b="1" dirty="0" err="1"/>
              <a:t>Brexit</a:t>
            </a:r>
            <a:r>
              <a:rPr lang="nl-NL" dirty="0"/>
              <a:t>: 52% van de onderdelen komt uit EU, dus geen Europese oorsprong </a:t>
            </a:r>
            <a:r>
              <a:rPr lang="nl-NL" dirty="0">
                <a:sym typeface="Wingdings" panose="05000000000000000000" pitchFamily="2" charset="2"/>
              </a:rPr>
              <a:t> geen toegang tot vrijhandelsverdrag tussen EU en Canada</a:t>
            </a:r>
            <a:endParaRPr lang="nl-NL" dirty="0"/>
          </a:p>
          <a:p>
            <a:pPr lvl="1"/>
            <a:endParaRPr lang="nl-NL" dirty="0"/>
          </a:p>
          <a:p>
            <a:pPr lvl="1"/>
            <a:endParaRPr lang="nl-NL" dirty="0"/>
          </a:p>
          <a:p>
            <a:pPr lvl="1"/>
            <a:endParaRPr lang="nl-NL" dirty="0"/>
          </a:p>
          <a:p>
            <a:pPr lvl="1"/>
            <a:endParaRPr lang="nl-NL" dirty="0"/>
          </a:p>
          <a:p>
            <a:r>
              <a:rPr lang="nl-NL" dirty="0"/>
              <a:t> </a:t>
            </a:r>
          </a:p>
        </p:txBody>
      </p:sp>
    </p:spTree>
    <p:extLst>
      <p:ext uri="{BB962C8B-B14F-4D97-AF65-F5344CB8AC3E}">
        <p14:creationId xmlns:p14="http://schemas.microsoft.com/office/powerpoint/2010/main" val="2431825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8D9BB242-7FF4-4849-A69E-05CDA01B86C2}"/>
              </a:ext>
            </a:extLst>
          </p:cNvPr>
          <p:cNvSpPr>
            <a:spLocks noGrp="1"/>
          </p:cNvSpPr>
          <p:nvPr>
            <p:ph type="body" orient="vert" idx="1"/>
          </p:nvPr>
        </p:nvSpPr>
        <p:spPr/>
        <p:txBody>
          <a:bodyPr/>
          <a:lstStyle/>
          <a:p>
            <a:r>
              <a:rPr lang="nl-NL" dirty="0"/>
              <a:t>Voordat Britse goederen ingevoerd kunnen worden, moeten ze worden ingedeeld in het Geharmoniseerd Systeem (GS)</a:t>
            </a:r>
            <a:br>
              <a:rPr lang="nl-NL" dirty="0"/>
            </a:br>
            <a:r>
              <a:rPr lang="nl-NL" dirty="0"/>
              <a:t>Dit resulteert in een specifieke goederencode die soms wel 10 cijfers lang is</a:t>
            </a:r>
          </a:p>
          <a:p>
            <a:pPr marL="285750" indent="-285750">
              <a:buFont typeface="Wingdings" panose="05000000000000000000" pitchFamily="2" charset="2"/>
              <a:buChar char="§"/>
            </a:pPr>
            <a:endParaRPr lang="nl-NL" dirty="0"/>
          </a:p>
          <a:p>
            <a:pPr lvl="1">
              <a:lnSpc>
                <a:spcPct val="150000"/>
              </a:lnSpc>
              <a:buFont typeface="Wingdings" panose="05000000000000000000" pitchFamily="2" charset="2"/>
              <a:buChar char="§"/>
            </a:pPr>
            <a:r>
              <a:rPr lang="nl-NL" dirty="0"/>
              <a:t>Tariefindeling zeer complex</a:t>
            </a:r>
          </a:p>
          <a:p>
            <a:pPr lvl="1">
              <a:lnSpc>
                <a:spcPct val="150000"/>
              </a:lnSpc>
              <a:buFont typeface="Wingdings" panose="05000000000000000000" pitchFamily="2" charset="2"/>
              <a:buChar char="§"/>
            </a:pPr>
            <a:r>
              <a:rPr lang="nl-NL" dirty="0"/>
              <a:t>Onjuiste indeling kan leiden tot onnodig teveel betaalde invoerrechten</a:t>
            </a:r>
          </a:p>
          <a:p>
            <a:pPr lvl="1">
              <a:lnSpc>
                <a:spcPct val="150000"/>
              </a:lnSpc>
              <a:buFont typeface="Wingdings" panose="05000000000000000000" pitchFamily="2" charset="2"/>
              <a:buChar char="§"/>
            </a:pPr>
            <a:r>
              <a:rPr lang="nl-NL" dirty="0"/>
              <a:t>Navorderingsrisico bij te weinig betaalde invoerrechten</a:t>
            </a:r>
          </a:p>
          <a:p>
            <a:pPr lvl="1">
              <a:lnSpc>
                <a:spcPct val="150000"/>
              </a:lnSpc>
              <a:buFont typeface="Wingdings" panose="05000000000000000000" pitchFamily="2" charset="2"/>
              <a:buChar char="§"/>
            </a:pPr>
            <a:r>
              <a:rPr lang="nl-NL" dirty="0"/>
              <a:t>Bijzondere tariefmaatregelen en quota’s</a:t>
            </a:r>
          </a:p>
          <a:p>
            <a:pPr lvl="1">
              <a:lnSpc>
                <a:spcPct val="150000"/>
              </a:lnSpc>
              <a:buFont typeface="Wingdings" panose="05000000000000000000" pitchFamily="2" charset="2"/>
              <a:buChar char="§"/>
            </a:pPr>
            <a:r>
              <a:rPr lang="nl-NL" dirty="0"/>
              <a:t>BTI</a:t>
            </a:r>
          </a:p>
        </p:txBody>
      </p:sp>
      <p:sp>
        <p:nvSpPr>
          <p:cNvPr id="3" name="Tijdelijke aanduiding voor tekst 2">
            <a:extLst>
              <a:ext uri="{FF2B5EF4-FFF2-40B4-BE49-F238E27FC236}">
                <a16:creationId xmlns:a16="http://schemas.microsoft.com/office/drawing/2014/main" id="{0E0001CE-7713-4B98-83EB-6E48B1F3DB76}"/>
              </a:ext>
            </a:extLst>
          </p:cNvPr>
          <p:cNvSpPr>
            <a:spLocks noGrp="1"/>
          </p:cNvSpPr>
          <p:nvPr>
            <p:ph type="body" idx="14"/>
          </p:nvPr>
        </p:nvSpPr>
        <p:spPr/>
        <p:txBody>
          <a:bodyPr/>
          <a:lstStyle/>
          <a:p>
            <a:endParaRPr lang="nl-NL" dirty="0"/>
          </a:p>
        </p:txBody>
      </p:sp>
      <p:sp>
        <p:nvSpPr>
          <p:cNvPr id="4" name="Titel 3">
            <a:extLst>
              <a:ext uri="{FF2B5EF4-FFF2-40B4-BE49-F238E27FC236}">
                <a16:creationId xmlns:a16="http://schemas.microsoft.com/office/drawing/2014/main" id="{574630C3-A460-4EA0-A119-F89FC8E22A33}"/>
              </a:ext>
            </a:extLst>
          </p:cNvPr>
          <p:cNvSpPr>
            <a:spLocks noGrp="1"/>
          </p:cNvSpPr>
          <p:nvPr>
            <p:ph type="title"/>
          </p:nvPr>
        </p:nvSpPr>
        <p:spPr>
          <a:xfrm>
            <a:off x="664109" y="468129"/>
            <a:ext cx="10870131" cy="533219"/>
          </a:xfrm>
        </p:spPr>
        <p:txBody>
          <a:bodyPr/>
          <a:lstStyle/>
          <a:p>
            <a:r>
              <a:rPr lang="nl-NL" dirty="0"/>
              <a:t>4. Tariefindeling</a:t>
            </a:r>
          </a:p>
        </p:txBody>
      </p:sp>
      <p:pic>
        <p:nvPicPr>
          <p:cNvPr id="6" name="Picture 5">
            <a:extLst>
              <a:ext uri="{FF2B5EF4-FFF2-40B4-BE49-F238E27FC236}">
                <a16:creationId xmlns:a16="http://schemas.microsoft.com/office/drawing/2014/main" id="{83761709-32D4-4190-9199-B9CFB5E58CB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32263" y="2564904"/>
            <a:ext cx="3673084" cy="1297823"/>
          </a:xfrm>
          <a:prstGeom prst="rect">
            <a:avLst/>
          </a:prstGeom>
        </p:spPr>
      </p:pic>
    </p:spTree>
    <p:extLst>
      <p:ext uri="{BB962C8B-B14F-4D97-AF65-F5344CB8AC3E}">
        <p14:creationId xmlns:p14="http://schemas.microsoft.com/office/powerpoint/2010/main" val="528491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91EBA011-B576-4032-AC59-B85188F1CE5E}"/>
              </a:ext>
            </a:extLst>
          </p:cNvPr>
          <p:cNvSpPr>
            <a:spLocks noGrp="1"/>
          </p:cNvSpPr>
          <p:nvPr>
            <p:ph type="body" orient="vert" idx="1"/>
          </p:nvPr>
        </p:nvSpPr>
        <p:spPr/>
        <p:txBody>
          <a:bodyPr/>
          <a:lstStyle/>
          <a:p>
            <a:pPr marL="285750" indent="-285750">
              <a:buFont typeface="Wingdings" panose="05000000000000000000" pitchFamily="2" charset="2"/>
              <a:buChar char="§"/>
            </a:pPr>
            <a:r>
              <a:rPr lang="nl-NL" dirty="0"/>
              <a:t>EORI-nummer </a:t>
            </a:r>
          </a:p>
          <a:p>
            <a:pPr marL="555750" lvl="1" indent="-285750">
              <a:buFont typeface="Wingdings" panose="05000000000000000000" pitchFamily="2" charset="2"/>
              <a:buChar char="§"/>
            </a:pPr>
            <a:r>
              <a:rPr lang="nl-NL" dirty="0"/>
              <a:t>Op tijd aanvragen!</a:t>
            </a:r>
          </a:p>
          <a:p>
            <a:pPr marL="285750" indent="-285750">
              <a:buFont typeface="Wingdings" panose="05000000000000000000" pitchFamily="2" charset="2"/>
              <a:buChar char="§"/>
            </a:pPr>
            <a:r>
              <a:rPr lang="nl-NL" dirty="0"/>
              <a:t>Zorg voor douanekennis in huis</a:t>
            </a:r>
          </a:p>
          <a:p>
            <a:pPr marL="555750" lvl="1" indent="-285750">
              <a:buFont typeface="Wingdings" panose="05000000000000000000" pitchFamily="2" charset="2"/>
              <a:buChar char="§"/>
            </a:pPr>
            <a:r>
              <a:rPr lang="nl-NL" dirty="0"/>
              <a:t>Onjuiste douane aangiften kunnen zeer nadelige gevolgen hebben</a:t>
            </a:r>
          </a:p>
          <a:p>
            <a:pPr marL="555750" lvl="1" indent="-285750">
              <a:buFont typeface="Wingdings" panose="05000000000000000000" pitchFamily="2" charset="2"/>
              <a:buChar char="§"/>
            </a:pPr>
            <a:r>
              <a:rPr lang="nl-NL" dirty="0"/>
              <a:t>Zoek hulp!</a:t>
            </a:r>
          </a:p>
          <a:p>
            <a:pPr marL="285750" indent="-285750">
              <a:buFont typeface="Wingdings" panose="05000000000000000000" pitchFamily="2" charset="2"/>
              <a:buChar char="§"/>
            </a:pPr>
            <a:r>
              <a:rPr lang="nl-NL" dirty="0"/>
              <a:t>Overgangsregeling Verenigd Koninkrijk</a:t>
            </a:r>
          </a:p>
          <a:p>
            <a:endParaRPr lang="nl-NL" dirty="0"/>
          </a:p>
          <a:p>
            <a:r>
              <a:rPr lang="nl-NL" dirty="0"/>
              <a:t>Bepaalde productgroepen kennen extra formaliteiten bij handel met het Verenigd Koninkrijk:</a:t>
            </a:r>
          </a:p>
          <a:p>
            <a:pPr lvl="1"/>
            <a:r>
              <a:rPr lang="nl-NL" dirty="0"/>
              <a:t>Dierlijke producten (vlees, vis, zuivel, eieren)</a:t>
            </a:r>
          </a:p>
          <a:p>
            <a:pPr lvl="1"/>
            <a:r>
              <a:rPr lang="nl-NL" dirty="0"/>
              <a:t>Plantaardige producten</a:t>
            </a:r>
          </a:p>
          <a:p>
            <a:endParaRPr lang="nl-NL" dirty="0"/>
          </a:p>
          <a:p>
            <a:pPr marL="285750" indent="-285750">
              <a:buFont typeface="Wingdings" panose="05000000000000000000" pitchFamily="2" charset="2"/>
              <a:buChar char="§"/>
            </a:pPr>
            <a:endParaRPr lang="nl-NL" dirty="0"/>
          </a:p>
          <a:p>
            <a:endParaRPr lang="nl-NL" dirty="0"/>
          </a:p>
          <a:p>
            <a:pPr marL="555750" lvl="1" indent="-285750">
              <a:buFont typeface="Wingdings" panose="05000000000000000000" pitchFamily="2" charset="2"/>
              <a:buChar char="§"/>
            </a:pPr>
            <a:endParaRPr lang="nl-NL" dirty="0"/>
          </a:p>
          <a:p>
            <a:pPr marL="555750" lvl="1" indent="-285750">
              <a:buFont typeface="Wingdings" panose="05000000000000000000" pitchFamily="2" charset="2"/>
              <a:buChar char="§"/>
            </a:pPr>
            <a:endParaRPr lang="nl-NL" dirty="0"/>
          </a:p>
        </p:txBody>
      </p:sp>
      <p:sp>
        <p:nvSpPr>
          <p:cNvPr id="3" name="Tijdelijke aanduiding voor tekst 2">
            <a:extLst>
              <a:ext uri="{FF2B5EF4-FFF2-40B4-BE49-F238E27FC236}">
                <a16:creationId xmlns:a16="http://schemas.microsoft.com/office/drawing/2014/main" id="{F2012992-D8FD-47DD-9FB2-5E56AB98984A}"/>
              </a:ext>
            </a:extLst>
          </p:cNvPr>
          <p:cNvSpPr>
            <a:spLocks noGrp="1"/>
          </p:cNvSpPr>
          <p:nvPr>
            <p:ph type="body" idx="14"/>
          </p:nvPr>
        </p:nvSpPr>
        <p:spPr/>
        <p:txBody>
          <a:bodyPr/>
          <a:lstStyle/>
          <a:p>
            <a:r>
              <a:rPr lang="nl-NL" dirty="0"/>
              <a:t>Aandachtspunten</a:t>
            </a:r>
          </a:p>
        </p:txBody>
      </p:sp>
      <p:sp>
        <p:nvSpPr>
          <p:cNvPr id="4" name="Titel 3">
            <a:extLst>
              <a:ext uri="{FF2B5EF4-FFF2-40B4-BE49-F238E27FC236}">
                <a16:creationId xmlns:a16="http://schemas.microsoft.com/office/drawing/2014/main" id="{095DD6D3-7122-40A7-AC22-1983440FF08B}"/>
              </a:ext>
            </a:extLst>
          </p:cNvPr>
          <p:cNvSpPr>
            <a:spLocks noGrp="1"/>
          </p:cNvSpPr>
          <p:nvPr>
            <p:ph type="title"/>
          </p:nvPr>
        </p:nvSpPr>
        <p:spPr/>
        <p:txBody>
          <a:bodyPr/>
          <a:lstStyle/>
          <a:p>
            <a:r>
              <a:rPr lang="nl-NL" dirty="0"/>
              <a:t>5. </a:t>
            </a:r>
            <a:r>
              <a:rPr lang="nl-NL" dirty="0" err="1"/>
              <a:t>Douane-aangifte</a:t>
            </a:r>
            <a:r>
              <a:rPr lang="nl-NL" dirty="0"/>
              <a:t> en douaneformaliteiten</a:t>
            </a:r>
          </a:p>
        </p:txBody>
      </p:sp>
      <p:pic>
        <p:nvPicPr>
          <p:cNvPr id="6" name="Afbeelding 5" descr="Afbeelding met binnen, tafel, muur, voedsel&#10;&#10;Automatisch gegenereerde beschrijving">
            <a:extLst>
              <a:ext uri="{FF2B5EF4-FFF2-40B4-BE49-F238E27FC236}">
                <a16:creationId xmlns:a16="http://schemas.microsoft.com/office/drawing/2014/main" id="{173A7392-9E54-4054-A116-0F1CBB321A2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49864" y="1451645"/>
            <a:ext cx="3384376" cy="2264928"/>
          </a:xfrm>
          <a:prstGeom prst="rect">
            <a:avLst/>
          </a:prstGeom>
          <a:ln>
            <a:noFill/>
          </a:ln>
          <a:effectLst>
            <a:softEdge rad="112500"/>
          </a:effectLst>
        </p:spPr>
      </p:pic>
    </p:spTree>
    <p:extLst>
      <p:ext uri="{BB962C8B-B14F-4D97-AF65-F5344CB8AC3E}">
        <p14:creationId xmlns:p14="http://schemas.microsoft.com/office/powerpoint/2010/main" val="3153297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0A7909EB-4C43-44E3-BEFB-1D2853BAD871}"/>
              </a:ext>
            </a:extLst>
          </p:cNvPr>
          <p:cNvSpPr>
            <a:spLocks noGrp="1"/>
          </p:cNvSpPr>
          <p:nvPr>
            <p:ph type="body" orient="vert" idx="1"/>
          </p:nvPr>
        </p:nvSpPr>
        <p:spPr/>
        <p:txBody>
          <a:bodyPr/>
          <a:lstStyle/>
          <a:p>
            <a:pPr>
              <a:lnSpc>
                <a:spcPct val="150000"/>
              </a:lnSpc>
            </a:pPr>
            <a:r>
              <a:rPr lang="nl-NL" dirty="0"/>
              <a:t>Niet alleen eigen bedrijf voorbereiden op de </a:t>
            </a:r>
            <a:r>
              <a:rPr lang="nl-NL" dirty="0" err="1"/>
              <a:t>Brexit</a:t>
            </a:r>
            <a:r>
              <a:rPr lang="nl-NL" dirty="0"/>
              <a:t>, ook communiceren met handelspartners</a:t>
            </a:r>
          </a:p>
          <a:p>
            <a:pPr marL="285750" indent="-285750">
              <a:lnSpc>
                <a:spcPct val="150000"/>
              </a:lnSpc>
              <a:buFont typeface="Arial" panose="020B0604020202020204" pitchFamily="34" charset="0"/>
              <a:buChar char="•"/>
            </a:pPr>
            <a:r>
              <a:rPr lang="nl-NL" dirty="0"/>
              <a:t>Breng goederenstroom naar en van het Verenigd Koninkrijk in kaart</a:t>
            </a:r>
          </a:p>
          <a:p>
            <a:pPr marL="285750" indent="-285750">
              <a:lnSpc>
                <a:spcPct val="150000"/>
              </a:lnSpc>
              <a:buFont typeface="Arial" panose="020B0604020202020204" pitchFamily="34" charset="0"/>
              <a:buChar char="•"/>
            </a:pPr>
            <a:r>
              <a:rPr lang="nl-NL" dirty="0"/>
              <a:t>Signaleer knelpunten, bijv. productietijd of aanlevertijden bij jezelf </a:t>
            </a:r>
            <a:r>
              <a:rPr lang="nl-NL"/>
              <a:t>en afnemers</a:t>
            </a:r>
            <a:endParaRPr lang="nl-NL" dirty="0"/>
          </a:p>
          <a:p>
            <a:pPr marL="285750" indent="-285750">
              <a:lnSpc>
                <a:spcPct val="150000"/>
              </a:lnSpc>
              <a:buFont typeface="Arial" panose="020B0604020202020204" pitchFamily="34" charset="0"/>
              <a:buChar char="•"/>
            </a:pPr>
            <a:r>
              <a:rPr lang="nl-NL" dirty="0"/>
              <a:t>Overweeg alternatieve vervoersmogelijkheden en –routes</a:t>
            </a:r>
          </a:p>
          <a:p>
            <a:pPr marL="555750" lvl="1" indent="-285750">
              <a:lnSpc>
                <a:spcPct val="150000"/>
              </a:lnSpc>
              <a:buFont typeface="Arial" panose="020B0604020202020204" pitchFamily="34" charset="0"/>
              <a:buChar char="•"/>
            </a:pPr>
            <a:r>
              <a:rPr lang="nl-NL" dirty="0"/>
              <a:t>Let op de contracten met klanten, </a:t>
            </a:r>
            <a:r>
              <a:rPr lang="nl-NL" dirty="0" err="1"/>
              <a:t>Incoterms</a:t>
            </a:r>
            <a:r>
              <a:rPr lang="nl-NL" dirty="0"/>
              <a:t> kunnen bepalen wie douanerechten verschuldigd is</a:t>
            </a:r>
          </a:p>
          <a:p>
            <a:pPr marL="285750" indent="-285750">
              <a:lnSpc>
                <a:spcPct val="150000"/>
              </a:lnSpc>
              <a:buFont typeface="Arial" panose="020B0604020202020204" pitchFamily="34" charset="0"/>
              <a:buChar char="•"/>
            </a:pPr>
            <a:r>
              <a:rPr lang="nl-NL" dirty="0"/>
              <a:t>Overweeg aanbrengen buffervoorraad in het Verenigd Koninkrijk</a:t>
            </a:r>
          </a:p>
          <a:p>
            <a:pPr marL="285750" indent="-285750">
              <a:buFont typeface="Arial" panose="020B0604020202020204" pitchFamily="34" charset="0"/>
              <a:buChar char="•"/>
            </a:pPr>
            <a:endParaRPr lang="nl-NL" dirty="0"/>
          </a:p>
        </p:txBody>
      </p:sp>
      <p:sp>
        <p:nvSpPr>
          <p:cNvPr id="3" name="Tijdelijke aanduiding voor tekst 2">
            <a:extLst>
              <a:ext uri="{FF2B5EF4-FFF2-40B4-BE49-F238E27FC236}">
                <a16:creationId xmlns:a16="http://schemas.microsoft.com/office/drawing/2014/main" id="{519250DA-FBB0-4962-933E-54E17CA8E476}"/>
              </a:ext>
            </a:extLst>
          </p:cNvPr>
          <p:cNvSpPr>
            <a:spLocks noGrp="1"/>
          </p:cNvSpPr>
          <p:nvPr>
            <p:ph type="body" idx="14"/>
          </p:nvPr>
        </p:nvSpPr>
        <p:spPr/>
        <p:txBody>
          <a:bodyPr/>
          <a:lstStyle/>
          <a:p>
            <a:endParaRPr lang="nl-NL"/>
          </a:p>
        </p:txBody>
      </p:sp>
      <p:sp>
        <p:nvSpPr>
          <p:cNvPr id="4" name="Titel 3">
            <a:extLst>
              <a:ext uri="{FF2B5EF4-FFF2-40B4-BE49-F238E27FC236}">
                <a16:creationId xmlns:a16="http://schemas.microsoft.com/office/drawing/2014/main" id="{CEEAD58D-7783-4982-9531-617B55242C97}"/>
              </a:ext>
            </a:extLst>
          </p:cNvPr>
          <p:cNvSpPr>
            <a:spLocks noGrp="1"/>
          </p:cNvSpPr>
          <p:nvPr>
            <p:ph type="title"/>
          </p:nvPr>
        </p:nvSpPr>
        <p:spPr/>
        <p:txBody>
          <a:bodyPr/>
          <a:lstStyle/>
          <a:p>
            <a:r>
              <a:rPr lang="nl-NL" dirty="0"/>
              <a:t>6. Contracten en handelspartners</a:t>
            </a:r>
          </a:p>
        </p:txBody>
      </p:sp>
    </p:spTree>
    <p:extLst>
      <p:ext uri="{BB962C8B-B14F-4D97-AF65-F5344CB8AC3E}">
        <p14:creationId xmlns:p14="http://schemas.microsoft.com/office/powerpoint/2010/main" val="1827046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jdelijke aanduiding voor verticale tekst 16">
            <a:extLst>
              <a:ext uri="{FF2B5EF4-FFF2-40B4-BE49-F238E27FC236}">
                <a16:creationId xmlns:a16="http://schemas.microsoft.com/office/drawing/2014/main" id="{3D4DB8C6-70FE-4782-99F5-18A06930CC8E}"/>
              </a:ext>
            </a:extLst>
          </p:cNvPr>
          <p:cNvSpPr>
            <a:spLocks noGrp="1"/>
          </p:cNvSpPr>
          <p:nvPr>
            <p:ph type="body" orient="vert" idx="1"/>
          </p:nvPr>
        </p:nvSpPr>
        <p:spPr/>
        <p:txBody>
          <a:bodyPr/>
          <a:lstStyle/>
          <a:p>
            <a:pPr marL="214198" indent="-214198">
              <a:buFont typeface="Arial" panose="020B0604020202020204" pitchFamily="34" charset="0"/>
              <a:buChar char="•"/>
            </a:pPr>
            <a:r>
              <a:rPr lang="en-US" dirty="0"/>
              <a:t>Vergoeding </a:t>
            </a:r>
            <a:r>
              <a:rPr lang="en-US" dirty="0" err="1"/>
              <a:t>vanuit</a:t>
            </a:r>
            <a:r>
              <a:rPr lang="en-US" dirty="0"/>
              <a:t> de </a:t>
            </a:r>
            <a:r>
              <a:rPr lang="en-US" dirty="0" err="1"/>
              <a:t>overheid</a:t>
            </a:r>
            <a:r>
              <a:rPr lang="en-US" dirty="0"/>
              <a:t> van max € 2.500 (excl. btw)</a:t>
            </a:r>
          </a:p>
          <a:p>
            <a:pPr marL="214198" indent="-214198">
              <a:buFont typeface="Arial" panose="020B0604020202020204" pitchFamily="34" charset="0"/>
              <a:buChar char="•"/>
            </a:pPr>
            <a:r>
              <a:rPr lang="en-US" dirty="0"/>
              <a:t>Met </a:t>
            </a:r>
            <a:r>
              <a:rPr lang="en-US" dirty="0" err="1"/>
              <a:t>een</a:t>
            </a:r>
            <a:r>
              <a:rPr lang="en-US" dirty="0"/>
              <a:t> maximum van 50% van de </a:t>
            </a:r>
            <a:r>
              <a:rPr lang="en-US" dirty="0" err="1"/>
              <a:t>advieskosten</a:t>
            </a:r>
            <a:endParaRPr lang="en-US" dirty="0"/>
          </a:p>
          <a:p>
            <a:pPr marL="214198" indent="-214198">
              <a:buFont typeface="Arial" panose="020B0604020202020204" pitchFamily="34" charset="0"/>
              <a:buChar char="•"/>
            </a:pPr>
            <a:r>
              <a:rPr lang="en-US" dirty="0" err="1"/>
              <a:t>Doelgroep</a:t>
            </a:r>
            <a:r>
              <a:rPr lang="en-US" dirty="0"/>
              <a:t>: </a:t>
            </a:r>
            <a:r>
              <a:rPr lang="en-US" dirty="0" err="1"/>
              <a:t>mkb-ondernemingen</a:t>
            </a:r>
            <a:r>
              <a:rPr lang="en-US" dirty="0"/>
              <a:t> met </a:t>
            </a:r>
            <a:r>
              <a:rPr lang="en-US" i="1" dirty="0" err="1"/>
              <a:t>bestaande</a:t>
            </a:r>
            <a:r>
              <a:rPr lang="en-US" dirty="0"/>
              <a:t> </a:t>
            </a:r>
            <a:r>
              <a:rPr lang="en-US" dirty="0" err="1"/>
              <a:t>belangen</a:t>
            </a:r>
            <a:r>
              <a:rPr lang="en-US" dirty="0"/>
              <a:t> in het </a:t>
            </a:r>
            <a:r>
              <a:rPr lang="en-US" dirty="0" err="1"/>
              <a:t>Verenigd</a:t>
            </a:r>
            <a:r>
              <a:rPr lang="en-US" dirty="0"/>
              <a:t> </a:t>
            </a:r>
            <a:r>
              <a:rPr lang="en-US" dirty="0" err="1"/>
              <a:t>Koninkrijk</a:t>
            </a:r>
            <a:r>
              <a:rPr lang="en-US" dirty="0"/>
              <a:t> </a:t>
            </a:r>
          </a:p>
          <a:p>
            <a:pPr marL="214198" indent="-214198">
              <a:buFont typeface="Arial" panose="020B0604020202020204" pitchFamily="34" charset="0"/>
              <a:buChar char="•"/>
            </a:pPr>
            <a:r>
              <a:rPr lang="en-US" dirty="0" err="1"/>
              <a:t>Gevolgen</a:t>
            </a:r>
            <a:r>
              <a:rPr lang="en-US" dirty="0"/>
              <a:t> Brexit in </a:t>
            </a:r>
            <a:r>
              <a:rPr lang="en-US" dirty="0" err="1"/>
              <a:t>kaart</a:t>
            </a:r>
            <a:r>
              <a:rPr lang="en-US" dirty="0"/>
              <a:t> </a:t>
            </a:r>
            <a:r>
              <a:rPr lang="en-US" dirty="0" err="1"/>
              <a:t>brengen</a:t>
            </a:r>
            <a:r>
              <a:rPr lang="en-US" dirty="0"/>
              <a:t> of </a:t>
            </a:r>
            <a:r>
              <a:rPr lang="en-US" dirty="0" err="1"/>
              <a:t>alternatieve</a:t>
            </a:r>
            <a:r>
              <a:rPr lang="en-US" dirty="0"/>
              <a:t> </a:t>
            </a:r>
            <a:r>
              <a:rPr lang="en-US" dirty="0" err="1"/>
              <a:t>markten</a:t>
            </a:r>
            <a:r>
              <a:rPr lang="en-US" dirty="0"/>
              <a:t> </a:t>
            </a:r>
            <a:r>
              <a:rPr lang="en-US" dirty="0" err="1"/>
              <a:t>verkennen</a:t>
            </a:r>
            <a:endParaRPr lang="en-US" dirty="0"/>
          </a:p>
          <a:p>
            <a:pPr marL="214198" indent="-214198">
              <a:buFont typeface="Arial" panose="020B0604020202020204" pitchFamily="34" charset="0"/>
              <a:buChar char="•"/>
            </a:pPr>
            <a:endParaRPr lang="en-US" dirty="0"/>
          </a:p>
          <a:p>
            <a:pPr marL="214198" indent="-214198">
              <a:buFont typeface="Arial" panose="020B0604020202020204" pitchFamily="34" charset="0"/>
              <a:buChar char="•"/>
            </a:pPr>
            <a:r>
              <a:rPr lang="en-US" dirty="0"/>
              <a:t>Voorwaarden:</a:t>
            </a:r>
          </a:p>
          <a:p>
            <a:pPr marL="416590" lvl="1" indent="-214198">
              <a:buFont typeface="Arial" panose="020B0604020202020204" pitchFamily="34" charset="0"/>
              <a:buChar char="•"/>
            </a:pPr>
            <a:r>
              <a:rPr lang="en-US" dirty="0"/>
              <a:t>Het </a:t>
            </a:r>
            <a:r>
              <a:rPr lang="en-US" dirty="0" err="1"/>
              <a:t>bedrijf</a:t>
            </a:r>
            <a:r>
              <a:rPr lang="en-US" dirty="0"/>
              <a:t> is </a:t>
            </a:r>
            <a:r>
              <a:rPr lang="en-US" dirty="0" err="1"/>
              <a:t>een</a:t>
            </a:r>
            <a:r>
              <a:rPr lang="en-US" dirty="0"/>
              <a:t> </a:t>
            </a:r>
            <a:r>
              <a:rPr lang="en-US" dirty="0" err="1"/>
              <a:t>mkb-bedrijf</a:t>
            </a:r>
            <a:endParaRPr lang="en-US" dirty="0"/>
          </a:p>
          <a:p>
            <a:pPr marL="416590" lvl="1" indent="-214198">
              <a:buFont typeface="Arial" panose="020B0604020202020204" pitchFamily="34" charset="0"/>
              <a:buChar char="•"/>
            </a:pPr>
            <a:r>
              <a:rPr lang="en-US" dirty="0" err="1"/>
              <a:t>Gevestigd</a:t>
            </a:r>
            <a:r>
              <a:rPr lang="en-US" dirty="0"/>
              <a:t> in Nederland</a:t>
            </a:r>
          </a:p>
          <a:p>
            <a:pPr marL="416590" lvl="1" indent="-214198">
              <a:buFont typeface="Arial" panose="020B0604020202020204" pitchFamily="34" charset="0"/>
              <a:buChar char="•"/>
            </a:pPr>
            <a:r>
              <a:rPr lang="en-US" dirty="0"/>
              <a:t>Voucher </a:t>
            </a:r>
            <a:r>
              <a:rPr lang="en-US" dirty="0" err="1"/>
              <a:t>wordt</a:t>
            </a:r>
            <a:r>
              <a:rPr lang="en-US" dirty="0"/>
              <a:t> </a:t>
            </a:r>
            <a:r>
              <a:rPr lang="en-US" dirty="0" err="1"/>
              <a:t>gebruikt</a:t>
            </a:r>
            <a:r>
              <a:rPr lang="en-US" dirty="0"/>
              <a:t> </a:t>
            </a:r>
            <a:r>
              <a:rPr lang="en-US" dirty="0" err="1"/>
              <a:t>voor</a:t>
            </a:r>
            <a:r>
              <a:rPr lang="en-US" dirty="0"/>
              <a:t> de </a:t>
            </a:r>
            <a:r>
              <a:rPr lang="en-US" dirty="0" err="1"/>
              <a:t>inhuur</a:t>
            </a:r>
            <a:r>
              <a:rPr lang="en-US" dirty="0"/>
              <a:t> van </a:t>
            </a:r>
            <a:r>
              <a:rPr lang="en-US" dirty="0" err="1"/>
              <a:t>een</a:t>
            </a:r>
            <a:r>
              <a:rPr lang="en-US" dirty="0"/>
              <a:t> </a:t>
            </a:r>
            <a:r>
              <a:rPr lang="en-US" dirty="0" err="1"/>
              <a:t>adviseur</a:t>
            </a:r>
            <a:endParaRPr lang="en-US" dirty="0"/>
          </a:p>
          <a:p>
            <a:pPr marL="416590" lvl="1" indent="-214198">
              <a:buFont typeface="Arial" panose="020B0604020202020204" pitchFamily="34" charset="0"/>
              <a:buChar char="•"/>
            </a:pPr>
            <a:r>
              <a:rPr lang="en-US" dirty="0"/>
              <a:t>Bij de </a:t>
            </a:r>
            <a:r>
              <a:rPr lang="en-US" dirty="0" err="1"/>
              <a:t>aanvraag</a:t>
            </a:r>
            <a:r>
              <a:rPr lang="en-US" dirty="0"/>
              <a:t> </a:t>
            </a:r>
            <a:r>
              <a:rPr lang="en-US" dirty="0" err="1"/>
              <a:t>wordt</a:t>
            </a:r>
            <a:r>
              <a:rPr lang="en-US" dirty="0"/>
              <a:t> </a:t>
            </a:r>
            <a:r>
              <a:rPr lang="en-US" dirty="0" err="1"/>
              <a:t>aangegeven</a:t>
            </a:r>
            <a:r>
              <a:rPr lang="en-US" dirty="0"/>
              <a:t> </a:t>
            </a:r>
            <a:r>
              <a:rPr lang="en-US" dirty="0" err="1"/>
              <a:t>wie</a:t>
            </a:r>
            <a:r>
              <a:rPr lang="en-US" dirty="0"/>
              <a:t> de </a:t>
            </a:r>
            <a:r>
              <a:rPr lang="en-US" dirty="0" err="1"/>
              <a:t>adviseur</a:t>
            </a:r>
            <a:r>
              <a:rPr lang="en-US" dirty="0"/>
              <a:t> is en </a:t>
            </a:r>
            <a:r>
              <a:rPr lang="en-US" dirty="0" err="1"/>
              <a:t>welke</a:t>
            </a:r>
            <a:r>
              <a:rPr lang="en-US" dirty="0"/>
              <a:t> </a:t>
            </a:r>
            <a:r>
              <a:rPr lang="en-US" dirty="0" err="1"/>
              <a:t>activiteiten</a:t>
            </a:r>
            <a:r>
              <a:rPr lang="en-US" dirty="0"/>
              <a:t> </a:t>
            </a:r>
            <a:r>
              <a:rPr lang="en-US" dirty="0" err="1"/>
              <a:t>deze</a:t>
            </a:r>
            <a:r>
              <a:rPr lang="en-US" dirty="0"/>
              <a:t> </a:t>
            </a:r>
            <a:r>
              <a:rPr lang="en-US" dirty="0" err="1"/>
              <a:t>deskundige</a:t>
            </a:r>
            <a:r>
              <a:rPr lang="en-US" dirty="0"/>
              <a:t> </a:t>
            </a:r>
            <a:r>
              <a:rPr lang="en-US" dirty="0" err="1"/>
              <a:t>zal</a:t>
            </a:r>
            <a:r>
              <a:rPr lang="en-US" dirty="0"/>
              <a:t> </a:t>
            </a:r>
            <a:r>
              <a:rPr lang="en-US" dirty="0" err="1"/>
              <a:t>uitvoeren</a:t>
            </a:r>
            <a:endParaRPr lang="en-US" dirty="0"/>
          </a:p>
          <a:p>
            <a:endParaRPr lang="nl-NL" dirty="0"/>
          </a:p>
        </p:txBody>
      </p:sp>
      <p:sp>
        <p:nvSpPr>
          <p:cNvPr id="18" name="Tijdelijke aanduiding voor tekst 17">
            <a:extLst>
              <a:ext uri="{FF2B5EF4-FFF2-40B4-BE49-F238E27FC236}">
                <a16:creationId xmlns:a16="http://schemas.microsoft.com/office/drawing/2014/main" id="{9D75E6DA-8764-40F5-BC2A-2CEB49302534}"/>
              </a:ext>
            </a:extLst>
          </p:cNvPr>
          <p:cNvSpPr>
            <a:spLocks noGrp="1"/>
          </p:cNvSpPr>
          <p:nvPr>
            <p:ph type="body" idx="14"/>
          </p:nvPr>
        </p:nvSpPr>
        <p:spPr/>
        <p:txBody>
          <a:bodyPr>
            <a:normAutofit/>
          </a:bodyPr>
          <a:lstStyle/>
          <a:p>
            <a:endParaRPr lang="nl-NL" dirty="0"/>
          </a:p>
        </p:txBody>
      </p:sp>
      <p:sp>
        <p:nvSpPr>
          <p:cNvPr id="4" name="Titel 3">
            <a:extLst>
              <a:ext uri="{FF2B5EF4-FFF2-40B4-BE49-F238E27FC236}">
                <a16:creationId xmlns:a16="http://schemas.microsoft.com/office/drawing/2014/main" id="{4BED03E9-B4E5-48BB-8670-7A37C1E8C9B8}"/>
              </a:ext>
            </a:extLst>
          </p:cNvPr>
          <p:cNvSpPr>
            <a:spLocks noGrp="1"/>
          </p:cNvSpPr>
          <p:nvPr>
            <p:ph type="title"/>
          </p:nvPr>
        </p:nvSpPr>
        <p:spPr/>
        <p:txBody>
          <a:bodyPr/>
          <a:lstStyle/>
          <a:p>
            <a:r>
              <a:rPr lang="nl-NL" dirty="0"/>
              <a:t>7. </a:t>
            </a:r>
            <a:r>
              <a:rPr lang="nl-NL" dirty="0" err="1"/>
              <a:t>Brexit</a:t>
            </a:r>
            <a:r>
              <a:rPr lang="nl-NL" dirty="0"/>
              <a:t>-voucher</a:t>
            </a:r>
          </a:p>
        </p:txBody>
      </p:sp>
      <p:sp>
        <p:nvSpPr>
          <p:cNvPr id="2" name="Tijdelijke aanduiding voor dianummer 1"/>
          <p:cNvSpPr>
            <a:spLocks noGrp="1"/>
          </p:cNvSpPr>
          <p:nvPr>
            <p:ph type="sldNum" sz="quarter" idx="4294967295"/>
          </p:nvPr>
        </p:nvSpPr>
        <p:spPr>
          <a:xfrm>
            <a:off x="10140950" y="6356350"/>
            <a:ext cx="2057400" cy="365125"/>
          </a:xfrm>
          <a:prstGeom prst="rect">
            <a:avLst/>
          </a:prstGeom>
        </p:spPr>
        <p:txBody>
          <a:bodyPr vert="horz" lIns="91440" tIns="45720" rIns="91440" bIns="45720" rtlCol="0" anchor="ctr"/>
          <a:lstStyle>
            <a:defPPr>
              <a:defRPr lang="nl-NL"/>
            </a:defPPr>
            <a:lvl1pPr marL="0" algn="r" defTabSz="914400" rtl="0" eaLnBrk="1" latinLnBrk="0" hangingPunct="1">
              <a:defRPr sz="10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059D162-729F-4880-A2FD-35DE0263B4F3}" type="slidenum">
              <a:rPr lang="nl-NL" smtClean="0"/>
              <a:pPr/>
              <a:t>44</a:t>
            </a:fld>
            <a:endParaRPr lang="nl-NL" dirty="0"/>
          </a:p>
        </p:txBody>
      </p:sp>
      <p:pic>
        <p:nvPicPr>
          <p:cNvPr id="3" name="Afbeelding 2">
            <a:extLst>
              <a:ext uri="{FF2B5EF4-FFF2-40B4-BE49-F238E27FC236}">
                <a16:creationId xmlns:a16="http://schemas.microsoft.com/office/drawing/2014/main" id="{2A9E7DD8-6347-4910-B708-AF8CAB26591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71383" y="2743439"/>
            <a:ext cx="3048793" cy="1649347"/>
          </a:xfrm>
          <a:prstGeom prst="rect">
            <a:avLst/>
          </a:prstGeom>
        </p:spPr>
      </p:pic>
    </p:spTree>
    <p:extLst>
      <p:ext uri="{BB962C8B-B14F-4D97-AF65-F5344CB8AC3E}">
        <p14:creationId xmlns:p14="http://schemas.microsoft.com/office/powerpoint/2010/main" val="590167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7D221665-7561-436E-85F4-5E44C574C7EB}"/>
              </a:ext>
            </a:extLst>
          </p:cNvPr>
          <p:cNvSpPr>
            <a:spLocks noGrp="1"/>
          </p:cNvSpPr>
          <p:nvPr>
            <p:ph type="body" orient="vert" idx="1"/>
          </p:nvPr>
        </p:nvSpPr>
        <p:spPr/>
        <p:txBody>
          <a:bodyPr/>
          <a:lstStyle/>
          <a:p>
            <a:pPr marL="285750" indent="-285750">
              <a:buFont typeface="Arial" panose="020B0604020202020204" pitchFamily="34" charset="0"/>
              <a:buChar char="•"/>
            </a:pPr>
            <a:r>
              <a:rPr lang="nl-NL" dirty="0"/>
              <a:t>Btw op aanschaf/huur fiets voor woon-werkverkeer tot een maximum van € 129,99 per werknemer in aftrek</a:t>
            </a:r>
          </a:p>
          <a:p>
            <a:pPr marL="285750" indent="-285750">
              <a:buFont typeface="Arial" panose="020B0604020202020204" pitchFamily="34" charset="0"/>
              <a:buChar char="•"/>
            </a:pPr>
            <a:r>
              <a:rPr lang="nl-NL" dirty="0"/>
              <a:t>Dat is de btw begrepen in € 749</a:t>
            </a:r>
          </a:p>
          <a:p>
            <a:pPr marL="285750" indent="-285750">
              <a:buFont typeface="Arial" panose="020B0604020202020204" pitchFamily="34" charset="0"/>
              <a:buChar char="•"/>
            </a:pPr>
            <a:r>
              <a:rPr lang="nl-NL" dirty="0"/>
              <a:t>Eventuele eigen bijdrage werknemer komt in mindering bij de berekening € 749-grens</a:t>
            </a:r>
          </a:p>
          <a:p>
            <a:pPr marL="285750" indent="-285750">
              <a:buFont typeface="Arial" panose="020B0604020202020204" pitchFamily="34" charset="0"/>
              <a:buChar char="•"/>
            </a:pPr>
            <a:r>
              <a:rPr lang="nl-NL" dirty="0"/>
              <a:t>Uit eigen bijdrage moet wel btw worden voldaan</a:t>
            </a:r>
          </a:p>
          <a:p>
            <a:pPr marL="285750" indent="-285750">
              <a:buFont typeface="Arial" panose="020B0604020202020204" pitchFamily="34" charset="0"/>
              <a:buChar char="•"/>
            </a:pPr>
            <a:endParaRPr lang="nl-NL" dirty="0"/>
          </a:p>
          <a:p>
            <a:r>
              <a:rPr lang="nl-NL" sz="1200" i="1" dirty="0">
                <a:solidFill>
                  <a:srgbClr val="404040"/>
                </a:solidFill>
              </a:rPr>
              <a:t>Voorwaarden recht op aftrek btw:</a:t>
            </a:r>
          </a:p>
          <a:p>
            <a:pPr marL="285750" indent="-285750">
              <a:buFont typeface="Arial" panose="020B0604020202020204" pitchFamily="34" charset="0"/>
              <a:buChar char="•"/>
            </a:pPr>
            <a:r>
              <a:rPr lang="nl-NL" sz="1200" i="1" dirty="0">
                <a:solidFill>
                  <a:srgbClr val="404040"/>
                </a:solidFill>
              </a:rPr>
              <a:t>Werkgever moet aannemelijk maken dat werknemer fiets gedurende 3 jaar gebruikt voor meer dan helft dagen dat hij/zij pleegt te reizen in kader woon-werkverkeer</a:t>
            </a:r>
          </a:p>
          <a:p>
            <a:pPr marL="285750" indent="-285750">
              <a:buFont typeface="Arial" panose="020B0604020202020204" pitchFamily="34" charset="0"/>
              <a:buChar char="•"/>
            </a:pPr>
            <a:r>
              <a:rPr lang="nl-NL" sz="1200" i="1" dirty="0">
                <a:solidFill>
                  <a:srgbClr val="404040"/>
                </a:solidFill>
              </a:rPr>
              <a:t>Werkgever aannemelijk maken dat niet voor meer dan 50% van reisdagen in het kader van woon-werkverkeer wordt voorzien in een vergoeding of ander vervoer dan fiets </a:t>
            </a:r>
          </a:p>
          <a:p>
            <a:pPr marL="285750" indent="-285750">
              <a:buFont typeface="Arial" panose="020B0604020202020204" pitchFamily="34" charset="0"/>
              <a:buChar char="•"/>
            </a:pPr>
            <a:r>
              <a:rPr lang="nl-NL" sz="1200" i="1" dirty="0">
                <a:solidFill>
                  <a:srgbClr val="404040"/>
                </a:solidFill>
              </a:rPr>
              <a:t>In kalenderjaar en twee voorgaande jaren mag aan werknemer geen andere fiets zijn verstrekt</a:t>
            </a:r>
          </a:p>
          <a:p>
            <a:endParaRPr lang="nl-NL" i="1" dirty="0">
              <a:solidFill>
                <a:srgbClr val="404040"/>
              </a:solidFill>
              <a:sym typeface="Wingdings" panose="05000000000000000000" pitchFamily="2" charset="2"/>
            </a:endParaRPr>
          </a:p>
          <a:p>
            <a:r>
              <a:rPr lang="nl-NL" i="1" dirty="0">
                <a:solidFill>
                  <a:srgbClr val="404040"/>
                </a:solidFill>
                <a:sym typeface="Wingdings" panose="05000000000000000000" pitchFamily="2" charset="2"/>
              </a:rPr>
              <a:t> Als aan voorwaarden voldaan, dan waarde verstrekte fiets niet meenemen bij berekening BUA-grens</a:t>
            </a:r>
            <a:endParaRPr lang="nl-NL" i="1" dirty="0">
              <a:solidFill>
                <a:srgbClr val="404040"/>
              </a:solidFill>
            </a:endParaRPr>
          </a:p>
          <a:p>
            <a:pPr marL="285750" indent="-285750">
              <a:buFont typeface="Arial" panose="020B0604020202020204" pitchFamily="34" charset="0"/>
              <a:buChar char="•"/>
            </a:pPr>
            <a:endParaRPr lang="nl-NL" sz="1200" i="1" dirty="0">
              <a:solidFill>
                <a:srgbClr val="404040"/>
              </a:solidFill>
            </a:endParaRPr>
          </a:p>
        </p:txBody>
      </p:sp>
      <p:sp>
        <p:nvSpPr>
          <p:cNvPr id="3" name="Tijdelijke aanduiding voor tekst 2">
            <a:extLst>
              <a:ext uri="{FF2B5EF4-FFF2-40B4-BE49-F238E27FC236}">
                <a16:creationId xmlns:a16="http://schemas.microsoft.com/office/drawing/2014/main" id="{1FB9ED0E-4A29-4741-B632-F81DFA3A8D0D}"/>
              </a:ext>
            </a:extLst>
          </p:cNvPr>
          <p:cNvSpPr>
            <a:spLocks noGrp="1"/>
          </p:cNvSpPr>
          <p:nvPr>
            <p:ph type="body" idx="14"/>
          </p:nvPr>
        </p:nvSpPr>
        <p:spPr/>
        <p:txBody>
          <a:bodyPr/>
          <a:lstStyle/>
          <a:p>
            <a:r>
              <a:rPr lang="nl-NL" b="0" i="1" dirty="0"/>
              <a:t>Aparte regeling in het BUA</a:t>
            </a:r>
          </a:p>
        </p:txBody>
      </p:sp>
      <p:sp>
        <p:nvSpPr>
          <p:cNvPr id="4" name="Titel 3">
            <a:extLst>
              <a:ext uri="{FF2B5EF4-FFF2-40B4-BE49-F238E27FC236}">
                <a16:creationId xmlns:a16="http://schemas.microsoft.com/office/drawing/2014/main" id="{6098BF79-CCF6-4063-9186-1C2A0C3A33E8}"/>
              </a:ext>
            </a:extLst>
          </p:cNvPr>
          <p:cNvSpPr>
            <a:spLocks noGrp="1"/>
          </p:cNvSpPr>
          <p:nvPr>
            <p:ph type="title"/>
          </p:nvPr>
        </p:nvSpPr>
        <p:spPr/>
        <p:txBody>
          <a:bodyPr/>
          <a:lstStyle/>
          <a:p>
            <a:r>
              <a:rPr lang="nl-NL" dirty="0"/>
              <a:t>Fiets van de zaak </a:t>
            </a:r>
          </a:p>
        </p:txBody>
      </p:sp>
    </p:spTree>
    <p:extLst>
      <p:ext uri="{BB962C8B-B14F-4D97-AF65-F5344CB8AC3E}">
        <p14:creationId xmlns:p14="http://schemas.microsoft.com/office/powerpoint/2010/main" val="3977661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p:cNvSpPr/>
          <p:nvPr/>
        </p:nvSpPr>
        <p:spPr>
          <a:xfrm>
            <a:off x="3691247" y="2307853"/>
            <a:ext cx="1758929" cy="2725227"/>
          </a:xfrm>
          <a:prstGeom prst="rect">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defTabSz="883949"/>
            <a:endParaRPr lang="en-US" sz="1292" dirty="0">
              <a:solidFill>
                <a:schemeClr val="tx2"/>
              </a:solidFill>
            </a:endParaRPr>
          </a:p>
        </p:txBody>
      </p:sp>
      <p:sp>
        <p:nvSpPr>
          <p:cNvPr id="6" name="Slide Number Placeholder 5"/>
          <p:cNvSpPr>
            <a:spLocks noGrp="1"/>
          </p:cNvSpPr>
          <p:nvPr>
            <p:ph type="sldNum" sz="quarter" idx="4294967295"/>
          </p:nvPr>
        </p:nvSpPr>
        <p:spPr>
          <a:xfrm>
            <a:off x="8217223" y="7620025"/>
            <a:ext cx="2057400" cy="365125"/>
          </a:xfrm>
        </p:spPr>
        <p:txBody>
          <a:bodyPr/>
          <a:lstStyle/>
          <a:p>
            <a:fld id="{E7E69083-84D8-4E59-86E6-37E14A15C756}" type="slidenum">
              <a:rPr lang="en-GB" smtClean="0"/>
              <a:pPr/>
              <a:t>46</a:t>
            </a:fld>
            <a:endParaRPr lang="en-GB" dirty="0"/>
          </a:p>
        </p:txBody>
      </p:sp>
      <p:sp>
        <p:nvSpPr>
          <p:cNvPr id="29" name="Text Placeholder 1"/>
          <p:cNvSpPr>
            <a:spLocks noGrp="1"/>
          </p:cNvSpPr>
          <p:nvPr>
            <p:ph type="body" idx="4294967295"/>
          </p:nvPr>
        </p:nvSpPr>
        <p:spPr>
          <a:xfrm>
            <a:off x="796542" y="409254"/>
            <a:ext cx="8375651" cy="554039"/>
          </a:xfrm>
        </p:spPr>
        <p:txBody>
          <a:bodyPr/>
          <a:lstStyle/>
          <a:p>
            <a:r>
              <a:rPr lang="nl-NL" sz="3000" b="1" dirty="0">
                <a:solidFill>
                  <a:srgbClr val="FF0000"/>
                </a:solidFill>
              </a:rPr>
              <a:t>Holdings – verkoopkosten deelnemingen </a:t>
            </a:r>
            <a:endParaRPr lang="en-US" sz="3000" b="1" dirty="0">
              <a:solidFill>
                <a:srgbClr val="FF0000"/>
              </a:solidFill>
            </a:endParaRPr>
          </a:p>
        </p:txBody>
      </p:sp>
      <p:sp>
        <p:nvSpPr>
          <p:cNvPr id="7" name="Rectangle 6"/>
          <p:cNvSpPr/>
          <p:nvPr/>
        </p:nvSpPr>
        <p:spPr>
          <a:xfrm>
            <a:off x="9992793" y="2516815"/>
            <a:ext cx="436581" cy="800787"/>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3231" tIns="33231" rIns="33231" bIns="33231" rtlCol="0" anchor="ctr">
            <a:noAutofit/>
          </a:bodyPr>
          <a:lstStyle/>
          <a:p>
            <a:pPr algn="ctr"/>
            <a:endParaRPr lang="nl-NL" sz="1292" dirty="0">
              <a:solidFill>
                <a:schemeClr val="tx2"/>
              </a:solidFill>
            </a:endParaRPr>
          </a:p>
        </p:txBody>
      </p:sp>
      <p:sp>
        <p:nvSpPr>
          <p:cNvPr id="8" name="Rectangle 7"/>
          <p:cNvSpPr/>
          <p:nvPr/>
        </p:nvSpPr>
        <p:spPr>
          <a:xfrm>
            <a:off x="1341462" y="2598279"/>
            <a:ext cx="864096" cy="797627"/>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ctr">
            <a:noAutofit/>
          </a:bodyPr>
          <a:lstStyle/>
          <a:p>
            <a:pPr algn="ctr"/>
            <a:r>
              <a:rPr lang="nl-NL" sz="1292" dirty="0">
                <a:solidFill>
                  <a:schemeClr val="tx2"/>
                </a:solidFill>
              </a:rPr>
              <a:t>H</a:t>
            </a:r>
          </a:p>
        </p:txBody>
      </p:sp>
      <p:cxnSp>
        <p:nvCxnSpPr>
          <p:cNvPr id="9" name="Straight Connector 8"/>
          <p:cNvCxnSpPr/>
          <p:nvPr/>
        </p:nvCxnSpPr>
        <p:spPr>
          <a:xfrm>
            <a:off x="1773510" y="3395906"/>
            <a:ext cx="0" cy="598220"/>
          </a:xfrm>
          <a:prstGeom prst="line">
            <a:avLst/>
          </a:prstGeom>
          <a:ln w="12700">
            <a:solidFill>
              <a:srgbClr val="C0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1336928" y="3994125"/>
            <a:ext cx="864096" cy="797627"/>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3231" tIns="33231" rIns="33231" bIns="33231" rtlCol="0" anchor="ctr">
            <a:noAutofit/>
          </a:bodyPr>
          <a:lstStyle/>
          <a:p>
            <a:pPr algn="ctr"/>
            <a:r>
              <a:rPr lang="nl-NL" sz="1292" dirty="0">
                <a:solidFill>
                  <a:schemeClr val="tx2"/>
                </a:solidFill>
              </a:rPr>
              <a:t>W</a:t>
            </a:r>
          </a:p>
        </p:txBody>
      </p:sp>
      <p:sp>
        <p:nvSpPr>
          <p:cNvPr id="11" name="TextBox 10"/>
          <p:cNvSpPr txBox="1"/>
          <p:nvPr/>
        </p:nvSpPr>
        <p:spPr>
          <a:xfrm>
            <a:off x="782002" y="1670845"/>
            <a:ext cx="2493412" cy="395342"/>
          </a:xfrm>
          <a:prstGeom prst="rect">
            <a:avLst/>
          </a:prstGeom>
          <a:noFill/>
        </p:spPr>
        <p:txBody>
          <a:bodyPr wrap="square" lIns="33231" tIns="33231" rIns="33231" bIns="33231" rtlCol="0">
            <a:spAutoFit/>
          </a:bodyPr>
          <a:lstStyle/>
          <a:p>
            <a:r>
              <a:rPr lang="nl-NL" sz="2133" dirty="0">
                <a:solidFill>
                  <a:schemeClr val="tx2"/>
                </a:solidFill>
              </a:rPr>
              <a:t>Zuivere houdster</a:t>
            </a:r>
          </a:p>
        </p:txBody>
      </p:sp>
      <p:sp>
        <p:nvSpPr>
          <p:cNvPr id="12" name="Rectangle 11"/>
          <p:cNvSpPr/>
          <p:nvPr/>
        </p:nvSpPr>
        <p:spPr>
          <a:xfrm>
            <a:off x="4119788" y="2649157"/>
            <a:ext cx="864096" cy="797627"/>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ctr">
            <a:noAutofit/>
          </a:bodyPr>
          <a:lstStyle/>
          <a:p>
            <a:pPr algn="ctr"/>
            <a:r>
              <a:rPr lang="nl-NL" sz="1292" dirty="0">
                <a:solidFill>
                  <a:schemeClr val="tx2"/>
                </a:solidFill>
              </a:rPr>
              <a:t>H</a:t>
            </a:r>
          </a:p>
        </p:txBody>
      </p:sp>
      <p:cxnSp>
        <p:nvCxnSpPr>
          <p:cNvPr id="13" name="Straight Connector 12"/>
          <p:cNvCxnSpPr/>
          <p:nvPr/>
        </p:nvCxnSpPr>
        <p:spPr>
          <a:xfrm>
            <a:off x="4551836" y="3446785"/>
            <a:ext cx="0" cy="598220"/>
          </a:xfrm>
          <a:prstGeom prst="line">
            <a:avLst/>
          </a:prstGeom>
          <a:ln w="12700">
            <a:solidFill>
              <a:srgbClr val="C0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4115256" y="4045004"/>
            <a:ext cx="864096" cy="797627"/>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3231" tIns="33231" rIns="33231" bIns="33231" rtlCol="0" anchor="ctr">
            <a:noAutofit/>
          </a:bodyPr>
          <a:lstStyle/>
          <a:p>
            <a:pPr algn="ctr"/>
            <a:r>
              <a:rPr lang="nl-NL" sz="1292" dirty="0">
                <a:solidFill>
                  <a:schemeClr val="tx2"/>
                </a:solidFill>
              </a:rPr>
              <a:t>W</a:t>
            </a:r>
          </a:p>
        </p:txBody>
      </p:sp>
      <p:cxnSp>
        <p:nvCxnSpPr>
          <p:cNvPr id="15" name="Elbow Connector 14"/>
          <p:cNvCxnSpPr>
            <a:stCxn id="12" idx="3"/>
          </p:cNvCxnSpPr>
          <p:nvPr/>
        </p:nvCxnSpPr>
        <p:spPr>
          <a:xfrm flipH="1">
            <a:off x="4882419" y="3047969"/>
            <a:ext cx="101467" cy="997035"/>
          </a:xfrm>
          <a:prstGeom prst="bentConnector4">
            <a:avLst>
              <a:gd name="adj1" fmla="val -207966"/>
              <a:gd name="adj2" fmla="val 70000"/>
            </a:avLst>
          </a:prstGeom>
          <a:ln w="12700">
            <a:solidFill>
              <a:srgbClr val="C00000"/>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3075159" y="1365728"/>
            <a:ext cx="2670227" cy="929078"/>
          </a:xfrm>
          <a:prstGeom prst="rect">
            <a:avLst/>
          </a:prstGeom>
          <a:noFill/>
        </p:spPr>
        <p:txBody>
          <a:bodyPr wrap="square" lIns="33231" tIns="33231" rIns="33231" bIns="33231" rtlCol="0">
            <a:spAutoFit/>
          </a:bodyPr>
          <a:lstStyle/>
          <a:p>
            <a:pPr algn="ctr"/>
            <a:r>
              <a:rPr lang="nl-NL" sz="1867" dirty="0">
                <a:solidFill>
                  <a:schemeClr val="tx2"/>
                </a:solidFill>
              </a:rPr>
              <a:t>Topholding (beleidsbepalend en sturend)</a:t>
            </a:r>
          </a:p>
        </p:txBody>
      </p:sp>
      <p:sp>
        <p:nvSpPr>
          <p:cNvPr id="17" name="Rectangle 16"/>
          <p:cNvSpPr/>
          <p:nvPr/>
        </p:nvSpPr>
        <p:spPr>
          <a:xfrm>
            <a:off x="6638214" y="2673433"/>
            <a:ext cx="864096" cy="797627"/>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3231" tIns="33231" rIns="33231" bIns="33231" rtlCol="0" anchor="ctr">
            <a:noAutofit/>
          </a:bodyPr>
          <a:lstStyle/>
          <a:p>
            <a:pPr algn="ctr"/>
            <a:r>
              <a:rPr lang="nl-NL" sz="1292" dirty="0">
                <a:solidFill>
                  <a:schemeClr val="tx2"/>
                </a:solidFill>
              </a:rPr>
              <a:t>H</a:t>
            </a:r>
          </a:p>
        </p:txBody>
      </p:sp>
      <p:cxnSp>
        <p:nvCxnSpPr>
          <p:cNvPr id="18" name="Straight Connector 17"/>
          <p:cNvCxnSpPr/>
          <p:nvPr/>
        </p:nvCxnSpPr>
        <p:spPr>
          <a:xfrm>
            <a:off x="7070262" y="3471061"/>
            <a:ext cx="0" cy="598220"/>
          </a:xfrm>
          <a:prstGeom prst="line">
            <a:avLst/>
          </a:prstGeom>
          <a:ln w="12700">
            <a:solidFill>
              <a:srgbClr val="C0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6633679" y="4069280"/>
            <a:ext cx="864096" cy="797627"/>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3231" tIns="33231" rIns="33231" bIns="33231" rtlCol="0" anchor="ctr">
            <a:noAutofit/>
          </a:bodyPr>
          <a:lstStyle/>
          <a:p>
            <a:pPr algn="ctr"/>
            <a:r>
              <a:rPr lang="nl-NL" sz="1292" dirty="0">
                <a:solidFill>
                  <a:schemeClr val="tx2"/>
                </a:solidFill>
              </a:rPr>
              <a:t>W</a:t>
            </a:r>
          </a:p>
        </p:txBody>
      </p:sp>
      <p:cxnSp>
        <p:nvCxnSpPr>
          <p:cNvPr id="20" name="Elbow Connector 19"/>
          <p:cNvCxnSpPr>
            <a:stCxn id="17" idx="3"/>
          </p:cNvCxnSpPr>
          <p:nvPr/>
        </p:nvCxnSpPr>
        <p:spPr>
          <a:xfrm flipH="1">
            <a:off x="7400842" y="3072245"/>
            <a:ext cx="101467" cy="997035"/>
          </a:xfrm>
          <a:prstGeom prst="bentConnector4">
            <a:avLst>
              <a:gd name="adj1" fmla="val -207966"/>
              <a:gd name="adj2" fmla="val 70000"/>
            </a:avLst>
          </a:prstGeom>
          <a:ln w="12700">
            <a:solidFill>
              <a:srgbClr val="C00000"/>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21" name="Elbow Connector 20"/>
          <p:cNvCxnSpPr>
            <a:stCxn id="19" idx="1"/>
          </p:cNvCxnSpPr>
          <p:nvPr/>
        </p:nvCxnSpPr>
        <p:spPr>
          <a:xfrm rot="10800000" flipH="1">
            <a:off x="6633681" y="3471059"/>
            <a:ext cx="137471" cy="997035"/>
          </a:xfrm>
          <a:prstGeom prst="bentConnector4">
            <a:avLst>
              <a:gd name="adj1" fmla="val -153498"/>
              <a:gd name="adj2" fmla="val 70000"/>
            </a:avLst>
          </a:prstGeom>
          <a:ln w="12700">
            <a:solidFill>
              <a:srgbClr val="C00000"/>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6172932" y="3670467"/>
            <a:ext cx="199407" cy="265948"/>
          </a:xfrm>
          <a:prstGeom prst="rect">
            <a:avLst/>
          </a:prstGeom>
          <a:noFill/>
        </p:spPr>
        <p:txBody>
          <a:bodyPr wrap="square" lIns="33231" tIns="33231" rIns="33231" bIns="33231" rtlCol="0">
            <a:spAutoFit/>
          </a:bodyPr>
          <a:lstStyle/>
          <a:p>
            <a:r>
              <a:rPr lang="nl-NL" sz="1292" dirty="0">
                <a:solidFill>
                  <a:schemeClr val="tx2"/>
                </a:solidFill>
              </a:rPr>
              <a:t>€</a:t>
            </a:r>
          </a:p>
        </p:txBody>
      </p:sp>
      <p:sp>
        <p:nvSpPr>
          <p:cNvPr id="23" name="Rectangle 22"/>
          <p:cNvSpPr/>
          <p:nvPr/>
        </p:nvSpPr>
        <p:spPr>
          <a:xfrm>
            <a:off x="9565278" y="2519976"/>
            <a:ext cx="864096" cy="797627"/>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ctr">
            <a:noAutofit/>
          </a:bodyPr>
          <a:lstStyle/>
          <a:p>
            <a:pPr algn="ctr"/>
            <a:r>
              <a:rPr lang="nl-NL" sz="1292" dirty="0">
                <a:solidFill>
                  <a:schemeClr val="tx2"/>
                </a:solidFill>
              </a:rPr>
              <a:t>H</a:t>
            </a:r>
          </a:p>
        </p:txBody>
      </p:sp>
      <p:cxnSp>
        <p:nvCxnSpPr>
          <p:cNvPr id="24" name="Straight Connector 23"/>
          <p:cNvCxnSpPr>
            <a:endCxn id="25" idx="0"/>
          </p:cNvCxnSpPr>
          <p:nvPr/>
        </p:nvCxnSpPr>
        <p:spPr>
          <a:xfrm flipH="1">
            <a:off x="9544544" y="3317604"/>
            <a:ext cx="452783" cy="620577"/>
          </a:xfrm>
          <a:prstGeom prst="line">
            <a:avLst/>
          </a:prstGeom>
          <a:ln w="12700">
            <a:solidFill>
              <a:srgbClr val="C0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9112495" y="3938180"/>
            <a:ext cx="864096" cy="797627"/>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3231" tIns="33231" rIns="33231" bIns="33231" rtlCol="0" anchor="ctr">
            <a:noAutofit/>
          </a:bodyPr>
          <a:lstStyle/>
          <a:p>
            <a:pPr algn="ctr"/>
            <a:r>
              <a:rPr lang="nl-NL" sz="1292" dirty="0">
                <a:solidFill>
                  <a:schemeClr val="tx2"/>
                </a:solidFill>
              </a:rPr>
              <a:t>W</a:t>
            </a:r>
          </a:p>
        </p:txBody>
      </p:sp>
      <p:cxnSp>
        <p:nvCxnSpPr>
          <p:cNvPr id="26" name="Straight Connector 25"/>
          <p:cNvCxnSpPr>
            <a:stCxn id="23" idx="0"/>
            <a:endCxn id="23" idx="2"/>
          </p:cNvCxnSpPr>
          <p:nvPr/>
        </p:nvCxnSpPr>
        <p:spPr>
          <a:xfrm>
            <a:off x="9997326" y="2519976"/>
            <a:ext cx="0" cy="797627"/>
          </a:xfrm>
          <a:prstGeom prst="line">
            <a:avLst/>
          </a:prstGeom>
          <a:ln w="12700">
            <a:solidFill>
              <a:srgbClr val="C0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6298792" y="1447261"/>
            <a:ext cx="2127007" cy="723573"/>
          </a:xfrm>
          <a:prstGeom prst="rect">
            <a:avLst/>
          </a:prstGeom>
          <a:noFill/>
        </p:spPr>
        <p:txBody>
          <a:bodyPr wrap="square" lIns="33231" tIns="33231" rIns="33231" bIns="33231" rtlCol="0">
            <a:spAutoFit/>
          </a:bodyPr>
          <a:lstStyle/>
          <a:p>
            <a:r>
              <a:rPr lang="nl-NL" sz="2133" dirty="0">
                <a:solidFill>
                  <a:schemeClr val="tx2"/>
                </a:solidFill>
              </a:rPr>
              <a:t>Moeiend, vergoeding</a:t>
            </a:r>
          </a:p>
        </p:txBody>
      </p:sp>
      <p:sp>
        <p:nvSpPr>
          <p:cNvPr id="28" name="TextBox 27"/>
          <p:cNvSpPr txBox="1"/>
          <p:nvPr/>
        </p:nvSpPr>
        <p:spPr>
          <a:xfrm>
            <a:off x="9365870" y="1410522"/>
            <a:ext cx="2127007" cy="723573"/>
          </a:xfrm>
          <a:prstGeom prst="rect">
            <a:avLst/>
          </a:prstGeom>
          <a:noFill/>
        </p:spPr>
        <p:txBody>
          <a:bodyPr wrap="square" lIns="33231" tIns="33231" rIns="33231" bIns="33231" rtlCol="0">
            <a:spAutoFit/>
          </a:bodyPr>
          <a:lstStyle/>
          <a:p>
            <a:r>
              <a:rPr lang="nl-NL" sz="2133" dirty="0">
                <a:solidFill>
                  <a:schemeClr val="tx2"/>
                </a:solidFill>
              </a:rPr>
              <a:t>Gemengde houdster</a:t>
            </a:r>
          </a:p>
        </p:txBody>
      </p:sp>
      <p:sp>
        <p:nvSpPr>
          <p:cNvPr id="31" name="Rectangle 30"/>
          <p:cNvSpPr/>
          <p:nvPr/>
        </p:nvSpPr>
        <p:spPr>
          <a:xfrm>
            <a:off x="10155042" y="3944557"/>
            <a:ext cx="864096" cy="797627"/>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33231" tIns="33231" rIns="33231" bIns="33231" rtlCol="0" anchor="ctr">
            <a:noAutofit/>
          </a:bodyPr>
          <a:lstStyle/>
          <a:p>
            <a:pPr algn="ctr"/>
            <a:r>
              <a:rPr lang="nl-NL" sz="1292" dirty="0">
                <a:solidFill>
                  <a:schemeClr val="tx2"/>
                </a:solidFill>
              </a:rPr>
              <a:t>W</a:t>
            </a:r>
          </a:p>
        </p:txBody>
      </p:sp>
      <p:cxnSp>
        <p:nvCxnSpPr>
          <p:cNvPr id="35" name="Straight Connector 34"/>
          <p:cNvCxnSpPr>
            <a:endCxn id="31" idx="0"/>
          </p:cNvCxnSpPr>
          <p:nvPr/>
        </p:nvCxnSpPr>
        <p:spPr>
          <a:xfrm>
            <a:off x="9997326" y="3323980"/>
            <a:ext cx="589764" cy="620576"/>
          </a:xfrm>
          <a:prstGeom prst="line">
            <a:avLst/>
          </a:prstGeom>
          <a:ln w="12700">
            <a:solidFill>
              <a:srgbClr val="C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Elbow Connector 44"/>
          <p:cNvCxnSpPr>
            <a:stCxn id="7" idx="3"/>
            <a:endCxn id="31" idx="3"/>
          </p:cNvCxnSpPr>
          <p:nvPr/>
        </p:nvCxnSpPr>
        <p:spPr>
          <a:xfrm>
            <a:off x="10429374" y="2917209"/>
            <a:ext cx="589764" cy="1426161"/>
          </a:xfrm>
          <a:prstGeom prst="bentConnector3">
            <a:avLst>
              <a:gd name="adj1" fmla="val 135780"/>
            </a:avLst>
          </a:prstGeom>
          <a:ln w="12700">
            <a:solidFill>
              <a:srgbClr val="C00000"/>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47" name="Elbow Connector 46"/>
          <p:cNvCxnSpPr/>
          <p:nvPr/>
        </p:nvCxnSpPr>
        <p:spPr>
          <a:xfrm rot="10800000" flipH="1">
            <a:off x="10182442" y="3281313"/>
            <a:ext cx="137471" cy="997035"/>
          </a:xfrm>
          <a:prstGeom prst="bentConnector4">
            <a:avLst>
              <a:gd name="adj1" fmla="val -107159"/>
              <a:gd name="adj2" fmla="val 70000"/>
            </a:avLst>
          </a:prstGeom>
          <a:ln>
            <a:headEnd type="none"/>
            <a:tailEnd type="arrow"/>
          </a:ln>
        </p:spPr>
        <p:style>
          <a:lnRef idx="1">
            <a:schemeClr val="accent6"/>
          </a:lnRef>
          <a:fillRef idx="0">
            <a:schemeClr val="accent6"/>
          </a:fillRef>
          <a:effectRef idx="0">
            <a:schemeClr val="accent6"/>
          </a:effectRef>
          <a:fontRef idx="minor">
            <a:schemeClr val="tx1"/>
          </a:fontRef>
        </p:style>
      </p:cxnSp>
      <p:sp>
        <p:nvSpPr>
          <p:cNvPr id="53" name="TextBox 52"/>
          <p:cNvSpPr txBox="1"/>
          <p:nvPr/>
        </p:nvSpPr>
        <p:spPr>
          <a:xfrm>
            <a:off x="10023573" y="3712479"/>
            <a:ext cx="199407" cy="265948"/>
          </a:xfrm>
          <a:prstGeom prst="rect">
            <a:avLst/>
          </a:prstGeom>
          <a:noFill/>
        </p:spPr>
        <p:txBody>
          <a:bodyPr wrap="square" lIns="33231" tIns="33231" rIns="33231" bIns="33231" rtlCol="0">
            <a:spAutoFit/>
          </a:bodyPr>
          <a:lstStyle/>
          <a:p>
            <a:r>
              <a:rPr lang="nl-NL" sz="1292" dirty="0">
                <a:solidFill>
                  <a:schemeClr val="tx2"/>
                </a:solidFill>
              </a:rPr>
              <a:t>€</a:t>
            </a:r>
          </a:p>
        </p:txBody>
      </p:sp>
      <p:sp>
        <p:nvSpPr>
          <p:cNvPr id="5" name="TextBox 4">
            <a:extLst>
              <a:ext uri="{FF2B5EF4-FFF2-40B4-BE49-F238E27FC236}">
                <a16:creationId xmlns:a16="http://schemas.microsoft.com/office/drawing/2014/main" id="{67D4307B-E19B-4012-AE6D-32686E930B9C}"/>
              </a:ext>
            </a:extLst>
          </p:cNvPr>
          <p:cNvSpPr txBox="1"/>
          <p:nvPr/>
        </p:nvSpPr>
        <p:spPr>
          <a:xfrm>
            <a:off x="958852" y="5390637"/>
            <a:ext cx="2493412" cy="461665"/>
          </a:xfrm>
          <a:prstGeom prst="rect">
            <a:avLst/>
          </a:prstGeom>
          <a:noFill/>
        </p:spPr>
        <p:txBody>
          <a:bodyPr wrap="square" rtlCol="0">
            <a:spAutoFit/>
          </a:bodyPr>
          <a:lstStyle/>
          <a:p>
            <a:r>
              <a:rPr lang="en-US" sz="2400" dirty="0" err="1"/>
              <a:t>HvJ</a:t>
            </a:r>
            <a:r>
              <a:rPr lang="en-US" sz="2400" dirty="0"/>
              <a:t> </a:t>
            </a:r>
            <a:r>
              <a:rPr lang="en-US" sz="2400" dirty="0" err="1"/>
              <a:t>Polysar</a:t>
            </a:r>
            <a:endParaRPr lang="nl-NL" sz="2400" dirty="0"/>
          </a:p>
        </p:txBody>
      </p:sp>
      <p:sp>
        <p:nvSpPr>
          <p:cNvPr id="36" name="TextBox 35">
            <a:extLst>
              <a:ext uri="{FF2B5EF4-FFF2-40B4-BE49-F238E27FC236}">
                <a16:creationId xmlns:a16="http://schemas.microsoft.com/office/drawing/2014/main" id="{1DBA3D8C-E87F-4DFE-9861-4652123B843F}"/>
              </a:ext>
            </a:extLst>
          </p:cNvPr>
          <p:cNvSpPr txBox="1"/>
          <p:nvPr/>
        </p:nvSpPr>
        <p:spPr>
          <a:xfrm>
            <a:off x="3605764" y="5391161"/>
            <a:ext cx="2493412" cy="461665"/>
          </a:xfrm>
          <a:prstGeom prst="rect">
            <a:avLst/>
          </a:prstGeom>
          <a:noFill/>
        </p:spPr>
        <p:txBody>
          <a:bodyPr wrap="square" rtlCol="0">
            <a:spAutoFit/>
          </a:bodyPr>
          <a:lstStyle/>
          <a:p>
            <a:r>
              <a:rPr lang="en-US" sz="2400" dirty="0" err="1"/>
              <a:t>Holdingresolutie</a:t>
            </a:r>
            <a:endParaRPr lang="nl-NL" sz="2400" dirty="0"/>
          </a:p>
        </p:txBody>
      </p:sp>
      <p:sp>
        <p:nvSpPr>
          <p:cNvPr id="30" name="TextBox 29">
            <a:extLst>
              <a:ext uri="{FF2B5EF4-FFF2-40B4-BE49-F238E27FC236}">
                <a16:creationId xmlns:a16="http://schemas.microsoft.com/office/drawing/2014/main" id="{970DCA6A-7EC4-4E67-B561-126E65132AD5}"/>
              </a:ext>
            </a:extLst>
          </p:cNvPr>
          <p:cNvSpPr txBox="1"/>
          <p:nvPr/>
        </p:nvSpPr>
        <p:spPr>
          <a:xfrm>
            <a:off x="6272634" y="5390637"/>
            <a:ext cx="3093236" cy="830997"/>
          </a:xfrm>
          <a:prstGeom prst="rect">
            <a:avLst/>
          </a:prstGeom>
          <a:noFill/>
        </p:spPr>
        <p:txBody>
          <a:bodyPr wrap="square" rtlCol="0">
            <a:spAutoFit/>
          </a:bodyPr>
          <a:lstStyle/>
          <a:p>
            <a:r>
              <a:rPr lang="en-US" sz="2400" dirty="0" err="1"/>
              <a:t>HvJ</a:t>
            </a:r>
            <a:r>
              <a:rPr lang="en-US" sz="2400" dirty="0"/>
              <a:t> </a:t>
            </a:r>
            <a:r>
              <a:rPr lang="en-US" sz="2400" dirty="0" err="1"/>
              <a:t>Floridienne</a:t>
            </a:r>
            <a:r>
              <a:rPr lang="en-US" sz="2400" dirty="0"/>
              <a:t>/</a:t>
            </a:r>
            <a:br>
              <a:rPr lang="en-US" sz="2400" dirty="0"/>
            </a:br>
            <a:r>
              <a:rPr lang="en-US" sz="2400" dirty="0" err="1"/>
              <a:t>Berginvest</a:t>
            </a:r>
            <a:endParaRPr lang="nl-NL" sz="2400" dirty="0"/>
          </a:p>
        </p:txBody>
      </p:sp>
      <p:sp>
        <p:nvSpPr>
          <p:cNvPr id="32" name="TextBox 31">
            <a:extLst>
              <a:ext uri="{FF2B5EF4-FFF2-40B4-BE49-F238E27FC236}">
                <a16:creationId xmlns:a16="http://schemas.microsoft.com/office/drawing/2014/main" id="{02F1BCD1-DF2B-46FD-8C3B-43838EC269ED}"/>
              </a:ext>
            </a:extLst>
          </p:cNvPr>
          <p:cNvSpPr txBox="1"/>
          <p:nvPr/>
        </p:nvSpPr>
        <p:spPr>
          <a:xfrm>
            <a:off x="9112496" y="5330201"/>
            <a:ext cx="2493412" cy="830997"/>
          </a:xfrm>
          <a:prstGeom prst="rect">
            <a:avLst/>
          </a:prstGeom>
          <a:noFill/>
        </p:spPr>
        <p:txBody>
          <a:bodyPr wrap="square" rtlCol="0">
            <a:spAutoFit/>
          </a:bodyPr>
          <a:lstStyle/>
          <a:p>
            <a:r>
              <a:rPr lang="en-US" sz="2400" dirty="0" err="1"/>
              <a:t>HvJ</a:t>
            </a:r>
            <a:r>
              <a:rPr lang="en-US" sz="2400" dirty="0"/>
              <a:t> </a:t>
            </a:r>
            <a:r>
              <a:rPr lang="en-US" sz="2400" dirty="0" err="1"/>
              <a:t>Larentia</a:t>
            </a:r>
            <a:r>
              <a:rPr lang="en-US" sz="2400" dirty="0"/>
              <a:t> + Minerva</a:t>
            </a:r>
            <a:endParaRPr lang="nl-NL" sz="2400" dirty="0"/>
          </a:p>
        </p:txBody>
      </p:sp>
    </p:spTree>
    <p:extLst>
      <p:ext uri="{BB962C8B-B14F-4D97-AF65-F5344CB8AC3E}">
        <p14:creationId xmlns:p14="http://schemas.microsoft.com/office/powerpoint/2010/main" val="140120848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896E506-F721-48AA-BCBE-2697F04738F3}"/>
              </a:ext>
            </a:extLst>
          </p:cNvPr>
          <p:cNvSpPr>
            <a:spLocks noGrp="1"/>
          </p:cNvSpPr>
          <p:nvPr>
            <p:ph type="body" idx="4294967295"/>
          </p:nvPr>
        </p:nvSpPr>
        <p:spPr>
          <a:xfrm>
            <a:off x="666940" y="1566855"/>
            <a:ext cx="5008870" cy="2770795"/>
          </a:xfrm>
        </p:spPr>
        <p:txBody>
          <a:bodyPr/>
          <a:lstStyle/>
          <a:p>
            <a:r>
              <a:rPr lang="en-US" dirty="0" err="1"/>
              <a:t>Moeien</a:t>
            </a:r>
            <a:r>
              <a:rPr lang="en-US" dirty="0"/>
              <a:t>/</a:t>
            </a:r>
            <a:r>
              <a:rPr lang="en-US" dirty="0" err="1"/>
              <a:t>inmenging</a:t>
            </a:r>
            <a:r>
              <a:rPr lang="en-US" dirty="0"/>
              <a:t> in </a:t>
            </a:r>
            <a:r>
              <a:rPr lang="en-US" dirty="0" err="1"/>
              <a:t>beheer</a:t>
            </a:r>
            <a:r>
              <a:rPr lang="en-US" dirty="0"/>
              <a:t> </a:t>
            </a:r>
            <a:r>
              <a:rPr lang="en-US" dirty="0" err="1"/>
              <a:t>kan</a:t>
            </a:r>
            <a:r>
              <a:rPr lang="en-US" dirty="0"/>
              <a:t> </a:t>
            </a:r>
            <a:r>
              <a:rPr lang="en-US" dirty="0" err="1"/>
              <a:t>iedere</a:t>
            </a:r>
            <a:r>
              <a:rPr lang="en-US" dirty="0"/>
              <a:t> </a:t>
            </a:r>
            <a:r>
              <a:rPr lang="en-US" dirty="0" err="1"/>
              <a:t>vorm</a:t>
            </a:r>
            <a:r>
              <a:rPr lang="en-US" dirty="0"/>
              <a:t> van </a:t>
            </a:r>
            <a:r>
              <a:rPr lang="en-US" dirty="0" err="1"/>
              <a:t>dienstverlening</a:t>
            </a:r>
            <a:r>
              <a:rPr lang="en-US" dirty="0"/>
              <a:t> </a:t>
            </a:r>
            <a:r>
              <a:rPr lang="en-US" dirty="0" err="1"/>
              <a:t>aan</a:t>
            </a:r>
            <a:r>
              <a:rPr lang="en-US" dirty="0"/>
              <a:t> de </a:t>
            </a:r>
            <a:r>
              <a:rPr lang="en-US" dirty="0" err="1"/>
              <a:t>dochteronderneming</a:t>
            </a:r>
            <a:r>
              <a:rPr lang="en-US" dirty="0"/>
              <a:t> </a:t>
            </a:r>
            <a:r>
              <a:rPr lang="en-US" dirty="0" err="1"/>
              <a:t>zijn</a:t>
            </a:r>
            <a:endParaRPr lang="en-US" dirty="0"/>
          </a:p>
          <a:p>
            <a:r>
              <a:rPr lang="en-US" dirty="0" err="1"/>
              <a:t>Wel</a:t>
            </a:r>
            <a:r>
              <a:rPr lang="en-US" dirty="0"/>
              <a:t> </a:t>
            </a:r>
            <a:r>
              <a:rPr lang="en-US" dirty="0" err="1"/>
              <a:t>moet</a:t>
            </a:r>
            <a:r>
              <a:rPr lang="en-US" dirty="0"/>
              <a:t> </a:t>
            </a:r>
            <a:r>
              <a:rPr lang="en-US" dirty="0" err="1"/>
              <a:t>sprake</a:t>
            </a:r>
            <a:r>
              <a:rPr lang="en-US" dirty="0"/>
              <a:t> </a:t>
            </a:r>
            <a:r>
              <a:rPr lang="en-US" dirty="0" err="1"/>
              <a:t>zijn</a:t>
            </a:r>
            <a:r>
              <a:rPr lang="en-US" dirty="0"/>
              <a:t> van:</a:t>
            </a:r>
          </a:p>
          <a:p>
            <a:pPr lvl="1"/>
            <a:r>
              <a:rPr lang="en-US" dirty="0" err="1"/>
              <a:t>Duurzaamheid</a:t>
            </a:r>
            <a:endParaRPr lang="en-US" dirty="0"/>
          </a:p>
          <a:p>
            <a:pPr lvl="1"/>
            <a:r>
              <a:rPr lang="en-US" dirty="0" err="1"/>
              <a:t>Bezwarende</a:t>
            </a:r>
            <a:r>
              <a:rPr lang="en-US" dirty="0"/>
              <a:t> </a:t>
            </a:r>
            <a:r>
              <a:rPr lang="en-US" dirty="0" err="1"/>
              <a:t>titel</a:t>
            </a:r>
            <a:endParaRPr lang="en-US" dirty="0"/>
          </a:p>
          <a:p>
            <a:pPr lvl="1"/>
            <a:r>
              <a:rPr lang="en-US" dirty="0" err="1"/>
              <a:t>Rechtstreeks</a:t>
            </a:r>
            <a:r>
              <a:rPr lang="en-US" dirty="0"/>
              <a:t> </a:t>
            </a:r>
            <a:r>
              <a:rPr lang="en-US" dirty="0" err="1"/>
              <a:t>verband</a:t>
            </a:r>
            <a:endParaRPr lang="en-US" dirty="0"/>
          </a:p>
          <a:p>
            <a:r>
              <a:rPr lang="en-US" dirty="0" err="1"/>
              <a:t>Gevolg</a:t>
            </a:r>
            <a:r>
              <a:rPr lang="en-US" dirty="0"/>
              <a:t>: </a:t>
            </a:r>
            <a:r>
              <a:rPr lang="en-US" dirty="0" err="1"/>
              <a:t>aftrek</a:t>
            </a:r>
            <a:r>
              <a:rPr lang="en-US" dirty="0"/>
              <a:t> </a:t>
            </a:r>
            <a:r>
              <a:rPr lang="en-US" dirty="0" err="1"/>
              <a:t>voorbelasting</a:t>
            </a:r>
            <a:r>
              <a:rPr lang="en-US" dirty="0"/>
              <a:t> op </a:t>
            </a:r>
            <a:r>
              <a:rPr lang="en-US" dirty="0" err="1"/>
              <a:t>verwervingskosten</a:t>
            </a:r>
            <a:r>
              <a:rPr lang="en-US" dirty="0"/>
              <a:t> </a:t>
            </a:r>
            <a:r>
              <a:rPr lang="en-US" dirty="0" err="1"/>
              <a:t>deelneming</a:t>
            </a:r>
            <a:endParaRPr lang="en-US" dirty="0"/>
          </a:p>
        </p:txBody>
      </p:sp>
      <p:sp>
        <p:nvSpPr>
          <p:cNvPr id="4" name="Title 3">
            <a:extLst>
              <a:ext uri="{FF2B5EF4-FFF2-40B4-BE49-F238E27FC236}">
                <a16:creationId xmlns:a16="http://schemas.microsoft.com/office/drawing/2014/main" id="{9DF5E9D9-CB9E-46CD-860C-9010D4D2E4F7}"/>
              </a:ext>
            </a:extLst>
          </p:cNvPr>
          <p:cNvSpPr>
            <a:spLocks noGrp="1"/>
          </p:cNvSpPr>
          <p:nvPr>
            <p:ph type="title"/>
          </p:nvPr>
        </p:nvSpPr>
        <p:spPr/>
        <p:txBody>
          <a:bodyPr/>
          <a:lstStyle/>
          <a:p>
            <a:r>
              <a:rPr lang="en-US" b="1" dirty="0" err="1"/>
              <a:t>HvJ</a:t>
            </a:r>
            <a:r>
              <a:rPr lang="en-US" b="1" dirty="0"/>
              <a:t> </a:t>
            </a:r>
            <a:r>
              <a:rPr lang="en-US" b="1" dirty="0" err="1"/>
              <a:t>Marle</a:t>
            </a:r>
            <a:r>
              <a:rPr lang="en-US" b="1" dirty="0"/>
              <a:t> Participations – </a:t>
            </a:r>
            <a:r>
              <a:rPr lang="en-US" b="1" dirty="0" err="1"/>
              <a:t>HvJ</a:t>
            </a:r>
            <a:r>
              <a:rPr lang="en-US" b="1" dirty="0"/>
              <a:t> EU </a:t>
            </a:r>
            <a:r>
              <a:rPr lang="en-US" b="1" dirty="0" err="1"/>
              <a:t>nmr</a:t>
            </a:r>
            <a:r>
              <a:rPr lang="en-US" b="1" dirty="0"/>
              <a:t>. C-320/17</a:t>
            </a:r>
            <a:endParaRPr lang="nl-NL" b="1" dirty="0"/>
          </a:p>
        </p:txBody>
      </p:sp>
      <p:sp>
        <p:nvSpPr>
          <p:cNvPr id="8" name="Rectangle 7">
            <a:extLst>
              <a:ext uri="{FF2B5EF4-FFF2-40B4-BE49-F238E27FC236}">
                <a16:creationId xmlns:a16="http://schemas.microsoft.com/office/drawing/2014/main" id="{B0BEFBF3-E65A-4E1C-AFA9-2F15D8677E4B}"/>
              </a:ext>
            </a:extLst>
          </p:cNvPr>
          <p:cNvSpPr/>
          <p:nvPr/>
        </p:nvSpPr>
        <p:spPr>
          <a:xfrm>
            <a:off x="7517092" y="3801607"/>
            <a:ext cx="1573759" cy="14895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9" dirty="0" err="1">
                <a:solidFill>
                  <a:schemeClr val="tx1"/>
                </a:solidFill>
              </a:rPr>
              <a:t>Werk</a:t>
            </a:r>
            <a:r>
              <a:rPr lang="en-US" sz="1799" dirty="0">
                <a:solidFill>
                  <a:schemeClr val="tx1"/>
                </a:solidFill>
              </a:rPr>
              <a:t>- </a:t>
            </a:r>
          </a:p>
          <a:p>
            <a:pPr algn="ctr"/>
            <a:r>
              <a:rPr lang="en-US" sz="1799" dirty="0" err="1">
                <a:solidFill>
                  <a:schemeClr val="tx1"/>
                </a:solidFill>
              </a:rPr>
              <a:t>maatschappij</a:t>
            </a:r>
            <a:endParaRPr lang="nl-NL" sz="1799" dirty="0">
              <a:solidFill>
                <a:schemeClr val="tx1"/>
              </a:solidFill>
            </a:endParaRPr>
          </a:p>
        </p:txBody>
      </p:sp>
      <p:sp>
        <p:nvSpPr>
          <p:cNvPr id="9" name="Rectangle 8">
            <a:extLst>
              <a:ext uri="{FF2B5EF4-FFF2-40B4-BE49-F238E27FC236}">
                <a16:creationId xmlns:a16="http://schemas.microsoft.com/office/drawing/2014/main" id="{9056B55F-EC04-4686-A48D-80A20EEADE2D}"/>
              </a:ext>
            </a:extLst>
          </p:cNvPr>
          <p:cNvSpPr/>
          <p:nvPr/>
        </p:nvSpPr>
        <p:spPr>
          <a:xfrm>
            <a:off x="7517090" y="1905010"/>
            <a:ext cx="1573759" cy="12954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9" dirty="0">
                <a:solidFill>
                  <a:schemeClr val="tx1"/>
                </a:solidFill>
              </a:rPr>
              <a:t>Holding</a:t>
            </a:r>
            <a:endParaRPr lang="nl-NL" sz="1799" dirty="0">
              <a:solidFill>
                <a:schemeClr val="tx1"/>
              </a:solidFill>
            </a:endParaRPr>
          </a:p>
        </p:txBody>
      </p:sp>
      <p:cxnSp>
        <p:nvCxnSpPr>
          <p:cNvPr id="13" name="Straight Connector 12">
            <a:extLst>
              <a:ext uri="{FF2B5EF4-FFF2-40B4-BE49-F238E27FC236}">
                <a16:creationId xmlns:a16="http://schemas.microsoft.com/office/drawing/2014/main" id="{F0640466-E9B3-4454-86C2-DA769967F192}"/>
              </a:ext>
            </a:extLst>
          </p:cNvPr>
          <p:cNvCxnSpPr>
            <a:stCxn id="9" idx="2"/>
            <a:endCxn id="8" idx="0"/>
          </p:cNvCxnSpPr>
          <p:nvPr/>
        </p:nvCxnSpPr>
        <p:spPr>
          <a:xfrm>
            <a:off x="8303971" y="3200479"/>
            <a:ext cx="1" cy="601128"/>
          </a:xfrm>
          <a:prstGeom prst="line">
            <a:avLst/>
          </a:prstGeom>
        </p:spPr>
        <p:style>
          <a:lnRef idx="1">
            <a:schemeClr val="accent1"/>
          </a:lnRef>
          <a:fillRef idx="0">
            <a:schemeClr val="accent1"/>
          </a:fillRef>
          <a:effectRef idx="0">
            <a:schemeClr val="accent1"/>
          </a:effectRef>
          <a:fontRef idx="minor">
            <a:schemeClr val="tx1"/>
          </a:fontRef>
        </p:style>
      </p:cxnSp>
      <p:sp>
        <p:nvSpPr>
          <p:cNvPr id="14" name="Arrow: Curved Left 13">
            <a:extLst>
              <a:ext uri="{FF2B5EF4-FFF2-40B4-BE49-F238E27FC236}">
                <a16:creationId xmlns:a16="http://schemas.microsoft.com/office/drawing/2014/main" id="{DBAAAEA2-61FA-4934-8CDD-2C9595FF383A}"/>
              </a:ext>
            </a:extLst>
          </p:cNvPr>
          <p:cNvSpPr/>
          <p:nvPr/>
        </p:nvSpPr>
        <p:spPr>
          <a:xfrm>
            <a:off x="9090850" y="2512259"/>
            <a:ext cx="945143" cy="2234176"/>
          </a:xfrm>
          <a:prstGeom prst="curvedLef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solidFill>
                <a:schemeClr val="tx1"/>
              </a:solidFill>
            </a:endParaRPr>
          </a:p>
        </p:txBody>
      </p:sp>
      <p:sp>
        <p:nvSpPr>
          <p:cNvPr id="17" name="TextBox 16">
            <a:extLst>
              <a:ext uri="{FF2B5EF4-FFF2-40B4-BE49-F238E27FC236}">
                <a16:creationId xmlns:a16="http://schemas.microsoft.com/office/drawing/2014/main" id="{32366225-1C3C-486F-B7A4-FF42AF535572}"/>
              </a:ext>
            </a:extLst>
          </p:cNvPr>
          <p:cNvSpPr txBox="1"/>
          <p:nvPr/>
        </p:nvSpPr>
        <p:spPr>
          <a:xfrm>
            <a:off x="10180001" y="3388281"/>
            <a:ext cx="2015175" cy="369204"/>
          </a:xfrm>
          <a:prstGeom prst="rect">
            <a:avLst/>
          </a:prstGeom>
          <a:noFill/>
        </p:spPr>
        <p:txBody>
          <a:bodyPr wrap="square" rtlCol="0">
            <a:spAutoFit/>
          </a:bodyPr>
          <a:lstStyle/>
          <a:p>
            <a:r>
              <a:rPr lang="en-US" sz="1799" dirty="0" err="1"/>
              <a:t>Verhuur</a:t>
            </a:r>
            <a:r>
              <a:rPr lang="en-US" sz="1799" dirty="0"/>
              <a:t> OG</a:t>
            </a:r>
            <a:endParaRPr lang="nl-NL" sz="1799" dirty="0"/>
          </a:p>
        </p:txBody>
      </p:sp>
      <p:sp>
        <p:nvSpPr>
          <p:cNvPr id="18" name="Arrow: Curved Right 17">
            <a:extLst>
              <a:ext uri="{FF2B5EF4-FFF2-40B4-BE49-F238E27FC236}">
                <a16:creationId xmlns:a16="http://schemas.microsoft.com/office/drawing/2014/main" id="{D9389D5E-3FC1-4320-8D98-559F42FA46CC}"/>
              </a:ext>
            </a:extLst>
          </p:cNvPr>
          <p:cNvSpPr/>
          <p:nvPr/>
        </p:nvSpPr>
        <p:spPr>
          <a:xfrm flipV="1">
            <a:off x="6522541" y="2199998"/>
            <a:ext cx="1007577" cy="2446997"/>
          </a:xfrm>
          <a:prstGeom prst="curved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dirty="0">
              <a:solidFill>
                <a:schemeClr val="tx1"/>
              </a:solidFill>
            </a:endParaRPr>
          </a:p>
        </p:txBody>
      </p:sp>
      <p:sp>
        <p:nvSpPr>
          <p:cNvPr id="19" name="TextBox 18">
            <a:extLst>
              <a:ext uri="{FF2B5EF4-FFF2-40B4-BE49-F238E27FC236}">
                <a16:creationId xmlns:a16="http://schemas.microsoft.com/office/drawing/2014/main" id="{335A1D9E-885F-4F7B-8BF9-92C671B99AD0}"/>
              </a:ext>
            </a:extLst>
          </p:cNvPr>
          <p:cNvSpPr txBox="1"/>
          <p:nvPr/>
        </p:nvSpPr>
        <p:spPr>
          <a:xfrm>
            <a:off x="6054666" y="3310568"/>
            <a:ext cx="647735" cy="369204"/>
          </a:xfrm>
          <a:prstGeom prst="rect">
            <a:avLst/>
          </a:prstGeom>
          <a:noFill/>
        </p:spPr>
        <p:txBody>
          <a:bodyPr wrap="square" rtlCol="0">
            <a:spAutoFit/>
          </a:bodyPr>
          <a:lstStyle/>
          <a:p>
            <a:r>
              <a:rPr lang="en-US" sz="1799" dirty="0"/>
              <a:t>€</a:t>
            </a:r>
            <a:endParaRPr lang="nl-NL" sz="1799" dirty="0"/>
          </a:p>
        </p:txBody>
      </p:sp>
    </p:spTree>
    <p:extLst>
      <p:ext uri="{BB962C8B-B14F-4D97-AF65-F5344CB8AC3E}">
        <p14:creationId xmlns:p14="http://schemas.microsoft.com/office/powerpoint/2010/main" val="3439885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215A348D-DB53-4ED8-A296-DD98B4BE1562}"/>
              </a:ext>
            </a:extLst>
          </p:cNvPr>
          <p:cNvSpPr>
            <a:spLocks noGrp="1"/>
          </p:cNvSpPr>
          <p:nvPr>
            <p:ph type="body" orient="vert" idx="1"/>
          </p:nvPr>
        </p:nvSpPr>
        <p:spPr/>
        <p:txBody>
          <a:bodyPr/>
          <a:lstStyle/>
          <a:p>
            <a:r>
              <a:rPr lang="nl-NL" dirty="0">
                <a:solidFill>
                  <a:schemeClr val="tx1"/>
                </a:solidFill>
              </a:rPr>
              <a:t>Definitie bouwterrein: onbebouwde grond die kennelijk is bestemd om te worden bebouwd</a:t>
            </a:r>
          </a:p>
          <a:p>
            <a:endParaRPr lang="nl-NL" dirty="0">
              <a:solidFill>
                <a:schemeClr val="tx1"/>
              </a:solidFill>
            </a:endParaRPr>
          </a:p>
          <a:p>
            <a:r>
              <a:rPr lang="nl-NL" dirty="0">
                <a:solidFill>
                  <a:schemeClr val="tx1"/>
                </a:solidFill>
              </a:rPr>
              <a:t>Onder onbebouwde grond wordt verstaan: de levering van onbebouwde terreinen waarvan ten tijde van de levering op grond van feiten en omstandigheden (waaronder intentie van partijen) vaststaat dat deze zijn bestemd voor bebouwing - </a:t>
            </a:r>
            <a:r>
              <a:rPr lang="nl-NL" i="1" dirty="0">
                <a:solidFill>
                  <a:schemeClr val="tx1"/>
                </a:solidFill>
              </a:rPr>
              <a:t>Woningstichting Maasdriel </a:t>
            </a:r>
          </a:p>
          <a:p>
            <a:endParaRPr lang="nl-NL" dirty="0">
              <a:solidFill>
                <a:schemeClr val="tx1"/>
              </a:solidFill>
            </a:endParaRPr>
          </a:p>
          <a:p>
            <a:r>
              <a:rPr lang="nl-NL" dirty="0">
                <a:solidFill>
                  <a:schemeClr val="tx1"/>
                </a:solidFill>
              </a:rPr>
              <a:t>Levering van grond met daarop een gebouw die bestemd is om te worden gesloopt, is ten tijde van de levering dan wel geen onbebouwde grond, maar als de verkoper de sloop voor zijn rekening neemt met het oog op het oprichten van een nieuw gebouw (koop-aanneemovereenkomst), dan zijn de levering van het gebouw en de sloop zo nauw met elkaar verbonden, dat er voor de btw sprake is van één handeling, namelijk het leveren van onbebouwd terrein – </a:t>
            </a:r>
            <a:r>
              <a:rPr lang="nl-NL" i="1" dirty="0">
                <a:solidFill>
                  <a:schemeClr val="tx1"/>
                </a:solidFill>
              </a:rPr>
              <a:t>Don Bosco</a:t>
            </a:r>
          </a:p>
          <a:p>
            <a:endParaRPr lang="nl-NL" dirty="0"/>
          </a:p>
        </p:txBody>
      </p:sp>
      <p:sp>
        <p:nvSpPr>
          <p:cNvPr id="3" name="Titel 2">
            <a:extLst>
              <a:ext uri="{FF2B5EF4-FFF2-40B4-BE49-F238E27FC236}">
                <a16:creationId xmlns:a16="http://schemas.microsoft.com/office/drawing/2014/main" id="{8482F5AF-B437-44A2-A5BF-1D25D174A66F}"/>
              </a:ext>
            </a:extLst>
          </p:cNvPr>
          <p:cNvSpPr>
            <a:spLocks noGrp="1"/>
          </p:cNvSpPr>
          <p:nvPr>
            <p:ph type="title"/>
          </p:nvPr>
        </p:nvSpPr>
        <p:spPr/>
        <p:txBody>
          <a:bodyPr/>
          <a:lstStyle/>
          <a:p>
            <a:r>
              <a:rPr lang="nl-NL" dirty="0"/>
              <a:t>Bouwterrein</a:t>
            </a:r>
          </a:p>
        </p:txBody>
      </p:sp>
    </p:spTree>
    <p:extLst>
      <p:ext uri="{BB962C8B-B14F-4D97-AF65-F5344CB8AC3E}">
        <p14:creationId xmlns:p14="http://schemas.microsoft.com/office/powerpoint/2010/main" val="3160167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215A348D-DB53-4ED8-A296-DD98B4BE1562}"/>
              </a:ext>
            </a:extLst>
          </p:cNvPr>
          <p:cNvSpPr>
            <a:spLocks noGrp="1"/>
          </p:cNvSpPr>
          <p:nvPr>
            <p:ph type="body" orient="vert" idx="1"/>
          </p:nvPr>
        </p:nvSpPr>
        <p:spPr>
          <a:xfrm>
            <a:off x="687106" y="1302362"/>
            <a:ext cx="19758417" cy="4264638"/>
          </a:xfrm>
        </p:spPr>
        <p:txBody>
          <a:bodyPr/>
          <a:lstStyle/>
          <a:p>
            <a:endParaRPr lang="nl-NL" dirty="0"/>
          </a:p>
        </p:txBody>
      </p:sp>
      <p:sp>
        <p:nvSpPr>
          <p:cNvPr id="3" name="Titel 2">
            <a:extLst>
              <a:ext uri="{FF2B5EF4-FFF2-40B4-BE49-F238E27FC236}">
                <a16:creationId xmlns:a16="http://schemas.microsoft.com/office/drawing/2014/main" id="{8482F5AF-B437-44A2-A5BF-1D25D174A66F}"/>
              </a:ext>
            </a:extLst>
          </p:cNvPr>
          <p:cNvSpPr>
            <a:spLocks noGrp="1"/>
          </p:cNvSpPr>
          <p:nvPr>
            <p:ph type="title"/>
          </p:nvPr>
        </p:nvSpPr>
        <p:spPr/>
        <p:txBody>
          <a:bodyPr/>
          <a:lstStyle/>
          <a:p>
            <a:r>
              <a:rPr lang="nl-NL" dirty="0"/>
              <a:t>Bouwterrein ?  </a:t>
            </a:r>
          </a:p>
        </p:txBody>
      </p:sp>
      <p:pic>
        <p:nvPicPr>
          <p:cNvPr id="2051" name="Picture 3" descr="Afbeeldingsresultaat voor bouwterrein">
            <a:hlinkClick r:id="rId3"/>
            <a:extLst>
              <a:ext uri="{FF2B5EF4-FFF2-40B4-BE49-F238E27FC236}">
                <a16:creationId xmlns:a16="http://schemas.microsoft.com/office/drawing/2014/main" id="{16339F2E-E1E4-4BAB-8FAD-0CC9E18ED9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80166" y="1700808"/>
            <a:ext cx="3168352" cy="3024336"/>
          </a:xfrm>
          <a:prstGeom prst="rect">
            <a:avLst/>
          </a:prstGeom>
          <a:noFill/>
          <a:extLst>
            <a:ext uri="{909E8E84-426E-40DD-AFC4-6F175D3DCCD1}">
              <a14:hiddenFill xmlns:a14="http://schemas.microsoft.com/office/drawing/2010/main">
                <a:solidFill>
                  <a:srgbClr val="FFFFFF"/>
                </a:solidFill>
              </a14:hiddenFill>
            </a:ext>
          </a:extLst>
        </p:spPr>
      </p:pic>
      <p:pic>
        <p:nvPicPr>
          <p:cNvPr id="7" name="Afbeelding 6" descr="Afbeelding met gras, hek, buiten, boom&#10;&#10;Automatisch gegenereerde beschrijving">
            <a:extLst>
              <a:ext uri="{FF2B5EF4-FFF2-40B4-BE49-F238E27FC236}">
                <a16:creationId xmlns:a16="http://schemas.microsoft.com/office/drawing/2014/main" id="{8EAD75AE-A94B-4688-BB36-A281175E06E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27167" y="1916832"/>
            <a:ext cx="4442587" cy="2592288"/>
          </a:xfrm>
          <a:prstGeom prst="rect">
            <a:avLst/>
          </a:prstGeom>
        </p:spPr>
      </p:pic>
    </p:spTree>
    <p:extLst>
      <p:ext uri="{BB962C8B-B14F-4D97-AF65-F5344CB8AC3E}">
        <p14:creationId xmlns:p14="http://schemas.microsoft.com/office/powerpoint/2010/main" val="1947688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8715ED81-CA12-4619-A09E-8346EA5F4211}"/>
              </a:ext>
            </a:extLst>
          </p:cNvPr>
          <p:cNvSpPr>
            <a:spLocks noGrp="1"/>
          </p:cNvSpPr>
          <p:nvPr>
            <p:ph type="body" orient="vert" idx="1"/>
          </p:nvPr>
        </p:nvSpPr>
        <p:spPr/>
        <p:txBody>
          <a:bodyPr/>
          <a:lstStyle/>
          <a:p>
            <a:pPr marL="342729" indent="-342729">
              <a:buAutoNum type="arabicPeriod"/>
            </a:pPr>
            <a:r>
              <a:rPr lang="en-US" dirty="0"/>
              <a:t>Preplanning: </a:t>
            </a:r>
          </a:p>
          <a:p>
            <a:pPr marL="612594" lvl="1" indent="-342729">
              <a:buAutoNum type="arabicPeriod"/>
            </a:pPr>
            <a:r>
              <a:rPr lang="en-US" dirty="0"/>
              <a:t>Bedrijfsverkenning</a:t>
            </a:r>
          </a:p>
          <a:p>
            <a:pPr marL="612594" lvl="1" indent="-342729">
              <a:buAutoNum type="arabicPeriod"/>
            </a:pPr>
            <a:r>
              <a:rPr lang="en-US" dirty="0" err="1"/>
              <a:t>Analyse</a:t>
            </a:r>
            <a:r>
              <a:rPr lang="en-US" dirty="0"/>
              <a:t> </a:t>
            </a:r>
            <a:r>
              <a:rPr lang="en-US" dirty="0" err="1"/>
              <a:t>administratie</a:t>
            </a:r>
            <a:r>
              <a:rPr lang="en-US" dirty="0"/>
              <a:t> (</a:t>
            </a:r>
            <a:r>
              <a:rPr lang="en-US" dirty="0" err="1"/>
              <a:t>opzet</a:t>
            </a:r>
            <a:r>
              <a:rPr lang="en-US" dirty="0"/>
              <a:t> </a:t>
            </a:r>
            <a:r>
              <a:rPr lang="en-US" dirty="0" err="1"/>
              <a:t>en</a:t>
            </a:r>
            <a:r>
              <a:rPr lang="en-US" dirty="0"/>
              <a:t> </a:t>
            </a:r>
            <a:r>
              <a:rPr lang="en-US" dirty="0" err="1"/>
              <a:t>bestaan</a:t>
            </a:r>
            <a:r>
              <a:rPr lang="en-US" dirty="0"/>
              <a:t> </a:t>
            </a:r>
            <a:r>
              <a:rPr lang="en-US" dirty="0" err="1"/>
              <a:t>ao</a:t>
            </a:r>
            <a:r>
              <a:rPr lang="en-US" dirty="0"/>
              <a:t>/</a:t>
            </a:r>
            <a:r>
              <a:rPr lang="en-US" dirty="0" err="1"/>
              <a:t>ib</a:t>
            </a:r>
            <a:r>
              <a:rPr lang="en-US" dirty="0"/>
              <a:t> + </a:t>
            </a:r>
            <a:r>
              <a:rPr lang="en-US" dirty="0" err="1"/>
              <a:t>regelingen</a:t>
            </a:r>
            <a:r>
              <a:rPr lang="en-US" dirty="0"/>
              <a:t> </a:t>
            </a:r>
            <a:r>
              <a:rPr lang="en-US" dirty="0" err="1"/>
              <a:t>loonheffingen</a:t>
            </a:r>
            <a:r>
              <a:rPr lang="en-US" dirty="0"/>
              <a:t> </a:t>
            </a:r>
            <a:r>
              <a:rPr lang="en-US" dirty="0" err="1"/>
              <a:t>en</a:t>
            </a:r>
            <a:r>
              <a:rPr lang="en-US" dirty="0"/>
              <a:t> </a:t>
            </a:r>
            <a:r>
              <a:rPr lang="en-US" dirty="0" err="1"/>
              <a:t>aanwijzingen</a:t>
            </a:r>
            <a:r>
              <a:rPr lang="en-US" dirty="0"/>
              <a:t> WKR)</a:t>
            </a:r>
          </a:p>
          <a:p>
            <a:pPr marL="612594" lvl="1" indent="-342729">
              <a:buAutoNum type="arabicPeriod"/>
            </a:pPr>
            <a:r>
              <a:rPr lang="en-US" dirty="0" err="1"/>
              <a:t>Aansluitingen</a:t>
            </a:r>
            <a:endParaRPr lang="en-US" dirty="0"/>
          </a:p>
          <a:p>
            <a:pPr marL="612594" lvl="1" indent="-342729">
              <a:buAutoNum type="arabicPeriod"/>
            </a:pPr>
            <a:r>
              <a:rPr lang="en-US" dirty="0" err="1"/>
              <a:t>Analyse</a:t>
            </a:r>
            <a:r>
              <a:rPr lang="en-US" dirty="0"/>
              <a:t> </a:t>
            </a:r>
            <a:r>
              <a:rPr lang="en-US" dirty="0" err="1"/>
              <a:t>aangiften</a:t>
            </a:r>
            <a:endParaRPr lang="en-US" dirty="0"/>
          </a:p>
          <a:p>
            <a:pPr marL="342729" indent="-342729">
              <a:buAutoNum type="arabicPeriod"/>
            </a:pPr>
            <a:r>
              <a:rPr lang="en-US" dirty="0" err="1"/>
              <a:t>Volledigheid</a:t>
            </a:r>
            <a:r>
              <a:rPr lang="en-US" dirty="0"/>
              <a:t> </a:t>
            </a:r>
            <a:r>
              <a:rPr lang="en-US" dirty="0" err="1"/>
              <a:t>transacties</a:t>
            </a:r>
            <a:r>
              <a:rPr lang="en-US" dirty="0"/>
              <a:t>, </a:t>
            </a:r>
            <a:r>
              <a:rPr lang="en-US" dirty="0" err="1"/>
              <a:t>cijferanalyse</a:t>
            </a:r>
            <a:r>
              <a:rPr lang="en-US" dirty="0"/>
              <a:t> ten </a:t>
            </a:r>
            <a:r>
              <a:rPr lang="en-US" dirty="0" err="1"/>
              <a:t>behoeve</a:t>
            </a:r>
            <a:r>
              <a:rPr lang="en-US" dirty="0"/>
              <a:t> van </a:t>
            </a:r>
            <a:r>
              <a:rPr lang="en-US" dirty="0" err="1"/>
              <a:t>plausibiliteitsoordeel</a:t>
            </a:r>
            <a:endParaRPr lang="en-US" dirty="0"/>
          </a:p>
          <a:p>
            <a:pPr marL="342729" indent="-342729">
              <a:buAutoNum type="arabicPeriod"/>
            </a:pPr>
            <a:r>
              <a:rPr lang="en-US" dirty="0" err="1"/>
              <a:t>Juistheid</a:t>
            </a:r>
            <a:r>
              <a:rPr lang="en-US" dirty="0"/>
              <a:t> </a:t>
            </a:r>
            <a:r>
              <a:rPr lang="en-US" dirty="0" err="1"/>
              <a:t>transacties</a:t>
            </a:r>
            <a:r>
              <a:rPr lang="en-US" dirty="0"/>
              <a:t>: </a:t>
            </a:r>
            <a:r>
              <a:rPr lang="en-US" b="1" u="sng" dirty="0" err="1"/>
              <a:t>Statistische</a:t>
            </a:r>
            <a:r>
              <a:rPr lang="en-US" b="1" u="sng" dirty="0"/>
              <a:t> </a:t>
            </a:r>
            <a:r>
              <a:rPr lang="en-US" b="1" u="sng" dirty="0" err="1"/>
              <a:t>steekproef</a:t>
            </a:r>
            <a:endParaRPr lang="en-US" b="1" u="sng" dirty="0"/>
          </a:p>
          <a:p>
            <a:pPr marL="342729" indent="-342729">
              <a:buAutoNum type="arabicPeriod"/>
            </a:pPr>
            <a:r>
              <a:rPr lang="en-US" dirty="0" err="1"/>
              <a:t>Afronding</a:t>
            </a:r>
            <a:endParaRPr lang="en-US" dirty="0"/>
          </a:p>
          <a:p>
            <a:pPr marL="342729" indent="-342729">
              <a:buFont typeface="+mj-lt"/>
              <a:buAutoNum type="arabicPeriod"/>
            </a:pPr>
            <a:endParaRPr lang="nl-NL" dirty="0"/>
          </a:p>
          <a:p>
            <a:pPr marL="285607" indent="-285607">
              <a:buFont typeface="Arial" panose="020B0604020202020204" pitchFamily="34" charset="0"/>
              <a:buChar char="•"/>
            </a:pPr>
            <a:endParaRPr lang="nl-NL" dirty="0"/>
          </a:p>
          <a:p>
            <a:pPr marL="285607" indent="-285607">
              <a:buFont typeface="Arial" panose="020B0604020202020204" pitchFamily="34" charset="0"/>
              <a:buChar char="•"/>
            </a:pPr>
            <a:endParaRPr lang="nl-NL" dirty="0"/>
          </a:p>
          <a:p>
            <a:pPr marL="285607" indent="-285607">
              <a:buFont typeface="Arial" panose="020B0604020202020204" pitchFamily="34" charset="0"/>
              <a:buChar char="•"/>
            </a:pPr>
            <a:endParaRPr lang="nl-NL" dirty="0"/>
          </a:p>
          <a:p>
            <a:pPr lvl="1" indent="0">
              <a:buNone/>
            </a:pPr>
            <a:endParaRPr lang="nl-NL" dirty="0"/>
          </a:p>
        </p:txBody>
      </p:sp>
      <p:sp>
        <p:nvSpPr>
          <p:cNvPr id="4" name="Titel 3">
            <a:extLst>
              <a:ext uri="{FF2B5EF4-FFF2-40B4-BE49-F238E27FC236}">
                <a16:creationId xmlns:a16="http://schemas.microsoft.com/office/drawing/2014/main" id="{48F9D778-9EF8-470B-BC3D-BA37931EE309}"/>
              </a:ext>
            </a:extLst>
          </p:cNvPr>
          <p:cNvSpPr>
            <a:spLocks noGrp="1"/>
          </p:cNvSpPr>
          <p:nvPr>
            <p:ph type="title"/>
          </p:nvPr>
        </p:nvSpPr>
        <p:spPr/>
        <p:txBody>
          <a:bodyPr/>
          <a:lstStyle/>
          <a:p>
            <a:r>
              <a:rPr lang="nl-NL" dirty="0"/>
              <a:t>Controle aanpak Belastingdienst (CAB) 	</a:t>
            </a:r>
          </a:p>
        </p:txBody>
      </p:sp>
    </p:spTree>
    <p:extLst>
      <p:ext uri="{BB962C8B-B14F-4D97-AF65-F5344CB8AC3E}">
        <p14:creationId xmlns:p14="http://schemas.microsoft.com/office/powerpoint/2010/main" val="4061238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956DC22D-CCCF-4374-87B0-00F3331A41F5}"/>
              </a:ext>
            </a:extLst>
          </p:cNvPr>
          <p:cNvSpPr>
            <a:spLocks noGrp="1"/>
          </p:cNvSpPr>
          <p:nvPr>
            <p:ph type="title"/>
          </p:nvPr>
        </p:nvSpPr>
        <p:spPr/>
        <p:txBody>
          <a:bodyPr/>
          <a:lstStyle/>
          <a:p>
            <a:r>
              <a:rPr lang="nl-NL" dirty="0"/>
              <a:t>Hoge Raad 5 oktober 2018</a:t>
            </a:r>
          </a:p>
        </p:txBody>
      </p:sp>
      <p:sp>
        <p:nvSpPr>
          <p:cNvPr id="3" name="Tijdelijke aanduiding voor verticale tekst 2">
            <a:extLst>
              <a:ext uri="{FF2B5EF4-FFF2-40B4-BE49-F238E27FC236}">
                <a16:creationId xmlns:a16="http://schemas.microsoft.com/office/drawing/2014/main" id="{F153E80D-F4C5-4BD2-B82A-96DB68289842}"/>
              </a:ext>
            </a:extLst>
          </p:cNvPr>
          <p:cNvSpPr>
            <a:spLocks noGrp="1"/>
          </p:cNvSpPr>
          <p:nvPr>
            <p:ph idx="1"/>
          </p:nvPr>
        </p:nvSpPr>
        <p:spPr/>
        <p:txBody>
          <a:bodyPr/>
          <a:lstStyle/>
          <a:p>
            <a:pPr marL="171450" indent="-171450">
              <a:buFont typeface="Arial" panose="020B0604020202020204" pitchFamily="34" charset="0"/>
              <a:buChar char="•"/>
            </a:pPr>
            <a:r>
              <a:rPr lang="nl-NL" dirty="0">
                <a:solidFill>
                  <a:schemeClr val="tx1"/>
                </a:solidFill>
              </a:rPr>
              <a:t>Verkoper heeft met koper afgesproken mee te werken aan de sloop van het te leveren onroerende goed</a:t>
            </a:r>
          </a:p>
          <a:p>
            <a:pPr marL="171450" indent="-171450">
              <a:buFont typeface="Arial" panose="020B0604020202020204" pitchFamily="34" charset="0"/>
              <a:buChar char="•"/>
            </a:pPr>
            <a:r>
              <a:rPr lang="nl-NL" dirty="0">
                <a:solidFill>
                  <a:schemeClr val="tx1"/>
                </a:solidFill>
              </a:rPr>
              <a:t>Ten tijde van de levering was het oude gebouw gesloopt, op een deel van de voorgeven na, en was er al een nieuwe fundering gelegd.</a:t>
            </a:r>
          </a:p>
          <a:p>
            <a:endParaRPr lang="nl-NL" dirty="0">
              <a:solidFill>
                <a:schemeClr val="tx1"/>
              </a:solidFill>
            </a:endParaRPr>
          </a:p>
          <a:p>
            <a:r>
              <a:rPr lang="nl-NL" dirty="0">
                <a:solidFill>
                  <a:schemeClr val="tx1"/>
                </a:solidFill>
              </a:rPr>
              <a:t>Oordeel Hoge Raad:</a:t>
            </a:r>
          </a:p>
          <a:p>
            <a:pPr marL="285750" indent="-285750">
              <a:buFont typeface="Arial" panose="020B0604020202020204" pitchFamily="34" charset="0"/>
              <a:buChar char="•"/>
            </a:pPr>
            <a:r>
              <a:rPr lang="nl-NL" b="1" dirty="0">
                <a:solidFill>
                  <a:schemeClr val="tx1"/>
                </a:solidFill>
              </a:rPr>
              <a:t>Indien</a:t>
            </a:r>
            <a:r>
              <a:rPr lang="nl-NL" dirty="0">
                <a:solidFill>
                  <a:schemeClr val="tx1"/>
                </a:solidFill>
              </a:rPr>
              <a:t> sloop en verbouwingswerkzaamheden behoren tot de voor de verkoper jegens koper overeengekomen prestatie – </a:t>
            </a:r>
            <a:r>
              <a:rPr lang="nl-NL" dirty="0">
                <a:solidFill>
                  <a:srgbClr val="FF0000"/>
                </a:solidFill>
              </a:rPr>
              <a:t>nog nader onderzoeken</a:t>
            </a:r>
          </a:p>
          <a:p>
            <a:pPr marL="285750" indent="-285750">
              <a:buFont typeface="Arial" panose="020B0604020202020204" pitchFamily="34" charset="0"/>
              <a:buChar char="•"/>
            </a:pPr>
            <a:r>
              <a:rPr lang="nl-NL" dirty="0">
                <a:solidFill>
                  <a:schemeClr val="tx1"/>
                </a:solidFill>
              </a:rPr>
              <a:t>Oude bedrijfspand dusdanig gesloopt dat deze op geen enkele wijze als bedrijfspand kon worden gebruikt en geen functie van gebouw meer kon vervullen</a:t>
            </a:r>
          </a:p>
          <a:p>
            <a:pPr marL="285750" indent="-285750">
              <a:buFont typeface="Arial" panose="020B0604020202020204" pitchFamily="34" charset="0"/>
              <a:buChar char="•"/>
            </a:pPr>
            <a:r>
              <a:rPr lang="nl-NL" dirty="0">
                <a:solidFill>
                  <a:schemeClr val="tx1"/>
                </a:solidFill>
              </a:rPr>
              <a:t>Geleverde grond kon uitsluitend dienen als basis voor een (nieuw) te vervaardigen onroerende zaak</a:t>
            </a:r>
          </a:p>
          <a:p>
            <a:pPr marL="285750" indent="-285750">
              <a:buFont typeface="Arial" panose="020B0604020202020204" pitchFamily="34" charset="0"/>
              <a:buChar char="•"/>
            </a:pPr>
            <a:r>
              <a:rPr lang="nl-NL" dirty="0">
                <a:solidFill>
                  <a:schemeClr val="tx1"/>
                </a:solidFill>
              </a:rPr>
              <a:t>Concreet zegt HR: geen vrijstelling, want geen oud gebouw</a:t>
            </a:r>
          </a:p>
        </p:txBody>
      </p:sp>
    </p:spTree>
    <p:extLst>
      <p:ext uri="{BB962C8B-B14F-4D97-AF65-F5344CB8AC3E}">
        <p14:creationId xmlns:p14="http://schemas.microsoft.com/office/powerpoint/2010/main" val="341285414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3DD126A5-3450-4F87-AD93-90A3BCD41966}"/>
              </a:ext>
            </a:extLst>
          </p:cNvPr>
          <p:cNvSpPr>
            <a:spLocks noGrp="1"/>
          </p:cNvSpPr>
          <p:nvPr>
            <p:ph type="body" orient="vert" idx="1"/>
          </p:nvPr>
        </p:nvSpPr>
        <p:spPr/>
        <p:txBody>
          <a:bodyPr/>
          <a:lstStyle/>
          <a:p>
            <a:r>
              <a:rPr lang="nl-NL" dirty="0"/>
              <a:t>Volgens het Hof blijkt uit de aanvulling op de koopovereenkomst en uit de omstandigheid dat de tot op het tijdstip van eigendomsoverdracht verrichte sloop- en verbouwingswerkzaamheden daadwerkelijk voor rekening en risico van belanghebbende zijn gekomen, dat de door verkoper verrichte levering van de onroerende zaak het oude bedrijfspand tot voorwerp heeft. De omstandigheid dat verkoper en belanghebbende meenden dat op het tijdstip waarop de macht om als eigenaar over de onroerende zaak te beschikken een nieuw vervaardigde onroerende zaak was ontstaan, is niet doorslaggevend.</a:t>
            </a:r>
          </a:p>
          <a:p>
            <a:endParaRPr lang="nl-NL" dirty="0">
              <a:latin typeface="Volgens het Hof blijkt uit de aanvulling op de koopovereenkomst en uit de omstandigheid dat de tot op het tijdstip van eigendomsoverdracht verrichte sloop- en verbouwingswerkzaamheden daadwerkelijk voor rekening en risico van belanghebbende zijn gekomen, "/>
            </a:endParaRPr>
          </a:p>
          <a:p>
            <a:r>
              <a:rPr lang="nl-NL" dirty="0"/>
              <a:t>Don Bosco leer pur sang! </a:t>
            </a:r>
          </a:p>
          <a:p>
            <a:endParaRPr lang="nl-NL" dirty="0"/>
          </a:p>
          <a:p>
            <a:endParaRPr lang="nl-NL" dirty="0"/>
          </a:p>
        </p:txBody>
      </p:sp>
      <p:sp>
        <p:nvSpPr>
          <p:cNvPr id="3" name="Titel 2">
            <a:extLst>
              <a:ext uri="{FF2B5EF4-FFF2-40B4-BE49-F238E27FC236}">
                <a16:creationId xmlns:a16="http://schemas.microsoft.com/office/drawing/2014/main" id="{99FA59EA-E1CD-451A-B329-76DA84EC4CEF}"/>
              </a:ext>
            </a:extLst>
          </p:cNvPr>
          <p:cNvSpPr>
            <a:spLocks noGrp="1"/>
          </p:cNvSpPr>
          <p:nvPr>
            <p:ph type="title"/>
          </p:nvPr>
        </p:nvSpPr>
        <p:spPr/>
        <p:txBody>
          <a:bodyPr/>
          <a:lstStyle/>
          <a:p>
            <a:r>
              <a:rPr lang="nl-NL" dirty="0"/>
              <a:t>Hof Den Bosch d.d. 19-09-2019, </a:t>
            </a:r>
            <a:r>
              <a:rPr lang="nl-NL" dirty="0" err="1"/>
              <a:t>nmr</a:t>
            </a:r>
            <a:r>
              <a:rPr lang="nl-NL" dirty="0"/>
              <a:t>. 18/00574</a:t>
            </a:r>
          </a:p>
        </p:txBody>
      </p:sp>
    </p:spTree>
    <p:extLst>
      <p:ext uri="{BB962C8B-B14F-4D97-AF65-F5344CB8AC3E}">
        <p14:creationId xmlns:p14="http://schemas.microsoft.com/office/powerpoint/2010/main" val="1806560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E6924D80-0711-45D2-BC3F-CA861591A7B8}"/>
              </a:ext>
            </a:extLst>
          </p:cNvPr>
          <p:cNvSpPr>
            <a:spLocks noGrp="1"/>
          </p:cNvSpPr>
          <p:nvPr>
            <p:ph type="body" orient="vert" idx="1"/>
          </p:nvPr>
        </p:nvSpPr>
        <p:spPr/>
        <p:txBody>
          <a:bodyPr/>
          <a:lstStyle/>
          <a:p>
            <a:endParaRPr lang="nl-NL" dirty="0"/>
          </a:p>
        </p:txBody>
      </p:sp>
      <p:sp>
        <p:nvSpPr>
          <p:cNvPr id="3" name="Titel 2">
            <a:extLst>
              <a:ext uri="{FF2B5EF4-FFF2-40B4-BE49-F238E27FC236}">
                <a16:creationId xmlns:a16="http://schemas.microsoft.com/office/drawing/2014/main" id="{3169C674-616C-41AB-8B12-351ED1F07AA3}"/>
              </a:ext>
            </a:extLst>
          </p:cNvPr>
          <p:cNvSpPr>
            <a:spLocks noGrp="1"/>
          </p:cNvSpPr>
          <p:nvPr>
            <p:ph type="title"/>
          </p:nvPr>
        </p:nvSpPr>
        <p:spPr/>
        <p:txBody>
          <a:bodyPr/>
          <a:lstStyle/>
          <a:p>
            <a:r>
              <a:rPr lang="nl-NL" dirty="0"/>
              <a:t>Renovatie –transformatie </a:t>
            </a:r>
          </a:p>
        </p:txBody>
      </p:sp>
      <p:pic>
        <p:nvPicPr>
          <p:cNvPr id="5" name="Afbeelding 4" descr="Afbeelding met circuit&#10;&#10;Automatisch gegenereerde beschrijving">
            <a:extLst>
              <a:ext uri="{FF2B5EF4-FFF2-40B4-BE49-F238E27FC236}">
                <a16:creationId xmlns:a16="http://schemas.microsoft.com/office/drawing/2014/main" id="{DD14CD4F-2FA9-4844-91A5-4B54D07AEA4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4109" y="1772816"/>
            <a:ext cx="10691650" cy="3528391"/>
          </a:xfrm>
          <a:prstGeom prst="rect">
            <a:avLst/>
          </a:prstGeom>
        </p:spPr>
      </p:pic>
    </p:spTree>
    <p:extLst>
      <p:ext uri="{BB962C8B-B14F-4D97-AF65-F5344CB8AC3E}">
        <p14:creationId xmlns:p14="http://schemas.microsoft.com/office/powerpoint/2010/main" val="1357796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B2ABC841-4691-42FE-A285-6DE1B60D5FE3}"/>
              </a:ext>
            </a:extLst>
          </p:cNvPr>
          <p:cNvSpPr>
            <a:spLocks noGrp="1"/>
          </p:cNvSpPr>
          <p:nvPr>
            <p:ph type="title"/>
          </p:nvPr>
        </p:nvSpPr>
        <p:spPr/>
        <p:txBody>
          <a:bodyPr/>
          <a:lstStyle/>
          <a:p>
            <a:r>
              <a:rPr lang="nl-NL" dirty="0"/>
              <a:t>Oud- nieuw : het spanningsveld</a:t>
            </a:r>
          </a:p>
        </p:txBody>
      </p:sp>
      <p:sp>
        <p:nvSpPr>
          <p:cNvPr id="2" name="Tijdelijke aanduiding voor verticale tekst 1">
            <a:extLst>
              <a:ext uri="{FF2B5EF4-FFF2-40B4-BE49-F238E27FC236}">
                <a16:creationId xmlns:a16="http://schemas.microsoft.com/office/drawing/2014/main" id="{85C61FB3-CFF5-4D55-B9D2-F38B4EB29401}"/>
              </a:ext>
            </a:extLst>
          </p:cNvPr>
          <p:cNvSpPr>
            <a:spLocks noGrp="1"/>
          </p:cNvSpPr>
          <p:nvPr>
            <p:ph idx="1"/>
          </p:nvPr>
        </p:nvSpPr>
        <p:spPr/>
        <p:txBody>
          <a:bodyPr/>
          <a:lstStyle/>
          <a:p>
            <a:pPr marL="214198" indent="-214198">
              <a:buFont typeface="Arial" panose="020B0604020202020204" pitchFamily="34" charset="0"/>
              <a:buChar char="•"/>
            </a:pPr>
            <a:r>
              <a:rPr lang="nl-NL" dirty="0">
                <a:solidFill>
                  <a:schemeClr val="tx1"/>
                </a:solidFill>
              </a:rPr>
              <a:t>Levering pand instap klaar: btw of overdrachtsbelasting?</a:t>
            </a:r>
          </a:p>
          <a:p>
            <a:pPr marL="416590" lvl="1" indent="-214198">
              <a:buFont typeface="Arial" panose="020B0604020202020204" pitchFamily="34" charset="0"/>
              <a:buChar char="•"/>
            </a:pPr>
            <a:r>
              <a:rPr lang="nl-NL" dirty="0">
                <a:solidFill>
                  <a:schemeClr val="tx1"/>
                </a:solidFill>
              </a:rPr>
              <a:t>Nieuw gebouw of oud gebouw?</a:t>
            </a:r>
          </a:p>
          <a:p>
            <a:pPr marL="618982" lvl="2" indent="-214198">
              <a:buFont typeface="Arial" panose="020B0604020202020204" pitchFamily="34" charset="0"/>
              <a:buChar char="•"/>
            </a:pPr>
            <a:r>
              <a:rPr lang="nl-NL" dirty="0">
                <a:solidFill>
                  <a:schemeClr val="tx1"/>
                </a:solidFill>
              </a:rPr>
              <a:t>Speelt bij transformatie en ver(nieuw)bouw</a:t>
            </a:r>
          </a:p>
          <a:p>
            <a:pPr marL="618982" lvl="2" indent="-214198">
              <a:buFont typeface="Arial" panose="020B0604020202020204" pitchFamily="34" charset="0"/>
              <a:buChar char="•"/>
            </a:pPr>
            <a:r>
              <a:rPr lang="nl-NL" dirty="0">
                <a:solidFill>
                  <a:schemeClr val="tx1"/>
                </a:solidFill>
              </a:rPr>
              <a:t>Hoge Raad: voortbrengen van een goed dat tevoren niet bestond </a:t>
            </a:r>
            <a:r>
              <a:rPr lang="nl-NL" dirty="0">
                <a:solidFill>
                  <a:schemeClr val="tx1"/>
                </a:solidFill>
                <a:sym typeface="Wingdings" panose="05000000000000000000" pitchFamily="2" charset="2"/>
              </a:rPr>
              <a:t> in wezen nieuwbouw plaatsgevonden:</a:t>
            </a:r>
          </a:p>
          <a:p>
            <a:pPr marL="618982" lvl="2" indent="-214198">
              <a:buFont typeface="Arial" panose="020B0604020202020204" pitchFamily="34" charset="0"/>
              <a:buChar char="•"/>
            </a:pPr>
            <a:endParaRPr lang="nl-NL" dirty="0">
              <a:solidFill>
                <a:schemeClr val="tx1"/>
              </a:solidFill>
            </a:endParaRPr>
          </a:p>
          <a:p>
            <a:pPr marL="819903" lvl="3" indent="-214198">
              <a:buFont typeface="Arial" panose="020B0604020202020204" pitchFamily="34" charset="0"/>
              <a:buChar char="•"/>
            </a:pPr>
            <a:r>
              <a:rPr lang="nl-NL" dirty="0">
                <a:solidFill>
                  <a:schemeClr val="tx1"/>
                </a:solidFill>
              </a:rPr>
              <a:t>Slechts constructie gebouw behouden of meer?</a:t>
            </a:r>
          </a:p>
          <a:p>
            <a:pPr marL="819903" lvl="3" indent="-214198">
              <a:buFont typeface="Arial" panose="020B0604020202020204" pitchFamily="34" charset="0"/>
              <a:buChar char="•"/>
            </a:pPr>
            <a:r>
              <a:rPr lang="nl-NL" dirty="0">
                <a:solidFill>
                  <a:schemeClr val="tx1"/>
                </a:solidFill>
              </a:rPr>
              <a:t>Verhouding investeringen ten opzichte van oorspronkelijke waarde</a:t>
            </a:r>
          </a:p>
          <a:p>
            <a:pPr marL="819903" lvl="3" indent="-214198">
              <a:buFont typeface="Arial" panose="020B0604020202020204" pitchFamily="34" charset="0"/>
              <a:buChar char="•"/>
            </a:pPr>
            <a:r>
              <a:rPr lang="nl-NL" dirty="0">
                <a:solidFill>
                  <a:schemeClr val="tx1"/>
                </a:solidFill>
              </a:rPr>
              <a:t>Functie – en/of bestemmingswijziging</a:t>
            </a:r>
          </a:p>
          <a:p>
            <a:pPr lvl="3" indent="0">
              <a:buNone/>
            </a:pPr>
            <a:endParaRPr lang="nl-NL" dirty="0">
              <a:solidFill>
                <a:schemeClr val="tx1"/>
              </a:solidFill>
            </a:endParaRPr>
          </a:p>
          <a:p>
            <a:pPr marL="618982" lvl="2" indent="-214198">
              <a:buFont typeface="Arial" panose="020B0604020202020204" pitchFamily="34" charset="0"/>
              <a:buChar char="•"/>
            </a:pPr>
            <a:r>
              <a:rPr lang="nl-NL" dirty="0" err="1">
                <a:solidFill>
                  <a:schemeClr val="tx1"/>
                </a:solidFill>
              </a:rPr>
              <a:t>HvJ</a:t>
            </a:r>
            <a:r>
              <a:rPr lang="nl-NL" dirty="0">
                <a:solidFill>
                  <a:schemeClr val="tx1"/>
                </a:solidFill>
              </a:rPr>
              <a:t> EU (</a:t>
            </a:r>
            <a:r>
              <a:rPr lang="nl-NL" dirty="0" err="1">
                <a:solidFill>
                  <a:schemeClr val="tx1"/>
                </a:solidFill>
              </a:rPr>
              <a:t>Kozuba</a:t>
            </a:r>
            <a:r>
              <a:rPr lang="nl-NL" dirty="0">
                <a:solidFill>
                  <a:schemeClr val="tx1"/>
                </a:solidFill>
              </a:rPr>
              <a:t>): Vervaardiging </a:t>
            </a:r>
            <a:r>
              <a:rPr lang="nl-NL" dirty="0">
                <a:solidFill>
                  <a:schemeClr val="tx1"/>
                </a:solidFill>
                <a:sym typeface="Wingdings" panose="05000000000000000000" pitchFamily="2" charset="2"/>
              </a:rPr>
              <a:t></a:t>
            </a:r>
            <a:r>
              <a:rPr lang="nl-NL" dirty="0">
                <a:solidFill>
                  <a:schemeClr val="tx1"/>
                </a:solidFill>
              </a:rPr>
              <a:t> wanneer het onroerend goed dermate ingrijpend wordt verbouwd, dat het op één lijn kan worden gesteld met een nieuw gebouw.</a:t>
            </a:r>
          </a:p>
          <a:p>
            <a:pPr marL="819903" lvl="3" indent="-214198">
              <a:buFont typeface="Arial" panose="020B0604020202020204" pitchFamily="34" charset="0"/>
              <a:buChar char="•"/>
            </a:pPr>
            <a:r>
              <a:rPr lang="nl-NL" dirty="0">
                <a:solidFill>
                  <a:schemeClr val="tx1"/>
                </a:solidFill>
              </a:rPr>
              <a:t>Dat het betrokken gebouw veranderingen van betekenis heeft ondergaan die zijn bedoeld om het gebruik ervan te wijzigen of om de omstandigheden waaronder het wordt betrokken, ingrijpend aan te passen.</a:t>
            </a:r>
          </a:p>
          <a:p>
            <a:pPr marL="819903" lvl="3" indent="-214198">
              <a:buFont typeface="Arial" panose="020B0604020202020204" pitchFamily="34" charset="0"/>
              <a:buChar char="•"/>
            </a:pPr>
            <a:endParaRPr lang="nl-NL" dirty="0"/>
          </a:p>
          <a:p>
            <a:pPr marL="618982" lvl="2" indent="-214198">
              <a:buFont typeface="Arial" panose="020B0604020202020204" pitchFamily="34" charset="0"/>
              <a:buChar char="•"/>
            </a:pPr>
            <a:endParaRPr lang="nl-NL" dirty="0"/>
          </a:p>
          <a:p>
            <a:pPr marL="618982" lvl="2" indent="-214198">
              <a:buFont typeface="Arial" panose="020B0604020202020204" pitchFamily="34" charset="0"/>
              <a:buChar char="•"/>
            </a:pPr>
            <a:endParaRPr lang="nl-NL" dirty="0"/>
          </a:p>
        </p:txBody>
      </p:sp>
      <p:pic>
        <p:nvPicPr>
          <p:cNvPr id="5" name="Afbeelding 4">
            <a:extLst>
              <a:ext uri="{FF2B5EF4-FFF2-40B4-BE49-F238E27FC236}">
                <a16:creationId xmlns:a16="http://schemas.microsoft.com/office/drawing/2014/main" id="{E90AAB4F-8104-46CD-9012-26CD954576B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60466" y="471601"/>
            <a:ext cx="3012238" cy="1229273"/>
          </a:xfrm>
          <a:prstGeom prst="rect">
            <a:avLst/>
          </a:prstGeom>
        </p:spPr>
      </p:pic>
    </p:spTree>
    <p:extLst>
      <p:ext uri="{BB962C8B-B14F-4D97-AF65-F5344CB8AC3E}">
        <p14:creationId xmlns:p14="http://schemas.microsoft.com/office/powerpoint/2010/main" val="289104406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CB3F1311-C1CE-4893-99E3-FBA5D45645F8}"/>
              </a:ext>
            </a:extLst>
          </p:cNvPr>
          <p:cNvSpPr>
            <a:spLocks noGrp="1"/>
          </p:cNvSpPr>
          <p:nvPr>
            <p:ph type="body" orient="vert" idx="1"/>
          </p:nvPr>
        </p:nvSpPr>
        <p:spPr/>
        <p:txBody>
          <a:bodyPr/>
          <a:lstStyle/>
          <a:p>
            <a:r>
              <a:rPr lang="nl-NL" dirty="0"/>
              <a:t>Hoge Raad d.d. 29-11-2019 </a:t>
            </a:r>
            <a:r>
              <a:rPr lang="nl-NL" dirty="0" err="1"/>
              <a:t>nmr</a:t>
            </a:r>
            <a:r>
              <a:rPr lang="nl-NL" dirty="0"/>
              <a:t>. 18/04593 </a:t>
            </a:r>
          </a:p>
          <a:p>
            <a:endParaRPr lang="nl-NL" dirty="0"/>
          </a:p>
          <a:p>
            <a:pPr marL="285750" indent="-285750">
              <a:buFontTx/>
              <a:buChar char="-"/>
            </a:pPr>
            <a:r>
              <a:rPr lang="nl-NL" dirty="0"/>
              <a:t>Naar aard bestemd is voor bewoning, indien meer dan beperkte aanpassingen nog zijn om pand weer in oorspronkelijke staat terug te </a:t>
            </a:r>
            <a:r>
              <a:rPr lang="nl-NL" dirty="0" err="1"/>
              <a:t>bregen</a:t>
            </a:r>
            <a:endParaRPr lang="nl-NL" dirty="0"/>
          </a:p>
          <a:p>
            <a:pPr marL="285750" indent="-285750">
              <a:buFontTx/>
              <a:buChar char="-"/>
            </a:pPr>
            <a:r>
              <a:rPr lang="nl-NL" dirty="0"/>
              <a:t>Uit verrichte werkzaamheden blijkt dat er sprake is van bouwkundige voorbereiding op bewoning</a:t>
            </a:r>
          </a:p>
          <a:p>
            <a:pPr marL="285750" indent="-285750">
              <a:buFontTx/>
              <a:buChar char="-"/>
            </a:pPr>
            <a:r>
              <a:rPr lang="nl-NL" dirty="0"/>
              <a:t>Het overgedragen appartementsrecht strekt tot bewoning</a:t>
            </a:r>
          </a:p>
          <a:p>
            <a:pPr marL="285750" indent="-285750">
              <a:buFontTx/>
              <a:buChar char="-"/>
            </a:pPr>
            <a:r>
              <a:rPr lang="nl-NL" dirty="0"/>
              <a:t>Publieke rechtelijke voorschriften zijn aangepast om bewoning mogelijk te maken</a:t>
            </a:r>
          </a:p>
          <a:p>
            <a:pPr marL="285750" indent="-285750">
              <a:buFontTx/>
              <a:buChar char="-"/>
            </a:pPr>
            <a:endParaRPr lang="nl-NL" dirty="0"/>
          </a:p>
          <a:p>
            <a:r>
              <a:rPr lang="nl-NL" dirty="0"/>
              <a:t>Hoge raad vergelijkt met stuk grond met een woning in aanbouw, dan is ook 2% tarief van toepassing. </a:t>
            </a:r>
          </a:p>
        </p:txBody>
      </p:sp>
      <p:sp>
        <p:nvSpPr>
          <p:cNvPr id="3" name="Titel 2">
            <a:extLst>
              <a:ext uri="{FF2B5EF4-FFF2-40B4-BE49-F238E27FC236}">
                <a16:creationId xmlns:a16="http://schemas.microsoft.com/office/drawing/2014/main" id="{A0B0F793-1B0A-462D-B01D-DAEF16F22BC9}"/>
              </a:ext>
            </a:extLst>
          </p:cNvPr>
          <p:cNvSpPr>
            <a:spLocks noGrp="1"/>
          </p:cNvSpPr>
          <p:nvPr>
            <p:ph type="title"/>
          </p:nvPr>
        </p:nvSpPr>
        <p:spPr/>
        <p:txBody>
          <a:bodyPr/>
          <a:lstStyle/>
          <a:p>
            <a:r>
              <a:rPr lang="nl-NL" dirty="0"/>
              <a:t>2% versus 6% overdrachtsbelasting </a:t>
            </a:r>
          </a:p>
        </p:txBody>
      </p:sp>
    </p:spTree>
    <p:extLst>
      <p:ext uri="{BB962C8B-B14F-4D97-AF65-F5344CB8AC3E}">
        <p14:creationId xmlns:p14="http://schemas.microsoft.com/office/powerpoint/2010/main" val="1602416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nl-NL" dirty="0"/>
              <a:t>Nieuwbouw in één hand</a:t>
            </a:r>
            <a:br>
              <a:rPr lang="nl-NL" dirty="0"/>
            </a:br>
            <a:endParaRPr lang="nl-NL" dirty="0"/>
          </a:p>
        </p:txBody>
      </p:sp>
      <p:sp>
        <p:nvSpPr>
          <p:cNvPr id="8" name="Tijdelijke aanduiding voor inhoud 7"/>
          <p:cNvSpPr>
            <a:spLocks noGrp="1"/>
          </p:cNvSpPr>
          <p:nvPr>
            <p:ph idx="1"/>
          </p:nvPr>
        </p:nvSpPr>
        <p:spPr>
          <a:xfrm>
            <a:off x="1772885" y="1474439"/>
            <a:ext cx="8569325" cy="3813175"/>
          </a:xfrm>
        </p:spPr>
        <p:txBody>
          <a:bodyPr/>
          <a:lstStyle/>
          <a:p>
            <a:pPr marL="622300" lvl="1" indent="-285750">
              <a:buFont typeface="Courier New" panose="02070309020205020404" pitchFamily="49" charset="0"/>
              <a:buChar char="o"/>
            </a:pPr>
            <a:endParaRPr lang="nl-NL" dirty="0"/>
          </a:p>
          <a:p>
            <a:pPr marL="622300" lvl="1" indent="-285750">
              <a:buFont typeface="Courier New" panose="02070309020205020404" pitchFamily="49" charset="0"/>
              <a:buChar char="o"/>
            </a:pPr>
            <a:endParaRPr lang="nl-NL" dirty="0"/>
          </a:p>
          <a:p>
            <a:pPr marL="285750" indent="-285750">
              <a:buFontTx/>
              <a:buChar char="-"/>
            </a:pPr>
            <a:endParaRPr lang="nl-NL" dirty="0"/>
          </a:p>
        </p:txBody>
      </p:sp>
      <p:sp>
        <p:nvSpPr>
          <p:cNvPr id="10" name="Rechthoek 9"/>
          <p:cNvSpPr/>
          <p:nvPr/>
        </p:nvSpPr>
        <p:spPr bwMode="auto">
          <a:xfrm>
            <a:off x="3927475" y="2319339"/>
            <a:ext cx="1100138" cy="2790825"/>
          </a:xfrm>
          <a:prstGeom prst="rect">
            <a:avLst/>
          </a:prstGeom>
          <a:solidFill>
            <a:schemeClr val="bg1">
              <a:lumMod val="85000"/>
            </a:schemeClr>
          </a:solidFill>
          <a:ln w="25400" cap="flat" cmpd="sng" algn="ctr">
            <a:solidFill>
              <a:srgbClr val="9D8D85"/>
            </a:solidFill>
            <a:prstDash val="solid"/>
            <a:round/>
            <a:headEnd type="none" w="med" len="med"/>
            <a:tailEnd type="triangle" w="lg" len="med"/>
          </a:ln>
          <a:effectLst/>
        </p:spPr>
        <p:txBody>
          <a:bodyPr lIns="0" tIns="0" rIns="0" bIns="0" anchor="ctr"/>
          <a:lstStyle/>
          <a:p>
            <a:pPr algn="ctr">
              <a:defRPr/>
            </a:pPr>
            <a:endParaRPr lang="nl-NL" dirty="0"/>
          </a:p>
        </p:txBody>
      </p:sp>
      <p:sp>
        <p:nvSpPr>
          <p:cNvPr id="13" name="Rechthoek 12"/>
          <p:cNvSpPr/>
          <p:nvPr/>
        </p:nvSpPr>
        <p:spPr>
          <a:xfrm>
            <a:off x="6675439" y="5516563"/>
            <a:ext cx="3500437" cy="571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nl-NL" dirty="0"/>
              <a:t>Don Bosco – leer </a:t>
            </a:r>
          </a:p>
        </p:txBody>
      </p:sp>
      <p:sp>
        <p:nvSpPr>
          <p:cNvPr id="14" name="Vijfhoek 13"/>
          <p:cNvSpPr/>
          <p:nvPr/>
        </p:nvSpPr>
        <p:spPr>
          <a:xfrm rot="16200000">
            <a:off x="2241550" y="3714750"/>
            <a:ext cx="642938" cy="642938"/>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dirty="0"/>
          </a:p>
        </p:txBody>
      </p:sp>
      <p:cxnSp>
        <p:nvCxnSpPr>
          <p:cNvPr id="15" name="Rechte verbindingslijn met pijl 14"/>
          <p:cNvCxnSpPr/>
          <p:nvPr/>
        </p:nvCxnSpPr>
        <p:spPr>
          <a:xfrm>
            <a:off x="2384425" y="3500439"/>
            <a:ext cx="1543050" cy="1587"/>
          </a:xfrm>
          <a:prstGeom prst="straightConnector1">
            <a:avLst/>
          </a:prstGeom>
          <a:ln w="28575">
            <a:tailEnd type="arrow"/>
          </a:ln>
        </p:spPr>
        <p:style>
          <a:lnRef idx="1">
            <a:schemeClr val="dk1"/>
          </a:lnRef>
          <a:fillRef idx="0">
            <a:schemeClr val="dk1"/>
          </a:fillRef>
          <a:effectRef idx="0">
            <a:schemeClr val="dk1"/>
          </a:effectRef>
          <a:fontRef idx="minor">
            <a:schemeClr val="tx1"/>
          </a:fontRef>
        </p:style>
      </p:cxnSp>
      <p:sp>
        <p:nvSpPr>
          <p:cNvPr id="16" name="Tekstvak 15"/>
          <p:cNvSpPr txBox="1"/>
          <p:nvPr/>
        </p:nvSpPr>
        <p:spPr>
          <a:xfrm>
            <a:off x="2170113" y="4429125"/>
            <a:ext cx="857250" cy="254000"/>
          </a:xfrm>
          <a:prstGeom prst="rect">
            <a:avLst/>
          </a:prstGeom>
          <a:noFill/>
        </p:spPr>
        <p:txBody>
          <a:bodyPr>
            <a:spAutoFit/>
          </a:bodyPr>
          <a:lstStyle/>
          <a:p>
            <a:pPr>
              <a:defRPr/>
            </a:pPr>
            <a:r>
              <a:rPr lang="en-US" sz="1050" dirty="0">
                <a:latin typeface="Arial" charset="0"/>
              </a:rPr>
              <a:t>Oud pand</a:t>
            </a:r>
            <a:endParaRPr lang="nl-NL" sz="1050" dirty="0">
              <a:latin typeface="Arial" charset="0"/>
            </a:endParaRPr>
          </a:p>
        </p:txBody>
      </p:sp>
      <p:cxnSp>
        <p:nvCxnSpPr>
          <p:cNvPr id="17" name="Rechte verbindingslijn 16"/>
          <p:cNvCxnSpPr/>
          <p:nvPr/>
        </p:nvCxnSpPr>
        <p:spPr>
          <a:xfrm rot="5400000">
            <a:off x="2242345" y="3571083"/>
            <a:ext cx="1571625" cy="1587"/>
          </a:xfrm>
          <a:prstGeom prst="line">
            <a:avLst/>
          </a:prstGeom>
          <a:ln>
            <a:prstDash val="sysDash"/>
          </a:ln>
        </p:spPr>
        <p:style>
          <a:lnRef idx="1">
            <a:schemeClr val="dk1"/>
          </a:lnRef>
          <a:fillRef idx="0">
            <a:schemeClr val="dk1"/>
          </a:fillRef>
          <a:effectRef idx="0">
            <a:schemeClr val="dk1"/>
          </a:effectRef>
          <a:fontRef idx="minor">
            <a:schemeClr val="tx1"/>
          </a:fontRef>
        </p:style>
      </p:cxnSp>
      <p:sp>
        <p:nvSpPr>
          <p:cNvPr id="18" name="Vrije vorm 17"/>
          <p:cNvSpPr/>
          <p:nvPr/>
        </p:nvSpPr>
        <p:spPr>
          <a:xfrm>
            <a:off x="3170239" y="3894138"/>
            <a:ext cx="593725" cy="482600"/>
          </a:xfrm>
          <a:custGeom>
            <a:avLst/>
            <a:gdLst>
              <a:gd name="connsiteX0" fmla="*/ 43873 w 575110"/>
              <a:gd name="connsiteY0" fmla="*/ 375293 h 405051"/>
              <a:gd name="connsiteX1" fmla="*/ 57728 w 575110"/>
              <a:gd name="connsiteY1" fmla="*/ 333730 h 405051"/>
              <a:gd name="connsiteX2" fmla="*/ 85437 w 575110"/>
              <a:gd name="connsiteY2" fmla="*/ 70493 h 405051"/>
              <a:gd name="connsiteX3" fmla="*/ 127000 w 575110"/>
              <a:gd name="connsiteY3" fmla="*/ 56639 h 405051"/>
              <a:gd name="connsiteX4" fmla="*/ 362528 w 575110"/>
              <a:gd name="connsiteY4" fmla="*/ 42784 h 405051"/>
              <a:gd name="connsiteX5" fmla="*/ 390237 w 575110"/>
              <a:gd name="connsiteY5" fmla="*/ 84348 h 405051"/>
              <a:gd name="connsiteX6" fmla="*/ 376382 w 575110"/>
              <a:gd name="connsiteY6" fmla="*/ 195184 h 405051"/>
              <a:gd name="connsiteX7" fmla="*/ 431800 w 575110"/>
              <a:gd name="connsiteY7" fmla="*/ 209039 h 405051"/>
              <a:gd name="connsiteX8" fmla="*/ 528782 w 575110"/>
              <a:gd name="connsiteY8" fmla="*/ 209039 h 405051"/>
              <a:gd name="connsiteX9" fmla="*/ 556491 w 575110"/>
              <a:gd name="connsiteY9" fmla="*/ 292166 h 405051"/>
              <a:gd name="connsiteX10" fmla="*/ 570346 w 575110"/>
              <a:gd name="connsiteY10" fmla="*/ 333730 h 405051"/>
              <a:gd name="connsiteX11" fmla="*/ 556491 w 575110"/>
              <a:gd name="connsiteY11" fmla="*/ 389148 h 405051"/>
              <a:gd name="connsiteX12" fmla="*/ 320964 w 575110"/>
              <a:gd name="connsiteY12" fmla="*/ 361439 h 405051"/>
              <a:gd name="connsiteX13" fmla="*/ 43873 w 575110"/>
              <a:gd name="connsiteY13" fmla="*/ 375293 h 405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5110" h="405051">
                <a:moveTo>
                  <a:pt x="43873" y="375293"/>
                </a:moveTo>
                <a:cubicBezTo>
                  <a:pt x="0" y="370675"/>
                  <a:pt x="55755" y="348200"/>
                  <a:pt x="57728" y="333730"/>
                </a:cubicBezTo>
                <a:cubicBezTo>
                  <a:pt x="69649" y="246309"/>
                  <a:pt x="64038" y="156089"/>
                  <a:pt x="85437" y="70493"/>
                </a:cubicBezTo>
                <a:cubicBezTo>
                  <a:pt x="88979" y="56325"/>
                  <a:pt x="113146" y="61257"/>
                  <a:pt x="127000" y="56639"/>
                </a:cubicBezTo>
                <a:cubicBezTo>
                  <a:pt x="211959" y="0"/>
                  <a:pt x="192977" y="396"/>
                  <a:pt x="362528" y="42784"/>
                </a:cubicBezTo>
                <a:cubicBezTo>
                  <a:pt x="378682" y="46822"/>
                  <a:pt x="381001" y="70493"/>
                  <a:pt x="390237" y="84348"/>
                </a:cubicBezTo>
                <a:cubicBezTo>
                  <a:pt x="366503" y="119948"/>
                  <a:pt x="335168" y="145726"/>
                  <a:pt x="376382" y="195184"/>
                </a:cubicBezTo>
                <a:cubicBezTo>
                  <a:pt x="388572" y="209812"/>
                  <a:pt x="413327" y="204421"/>
                  <a:pt x="431800" y="209039"/>
                </a:cubicBezTo>
                <a:cubicBezTo>
                  <a:pt x="458813" y="200034"/>
                  <a:pt x="501720" y="177467"/>
                  <a:pt x="528782" y="209039"/>
                </a:cubicBezTo>
                <a:cubicBezTo>
                  <a:pt x="547790" y="231215"/>
                  <a:pt x="547255" y="264457"/>
                  <a:pt x="556491" y="292166"/>
                </a:cubicBezTo>
                <a:lnTo>
                  <a:pt x="570346" y="333730"/>
                </a:lnTo>
                <a:cubicBezTo>
                  <a:pt x="565728" y="352203"/>
                  <a:pt x="575110" y="385158"/>
                  <a:pt x="556491" y="389148"/>
                </a:cubicBezTo>
                <a:cubicBezTo>
                  <a:pt x="482275" y="405051"/>
                  <a:pt x="395308" y="380024"/>
                  <a:pt x="320964" y="361439"/>
                </a:cubicBezTo>
                <a:cubicBezTo>
                  <a:pt x="76217" y="375835"/>
                  <a:pt x="87746" y="379911"/>
                  <a:pt x="43873" y="375293"/>
                </a:cubicBezTo>
                <a:close/>
              </a:path>
            </a:pathLst>
          </a:cu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dirty="0"/>
          </a:p>
        </p:txBody>
      </p:sp>
      <p:sp>
        <p:nvSpPr>
          <p:cNvPr id="19" name="Tijdelijke aanduiding voor inhoud 12"/>
          <p:cNvSpPr txBox="1">
            <a:spLocks/>
          </p:cNvSpPr>
          <p:nvPr/>
        </p:nvSpPr>
        <p:spPr bwMode="auto">
          <a:xfrm>
            <a:off x="3098801" y="4429125"/>
            <a:ext cx="828675" cy="355600"/>
          </a:xfrm>
          <a:prstGeom prst="rect">
            <a:avLst/>
          </a:prstGeom>
          <a:noFill/>
          <a:ln w="9525">
            <a:noFill/>
            <a:miter lim="800000"/>
            <a:headEnd/>
            <a:tailEnd/>
          </a:ln>
        </p:spPr>
        <p:txBody>
          <a:bodyPr lIns="0" tIns="0" rIns="0" bIns="0">
            <a:spAutoFit/>
          </a:bodyPr>
          <a:lstStyle/>
          <a:p>
            <a:pPr marL="342900" indent="-342900">
              <a:spcBef>
                <a:spcPct val="20000"/>
              </a:spcBef>
              <a:defRPr/>
            </a:pPr>
            <a:r>
              <a:rPr lang="en-US" sz="1050" kern="0" dirty="0"/>
              <a:t>Sloop</a:t>
            </a:r>
          </a:p>
          <a:p>
            <a:pPr marL="342900" indent="-342900">
              <a:spcBef>
                <a:spcPct val="20000"/>
              </a:spcBef>
              <a:defRPr/>
            </a:pPr>
            <a:r>
              <a:rPr lang="en-US" sz="1050" kern="0" dirty="0"/>
              <a:t>(bebouwd)</a:t>
            </a:r>
            <a:endParaRPr lang="nl-NL" sz="1050" kern="0" dirty="0"/>
          </a:p>
        </p:txBody>
      </p:sp>
      <p:cxnSp>
        <p:nvCxnSpPr>
          <p:cNvPr id="20" name="Rechte verbindingslijn 19"/>
          <p:cNvCxnSpPr/>
          <p:nvPr/>
        </p:nvCxnSpPr>
        <p:spPr>
          <a:xfrm rot="5400000">
            <a:off x="3171032" y="3571082"/>
            <a:ext cx="1571625" cy="1588"/>
          </a:xfrm>
          <a:prstGeom prst="line">
            <a:avLst/>
          </a:prstGeom>
          <a:ln>
            <a:prstDash val="sysDash"/>
          </a:ln>
        </p:spPr>
        <p:style>
          <a:lnRef idx="1">
            <a:schemeClr val="dk1"/>
          </a:lnRef>
          <a:fillRef idx="0">
            <a:schemeClr val="dk1"/>
          </a:fillRef>
          <a:effectRef idx="0">
            <a:schemeClr val="dk1"/>
          </a:effectRef>
          <a:fontRef idx="minor">
            <a:schemeClr val="tx1"/>
          </a:fontRef>
        </p:style>
      </p:cxnSp>
      <p:cxnSp>
        <p:nvCxnSpPr>
          <p:cNvPr id="21" name="Rechte verbindingslijn 20"/>
          <p:cNvCxnSpPr/>
          <p:nvPr/>
        </p:nvCxnSpPr>
        <p:spPr>
          <a:xfrm rot="5400000">
            <a:off x="4171157" y="3571082"/>
            <a:ext cx="1571625" cy="1588"/>
          </a:xfrm>
          <a:prstGeom prst="line">
            <a:avLst/>
          </a:prstGeom>
          <a:ln>
            <a:prstDash val="sysDash"/>
          </a:ln>
        </p:spPr>
        <p:style>
          <a:lnRef idx="1">
            <a:schemeClr val="dk1"/>
          </a:lnRef>
          <a:fillRef idx="0">
            <a:schemeClr val="dk1"/>
          </a:fillRef>
          <a:effectRef idx="0">
            <a:schemeClr val="dk1"/>
          </a:effectRef>
          <a:fontRef idx="minor">
            <a:schemeClr val="tx1"/>
          </a:fontRef>
        </p:style>
      </p:cxnSp>
      <p:cxnSp>
        <p:nvCxnSpPr>
          <p:cNvPr id="22" name="Rechte verbindingslijn 21"/>
          <p:cNvCxnSpPr/>
          <p:nvPr/>
        </p:nvCxnSpPr>
        <p:spPr>
          <a:xfrm rot="5400000">
            <a:off x="7957345" y="3571083"/>
            <a:ext cx="1571625" cy="1587"/>
          </a:xfrm>
          <a:prstGeom prst="line">
            <a:avLst/>
          </a:prstGeom>
          <a:ln>
            <a:prstDash val="sysDash"/>
          </a:ln>
        </p:spPr>
        <p:style>
          <a:lnRef idx="1">
            <a:schemeClr val="dk1"/>
          </a:lnRef>
          <a:fillRef idx="0">
            <a:schemeClr val="dk1"/>
          </a:fillRef>
          <a:effectRef idx="0">
            <a:schemeClr val="dk1"/>
          </a:effectRef>
          <a:fontRef idx="minor">
            <a:schemeClr val="tx1"/>
          </a:fontRef>
        </p:style>
      </p:cxnSp>
      <p:cxnSp>
        <p:nvCxnSpPr>
          <p:cNvPr id="23" name="Rechte verbindingslijn 22"/>
          <p:cNvCxnSpPr/>
          <p:nvPr/>
        </p:nvCxnSpPr>
        <p:spPr>
          <a:xfrm rot="5400000">
            <a:off x="5242720" y="3571083"/>
            <a:ext cx="1571625" cy="1587"/>
          </a:xfrm>
          <a:prstGeom prst="line">
            <a:avLst/>
          </a:prstGeom>
          <a:ln>
            <a:prstDash val="sysDash"/>
          </a:ln>
        </p:spPr>
        <p:style>
          <a:lnRef idx="1">
            <a:schemeClr val="dk1"/>
          </a:lnRef>
          <a:fillRef idx="0">
            <a:schemeClr val="dk1"/>
          </a:fillRef>
          <a:effectRef idx="0">
            <a:schemeClr val="dk1"/>
          </a:effectRef>
          <a:fontRef idx="minor">
            <a:schemeClr val="tx1"/>
          </a:fontRef>
        </p:style>
      </p:cxnSp>
      <p:cxnSp>
        <p:nvCxnSpPr>
          <p:cNvPr id="24" name="Rechte verbindingslijn 23"/>
          <p:cNvCxnSpPr/>
          <p:nvPr/>
        </p:nvCxnSpPr>
        <p:spPr>
          <a:xfrm>
            <a:off x="4098925" y="4357689"/>
            <a:ext cx="571500" cy="1587"/>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5" name="Tijdelijke aanduiding voor inhoud 12"/>
          <p:cNvSpPr txBox="1">
            <a:spLocks/>
          </p:cNvSpPr>
          <p:nvPr/>
        </p:nvSpPr>
        <p:spPr bwMode="auto">
          <a:xfrm>
            <a:off x="7885113" y="4429125"/>
            <a:ext cx="857250" cy="254000"/>
          </a:xfrm>
          <a:prstGeom prst="rect">
            <a:avLst/>
          </a:prstGeom>
          <a:noFill/>
          <a:ln w="9525">
            <a:noFill/>
            <a:miter lim="800000"/>
            <a:headEnd/>
            <a:tailEnd/>
          </a:ln>
          <a:effectLst/>
        </p:spPr>
        <p:txBody>
          <a:bodyPr>
            <a:spAutoFit/>
          </a:bodyPr>
          <a:lstStyle/>
          <a:p>
            <a:pPr marL="342900" indent="-342900">
              <a:spcBef>
                <a:spcPct val="20000"/>
              </a:spcBef>
              <a:buClr>
                <a:srgbClr val="BC0408"/>
              </a:buClr>
              <a:defRPr/>
            </a:pPr>
            <a:r>
              <a:rPr lang="en-US" sz="1050" kern="0" dirty="0"/>
              <a:t>1e gebruik</a:t>
            </a:r>
            <a:endParaRPr lang="nl-NL" sz="1050" kern="0" dirty="0"/>
          </a:p>
        </p:txBody>
      </p:sp>
      <p:sp>
        <p:nvSpPr>
          <p:cNvPr id="26" name="Tijdelijke aanduiding voor inhoud 12"/>
          <p:cNvSpPr txBox="1">
            <a:spLocks/>
          </p:cNvSpPr>
          <p:nvPr/>
        </p:nvSpPr>
        <p:spPr bwMode="auto">
          <a:xfrm>
            <a:off x="7027864" y="4429125"/>
            <a:ext cx="928687" cy="254000"/>
          </a:xfrm>
          <a:prstGeom prst="rect">
            <a:avLst/>
          </a:prstGeom>
          <a:noFill/>
          <a:ln w="9525">
            <a:noFill/>
            <a:miter lim="800000"/>
            <a:headEnd/>
            <a:tailEnd/>
          </a:ln>
          <a:effectLst/>
        </p:spPr>
        <p:txBody>
          <a:bodyPr>
            <a:spAutoFit/>
          </a:bodyPr>
          <a:lstStyle/>
          <a:p>
            <a:pPr marL="342900" indent="-342900">
              <a:spcBef>
                <a:spcPct val="20000"/>
              </a:spcBef>
              <a:buClr>
                <a:srgbClr val="BC0408"/>
              </a:buClr>
              <a:defRPr/>
            </a:pPr>
            <a:r>
              <a:rPr lang="en-US" sz="1050" kern="0" dirty="0"/>
              <a:t>Nieuwbouw</a:t>
            </a:r>
            <a:endParaRPr lang="nl-NL" sz="1050" kern="0" dirty="0"/>
          </a:p>
        </p:txBody>
      </p:sp>
      <p:sp>
        <p:nvSpPr>
          <p:cNvPr id="27" name="Tijdelijke aanduiding voor inhoud 12"/>
          <p:cNvSpPr txBox="1">
            <a:spLocks/>
          </p:cNvSpPr>
          <p:nvPr/>
        </p:nvSpPr>
        <p:spPr bwMode="auto">
          <a:xfrm>
            <a:off x="6099175" y="4429126"/>
            <a:ext cx="928688" cy="447675"/>
          </a:xfrm>
          <a:prstGeom prst="rect">
            <a:avLst/>
          </a:prstGeom>
          <a:noFill/>
          <a:ln w="9525">
            <a:noFill/>
            <a:miter lim="800000"/>
            <a:headEnd/>
            <a:tailEnd/>
          </a:ln>
          <a:effectLst/>
        </p:spPr>
        <p:txBody>
          <a:bodyPr>
            <a:spAutoFit/>
          </a:bodyPr>
          <a:lstStyle/>
          <a:p>
            <a:pPr marL="342900" indent="-342900">
              <a:spcBef>
                <a:spcPct val="20000"/>
              </a:spcBef>
              <a:buClr>
                <a:srgbClr val="BC0408"/>
              </a:buClr>
              <a:defRPr/>
            </a:pPr>
            <a:r>
              <a:rPr lang="en-US" sz="1050" kern="0" dirty="0"/>
              <a:t>Start bouw</a:t>
            </a:r>
          </a:p>
          <a:p>
            <a:pPr marL="342900" indent="-342900">
              <a:spcBef>
                <a:spcPct val="20000"/>
              </a:spcBef>
              <a:buClr>
                <a:srgbClr val="BC0408"/>
              </a:buClr>
              <a:defRPr/>
            </a:pPr>
            <a:r>
              <a:rPr lang="en-US" sz="1050" kern="0" dirty="0"/>
              <a:t>(bebouwd)</a:t>
            </a:r>
            <a:endParaRPr lang="nl-NL" sz="1050" kern="0" dirty="0"/>
          </a:p>
        </p:txBody>
      </p:sp>
      <p:sp>
        <p:nvSpPr>
          <p:cNvPr id="28" name="Tijdelijke aanduiding voor inhoud 12"/>
          <p:cNvSpPr txBox="1">
            <a:spLocks/>
          </p:cNvSpPr>
          <p:nvPr/>
        </p:nvSpPr>
        <p:spPr bwMode="auto">
          <a:xfrm>
            <a:off x="4956176" y="4429126"/>
            <a:ext cx="1285875" cy="1223963"/>
          </a:xfrm>
          <a:prstGeom prst="rect">
            <a:avLst/>
          </a:prstGeom>
          <a:noFill/>
          <a:ln w="9525">
            <a:noFill/>
            <a:miter lim="800000"/>
            <a:headEnd/>
            <a:tailEnd/>
          </a:ln>
          <a:effectLst/>
        </p:spPr>
        <p:txBody>
          <a:bodyPr>
            <a:spAutoFit/>
          </a:bodyPr>
          <a:lstStyle/>
          <a:p>
            <a:pPr marL="342900" indent="-342900">
              <a:spcBef>
                <a:spcPct val="20000"/>
              </a:spcBef>
              <a:buClr>
                <a:srgbClr val="BC0408"/>
              </a:buClr>
              <a:defRPr/>
            </a:pPr>
            <a:r>
              <a:rPr lang="en-US" sz="1050" kern="0" dirty="0"/>
              <a:t>Onbebouwd</a:t>
            </a:r>
          </a:p>
          <a:p>
            <a:pPr marL="342900" indent="-342900">
              <a:spcBef>
                <a:spcPct val="20000"/>
              </a:spcBef>
              <a:buClr>
                <a:srgbClr val="BC0408"/>
              </a:buClr>
              <a:defRPr/>
            </a:pPr>
            <a:r>
              <a:rPr lang="en-US" sz="1050" u="sng" kern="0" dirty="0"/>
              <a:t>met</a:t>
            </a:r>
          </a:p>
          <a:p>
            <a:pPr marL="342900" indent="-342900">
              <a:spcBef>
                <a:spcPct val="20000"/>
              </a:spcBef>
              <a:buClr>
                <a:srgbClr val="BC0408"/>
              </a:buClr>
              <a:defRPr/>
            </a:pPr>
            <a:r>
              <a:rPr lang="en-US" sz="1050" kern="0" dirty="0"/>
              <a:t>Werkzaamheid,</a:t>
            </a:r>
          </a:p>
          <a:p>
            <a:pPr marL="342900" indent="-342900">
              <a:spcBef>
                <a:spcPct val="20000"/>
              </a:spcBef>
              <a:buClr>
                <a:srgbClr val="BC0408"/>
              </a:buClr>
              <a:defRPr/>
            </a:pPr>
            <a:r>
              <a:rPr lang="en-US" sz="1050" kern="0" dirty="0"/>
              <a:t>Voorziening,</a:t>
            </a:r>
          </a:p>
          <a:p>
            <a:pPr marL="342900" indent="-342900">
              <a:spcBef>
                <a:spcPct val="20000"/>
              </a:spcBef>
              <a:buClr>
                <a:srgbClr val="BC0408"/>
              </a:buClr>
              <a:defRPr/>
            </a:pPr>
            <a:r>
              <a:rPr lang="en-US" sz="1050" kern="0" dirty="0"/>
              <a:t>of</a:t>
            </a:r>
          </a:p>
          <a:p>
            <a:pPr marL="342900" indent="-342900">
              <a:spcBef>
                <a:spcPct val="20000"/>
              </a:spcBef>
              <a:buClr>
                <a:srgbClr val="BC0408"/>
              </a:buClr>
              <a:defRPr/>
            </a:pPr>
            <a:r>
              <a:rPr lang="en-US" sz="1050" kern="0" dirty="0"/>
              <a:t>Bouwvergunning</a:t>
            </a:r>
            <a:endParaRPr lang="nl-NL" sz="1050" kern="0" dirty="0"/>
          </a:p>
        </p:txBody>
      </p:sp>
      <p:sp>
        <p:nvSpPr>
          <p:cNvPr id="29" name="Tijdelijke aanduiding voor inhoud 12"/>
          <p:cNvSpPr txBox="1">
            <a:spLocks/>
          </p:cNvSpPr>
          <p:nvPr/>
        </p:nvSpPr>
        <p:spPr bwMode="auto">
          <a:xfrm>
            <a:off x="8742363" y="4429126"/>
            <a:ext cx="857250" cy="447675"/>
          </a:xfrm>
          <a:prstGeom prst="rect">
            <a:avLst/>
          </a:prstGeom>
          <a:noFill/>
          <a:ln w="9525">
            <a:noFill/>
            <a:miter lim="800000"/>
            <a:headEnd/>
            <a:tailEnd/>
          </a:ln>
          <a:effectLst/>
        </p:spPr>
        <p:txBody>
          <a:bodyPr>
            <a:spAutoFit/>
          </a:bodyPr>
          <a:lstStyle/>
          <a:p>
            <a:pPr marL="342900" indent="-342900">
              <a:spcBef>
                <a:spcPct val="20000"/>
              </a:spcBef>
              <a:buClr>
                <a:srgbClr val="BC0408"/>
              </a:buClr>
              <a:defRPr/>
            </a:pPr>
            <a:r>
              <a:rPr lang="en-US" sz="1050" kern="0" dirty="0"/>
              <a:t>2 jr na </a:t>
            </a:r>
          </a:p>
          <a:p>
            <a:pPr marL="342900" indent="-342900">
              <a:spcBef>
                <a:spcPct val="20000"/>
              </a:spcBef>
              <a:buClr>
                <a:srgbClr val="BC0408"/>
              </a:buClr>
              <a:defRPr/>
            </a:pPr>
            <a:r>
              <a:rPr lang="en-US" sz="1050" kern="0" dirty="0"/>
              <a:t>1e gebruik</a:t>
            </a:r>
            <a:endParaRPr lang="nl-NL" sz="1050" kern="0" dirty="0"/>
          </a:p>
        </p:txBody>
      </p:sp>
      <p:sp>
        <p:nvSpPr>
          <p:cNvPr id="30" name="Tijdelijke aanduiding voor inhoud 12"/>
          <p:cNvSpPr txBox="1">
            <a:spLocks/>
          </p:cNvSpPr>
          <p:nvPr/>
        </p:nvSpPr>
        <p:spPr bwMode="auto">
          <a:xfrm>
            <a:off x="3884260" y="4440064"/>
            <a:ext cx="1071563" cy="641350"/>
          </a:xfrm>
          <a:prstGeom prst="rect">
            <a:avLst/>
          </a:prstGeom>
          <a:noFill/>
          <a:ln w="9525">
            <a:noFill/>
            <a:miter lim="800000"/>
            <a:headEnd/>
            <a:tailEnd/>
          </a:ln>
          <a:effectLst/>
        </p:spPr>
        <p:txBody>
          <a:bodyPr>
            <a:spAutoFit/>
          </a:bodyPr>
          <a:lstStyle/>
          <a:p>
            <a:pPr marL="342900" indent="-342900">
              <a:spcBef>
                <a:spcPct val="20000"/>
              </a:spcBef>
              <a:buClr>
                <a:srgbClr val="BC0408"/>
              </a:buClr>
              <a:defRPr/>
            </a:pPr>
            <a:r>
              <a:rPr lang="en-US" sz="1050" kern="0" dirty="0"/>
              <a:t>Einde sloop</a:t>
            </a:r>
          </a:p>
          <a:p>
            <a:pPr marL="342900" indent="-342900">
              <a:spcBef>
                <a:spcPct val="20000"/>
              </a:spcBef>
              <a:buClr>
                <a:srgbClr val="BC0408"/>
              </a:buClr>
              <a:defRPr/>
            </a:pPr>
            <a:r>
              <a:rPr lang="en-US" sz="1050" kern="0" dirty="0"/>
              <a:t>(onbebouwd)</a:t>
            </a:r>
          </a:p>
          <a:p>
            <a:pPr marL="342900" indent="-342900">
              <a:spcBef>
                <a:spcPct val="20000"/>
              </a:spcBef>
              <a:buClr>
                <a:srgbClr val="BC0408"/>
              </a:buClr>
              <a:defRPr/>
            </a:pPr>
            <a:endParaRPr lang="nl-NL" sz="1050" kern="0" dirty="0">
              <a:solidFill>
                <a:srgbClr val="003366"/>
              </a:solidFill>
            </a:endParaRPr>
          </a:p>
        </p:txBody>
      </p:sp>
      <p:cxnSp>
        <p:nvCxnSpPr>
          <p:cNvPr id="31" name="Rechte verbindingslijn 30"/>
          <p:cNvCxnSpPr/>
          <p:nvPr/>
        </p:nvCxnSpPr>
        <p:spPr>
          <a:xfrm>
            <a:off x="5170488" y="4357689"/>
            <a:ext cx="571500" cy="1587"/>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32" name="Rechte verbindingslijn 31"/>
          <p:cNvCxnSpPr/>
          <p:nvPr/>
        </p:nvCxnSpPr>
        <p:spPr>
          <a:xfrm rot="5400000">
            <a:off x="6171407" y="3571082"/>
            <a:ext cx="1571625" cy="1588"/>
          </a:xfrm>
          <a:prstGeom prst="line">
            <a:avLst/>
          </a:prstGeom>
          <a:ln>
            <a:prstDash val="sysDash"/>
          </a:ln>
        </p:spPr>
        <p:style>
          <a:lnRef idx="1">
            <a:schemeClr val="dk1"/>
          </a:lnRef>
          <a:fillRef idx="0">
            <a:schemeClr val="dk1"/>
          </a:fillRef>
          <a:effectRef idx="0">
            <a:schemeClr val="dk1"/>
          </a:effectRef>
          <a:fontRef idx="minor">
            <a:schemeClr val="tx1"/>
          </a:fontRef>
        </p:style>
      </p:cxnSp>
      <p:cxnSp>
        <p:nvCxnSpPr>
          <p:cNvPr id="33" name="Rechte verbindingslijn 32"/>
          <p:cNvCxnSpPr/>
          <p:nvPr/>
        </p:nvCxnSpPr>
        <p:spPr>
          <a:xfrm rot="5400000">
            <a:off x="7100095" y="3571083"/>
            <a:ext cx="1571625" cy="1587"/>
          </a:xfrm>
          <a:prstGeom prst="line">
            <a:avLst/>
          </a:prstGeom>
          <a:ln>
            <a:prstDash val="sysDash"/>
          </a:ln>
        </p:spPr>
        <p:style>
          <a:lnRef idx="1">
            <a:schemeClr val="dk1"/>
          </a:lnRef>
          <a:fillRef idx="0">
            <a:schemeClr val="dk1"/>
          </a:fillRef>
          <a:effectRef idx="0">
            <a:schemeClr val="dk1"/>
          </a:effectRef>
          <a:fontRef idx="minor">
            <a:schemeClr val="tx1"/>
          </a:fontRef>
        </p:style>
      </p:cxnSp>
      <p:cxnSp>
        <p:nvCxnSpPr>
          <p:cNvPr id="34" name="Rechte verbindingslijn 33"/>
          <p:cNvCxnSpPr/>
          <p:nvPr/>
        </p:nvCxnSpPr>
        <p:spPr>
          <a:xfrm rot="5400000">
            <a:off x="8743157" y="3571082"/>
            <a:ext cx="1571625" cy="1588"/>
          </a:xfrm>
          <a:prstGeom prst="line">
            <a:avLst/>
          </a:prstGeom>
          <a:ln>
            <a:prstDash val="sysDash"/>
          </a:ln>
        </p:spPr>
        <p:style>
          <a:lnRef idx="1">
            <a:schemeClr val="dk1"/>
          </a:lnRef>
          <a:fillRef idx="0">
            <a:schemeClr val="dk1"/>
          </a:fillRef>
          <a:effectRef idx="0">
            <a:schemeClr val="dk1"/>
          </a:effectRef>
          <a:fontRef idx="minor">
            <a:schemeClr val="tx1"/>
          </a:fontRef>
        </p:style>
      </p:cxnSp>
      <p:sp>
        <p:nvSpPr>
          <p:cNvPr id="35" name="Vijfhoek 34"/>
          <p:cNvSpPr/>
          <p:nvPr/>
        </p:nvSpPr>
        <p:spPr>
          <a:xfrm rot="16200000">
            <a:off x="8027988" y="3714751"/>
            <a:ext cx="642938" cy="642937"/>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dirty="0"/>
          </a:p>
        </p:txBody>
      </p:sp>
      <p:sp>
        <p:nvSpPr>
          <p:cNvPr id="36" name="Vijfhoek 35"/>
          <p:cNvSpPr/>
          <p:nvPr/>
        </p:nvSpPr>
        <p:spPr>
          <a:xfrm rot="16200000">
            <a:off x="8813800" y="3714750"/>
            <a:ext cx="642938" cy="642938"/>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dirty="0"/>
          </a:p>
        </p:txBody>
      </p:sp>
      <p:sp>
        <p:nvSpPr>
          <p:cNvPr id="37" name="Vijfhoek 36"/>
          <p:cNvSpPr/>
          <p:nvPr/>
        </p:nvSpPr>
        <p:spPr>
          <a:xfrm rot="16200000">
            <a:off x="9671050" y="3714750"/>
            <a:ext cx="642938" cy="642938"/>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dirty="0"/>
          </a:p>
        </p:txBody>
      </p:sp>
      <p:sp>
        <p:nvSpPr>
          <p:cNvPr id="38" name="Vijfhoek 37"/>
          <p:cNvSpPr/>
          <p:nvPr/>
        </p:nvSpPr>
        <p:spPr>
          <a:xfrm rot="16200000">
            <a:off x="7170738" y="3714751"/>
            <a:ext cx="642938" cy="642937"/>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dirty="0"/>
          </a:p>
        </p:txBody>
      </p:sp>
      <p:sp>
        <p:nvSpPr>
          <p:cNvPr id="39" name="Stroomdiagram: Handmatige bewerking 38"/>
          <p:cNvSpPr/>
          <p:nvPr/>
        </p:nvSpPr>
        <p:spPr>
          <a:xfrm rot="10800000">
            <a:off x="6242050" y="4000500"/>
            <a:ext cx="571500" cy="357188"/>
          </a:xfrm>
          <a:prstGeom prst="flowChartManualOperation">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dirty="0"/>
          </a:p>
        </p:txBody>
      </p:sp>
      <p:sp>
        <p:nvSpPr>
          <p:cNvPr id="40" name="Tekstvak 39"/>
          <p:cNvSpPr txBox="1"/>
          <p:nvPr/>
        </p:nvSpPr>
        <p:spPr>
          <a:xfrm>
            <a:off x="7885113" y="2571750"/>
            <a:ext cx="857250" cy="254000"/>
          </a:xfrm>
          <a:prstGeom prst="rect">
            <a:avLst/>
          </a:prstGeom>
          <a:noFill/>
        </p:spPr>
        <p:txBody>
          <a:bodyPr>
            <a:spAutoFit/>
          </a:bodyPr>
          <a:lstStyle/>
          <a:p>
            <a:pPr algn="ctr">
              <a:defRPr/>
            </a:pPr>
            <a:r>
              <a:rPr lang="en-US" sz="1050" dirty="0">
                <a:latin typeface="Arial" charset="0"/>
              </a:rPr>
              <a:t>belast</a:t>
            </a:r>
            <a:endParaRPr lang="nl-NL" sz="1050" dirty="0">
              <a:latin typeface="Arial" charset="0"/>
            </a:endParaRPr>
          </a:p>
        </p:txBody>
      </p:sp>
      <p:sp>
        <p:nvSpPr>
          <p:cNvPr id="41" name="Tekstvak 40"/>
          <p:cNvSpPr txBox="1"/>
          <p:nvPr/>
        </p:nvSpPr>
        <p:spPr>
          <a:xfrm>
            <a:off x="6956425" y="2571750"/>
            <a:ext cx="857250" cy="254000"/>
          </a:xfrm>
          <a:prstGeom prst="rect">
            <a:avLst/>
          </a:prstGeom>
          <a:noFill/>
        </p:spPr>
        <p:txBody>
          <a:bodyPr>
            <a:spAutoFit/>
          </a:bodyPr>
          <a:lstStyle/>
          <a:p>
            <a:pPr algn="ctr">
              <a:defRPr/>
            </a:pPr>
            <a:r>
              <a:rPr lang="en-US" sz="1050" dirty="0">
                <a:latin typeface="Arial" charset="0"/>
              </a:rPr>
              <a:t>belast</a:t>
            </a:r>
            <a:endParaRPr lang="nl-NL" sz="1050" dirty="0">
              <a:latin typeface="Arial" charset="0"/>
            </a:endParaRPr>
          </a:p>
        </p:txBody>
      </p:sp>
      <p:sp>
        <p:nvSpPr>
          <p:cNvPr id="42" name="Tekstvak 41"/>
          <p:cNvSpPr txBox="1"/>
          <p:nvPr/>
        </p:nvSpPr>
        <p:spPr>
          <a:xfrm>
            <a:off x="6099175" y="2571750"/>
            <a:ext cx="857250" cy="254000"/>
          </a:xfrm>
          <a:prstGeom prst="rect">
            <a:avLst/>
          </a:prstGeom>
          <a:noFill/>
        </p:spPr>
        <p:txBody>
          <a:bodyPr>
            <a:spAutoFit/>
          </a:bodyPr>
          <a:lstStyle/>
          <a:p>
            <a:pPr algn="ctr">
              <a:defRPr/>
            </a:pPr>
            <a:r>
              <a:rPr lang="en-US" sz="1050" dirty="0">
                <a:latin typeface="Arial" charset="0"/>
              </a:rPr>
              <a:t>belast</a:t>
            </a:r>
            <a:endParaRPr lang="nl-NL" sz="1050" dirty="0">
              <a:latin typeface="Arial" charset="0"/>
            </a:endParaRPr>
          </a:p>
        </p:txBody>
      </p:sp>
      <p:sp>
        <p:nvSpPr>
          <p:cNvPr id="43" name="Tekstvak 42"/>
          <p:cNvSpPr txBox="1"/>
          <p:nvPr/>
        </p:nvSpPr>
        <p:spPr>
          <a:xfrm>
            <a:off x="5027613" y="2571750"/>
            <a:ext cx="857250" cy="254000"/>
          </a:xfrm>
          <a:prstGeom prst="rect">
            <a:avLst/>
          </a:prstGeom>
          <a:noFill/>
        </p:spPr>
        <p:txBody>
          <a:bodyPr>
            <a:spAutoFit/>
          </a:bodyPr>
          <a:lstStyle/>
          <a:p>
            <a:pPr algn="ctr">
              <a:defRPr/>
            </a:pPr>
            <a:r>
              <a:rPr lang="en-US" sz="1050" dirty="0">
                <a:latin typeface="Arial" charset="0"/>
              </a:rPr>
              <a:t>belast</a:t>
            </a:r>
            <a:endParaRPr lang="nl-NL" sz="1050" dirty="0">
              <a:latin typeface="Arial" charset="0"/>
            </a:endParaRPr>
          </a:p>
        </p:txBody>
      </p:sp>
      <p:sp>
        <p:nvSpPr>
          <p:cNvPr id="44" name="Tekstvak 43"/>
          <p:cNvSpPr txBox="1"/>
          <p:nvPr/>
        </p:nvSpPr>
        <p:spPr>
          <a:xfrm>
            <a:off x="3948817" y="2579863"/>
            <a:ext cx="1069975" cy="254000"/>
          </a:xfrm>
          <a:prstGeom prst="rect">
            <a:avLst/>
          </a:prstGeom>
          <a:noFill/>
        </p:spPr>
        <p:txBody>
          <a:bodyPr>
            <a:spAutoFit/>
          </a:bodyPr>
          <a:lstStyle/>
          <a:p>
            <a:pPr>
              <a:defRPr/>
            </a:pPr>
            <a:r>
              <a:rPr lang="en-US" sz="1050" dirty="0" err="1">
                <a:latin typeface="Arial" charset="0"/>
              </a:rPr>
              <a:t>Belast</a:t>
            </a:r>
            <a:r>
              <a:rPr lang="en-US" sz="1050" dirty="0">
                <a:latin typeface="Arial" charset="0"/>
              </a:rPr>
              <a:t>  </a:t>
            </a:r>
            <a:endParaRPr lang="nl-NL" sz="1050" dirty="0">
              <a:solidFill>
                <a:srgbClr val="FFC000"/>
              </a:solidFill>
              <a:latin typeface="Arial" charset="0"/>
            </a:endParaRPr>
          </a:p>
        </p:txBody>
      </p:sp>
      <p:sp>
        <p:nvSpPr>
          <p:cNvPr id="45" name="Tekstvak 44"/>
          <p:cNvSpPr txBox="1"/>
          <p:nvPr/>
        </p:nvSpPr>
        <p:spPr>
          <a:xfrm>
            <a:off x="2170113" y="2571750"/>
            <a:ext cx="857250" cy="254000"/>
          </a:xfrm>
          <a:prstGeom prst="rect">
            <a:avLst/>
          </a:prstGeom>
          <a:noFill/>
        </p:spPr>
        <p:txBody>
          <a:bodyPr>
            <a:spAutoFit/>
          </a:bodyPr>
          <a:lstStyle/>
          <a:p>
            <a:pPr>
              <a:defRPr/>
            </a:pPr>
            <a:r>
              <a:rPr lang="en-US" sz="1050" dirty="0" err="1">
                <a:latin typeface="Arial" charset="0"/>
              </a:rPr>
              <a:t>belast</a:t>
            </a:r>
            <a:endParaRPr lang="nl-NL" sz="1050" dirty="0">
              <a:latin typeface="Arial" charset="0"/>
            </a:endParaRPr>
          </a:p>
        </p:txBody>
      </p:sp>
      <p:sp>
        <p:nvSpPr>
          <p:cNvPr id="46" name="Tekstvak 45"/>
          <p:cNvSpPr txBox="1"/>
          <p:nvPr/>
        </p:nvSpPr>
        <p:spPr>
          <a:xfrm>
            <a:off x="8670925" y="2571750"/>
            <a:ext cx="857250" cy="254000"/>
          </a:xfrm>
          <a:prstGeom prst="rect">
            <a:avLst/>
          </a:prstGeom>
          <a:noFill/>
        </p:spPr>
        <p:txBody>
          <a:bodyPr>
            <a:spAutoFit/>
          </a:bodyPr>
          <a:lstStyle/>
          <a:p>
            <a:pPr algn="ctr">
              <a:defRPr/>
            </a:pPr>
            <a:r>
              <a:rPr lang="en-US" sz="1050" dirty="0">
                <a:latin typeface="Arial" charset="0"/>
              </a:rPr>
              <a:t>belast</a:t>
            </a:r>
            <a:endParaRPr lang="nl-NL" sz="1050" dirty="0">
              <a:latin typeface="Arial" charset="0"/>
            </a:endParaRPr>
          </a:p>
        </p:txBody>
      </p:sp>
      <p:sp>
        <p:nvSpPr>
          <p:cNvPr id="47" name="Tekstvak 46"/>
          <p:cNvSpPr txBox="1"/>
          <p:nvPr/>
        </p:nvSpPr>
        <p:spPr>
          <a:xfrm>
            <a:off x="9528175" y="2571750"/>
            <a:ext cx="857250" cy="254000"/>
          </a:xfrm>
          <a:prstGeom prst="rect">
            <a:avLst/>
          </a:prstGeom>
          <a:noFill/>
        </p:spPr>
        <p:txBody>
          <a:bodyPr>
            <a:spAutoFit/>
          </a:bodyPr>
          <a:lstStyle/>
          <a:p>
            <a:pPr>
              <a:defRPr/>
            </a:pPr>
            <a:r>
              <a:rPr lang="en-US" sz="1050" dirty="0">
                <a:latin typeface="Arial" charset="0"/>
              </a:rPr>
              <a:t>vrijstelling</a:t>
            </a:r>
            <a:endParaRPr lang="nl-NL" sz="1050" dirty="0">
              <a:latin typeface="Arial" charset="0"/>
            </a:endParaRPr>
          </a:p>
        </p:txBody>
      </p:sp>
      <p:sp>
        <p:nvSpPr>
          <p:cNvPr id="48" name="Tekstvak 47"/>
          <p:cNvSpPr txBox="1"/>
          <p:nvPr/>
        </p:nvSpPr>
        <p:spPr>
          <a:xfrm>
            <a:off x="9528175" y="4429125"/>
            <a:ext cx="857250" cy="254000"/>
          </a:xfrm>
          <a:prstGeom prst="rect">
            <a:avLst/>
          </a:prstGeom>
          <a:noFill/>
        </p:spPr>
        <p:txBody>
          <a:bodyPr>
            <a:spAutoFit/>
          </a:bodyPr>
          <a:lstStyle/>
          <a:p>
            <a:pPr>
              <a:defRPr/>
            </a:pPr>
            <a:r>
              <a:rPr lang="en-US" sz="1050" dirty="0">
                <a:latin typeface="Arial" charset="0"/>
              </a:rPr>
              <a:t>Oud pand</a:t>
            </a:r>
            <a:endParaRPr lang="nl-NL" sz="1050" dirty="0">
              <a:latin typeface="Arial" charset="0"/>
            </a:endParaRPr>
          </a:p>
        </p:txBody>
      </p:sp>
      <p:cxnSp>
        <p:nvCxnSpPr>
          <p:cNvPr id="49" name="Rechte verbindingslijn met pijl 48"/>
          <p:cNvCxnSpPr/>
          <p:nvPr/>
        </p:nvCxnSpPr>
        <p:spPr>
          <a:xfrm>
            <a:off x="4956175" y="3500439"/>
            <a:ext cx="3786188" cy="1587"/>
          </a:xfrm>
          <a:prstGeom prst="straightConnector1">
            <a:avLst/>
          </a:prstGeom>
          <a:ln w="28575">
            <a:solidFill>
              <a:srgbClr val="000000"/>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50" name="Rechte verbindingslijn met pijl 49"/>
          <p:cNvCxnSpPr/>
          <p:nvPr/>
        </p:nvCxnSpPr>
        <p:spPr>
          <a:xfrm>
            <a:off x="8742364" y="3500439"/>
            <a:ext cx="1571625" cy="1587"/>
          </a:xfrm>
          <a:prstGeom prst="straightConnector1">
            <a:avLst/>
          </a:prstGeom>
          <a:ln w="28575">
            <a:tailEnd type="arrow"/>
          </a:ln>
        </p:spPr>
        <p:style>
          <a:lnRef idx="1">
            <a:schemeClr val="dk1"/>
          </a:lnRef>
          <a:fillRef idx="0">
            <a:schemeClr val="dk1"/>
          </a:fillRef>
          <a:effectRef idx="0">
            <a:schemeClr val="dk1"/>
          </a:effectRef>
          <a:fontRef idx="minor">
            <a:schemeClr val="tx1"/>
          </a:fontRef>
        </p:style>
      </p:cxnSp>
      <p:cxnSp>
        <p:nvCxnSpPr>
          <p:cNvPr id="53" name="Rechte verbindingslijn met pijl 49"/>
          <p:cNvCxnSpPr>
            <a:cxnSpLocks noChangeShapeType="1"/>
          </p:cNvCxnSpPr>
          <p:nvPr/>
        </p:nvCxnSpPr>
        <p:spPr bwMode="auto">
          <a:xfrm>
            <a:off x="3927475" y="3502025"/>
            <a:ext cx="1030288" cy="0"/>
          </a:xfrm>
          <a:prstGeom prst="straightConnector1">
            <a:avLst/>
          </a:prstGeom>
          <a:noFill/>
          <a:ln w="28575" algn="ctr">
            <a:solidFill>
              <a:schemeClr val="tx1"/>
            </a:solidFill>
            <a:prstDash val="sysDot"/>
            <a:round/>
            <a:headEnd/>
            <a:tailEnd type="arrow" w="med" len="med"/>
          </a:ln>
          <a:extLst>
            <a:ext uri="{909E8E84-426E-40DD-AFC4-6F175D3DCCD1}">
              <a14:hiddenFill xmlns:a14="http://schemas.microsoft.com/office/drawing/2010/main">
                <a:noFill/>
              </a14:hiddenFill>
            </a:ext>
          </a:extLst>
        </p:spPr>
      </p:cxnSp>
      <p:sp>
        <p:nvSpPr>
          <p:cNvPr id="54" name="Tekstvak 53"/>
          <p:cNvSpPr txBox="1"/>
          <p:nvPr/>
        </p:nvSpPr>
        <p:spPr>
          <a:xfrm>
            <a:off x="2978151" y="2571750"/>
            <a:ext cx="1069975" cy="254000"/>
          </a:xfrm>
          <a:prstGeom prst="rect">
            <a:avLst/>
          </a:prstGeom>
          <a:noFill/>
        </p:spPr>
        <p:txBody>
          <a:bodyPr>
            <a:spAutoFit/>
          </a:bodyPr>
          <a:lstStyle/>
          <a:p>
            <a:pPr>
              <a:defRPr/>
            </a:pPr>
            <a:r>
              <a:rPr lang="en-US" sz="1050" dirty="0" err="1">
                <a:latin typeface="Arial" charset="0"/>
              </a:rPr>
              <a:t>belast</a:t>
            </a:r>
            <a:endParaRPr lang="nl-NL" sz="1050" dirty="0">
              <a:latin typeface="Arial" charset="0"/>
            </a:endParaRPr>
          </a:p>
        </p:txBody>
      </p:sp>
    </p:spTree>
    <p:extLst>
      <p:ext uri="{BB962C8B-B14F-4D97-AF65-F5344CB8AC3E}">
        <p14:creationId xmlns:p14="http://schemas.microsoft.com/office/powerpoint/2010/main" val="213362580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593539" y="659384"/>
            <a:ext cx="10868400" cy="532800"/>
          </a:xfrm>
        </p:spPr>
        <p:txBody>
          <a:bodyPr/>
          <a:lstStyle/>
          <a:p>
            <a:r>
              <a:rPr lang="nl-NL" dirty="0"/>
              <a:t>Nieuwbouw – </a:t>
            </a:r>
            <a:r>
              <a:rPr lang="nl-NL" dirty="0" err="1"/>
              <a:t>HvJ</a:t>
            </a:r>
            <a:r>
              <a:rPr lang="nl-NL" dirty="0"/>
              <a:t> EU d.d. 4-9-2019, </a:t>
            </a:r>
            <a:r>
              <a:rPr lang="nl-NL" dirty="0" err="1"/>
              <a:t>nmr</a:t>
            </a:r>
            <a:r>
              <a:rPr lang="nl-NL" dirty="0"/>
              <a:t>. C-71/18 KPC </a:t>
            </a:r>
            <a:r>
              <a:rPr lang="nl-NL" dirty="0" err="1"/>
              <a:t>Herning</a:t>
            </a:r>
            <a:br>
              <a:rPr lang="nl-NL" dirty="0"/>
            </a:br>
            <a:endParaRPr lang="nl-NL" dirty="0"/>
          </a:p>
        </p:txBody>
      </p:sp>
      <p:sp>
        <p:nvSpPr>
          <p:cNvPr id="8" name="Tijdelijke aanduiding voor inhoud 7"/>
          <p:cNvSpPr>
            <a:spLocks noGrp="1"/>
          </p:cNvSpPr>
          <p:nvPr>
            <p:ph idx="1"/>
          </p:nvPr>
        </p:nvSpPr>
        <p:spPr>
          <a:xfrm>
            <a:off x="1772885" y="1474439"/>
            <a:ext cx="8569325" cy="3813175"/>
          </a:xfrm>
        </p:spPr>
        <p:txBody>
          <a:bodyPr/>
          <a:lstStyle/>
          <a:p>
            <a:pPr marL="622300" lvl="1" indent="-285750">
              <a:buFont typeface="Courier New" panose="02070309020205020404" pitchFamily="49" charset="0"/>
              <a:buChar char="o"/>
            </a:pPr>
            <a:endParaRPr lang="nl-NL" dirty="0"/>
          </a:p>
          <a:p>
            <a:pPr marL="622300" lvl="1" indent="-285750">
              <a:buFont typeface="Courier New" panose="02070309020205020404" pitchFamily="49" charset="0"/>
              <a:buChar char="o"/>
            </a:pPr>
            <a:endParaRPr lang="nl-NL" dirty="0"/>
          </a:p>
          <a:p>
            <a:pPr marL="285750" indent="-285750">
              <a:buFontTx/>
              <a:buChar char="-"/>
            </a:pPr>
            <a:endParaRPr lang="nl-NL" dirty="0"/>
          </a:p>
        </p:txBody>
      </p:sp>
      <p:sp>
        <p:nvSpPr>
          <p:cNvPr id="10" name="Rechthoek 9"/>
          <p:cNvSpPr/>
          <p:nvPr/>
        </p:nvSpPr>
        <p:spPr bwMode="auto">
          <a:xfrm>
            <a:off x="3927475" y="2319339"/>
            <a:ext cx="1100138" cy="2790825"/>
          </a:xfrm>
          <a:prstGeom prst="rect">
            <a:avLst/>
          </a:prstGeom>
          <a:solidFill>
            <a:srgbClr val="FFFF00"/>
          </a:solidFill>
          <a:ln w="25400" cap="flat" cmpd="sng" algn="ctr">
            <a:solidFill>
              <a:srgbClr val="9D8D85"/>
            </a:solidFill>
            <a:prstDash val="solid"/>
            <a:round/>
            <a:headEnd type="none" w="med" len="med"/>
            <a:tailEnd type="triangle" w="lg" len="med"/>
          </a:ln>
          <a:effectLst/>
        </p:spPr>
        <p:txBody>
          <a:bodyPr lIns="0" tIns="0" rIns="0" bIns="0" anchor="ctr"/>
          <a:lstStyle/>
          <a:p>
            <a:pPr algn="ctr">
              <a:defRPr/>
            </a:pPr>
            <a:endParaRPr lang="nl-NL" dirty="0"/>
          </a:p>
        </p:txBody>
      </p:sp>
      <p:sp>
        <p:nvSpPr>
          <p:cNvPr id="13" name="Rechthoek 12"/>
          <p:cNvSpPr/>
          <p:nvPr/>
        </p:nvSpPr>
        <p:spPr>
          <a:xfrm>
            <a:off x="6675439" y="5516563"/>
            <a:ext cx="3500437" cy="571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nl-NL" dirty="0"/>
              <a:t>Don Bosco – leer doorbroken </a:t>
            </a:r>
          </a:p>
        </p:txBody>
      </p:sp>
      <p:sp>
        <p:nvSpPr>
          <p:cNvPr id="14" name="Vijfhoek 13"/>
          <p:cNvSpPr/>
          <p:nvPr/>
        </p:nvSpPr>
        <p:spPr>
          <a:xfrm rot="16200000">
            <a:off x="2241550" y="3714750"/>
            <a:ext cx="642938" cy="642938"/>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dirty="0"/>
          </a:p>
        </p:txBody>
      </p:sp>
      <p:cxnSp>
        <p:nvCxnSpPr>
          <p:cNvPr id="15" name="Rechte verbindingslijn met pijl 14"/>
          <p:cNvCxnSpPr/>
          <p:nvPr/>
        </p:nvCxnSpPr>
        <p:spPr>
          <a:xfrm>
            <a:off x="2384425" y="3500439"/>
            <a:ext cx="1543050" cy="1587"/>
          </a:xfrm>
          <a:prstGeom prst="straightConnector1">
            <a:avLst/>
          </a:prstGeom>
          <a:ln w="28575">
            <a:tailEnd type="arrow"/>
          </a:ln>
        </p:spPr>
        <p:style>
          <a:lnRef idx="1">
            <a:schemeClr val="dk1"/>
          </a:lnRef>
          <a:fillRef idx="0">
            <a:schemeClr val="dk1"/>
          </a:fillRef>
          <a:effectRef idx="0">
            <a:schemeClr val="dk1"/>
          </a:effectRef>
          <a:fontRef idx="minor">
            <a:schemeClr val="tx1"/>
          </a:fontRef>
        </p:style>
      </p:cxnSp>
      <p:sp>
        <p:nvSpPr>
          <p:cNvPr id="16" name="Tekstvak 15"/>
          <p:cNvSpPr txBox="1"/>
          <p:nvPr/>
        </p:nvSpPr>
        <p:spPr>
          <a:xfrm>
            <a:off x="2170113" y="4429125"/>
            <a:ext cx="857250" cy="254000"/>
          </a:xfrm>
          <a:prstGeom prst="rect">
            <a:avLst/>
          </a:prstGeom>
          <a:noFill/>
        </p:spPr>
        <p:txBody>
          <a:bodyPr>
            <a:spAutoFit/>
          </a:bodyPr>
          <a:lstStyle/>
          <a:p>
            <a:pPr>
              <a:defRPr/>
            </a:pPr>
            <a:r>
              <a:rPr lang="en-US" sz="1050" dirty="0">
                <a:latin typeface="Arial" charset="0"/>
              </a:rPr>
              <a:t>Oud pand</a:t>
            </a:r>
            <a:endParaRPr lang="nl-NL" sz="1050" dirty="0">
              <a:latin typeface="Arial" charset="0"/>
            </a:endParaRPr>
          </a:p>
        </p:txBody>
      </p:sp>
      <p:cxnSp>
        <p:nvCxnSpPr>
          <p:cNvPr id="17" name="Rechte verbindingslijn 16"/>
          <p:cNvCxnSpPr/>
          <p:nvPr/>
        </p:nvCxnSpPr>
        <p:spPr>
          <a:xfrm rot="5400000">
            <a:off x="2242345" y="3571083"/>
            <a:ext cx="1571625" cy="1587"/>
          </a:xfrm>
          <a:prstGeom prst="line">
            <a:avLst/>
          </a:prstGeom>
          <a:ln>
            <a:prstDash val="sysDash"/>
          </a:ln>
        </p:spPr>
        <p:style>
          <a:lnRef idx="1">
            <a:schemeClr val="dk1"/>
          </a:lnRef>
          <a:fillRef idx="0">
            <a:schemeClr val="dk1"/>
          </a:fillRef>
          <a:effectRef idx="0">
            <a:schemeClr val="dk1"/>
          </a:effectRef>
          <a:fontRef idx="minor">
            <a:schemeClr val="tx1"/>
          </a:fontRef>
        </p:style>
      </p:cxnSp>
      <p:sp>
        <p:nvSpPr>
          <p:cNvPr id="18" name="Vrije vorm 17"/>
          <p:cNvSpPr/>
          <p:nvPr/>
        </p:nvSpPr>
        <p:spPr>
          <a:xfrm>
            <a:off x="3170239" y="3894138"/>
            <a:ext cx="593725" cy="482600"/>
          </a:xfrm>
          <a:custGeom>
            <a:avLst/>
            <a:gdLst>
              <a:gd name="connsiteX0" fmla="*/ 43873 w 575110"/>
              <a:gd name="connsiteY0" fmla="*/ 375293 h 405051"/>
              <a:gd name="connsiteX1" fmla="*/ 57728 w 575110"/>
              <a:gd name="connsiteY1" fmla="*/ 333730 h 405051"/>
              <a:gd name="connsiteX2" fmla="*/ 85437 w 575110"/>
              <a:gd name="connsiteY2" fmla="*/ 70493 h 405051"/>
              <a:gd name="connsiteX3" fmla="*/ 127000 w 575110"/>
              <a:gd name="connsiteY3" fmla="*/ 56639 h 405051"/>
              <a:gd name="connsiteX4" fmla="*/ 362528 w 575110"/>
              <a:gd name="connsiteY4" fmla="*/ 42784 h 405051"/>
              <a:gd name="connsiteX5" fmla="*/ 390237 w 575110"/>
              <a:gd name="connsiteY5" fmla="*/ 84348 h 405051"/>
              <a:gd name="connsiteX6" fmla="*/ 376382 w 575110"/>
              <a:gd name="connsiteY6" fmla="*/ 195184 h 405051"/>
              <a:gd name="connsiteX7" fmla="*/ 431800 w 575110"/>
              <a:gd name="connsiteY7" fmla="*/ 209039 h 405051"/>
              <a:gd name="connsiteX8" fmla="*/ 528782 w 575110"/>
              <a:gd name="connsiteY8" fmla="*/ 209039 h 405051"/>
              <a:gd name="connsiteX9" fmla="*/ 556491 w 575110"/>
              <a:gd name="connsiteY9" fmla="*/ 292166 h 405051"/>
              <a:gd name="connsiteX10" fmla="*/ 570346 w 575110"/>
              <a:gd name="connsiteY10" fmla="*/ 333730 h 405051"/>
              <a:gd name="connsiteX11" fmla="*/ 556491 w 575110"/>
              <a:gd name="connsiteY11" fmla="*/ 389148 h 405051"/>
              <a:gd name="connsiteX12" fmla="*/ 320964 w 575110"/>
              <a:gd name="connsiteY12" fmla="*/ 361439 h 405051"/>
              <a:gd name="connsiteX13" fmla="*/ 43873 w 575110"/>
              <a:gd name="connsiteY13" fmla="*/ 375293 h 405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5110" h="405051">
                <a:moveTo>
                  <a:pt x="43873" y="375293"/>
                </a:moveTo>
                <a:cubicBezTo>
                  <a:pt x="0" y="370675"/>
                  <a:pt x="55755" y="348200"/>
                  <a:pt x="57728" y="333730"/>
                </a:cubicBezTo>
                <a:cubicBezTo>
                  <a:pt x="69649" y="246309"/>
                  <a:pt x="64038" y="156089"/>
                  <a:pt x="85437" y="70493"/>
                </a:cubicBezTo>
                <a:cubicBezTo>
                  <a:pt x="88979" y="56325"/>
                  <a:pt x="113146" y="61257"/>
                  <a:pt x="127000" y="56639"/>
                </a:cubicBezTo>
                <a:cubicBezTo>
                  <a:pt x="211959" y="0"/>
                  <a:pt x="192977" y="396"/>
                  <a:pt x="362528" y="42784"/>
                </a:cubicBezTo>
                <a:cubicBezTo>
                  <a:pt x="378682" y="46822"/>
                  <a:pt x="381001" y="70493"/>
                  <a:pt x="390237" y="84348"/>
                </a:cubicBezTo>
                <a:cubicBezTo>
                  <a:pt x="366503" y="119948"/>
                  <a:pt x="335168" y="145726"/>
                  <a:pt x="376382" y="195184"/>
                </a:cubicBezTo>
                <a:cubicBezTo>
                  <a:pt x="388572" y="209812"/>
                  <a:pt x="413327" y="204421"/>
                  <a:pt x="431800" y="209039"/>
                </a:cubicBezTo>
                <a:cubicBezTo>
                  <a:pt x="458813" y="200034"/>
                  <a:pt x="501720" y="177467"/>
                  <a:pt x="528782" y="209039"/>
                </a:cubicBezTo>
                <a:cubicBezTo>
                  <a:pt x="547790" y="231215"/>
                  <a:pt x="547255" y="264457"/>
                  <a:pt x="556491" y="292166"/>
                </a:cubicBezTo>
                <a:lnTo>
                  <a:pt x="570346" y="333730"/>
                </a:lnTo>
                <a:cubicBezTo>
                  <a:pt x="565728" y="352203"/>
                  <a:pt x="575110" y="385158"/>
                  <a:pt x="556491" y="389148"/>
                </a:cubicBezTo>
                <a:cubicBezTo>
                  <a:pt x="482275" y="405051"/>
                  <a:pt x="395308" y="380024"/>
                  <a:pt x="320964" y="361439"/>
                </a:cubicBezTo>
                <a:cubicBezTo>
                  <a:pt x="76217" y="375835"/>
                  <a:pt x="87746" y="379911"/>
                  <a:pt x="43873" y="375293"/>
                </a:cubicBezTo>
                <a:close/>
              </a:path>
            </a:pathLst>
          </a:cu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dirty="0"/>
          </a:p>
        </p:txBody>
      </p:sp>
      <p:sp>
        <p:nvSpPr>
          <p:cNvPr id="19" name="Tijdelijke aanduiding voor inhoud 12"/>
          <p:cNvSpPr txBox="1">
            <a:spLocks/>
          </p:cNvSpPr>
          <p:nvPr/>
        </p:nvSpPr>
        <p:spPr bwMode="auto">
          <a:xfrm>
            <a:off x="3098801" y="4429125"/>
            <a:ext cx="828675" cy="355600"/>
          </a:xfrm>
          <a:prstGeom prst="rect">
            <a:avLst/>
          </a:prstGeom>
          <a:noFill/>
          <a:ln w="9525">
            <a:noFill/>
            <a:miter lim="800000"/>
            <a:headEnd/>
            <a:tailEnd/>
          </a:ln>
        </p:spPr>
        <p:txBody>
          <a:bodyPr lIns="0" tIns="0" rIns="0" bIns="0">
            <a:spAutoFit/>
          </a:bodyPr>
          <a:lstStyle/>
          <a:p>
            <a:pPr marL="342900" indent="-342900">
              <a:spcBef>
                <a:spcPct val="20000"/>
              </a:spcBef>
              <a:defRPr/>
            </a:pPr>
            <a:r>
              <a:rPr lang="en-US" sz="1050" kern="0" dirty="0"/>
              <a:t>Sloop</a:t>
            </a:r>
          </a:p>
          <a:p>
            <a:pPr marL="342900" indent="-342900">
              <a:spcBef>
                <a:spcPct val="20000"/>
              </a:spcBef>
              <a:defRPr/>
            </a:pPr>
            <a:r>
              <a:rPr lang="en-US" sz="1050" kern="0" dirty="0"/>
              <a:t>(bebouwd)</a:t>
            </a:r>
            <a:endParaRPr lang="nl-NL" sz="1050" kern="0" dirty="0"/>
          </a:p>
        </p:txBody>
      </p:sp>
      <p:cxnSp>
        <p:nvCxnSpPr>
          <p:cNvPr id="20" name="Rechte verbindingslijn 19"/>
          <p:cNvCxnSpPr/>
          <p:nvPr/>
        </p:nvCxnSpPr>
        <p:spPr>
          <a:xfrm rot="5400000">
            <a:off x="3171032" y="3571082"/>
            <a:ext cx="1571625" cy="1588"/>
          </a:xfrm>
          <a:prstGeom prst="line">
            <a:avLst/>
          </a:prstGeom>
          <a:ln>
            <a:prstDash val="sysDash"/>
          </a:ln>
        </p:spPr>
        <p:style>
          <a:lnRef idx="1">
            <a:schemeClr val="dk1"/>
          </a:lnRef>
          <a:fillRef idx="0">
            <a:schemeClr val="dk1"/>
          </a:fillRef>
          <a:effectRef idx="0">
            <a:schemeClr val="dk1"/>
          </a:effectRef>
          <a:fontRef idx="minor">
            <a:schemeClr val="tx1"/>
          </a:fontRef>
        </p:style>
      </p:cxnSp>
      <p:cxnSp>
        <p:nvCxnSpPr>
          <p:cNvPr id="21" name="Rechte verbindingslijn 20"/>
          <p:cNvCxnSpPr/>
          <p:nvPr/>
        </p:nvCxnSpPr>
        <p:spPr>
          <a:xfrm rot="5400000">
            <a:off x="4236797" y="3571082"/>
            <a:ext cx="1571625" cy="1588"/>
          </a:xfrm>
          <a:prstGeom prst="line">
            <a:avLst/>
          </a:prstGeom>
          <a:ln>
            <a:prstDash val="sysDash"/>
          </a:ln>
        </p:spPr>
        <p:style>
          <a:lnRef idx="1">
            <a:schemeClr val="dk1"/>
          </a:lnRef>
          <a:fillRef idx="0">
            <a:schemeClr val="dk1"/>
          </a:fillRef>
          <a:effectRef idx="0">
            <a:schemeClr val="dk1"/>
          </a:effectRef>
          <a:fontRef idx="minor">
            <a:schemeClr val="tx1"/>
          </a:fontRef>
        </p:style>
      </p:cxnSp>
      <p:cxnSp>
        <p:nvCxnSpPr>
          <p:cNvPr id="22" name="Rechte verbindingslijn 21"/>
          <p:cNvCxnSpPr/>
          <p:nvPr/>
        </p:nvCxnSpPr>
        <p:spPr>
          <a:xfrm rot="5400000">
            <a:off x="7957345" y="3571083"/>
            <a:ext cx="1571625" cy="1587"/>
          </a:xfrm>
          <a:prstGeom prst="line">
            <a:avLst/>
          </a:prstGeom>
          <a:ln>
            <a:prstDash val="sysDash"/>
          </a:ln>
        </p:spPr>
        <p:style>
          <a:lnRef idx="1">
            <a:schemeClr val="dk1"/>
          </a:lnRef>
          <a:fillRef idx="0">
            <a:schemeClr val="dk1"/>
          </a:fillRef>
          <a:effectRef idx="0">
            <a:schemeClr val="dk1"/>
          </a:effectRef>
          <a:fontRef idx="minor">
            <a:schemeClr val="tx1"/>
          </a:fontRef>
        </p:style>
      </p:cxnSp>
      <p:cxnSp>
        <p:nvCxnSpPr>
          <p:cNvPr id="23" name="Rechte verbindingslijn 22"/>
          <p:cNvCxnSpPr/>
          <p:nvPr/>
        </p:nvCxnSpPr>
        <p:spPr>
          <a:xfrm rot="5400000">
            <a:off x="5242720" y="3571083"/>
            <a:ext cx="1571625" cy="1587"/>
          </a:xfrm>
          <a:prstGeom prst="line">
            <a:avLst/>
          </a:prstGeom>
          <a:ln>
            <a:prstDash val="sysDash"/>
          </a:ln>
        </p:spPr>
        <p:style>
          <a:lnRef idx="1">
            <a:schemeClr val="dk1"/>
          </a:lnRef>
          <a:fillRef idx="0">
            <a:schemeClr val="dk1"/>
          </a:fillRef>
          <a:effectRef idx="0">
            <a:schemeClr val="dk1"/>
          </a:effectRef>
          <a:fontRef idx="minor">
            <a:schemeClr val="tx1"/>
          </a:fontRef>
        </p:style>
      </p:cxnSp>
      <p:cxnSp>
        <p:nvCxnSpPr>
          <p:cNvPr id="24" name="Rechte verbindingslijn 23"/>
          <p:cNvCxnSpPr/>
          <p:nvPr/>
        </p:nvCxnSpPr>
        <p:spPr>
          <a:xfrm>
            <a:off x="4098925" y="4357689"/>
            <a:ext cx="571500" cy="1587"/>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5" name="Tijdelijke aanduiding voor inhoud 12"/>
          <p:cNvSpPr txBox="1">
            <a:spLocks/>
          </p:cNvSpPr>
          <p:nvPr/>
        </p:nvSpPr>
        <p:spPr bwMode="auto">
          <a:xfrm>
            <a:off x="7885113" y="4429125"/>
            <a:ext cx="857250" cy="254000"/>
          </a:xfrm>
          <a:prstGeom prst="rect">
            <a:avLst/>
          </a:prstGeom>
          <a:noFill/>
          <a:ln w="9525">
            <a:noFill/>
            <a:miter lim="800000"/>
            <a:headEnd/>
            <a:tailEnd/>
          </a:ln>
          <a:effectLst/>
        </p:spPr>
        <p:txBody>
          <a:bodyPr>
            <a:spAutoFit/>
          </a:bodyPr>
          <a:lstStyle/>
          <a:p>
            <a:pPr marL="342900" indent="-342900">
              <a:spcBef>
                <a:spcPct val="20000"/>
              </a:spcBef>
              <a:buClr>
                <a:srgbClr val="BC0408"/>
              </a:buClr>
              <a:defRPr/>
            </a:pPr>
            <a:r>
              <a:rPr lang="en-US" sz="1050" kern="0" dirty="0"/>
              <a:t>1e gebruik</a:t>
            </a:r>
            <a:endParaRPr lang="nl-NL" sz="1050" kern="0" dirty="0"/>
          </a:p>
        </p:txBody>
      </p:sp>
      <p:sp>
        <p:nvSpPr>
          <p:cNvPr id="26" name="Tijdelijke aanduiding voor inhoud 12"/>
          <p:cNvSpPr txBox="1">
            <a:spLocks/>
          </p:cNvSpPr>
          <p:nvPr/>
        </p:nvSpPr>
        <p:spPr bwMode="auto">
          <a:xfrm>
            <a:off x="7027864" y="4429125"/>
            <a:ext cx="928687" cy="254000"/>
          </a:xfrm>
          <a:prstGeom prst="rect">
            <a:avLst/>
          </a:prstGeom>
          <a:noFill/>
          <a:ln w="9525">
            <a:noFill/>
            <a:miter lim="800000"/>
            <a:headEnd/>
            <a:tailEnd/>
          </a:ln>
          <a:effectLst/>
        </p:spPr>
        <p:txBody>
          <a:bodyPr>
            <a:spAutoFit/>
          </a:bodyPr>
          <a:lstStyle/>
          <a:p>
            <a:pPr marL="342900" indent="-342900">
              <a:spcBef>
                <a:spcPct val="20000"/>
              </a:spcBef>
              <a:buClr>
                <a:srgbClr val="BC0408"/>
              </a:buClr>
              <a:defRPr/>
            </a:pPr>
            <a:r>
              <a:rPr lang="en-US" sz="1050" kern="0" dirty="0"/>
              <a:t>Nieuwbouw</a:t>
            </a:r>
            <a:endParaRPr lang="nl-NL" sz="1050" kern="0" dirty="0"/>
          </a:p>
        </p:txBody>
      </p:sp>
      <p:sp>
        <p:nvSpPr>
          <p:cNvPr id="27" name="Tijdelijke aanduiding voor inhoud 12"/>
          <p:cNvSpPr txBox="1">
            <a:spLocks/>
          </p:cNvSpPr>
          <p:nvPr/>
        </p:nvSpPr>
        <p:spPr bwMode="auto">
          <a:xfrm>
            <a:off x="6099175" y="4429126"/>
            <a:ext cx="928688" cy="447675"/>
          </a:xfrm>
          <a:prstGeom prst="rect">
            <a:avLst/>
          </a:prstGeom>
          <a:noFill/>
          <a:ln w="9525">
            <a:noFill/>
            <a:miter lim="800000"/>
            <a:headEnd/>
            <a:tailEnd/>
          </a:ln>
          <a:effectLst/>
        </p:spPr>
        <p:txBody>
          <a:bodyPr>
            <a:spAutoFit/>
          </a:bodyPr>
          <a:lstStyle/>
          <a:p>
            <a:pPr marL="342900" indent="-342900">
              <a:spcBef>
                <a:spcPct val="20000"/>
              </a:spcBef>
              <a:buClr>
                <a:srgbClr val="BC0408"/>
              </a:buClr>
              <a:defRPr/>
            </a:pPr>
            <a:r>
              <a:rPr lang="en-US" sz="1050" kern="0" dirty="0"/>
              <a:t>Start bouw</a:t>
            </a:r>
          </a:p>
          <a:p>
            <a:pPr marL="342900" indent="-342900">
              <a:spcBef>
                <a:spcPct val="20000"/>
              </a:spcBef>
              <a:buClr>
                <a:srgbClr val="BC0408"/>
              </a:buClr>
              <a:defRPr/>
            </a:pPr>
            <a:r>
              <a:rPr lang="en-US" sz="1050" kern="0" dirty="0"/>
              <a:t>(bebouwd)</a:t>
            </a:r>
            <a:endParaRPr lang="nl-NL" sz="1050" kern="0" dirty="0"/>
          </a:p>
        </p:txBody>
      </p:sp>
      <p:sp>
        <p:nvSpPr>
          <p:cNvPr id="28" name="Tijdelijke aanduiding voor inhoud 12"/>
          <p:cNvSpPr txBox="1">
            <a:spLocks/>
          </p:cNvSpPr>
          <p:nvPr/>
        </p:nvSpPr>
        <p:spPr bwMode="auto">
          <a:xfrm>
            <a:off x="4956176" y="4429126"/>
            <a:ext cx="1285875" cy="1223963"/>
          </a:xfrm>
          <a:prstGeom prst="rect">
            <a:avLst/>
          </a:prstGeom>
          <a:noFill/>
          <a:ln w="9525">
            <a:noFill/>
            <a:miter lim="800000"/>
            <a:headEnd/>
            <a:tailEnd/>
          </a:ln>
          <a:effectLst/>
        </p:spPr>
        <p:txBody>
          <a:bodyPr>
            <a:spAutoFit/>
          </a:bodyPr>
          <a:lstStyle/>
          <a:p>
            <a:pPr marL="342900" indent="-342900">
              <a:spcBef>
                <a:spcPct val="20000"/>
              </a:spcBef>
              <a:buClr>
                <a:srgbClr val="BC0408"/>
              </a:buClr>
              <a:defRPr/>
            </a:pPr>
            <a:r>
              <a:rPr lang="en-US" sz="1050" kern="0" dirty="0"/>
              <a:t>Onbebouwd</a:t>
            </a:r>
          </a:p>
          <a:p>
            <a:pPr marL="342900" indent="-342900">
              <a:spcBef>
                <a:spcPct val="20000"/>
              </a:spcBef>
              <a:buClr>
                <a:srgbClr val="BC0408"/>
              </a:buClr>
              <a:defRPr/>
            </a:pPr>
            <a:r>
              <a:rPr lang="en-US" sz="1050" u="sng" kern="0" dirty="0"/>
              <a:t>met</a:t>
            </a:r>
          </a:p>
          <a:p>
            <a:pPr marL="342900" indent="-342900">
              <a:spcBef>
                <a:spcPct val="20000"/>
              </a:spcBef>
              <a:buClr>
                <a:srgbClr val="BC0408"/>
              </a:buClr>
              <a:defRPr/>
            </a:pPr>
            <a:r>
              <a:rPr lang="en-US" sz="1050" kern="0" dirty="0"/>
              <a:t>Werkzaamheid,</a:t>
            </a:r>
          </a:p>
          <a:p>
            <a:pPr marL="342900" indent="-342900">
              <a:spcBef>
                <a:spcPct val="20000"/>
              </a:spcBef>
              <a:buClr>
                <a:srgbClr val="BC0408"/>
              </a:buClr>
              <a:defRPr/>
            </a:pPr>
            <a:r>
              <a:rPr lang="en-US" sz="1050" kern="0" dirty="0"/>
              <a:t>Voorziening,</a:t>
            </a:r>
          </a:p>
          <a:p>
            <a:pPr marL="342900" indent="-342900">
              <a:spcBef>
                <a:spcPct val="20000"/>
              </a:spcBef>
              <a:buClr>
                <a:srgbClr val="BC0408"/>
              </a:buClr>
              <a:defRPr/>
            </a:pPr>
            <a:r>
              <a:rPr lang="en-US" sz="1050" kern="0" dirty="0"/>
              <a:t>of</a:t>
            </a:r>
          </a:p>
          <a:p>
            <a:pPr marL="342900" indent="-342900">
              <a:spcBef>
                <a:spcPct val="20000"/>
              </a:spcBef>
              <a:buClr>
                <a:srgbClr val="BC0408"/>
              </a:buClr>
              <a:defRPr/>
            </a:pPr>
            <a:r>
              <a:rPr lang="en-US" sz="1050" kern="0" dirty="0"/>
              <a:t>Bouwvergunning</a:t>
            </a:r>
            <a:endParaRPr lang="nl-NL" sz="1050" kern="0" dirty="0"/>
          </a:p>
        </p:txBody>
      </p:sp>
      <p:sp>
        <p:nvSpPr>
          <p:cNvPr id="29" name="Tijdelijke aanduiding voor inhoud 12"/>
          <p:cNvSpPr txBox="1">
            <a:spLocks/>
          </p:cNvSpPr>
          <p:nvPr/>
        </p:nvSpPr>
        <p:spPr bwMode="auto">
          <a:xfrm>
            <a:off x="8742363" y="4429126"/>
            <a:ext cx="857250" cy="447675"/>
          </a:xfrm>
          <a:prstGeom prst="rect">
            <a:avLst/>
          </a:prstGeom>
          <a:noFill/>
          <a:ln w="9525">
            <a:noFill/>
            <a:miter lim="800000"/>
            <a:headEnd/>
            <a:tailEnd/>
          </a:ln>
          <a:effectLst/>
        </p:spPr>
        <p:txBody>
          <a:bodyPr>
            <a:spAutoFit/>
          </a:bodyPr>
          <a:lstStyle/>
          <a:p>
            <a:pPr marL="342900" indent="-342900">
              <a:spcBef>
                <a:spcPct val="20000"/>
              </a:spcBef>
              <a:buClr>
                <a:srgbClr val="BC0408"/>
              </a:buClr>
              <a:defRPr/>
            </a:pPr>
            <a:r>
              <a:rPr lang="en-US" sz="1050" kern="0" dirty="0"/>
              <a:t>2 jr na </a:t>
            </a:r>
          </a:p>
          <a:p>
            <a:pPr marL="342900" indent="-342900">
              <a:spcBef>
                <a:spcPct val="20000"/>
              </a:spcBef>
              <a:buClr>
                <a:srgbClr val="BC0408"/>
              </a:buClr>
              <a:defRPr/>
            </a:pPr>
            <a:r>
              <a:rPr lang="en-US" sz="1050" kern="0" dirty="0"/>
              <a:t>1e gebruik</a:t>
            </a:r>
            <a:endParaRPr lang="nl-NL" sz="1050" kern="0" dirty="0"/>
          </a:p>
        </p:txBody>
      </p:sp>
      <p:sp>
        <p:nvSpPr>
          <p:cNvPr id="30" name="Tijdelijke aanduiding voor inhoud 12"/>
          <p:cNvSpPr txBox="1">
            <a:spLocks/>
          </p:cNvSpPr>
          <p:nvPr/>
        </p:nvSpPr>
        <p:spPr bwMode="auto">
          <a:xfrm>
            <a:off x="3884260" y="4440064"/>
            <a:ext cx="1071563" cy="415498"/>
          </a:xfrm>
          <a:prstGeom prst="rect">
            <a:avLst/>
          </a:prstGeom>
          <a:noFill/>
          <a:ln w="9525">
            <a:noFill/>
            <a:miter lim="800000"/>
            <a:headEnd/>
            <a:tailEnd/>
          </a:ln>
          <a:effectLst/>
        </p:spPr>
        <p:txBody>
          <a:bodyPr>
            <a:spAutoFit/>
          </a:bodyPr>
          <a:lstStyle/>
          <a:p>
            <a:pPr marL="342900" indent="-342900">
              <a:spcBef>
                <a:spcPct val="20000"/>
              </a:spcBef>
              <a:buClr>
                <a:srgbClr val="BC0408"/>
              </a:buClr>
              <a:defRPr/>
            </a:pPr>
            <a:r>
              <a:rPr lang="nl-NL" sz="1050" kern="0" dirty="0">
                <a:solidFill>
                  <a:srgbClr val="003366"/>
                </a:solidFill>
              </a:rPr>
              <a:t>Sloop door koper !</a:t>
            </a:r>
          </a:p>
        </p:txBody>
      </p:sp>
      <p:cxnSp>
        <p:nvCxnSpPr>
          <p:cNvPr id="31" name="Rechte verbindingslijn 30"/>
          <p:cNvCxnSpPr/>
          <p:nvPr/>
        </p:nvCxnSpPr>
        <p:spPr>
          <a:xfrm>
            <a:off x="5170488" y="4357689"/>
            <a:ext cx="571500" cy="1587"/>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32" name="Rechte verbindingslijn 31"/>
          <p:cNvCxnSpPr/>
          <p:nvPr/>
        </p:nvCxnSpPr>
        <p:spPr>
          <a:xfrm rot="5400000">
            <a:off x="6171407" y="3571082"/>
            <a:ext cx="1571625" cy="1588"/>
          </a:xfrm>
          <a:prstGeom prst="line">
            <a:avLst/>
          </a:prstGeom>
          <a:ln>
            <a:prstDash val="sysDash"/>
          </a:ln>
        </p:spPr>
        <p:style>
          <a:lnRef idx="1">
            <a:schemeClr val="dk1"/>
          </a:lnRef>
          <a:fillRef idx="0">
            <a:schemeClr val="dk1"/>
          </a:fillRef>
          <a:effectRef idx="0">
            <a:schemeClr val="dk1"/>
          </a:effectRef>
          <a:fontRef idx="minor">
            <a:schemeClr val="tx1"/>
          </a:fontRef>
        </p:style>
      </p:cxnSp>
      <p:cxnSp>
        <p:nvCxnSpPr>
          <p:cNvPr id="33" name="Rechte verbindingslijn 32"/>
          <p:cNvCxnSpPr/>
          <p:nvPr/>
        </p:nvCxnSpPr>
        <p:spPr>
          <a:xfrm rot="5400000">
            <a:off x="7100095" y="3571083"/>
            <a:ext cx="1571625" cy="1587"/>
          </a:xfrm>
          <a:prstGeom prst="line">
            <a:avLst/>
          </a:prstGeom>
          <a:ln>
            <a:prstDash val="sysDash"/>
          </a:ln>
        </p:spPr>
        <p:style>
          <a:lnRef idx="1">
            <a:schemeClr val="dk1"/>
          </a:lnRef>
          <a:fillRef idx="0">
            <a:schemeClr val="dk1"/>
          </a:fillRef>
          <a:effectRef idx="0">
            <a:schemeClr val="dk1"/>
          </a:effectRef>
          <a:fontRef idx="minor">
            <a:schemeClr val="tx1"/>
          </a:fontRef>
        </p:style>
      </p:cxnSp>
      <p:cxnSp>
        <p:nvCxnSpPr>
          <p:cNvPr id="34" name="Rechte verbindingslijn 33"/>
          <p:cNvCxnSpPr/>
          <p:nvPr/>
        </p:nvCxnSpPr>
        <p:spPr>
          <a:xfrm rot="5400000">
            <a:off x="8743157" y="3571082"/>
            <a:ext cx="1571625" cy="1588"/>
          </a:xfrm>
          <a:prstGeom prst="line">
            <a:avLst/>
          </a:prstGeom>
          <a:ln>
            <a:prstDash val="sysDash"/>
          </a:ln>
        </p:spPr>
        <p:style>
          <a:lnRef idx="1">
            <a:schemeClr val="dk1"/>
          </a:lnRef>
          <a:fillRef idx="0">
            <a:schemeClr val="dk1"/>
          </a:fillRef>
          <a:effectRef idx="0">
            <a:schemeClr val="dk1"/>
          </a:effectRef>
          <a:fontRef idx="minor">
            <a:schemeClr val="tx1"/>
          </a:fontRef>
        </p:style>
      </p:cxnSp>
      <p:sp>
        <p:nvSpPr>
          <p:cNvPr id="35" name="Vijfhoek 34"/>
          <p:cNvSpPr/>
          <p:nvPr/>
        </p:nvSpPr>
        <p:spPr>
          <a:xfrm rot="16200000">
            <a:off x="8027988" y="3714751"/>
            <a:ext cx="642938" cy="642937"/>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dirty="0"/>
          </a:p>
        </p:txBody>
      </p:sp>
      <p:sp>
        <p:nvSpPr>
          <p:cNvPr id="36" name="Vijfhoek 35"/>
          <p:cNvSpPr/>
          <p:nvPr/>
        </p:nvSpPr>
        <p:spPr>
          <a:xfrm rot="16200000">
            <a:off x="8813800" y="3714750"/>
            <a:ext cx="642938" cy="642938"/>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dirty="0"/>
          </a:p>
        </p:txBody>
      </p:sp>
      <p:sp>
        <p:nvSpPr>
          <p:cNvPr id="37" name="Vijfhoek 36"/>
          <p:cNvSpPr/>
          <p:nvPr/>
        </p:nvSpPr>
        <p:spPr>
          <a:xfrm rot="16200000">
            <a:off x="9671050" y="3714750"/>
            <a:ext cx="642938" cy="642938"/>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dirty="0"/>
          </a:p>
        </p:txBody>
      </p:sp>
      <p:sp>
        <p:nvSpPr>
          <p:cNvPr id="38" name="Vijfhoek 37"/>
          <p:cNvSpPr/>
          <p:nvPr/>
        </p:nvSpPr>
        <p:spPr>
          <a:xfrm rot="16200000">
            <a:off x="7170738" y="3714751"/>
            <a:ext cx="642938" cy="642937"/>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dirty="0"/>
          </a:p>
        </p:txBody>
      </p:sp>
      <p:sp>
        <p:nvSpPr>
          <p:cNvPr id="39" name="Stroomdiagram: Handmatige bewerking 38"/>
          <p:cNvSpPr/>
          <p:nvPr/>
        </p:nvSpPr>
        <p:spPr>
          <a:xfrm rot="10800000">
            <a:off x="6242050" y="4000500"/>
            <a:ext cx="571500" cy="357188"/>
          </a:xfrm>
          <a:prstGeom prst="flowChartManualOperation">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dirty="0"/>
          </a:p>
        </p:txBody>
      </p:sp>
      <p:sp>
        <p:nvSpPr>
          <p:cNvPr id="40" name="Tekstvak 39"/>
          <p:cNvSpPr txBox="1"/>
          <p:nvPr/>
        </p:nvSpPr>
        <p:spPr>
          <a:xfrm>
            <a:off x="7885113" y="2571750"/>
            <a:ext cx="857250" cy="254000"/>
          </a:xfrm>
          <a:prstGeom prst="rect">
            <a:avLst/>
          </a:prstGeom>
          <a:noFill/>
        </p:spPr>
        <p:txBody>
          <a:bodyPr>
            <a:spAutoFit/>
          </a:bodyPr>
          <a:lstStyle/>
          <a:p>
            <a:pPr algn="ctr">
              <a:defRPr/>
            </a:pPr>
            <a:r>
              <a:rPr lang="en-US" sz="1050" dirty="0">
                <a:latin typeface="Arial" charset="0"/>
              </a:rPr>
              <a:t>belast</a:t>
            </a:r>
            <a:endParaRPr lang="nl-NL" sz="1050" dirty="0">
              <a:latin typeface="Arial" charset="0"/>
            </a:endParaRPr>
          </a:p>
        </p:txBody>
      </p:sp>
      <p:sp>
        <p:nvSpPr>
          <p:cNvPr id="41" name="Tekstvak 40"/>
          <p:cNvSpPr txBox="1"/>
          <p:nvPr/>
        </p:nvSpPr>
        <p:spPr>
          <a:xfrm>
            <a:off x="6956425" y="2571750"/>
            <a:ext cx="857250" cy="254000"/>
          </a:xfrm>
          <a:prstGeom prst="rect">
            <a:avLst/>
          </a:prstGeom>
          <a:noFill/>
        </p:spPr>
        <p:txBody>
          <a:bodyPr>
            <a:spAutoFit/>
          </a:bodyPr>
          <a:lstStyle/>
          <a:p>
            <a:pPr algn="ctr">
              <a:defRPr/>
            </a:pPr>
            <a:r>
              <a:rPr lang="en-US" sz="1050" dirty="0">
                <a:latin typeface="Arial" charset="0"/>
              </a:rPr>
              <a:t>belast</a:t>
            </a:r>
            <a:endParaRPr lang="nl-NL" sz="1050" dirty="0">
              <a:latin typeface="Arial" charset="0"/>
            </a:endParaRPr>
          </a:p>
        </p:txBody>
      </p:sp>
      <p:sp>
        <p:nvSpPr>
          <p:cNvPr id="42" name="Tekstvak 41"/>
          <p:cNvSpPr txBox="1"/>
          <p:nvPr/>
        </p:nvSpPr>
        <p:spPr>
          <a:xfrm>
            <a:off x="6099175" y="2571750"/>
            <a:ext cx="857250" cy="254000"/>
          </a:xfrm>
          <a:prstGeom prst="rect">
            <a:avLst/>
          </a:prstGeom>
          <a:noFill/>
        </p:spPr>
        <p:txBody>
          <a:bodyPr>
            <a:spAutoFit/>
          </a:bodyPr>
          <a:lstStyle/>
          <a:p>
            <a:pPr algn="ctr">
              <a:defRPr/>
            </a:pPr>
            <a:r>
              <a:rPr lang="en-US" sz="1050" dirty="0">
                <a:latin typeface="Arial" charset="0"/>
              </a:rPr>
              <a:t>belast</a:t>
            </a:r>
            <a:endParaRPr lang="nl-NL" sz="1050" dirty="0">
              <a:latin typeface="Arial" charset="0"/>
            </a:endParaRPr>
          </a:p>
        </p:txBody>
      </p:sp>
      <p:sp>
        <p:nvSpPr>
          <p:cNvPr id="43" name="Tekstvak 42"/>
          <p:cNvSpPr txBox="1"/>
          <p:nvPr/>
        </p:nvSpPr>
        <p:spPr>
          <a:xfrm>
            <a:off x="5027613" y="2571750"/>
            <a:ext cx="857250" cy="254000"/>
          </a:xfrm>
          <a:prstGeom prst="rect">
            <a:avLst/>
          </a:prstGeom>
          <a:noFill/>
        </p:spPr>
        <p:txBody>
          <a:bodyPr>
            <a:spAutoFit/>
          </a:bodyPr>
          <a:lstStyle/>
          <a:p>
            <a:pPr algn="ctr">
              <a:defRPr/>
            </a:pPr>
            <a:r>
              <a:rPr lang="en-US" sz="1050" dirty="0">
                <a:latin typeface="Arial" charset="0"/>
              </a:rPr>
              <a:t>belast</a:t>
            </a:r>
            <a:endParaRPr lang="nl-NL" sz="1050" dirty="0">
              <a:latin typeface="Arial" charset="0"/>
            </a:endParaRPr>
          </a:p>
        </p:txBody>
      </p:sp>
      <p:sp>
        <p:nvSpPr>
          <p:cNvPr id="45" name="Tekstvak 44"/>
          <p:cNvSpPr txBox="1"/>
          <p:nvPr/>
        </p:nvSpPr>
        <p:spPr>
          <a:xfrm>
            <a:off x="2170113" y="2571750"/>
            <a:ext cx="857250" cy="254000"/>
          </a:xfrm>
          <a:prstGeom prst="rect">
            <a:avLst/>
          </a:prstGeom>
          <a:noFill/>
        </p:spPr>
        <p:txBody>
          <a:bodyPr>
            <a:spAutoFit/>
          </a:bodyPr>
          <a:lstStyle/>
          <a:p>
            <a:pPr>
              <a:defRPr/>
            </a:pPr>
            <a:r>
              <a:rPr lang="en-US" sz="1050" dirty="0" err="1">
                <a:latin typeface="Arial" charset="0"/>
              </a:rPr>
              <a:t>belast</a:t>
            </a:r>
            <a:endParaRPr lang="nl-NL" sz="1050" dirty="0">
              <a:latin typeface="Arial" charset="0"/>
            </a:endParaRPr>
          </a:p>
        </p:txBody>
      </p:sp>
      <p:sp>
        <p:nvSpPr>
          <p:cNvPr id="46" name="Tekstvak 45"/>
          <p:cNvSpPr txBox="1"/>
          <p:nvPr/>
        </p:nvSpPr>
        <p:spPr>
          <a:xfrm>
            <a:off x="8670925" y="2571750"/>
            <a:ext cx="857250" cy="254000"/>
          </a:xfrm>
          <a:prstGeom prst="rect">
            <a:avLst/>
          </a:prstGeom>
          <a:noFill/>
        </p:spPr>
        <p:txBody>
          <a:bodyPr>
            <a:spAutoFit/>
          </a:bodyPr>
          <a:lstStyle/>
          <a:p>
            <a:pPr algn="ctr">
              <a:defRPr/>
            </a:pPr>
            <a:r>
              <a:rPr lang="en-US" sz="1050" dirty="0">
                <a:latin typeface="Arial" charset="0"/>
              </a:rPr>
              <a:t>belast</a:t>
            </a:r>
            <a:endParaRPr lang="nl-NL" sz="1050" dirty="0">
              <a:latin typeface="Arial" charset="0"/>
            </a:endParaRPr>
          </a:p>
        </p:txBody>
      </p:sp>
      <p:sp>
        <p:nvSpPr>
          <p:cNvPr id="47" name="Tekstvak 46"/>
          <p:cNvSpPr txBox="1"/>
          <p:nvPr/>
        </p:nvSpPr>
        <p:spPr>
          <a:xfrm>
            <a:off x="9528175" y="2571750"/>
            <a:ext cx="857250" cy="254000"/>
          </a:xfrm>
          <a:prstGeom prst="rect">
            <a:avLst/>
          </a:prstGeom>
          <a:noFill/>
        </p:spPr>
        <p:txBody>
          <a:bodyPr>
            <a:spAutoFit/>
          </a:bodyPr>
          <a:lstStyle/>
          <a:p>
            <a:pPr>
              <a:defRPr/>
            </a:pPr>
            <a:r>
              <a:rPr lang="en-US" sz="1050" dirty="0">
                <a:latin typeface="Arial" charset="0"/>
              </a:rPr>
              <a:t>vrijstelling</a:t>
            </a:r>
            <a:endParaRPr lang="nl-NL" sz="1050" dirty="0">
              <a:latin typeface="Arial" charset="0"/>
            </a:endParaRPr>
          </a:p>
        </p:txBody>
      </p:sp>
      <p:sp>
        <p:nvSpPr>
          <p:cNvPr id="48" name="Tekstvak 47"/>
          <p:cNvSpPr txBox="1"/>
          <p:nvPr/>
        </p:nvSpPr>
        <p:spPr>
          <a:xfrm>
            <a:off x="9528175" y="4429125"/>
            <a:ext cx="857250" cy="254000"/>
          </a:xfrm>
          <a:prstGeom prst="rect">
            <a:avLst/>
          </a:prstGeom>
          <a:noFill/>
        </p:spPr>
        <p:txBody>
          <a:bodyPr>
            <a:spAutoFit/>
          </a:bodyPr>
          <a:lstStyle/>
          <a:p>
            <a:pPr>
              <a:defRPr/>
            </a:pPr>
            <a:r>
              <a:rPr lang="en-US" sz="1050" dirty="0">
                <a:latin typeface="Arial" charset="0"/>
              </a:rPr>
              <a:t>Oud pand</a:t>
            </a:r>
            <a:endParaRPr lang="nl-NL" sz="1050" dirty="0">
              <a:latin typeface="Arial" charset="0"/>
            </a:endParaRPr>
          </a:p>
        </p:txBody>
      </p:sp>
      <p:cxnSp>
        <p:nvCxnSpPr>
          <p:cNvPr id="49" name="Rechte verbindingslijn met pijl 48"/>
          <p:cNvCxnSpPr/>
          <p:nvPr/>
        </p:nvCxnSpPr>
        <p:spPr>
          <a:xfrm>
            <a:off x="4956175" y="3500439"/>
            <a:ext cx="3786188" cy="1587"/>
          </a:xfrm>
          <a:prstGeom prst="straightConnector1">
            <a:avLst/>
          </a:prstGeom>
          <a:ln w="28575">
            <a:solidFill>
              <a:srgbClr val="000000"/>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50" name="Rechte verbindingslijn met pijl 49"/>
          <p:cNvCxnSpPr/>
          <p:nvPr/>
        </p:nvCxnSpPr>
        <p:spPr>
          <a:xfrm>
            <a:off x="8742364" y="3500439"/>
            <a:ext cx="1571625" cy="1587"/>
          </a:xfrm>
          <a:prstGeom prst="straightConnector1">
            <a:avLst/>
          </a:prstGeom>
          <a:ln w="28575">
            <a:tailEnd type="arrow"/>
          </a:ln>
        </p:spPr>
        <p:style>
          <a:lnRef idx="1">
            <a:schemeClr val="dk1"/>
          </a:lnRef>
          <a:fillRef idx="0">
            <a:schemeClr val="dk1"/>
          </a:fillRef>
          <a:effectRef idx="0">
            <a:schemeClr val="dk1"/>
          </a:effectRef>
          <a:fontRef idx="minor">
            <a:schemeClr val="tx1"/>
          </a:fontRef>
        </p:style>
      </p:cxnSp>
      <p:cxnSp>
        <p:nvCxnSpPr>
          <p:cNvPr id="53" name="Rechte verbindingslijn met pijl 49"/>
          <p:cNvCxnSpPr>
            <a:cxnSpLocks noChangeShapeType="1"/>
          </p:cNvCxnSpPr>
          <p:nvPr/>
        </p:nvCxnSpPr>
        <p:spPr bwMode="auto">
          <a:xfrm>
            <a:off x="3927475" y="3502025"/>
            <a:ext cx="1030288" cy="0"/>
          </a:xfrm>
          <a:prstGeom prst="straightConnector1">
            <a:avLst/>
          </a:prstGeom>
          <a:noFill/>
          <a:ln w="28575" algn="ctr">
            <a:solidFill>
              <a:schemeClr val="tx1"/>
            </a:solidFill>
            <a:prstDash val="sysDot"/>
            <a:round/>
            <a:headEnd/>
            <a:tailEnd type="arrow" w="med" len="med"/>
          </a:ln>
          <a:extLst>
            <a:ext uri="{909E8E84-426E-40DD-AFC4-6F175D3DCCD1}">
              <a14:hiddenFill xmlns:a14="http://schemas.microsoft.com/office/drawing/2010/main">
                <a:noFill/>
              </a14:hiddenFill>
            </a:ext>
          </a:extLst>
        </p:spPr>
      </p:cxnSp>
      <p:sp>
        <p:nvSpPr>
          <p:cNvPr id="54" name="Tekstvak 53"/>
          <p:cNvSpPr txBox="1"/>
          <p:nvPr/>
        </p:nvSpPr>
        <p:spPr>
          <a:xfrm>
            <a:off x="2978151" y="2571750"/>
            <a:ext cx="1069975" cy="254000"/>
          </a:xfrm>
          <a:prstGeom prst="rect">
            <a:avLst/>
          </a:prstGeom>
          <a:noFill/>
        </p:spPr>
        <p:txBody>
          <a:bodyPr>
            <a:spAutoFit/>
          </a:bodyPr>
          <a:lstStyle/>
          <a:p>
            <a:pPr>
              <a:defRPr/>
            </a:pPr>
            <a:r>
              <a:rPr lang="en-US" sz="1050" dirty="0" err="1">
                <a:latin typeface="Arial" charset="0"/>
              </a:rPr>
              <a:t>belast</a:t>
            </a:r>
            <a:endParaRPr lang="nl-NL" sz="1050" dirty="0">
              <a:latin typeface="Arial" charset="0"/>
            </a:endParaRPr>
          </a:p>
        </p:txBody>
      </p:sp>
    </p:spTree>
    <p:extLst>
      <p:ext uri="{BB962C8B-B14F-4D97-AF65-F5344CB8AC3E}">
        <p14:creationId xmlns:p14="http://schemas.microsoft.com/office/powerpoint/2010/main" val="136805926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pic>
        <p:nvPicPr>
          <p:cNvPr id="1027" name="Picture 3" descr="Afbeeldingsresultaat voor woning met zonnepanelen">
            <a:hlinkClick r:id="rId3"/>
            <a:extLst>
              <a:ext uri="{FF2B5EF4-FFF2-40B4-BE49-F238E27FC236}">
                <a16:creationId xmlns:a16="http://schemas.microsoft.com/office/drawing/2014/main" id="{5C4C45B7-4430-4C39-87F2-7AF90E6F78E8}"/>
              </a:ext>
            </a:extLst>
          </p:cNvPr>
          <p:cNvPicPr>
            <a:picLocks noGrp="1" noChangeAspect="1" noChangeArrowheads="1"/>
          </p:cNvPicPr>
          <p:nvPr>
            <p:ph type="tbl" sz="quarter" idx="17"/>
          </p:nvPr>
        </p:nvPicPr>
        <p:blipFill>
          <a:blip r:embed="rId4">
            <a:extLst>
              <a:ext uri="{28A0092B-C50C-407E-A947-70E740481C1C}">
                <a14:useLocalDpi xmlns:a14="http://schemas.microsoft.com/office/drawing/2010/main" val="0"/>
              </a:ext>
            </a:extLst>
          </a:blip>
          <a:stretch>
            <a:fillRect/>
          </a:stretch>
        </p:blipFill>
        <p:spPr bwMode="auto">
          <a:xfrm>
            <a:off x="6531223" y="1916832"/>
            <a:ext cx="4896544" cy="3024336"/>
          </a:xfrm>
          <a:prstGeom prst="rect">
            <a:avLst/>
          </a:prstGeom>
          <a:noFill/>
          <a:extLst>
            <a:ext uri="{909E8E84-426E-40DD-AFC4-6F175D3DCCD1}">
              <a14:hiddenFill xmlns:a14="http://schemas.microsoft.com/office/drawing/2010/main">
                <a:solidFill>
                  <a:srgbClr val="FFFFFF"/>
                </a:solidFill>
              </a14:hiddenFill>
            </a:ext>
          </a:extLst>
        </p:spPr>
      </p:pic>
      <p:sp>
        <p:nvSpPr>
          <p:cNvPr id="4" name="Tijdelijke aanduiding voor verticale tekst 3">
            <a:extLst>
              <a:ext uri="{FF2B5EF4-FFF2-40B4-BE49-F238E27FC236}">
                <a16:creationId xmlns:a16="http://schemas.microsoft.com/office/drawing/2014/main" id="{96D72D2A-108C-4223-8F37-DEE16527A1A5}"/>
              </a:ext>
            </a:extLst>
          </p:cNvPr>
          <p:cNvSpPr>
            <a:spLocks noGrp="1"/>
          </p:cNvSpPr>
          <p:nvPr>
            <p:ph type="body" orient="vert" idx="1"/>
          </p:nvPr>
        </p:nvSpPr>
        <p:spPr/>
        <p:txBody>
          <a:bodyPr/>
          <a:lstStyle/>
          <a:p>
            <a:pPr marL="285750" indent="-285750">
              <a:buFont typeface="Arial" panose="020B0604020202020204" pitchFamily="34" charset="0"/>
              <a:buChar char="•"/>
            </a:pPr>
            <a:r>
              <a:rPr lang="nl-NL" dirty="0"/>
              <a:t>Hof Arnhem-</a:t>
            </a:r>
            <a:r>
              <a:rPr lang="nl-NL" dirty="0" err="1"/>
              <a:t>Leeeuwarden</a:t>
            </a:r>
            <a:r>
              <a:rPr lang="nl-NL" dirty="0"/>
              <a:t> d.d. 5-11-2019, </a:t>
            </a:r>
            <a:r>
              <a:rPr lang="nl-NL" dirty="0" err="1"/>
              <a:t>nmr</a:t>
            </a:r>
            <a:r>
              <a:rPr lang="nl-NL" dirty="0"/>
              <a:t>. 18/01238 : privé gebruik </a:t>
            </a:r>
          </a:p>
          <a:p>
            <a:pPr marL="285750" indent="-285750">
              <a:buFont typeface="Arial" panose="020B0604020202020204" pitchFamily="34" charset="0"/>
              <a:buChar char="•"/>
            </a:pPr>
            <a:endParaRPr lang="nl-NL" dirty="0"/>
          </a:p>
          <a:p>
            <a:pPr marL="285750" indent="-285750">
              <a:buFont typeface="Arial" panose="020B0604020202020204" pitchFamily="34" charset="0"/>
              <a:buChar char="•"/>
            </a:pPr>
            <a:r>
              <a:rPr lang="nl-NL" dirty="0"/>
              <a:t>HR heeft op 27 september 2019 zaak afgedaan met RO 81 – geen nieuwe rechtsvragen</a:t>
            </a:r>
          </a:p>
          <a:p>
            <a:pPr marL="285750" indent="-285750">
              <a:buFont typeface="Arial" panose="020B0604020202020204" pitchFamily="34" charset="0"/>
              <a:buChar char="•"/>
            </a:pPr>
            <a:r>
              <a:rPr lang="nl-NL" dirty="0"/>
              <a:t>Er ligt nog wel een casus bij de Hoge Raad waarin standpunt belastingdienst ter discussie staat. In deze zaak heeft Hof standpunt belastingdienst bevestigd.</a:t>
            </a:r>
          </a:p>
          <a:p>
            <a:pPr marL="285750" indent="-285750">
              <a:buFont typeface="Arial" panose="020B0604020202020204" pitchFamily="34" charset="0"/>
              <a:buChar char="•"/>
            </a:pPr>
            <a:r>
              <a:rPr lang="nl-NL" dirty="0"/>
              <a:t>In 2019 al 7 uitspraken Hoven en rechtbanken. </a:t>
            </a:r>
          </a:p>
        </p:txBody>
      </p:sp>
      <p:sp>
        <p:nvSpPr>
          <p:cNvPr id="5" name="Tijdelijke aanduiding voor tekst 4">
            <a:extLst>
              <a:ext uri="{FF2B5EF4-FFF2-40B4-BE49-F238E27FC236}">
                <a16:creationId xmlns:a16="http://schemas.microsoft.com/office/drawing/2014/main" id="{4EB26F2C-F36B-405A-B51E-EC9A64DB7910}"/>
              </a:ext>
            </a:extLst>
          </p:cNvPr>
          <p:cNvSpPr>
            <a:spLocks noGrp="1"/>
          </p:cNvSpPr>
          <p:nvPr>
            <p:ph type="body" idx="14"/>
          </p:nvPr>
        </p:nvSpPr>
        <p:spPr/>
        <p:txBody>
          <a:bodyPr/>
          <a:lstStyle/>
          <a:p>
            <a:endParaRPr lang="nl-NL"/>
          </a:p>
        </p:txBody>
      </p:sp>
      <p:sp>
        <p:nvSpPr>
          <p:cNvPr id="2" name="Titel 1">
            <a:extLst>
              <a:ext uri="{FF2B5EF4-FFF2-40B4-BE49-F238E27FC236}">
                <a16:creationId xmlns:a16="http://schemas.microsoft.com/office/drawing/2014/main" id="{E1615F78-EBE8-4C5B-B277-CC0BBD230C42}"/>
              </a:ext>
            </a:extLst>
          </p:cNvPr>
          <p:cNvSpPr>
            <a:spLocks noGrp="1"/>
          </p:cNvSpPr>
          <p:nvPr>
            <p:ph type="title"/>
          </p:nvPr>
        </p:nvSpPr>
        <p:spPr/>
        <p:txBody>
          <a:bodyPr/>
          <a:lstStyle/>
          <a:p>
            <a:r>
              <a:rPr lang="nl-NL" dirty="0"/>
              <a:t>De eigen woning </a:t>
            </a:r>
          </a:p>
        </p:txBody>
      </p:sp>
    </p:spTree>
    <p:extLst>
      <p:ext uri="{BB962C8B-B14F-4D97-AF65-F5344CB8AC3E}">
        <p14:creationId xmlns:p14="http://schemas.microsoft.com/office/powerpoint/2010/main" val="1378808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3" name="Tijdelijke aanduiding voor verticale tekst 2">
            <a:extLst>
              <a:ext uri="{FF2B5EF4-FFF2-40B4-BE49-F238E27FC236}">
                <a16:creationId xmlns:a16="http://schemas.microsoft.com/office/drawing/2014/main" id="{73067A76-2974-4EC0-B071-87BBF1F8DAD5}"/>
              </a:ext>
            </a:extLst>
          </p:cNvPr>
          <p:cNvSpPr>
            <a:spLocks noGrp="1"/>
          </p:cNvSpPr>
          <p:nvPr>
            <p:ph type="body" orient="vert" idx="1"/>
          </p:nvPr>
        </p:nvSpPr>
        <p:spPr/>
        <p:txBody>
          <a:bodyPr/>
          <a:lstStyle/>
          <a:p>
            <a:pPr marL="285750" indent="-285750">
              <a:buFont typeface="Arial" panose="020B0604020202020204" pitchFamily="34" charset="0"/>
              <a:buChar char="•"/>
            </a:pPr>
            <a:r>
              <a:rPr lang="nl-NL" dirty="0"/>
              <a:t>Hof Arnhem-Leeuwarden d.d. 19-11-2019, </a:t>
            </a:r>
            <a:r>
              <a:rPr lang="nl-NL" dirty="0" err="1"/>
              <a:t>nmr</a:t>
            </a:r>
            <a:r>
              <a:rPr lang="nl-NL" dirty="0"/>
              <a:t>. 18/00712 t/m 18/00714</a:t>
            </a:r>
          </a:p>
          <a:p>
            <a:pPr marL="285750" indent="-285750">
              <a:buFont typeface="Arial" panose="020B0604020202020204" pitchFamily="34" charset="0"/>
              <a:buChar char="•"/>
            </a:pPr>
            <a:r>
              <a:rPr lang="nl-NL" dirty="0"/>
              <a:t>Rekening houden met leegstand</a:t>
            </a:r>
          </a:p>
          <a:p>
            <a:pPr marL="285750" indent="-285750">
              <a:buFont typeface="Arial" panose="020B0604020202020204" pitchFamily="34" charset="0"/>
              <a:buChar char="•"/>
            </a:pPr>
            <a:r>
              <a:rPr lang="nl-NL" dirty="0"/>
              <a:t>Tarief privé gebruik = 21% </a:t>
            </a:r>
          </a:p>
          <a:p>
            <a:pPr marL="285750" indent="-285750">
              <a:buFont typeface="Arial" panose="020B0604020202020204" pitchFamily="34" charset="0"/>
              <a:buChar char="•"/>
            </a:pPr>
            <a:endParaRPr lang="nl-NL" dirty="0"/>
          </a:p>
          <a:p>
            <a:pPr marL="285750" indent="-285750">
              <a:buFont typeface="Arial" panose="020B0604020202020204" pitchFamily="34" charset="0"/>
              <a:buChar char="•"/>
            </a:pPr>
            <a:r>
              <a:rPr lang="nl-NL" dirty="0"/>
              <a:t>Regel verhuurverplichting</a:t>
            </a:r>
          </a:p>
        </p:txBody>
      </p:sp>
      <p:sp>
        <p:nvSpPr>
          <p:cNvPr id="4" name="Tijdelijke aanduiding voor tekst 3">
            <a:extLst>
              <a:ext uri="{FF2B5EF4-FFF2-40B4-BE49-F238E27FC236}">
                <a16:creationId xmlns:a16="http://schemas.microsoft.com/office/drawing/2014/main" id="{C180CD38-AC2C-4594-ACE4-A859D89B25DC}"/>
              </a:ext>
            </a:extLst>
          </p:cNvPr>
          <p:cNvSpPr>
            <a:spLocks noGrp="1"/>
          </p:cNvSpPr>
          <p:nvPr>
            <p:ph type="body" idx="14"/>
          </p:nvPr>
        </p:nvSpPr>
        <p:spPr/>
        <p:txBody>
          <a:bodyPr/>
          <a:lstStyle/>
          <a:p>
            <a:endParaRPr lang="nl-NL"/>
          </a:p>
        </p:txBody>
      </p:sp>
      <p:sp>
        <p:nvSpPr>
          <p:cNvPr id="5" name="Titel 4">
            <a:extLst>
              <a:ext uri="{FF2B5EF4-FFF2-40B4-BE49-F238E27FC236}">
                <a16:creationId xmlns:a16="http://schemas.microsoft.com/office/drawing/2014/main" id="{2344F241-7CDE-48EB-818D-1B346B994AF5}"/>
              </a:ext>
            </a:extLst>
          </p:cNvPr>
          <p:cNvSpPr>
            <a:spLocks noGrp="1"/>
          </p:cNvSpPr>
          <p:nvPr>
            <p:ph type="title"/>
          </p:nvPr>
        </p:nvSpPr>
        <p:spPr/>
        <p:txBody>
          <a:bodyPr/>
          <a:lstStyle/>
          <a:p>
            <a:endParaRPr lang="nl-NL"/>
          </a:p>
        </p:txBody>
      </p:sp>
      <p:pic>
        <p:nvPicPr>
          <p:cNvPr id="2051" name="Picture 3" descr="Afbeeldingsresultaat voor vakantiewoning">
            <a:hlinkClick r:id="rId3"/>
            <a:extLst>
              <a:ext uri="{FF2B5EF4-FFF2-40B4-BE49-F238E27FC236}">
                <a16:creationId xmlns:a16="http://schemas.microsoft.com/office/drawing/2014/main" id="{1EA647BD-B7A3-4DCE-8646-353A1FC1561A}"/>
              </a:ext>
            </a:extLst>
          </p:cNvPr>
          <p:cNvPicPr>
            <a:picLocks noGrp="1" noChangeAspect="1" noChangeArrowheads="1"/>
          </p:cNvPicPr>
          <p:nvPr>
            <p:ph type="tbl" sz="quarter" idx="17"/>
          </p:nvPr>
        </p:nvPicPr>
        <p:blipFill>
          <a:blip r:embed="rId4">
            <a:extLst>
              <a:ext uri="{28A0092B-C50C-407E-A947-70E740481C1C}">
                <a14:useLocalDpi xmlns:a14="http://schemas.microsoft.com/office/drawing/2010/main" val="0"/>
              </a:ext>
            </a:extLst>
          </a:blip>
          <a:srcRect/>
          <a:stretch>
            <a:fillRect/>
          </a:stretch>
        </p:blipFill>
        <p:spPr bwMode="auto">
          <a:xfrm>
            <a:off x="7251303" y="1916832"/>
            <a:ext cx="3960440" cy="29523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56366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1A15CFE2-EFE7-4B74-8659-FB16BFDD561C}"/>
              </a:ext>
            </a:extLst>
          </p:cNvPr>
          <p:cNvSpPr>
            <a:spLocks noGrp="1"/>
          </p:cNvSpPr>
          <p:nvPr>
            <p:ph type="body" orient="vert" idx="1"/>
          </p:nvPr>
        </p:nvSpPr>
        <p:spPr/>
        <p:txBody>
          <a:bodyPr/>
          <a:lstStyle/>
          <a:p>
            <a:pPr lvl="1"/>
            <a:r>
              <a:rPr lang="nl-NL" dirty="0"/>
              <a:t>Verschuldigde </a:t>
            </a:r>
            <a:r>
              <a:rPr lang="nl-NL" dirty="0">
                <a:solidFill>
                  <a:srgbClr val="ED1A3B"/>
                </a:solidFill>
              </a:rPr>
              <a:t>overdrachtsbelasting</a:t>
            </a:r>
            <a:r>
              <a:rPr lang="nl-NL" dirty="0"/>
              <a:t> bij overdracht van niet-woningen gaat </a:t>
            </a:r>
            <a:r>
              <a:rPr lang="nl-NL" dirty="0">
                <a:solidFill>
                  <a:srgbClr val="ED1A3B"/>
                </a:solidFill>
              </a:rPr>
              <a:t>omhoog van 6% naar 7% per 1 januari 2021</a:t>
            </a:r>
          </a:p>
          <a:p>
            <a:pPr lvl="1"/>
            <a:endParaRPr lang="nl-NL" dirty="0"/>
          </a:p>
          <a:p>
            <a:pPr lvl="1"/>
            <a:r>
              <a:rPr lang="nl-NL" dirty="0"/>
              <a:t>Eenvoudige maatregel, maar grote financiële impact voor zakelijke vastgoedmarkt</a:t>
            </a:r>
          </a:p>
          <a:p>
            <a:pPr lvl="1"/>
            <a:endParaRPr lang="nl-NL" dirty="0"/>
          </a:p>
          <a:p>
            <a:pPr lvl="1"/>
            <a:r>
              <a:rPr lang="nl-NL" dirty="0"/>
              <a:t>Belang van het onderscheid en de afbakening tussen woningen en niet-woningen neemt hierdoor toe </a:t>
            </a:r>
          </a:p>
          <a:p>
            <a:pPr lvl="1"/>
            <a:r>
              <a:rPr lang="nl-NL" dirty="0"/>
              <a:t>Beoogde doel is dat de dekking van de energiemaatregelen vooral voor rekening van het bedrijfsleven komt</a:t>
            </a:r>
            <a:endParaRPr lang="nl-NL" dirty="0">
              <a:solidFill>
                <a:schemeClr val="tx1"/>
              </a:solidFill>
            </a:endParaRPr>
          </a:p>
          <a:p>
            <a:endParaRPr lang="nl-NL" dirty="0"/>
          </a:p>
        </p:txBody>
      </p:sp>
      <p:sp>
        <p:nvSpPr>
          <p:cNvPr id="3" name="Tijdelijke aanduiding voor tekst 2">
            <a:extLst>
              <a:ext uri="{FF2B5EF4-FFF2-40B4-BE49-F238E27FC236}">
                <a16:creationId xmlns:a16="http://schemas.microsoft.com/office/drawing/2014/main" id="{795F3EDB-64F2-4EE0-BC5A-2F966302AF30}"/>
              </a:ext>
            </a:extLst>
          </p:cNvPr>
          <p:cNvSpPr>
            <a:spLocks noGrp="1"/>
          </p:cNvSpPr>
          <p:nvPr>
            <p:ph type="body" idx="14"/>
          </p:nvPr>
        </p:nvSpPr>
        <p:spPr/>
        <p:txBody>
          <a:bodyPr/>
          <a:lstStyle/>
          <a:p>
            <a:r>
              <a:rPr lang="nl-NL" dirty="0"/>
              <a:t>Dekking energiemaatregelen: verhoging overdrachtsbelasting </a:t>
            </a:r>
          </a:p>
          <a:p>
            <a:endParaRPr lang="nl-NL" dirty="0"/>
          </a:p>
        </p:txBody>
      </p:sp>
      <p:sp>
        <p:nvSpPr>
          <p:cNvPr id="4" name="Titel 3">
            <a:extLst>
              <a:ext uri="{FF2B5EF4-FFF2-40B4-BE49-F238E27FC236}">
                <a16:creationId xmlns:a16="http://schemas.microsoft.com/office/drawing/2014/main" id="{8BAC84C8-C770-46A8-9B7D-0184E193AD64}"/>
              </a:ext>
            </a:extLst>
          </p:cNvPr>
          <p:cNvSpPr>
            <a:spLocks noGrp="1"/>
          </p:cNvSpPr>
          <p:nvPr>
            <p:ph type="title"/>
          </p:nvPr>
        </p:nvSpPr>
        <p:spPr/>
        <p:txBody>
          <a:bodyPr/>
          <a:lstStyle/>
          <a:p>
            <a:r>
              <a:rPr lang="nl-NL" dirty="0"/>
              <a:t>Wet Fiscale Maatregelen Klimaatakkoord</a:t>
            </a:r>
          </a:p>
        </p:txBody>
      </p:sp>
    </p:spTree>
    <p:extLst>
      <p:ext uri="{BB962C8B-B14F-4D97-AF65-F5344CB8AC3E}">
        <p14:creationId xmlns:p14="http://schemas.microsoft.com/office/powerpoint/2010/main" val="2679251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AEAA0990-968A-4B07-A140-3E94C08B86A2}"/>
              </a:ext>
            </a:extLst>
          </p:cNvPr>
          <p:cNvSpPr>
            <a:spLocks noGrp="1"/>
          </p:cNvSpPr>
          <p:nvPr>
            <p:ph type="body" orient="vert" idx="1"/>
          </p:nvPr>
        </p:nvSpPr>
        <p:spPr/>
        <p:txBody>
          <a:bodyPr/>
          <a:lstStyle/>
          <a:p>
            <a:pPr marL="285607" indent="-285607">
              <a:buFont typeface="Arial" panose="020B0604020202020204" pitchFamily="34" charset="0"/>
              <a:buChar char="•"/>
            </a:pPr>
            <a:r>
              <a:rPr lang="nl-NL" dirty="0"/>
              <a:t>Kleinst mogelijke statistische steekproef die benodigd is om de populatie te kunnen goedkeuren </a:t>
            </a:r>
          </a:p>
          <a:p>
            <a:pPr marL="285607" indent="-285607">
              <a:buFont typeface="Arial" panose="020B0604020202020204" pitchFamily="34" charset="0"/>
              <a:buChar char="•"/>
            </a:pPr>
            <a:endParaRPr lang="nl-NL" dirty="0"/>
          </a:p>
          <a:p>
            <a:pPr marL="285607" indent="-285607">
              <a:buFont typeface="Arial" panose="020B0604020202020204" pitchFamily="34" charset="0"/>
              <a:buChar char="•"/>
            </a:pPr>
            <a:endParaRPr lang="nl-NL" dirty="0"/>
          </a:p>
          <a:p>
            <a:endParaRPr lang="nl-NL" dirty="0"/>
          </a:p>
          <a:p>
            <a:pPr marL="285607" indent="-285607">
              <a:buFont typeface="Arial" panose="020B0604020202020204" pitchFamily="34" charset="0"/>
              <a:buChar char="•"/>
            </a:pPr>
            <a:r>
              <a:rPr lang="nl-NL" dirty="0"/>
              <a:t>Omvang steekproef wordt bepaald door 4 parameters</a:t>
            </a:r>
          </a:p>
          <a:p>
            <a:pPr marL="555472" lvl="1" indent="-285607">
              <a:buFont typeface="Arial" panose="020B0604020202020204" pitchFamily="34" charset="0"/>
              <a:buChar char="•"/>
            </a:pPr>
            <a:r>
              <a:rPr lang="nl-NL" dirty="0"/>
              <a:t>De geëiste betrouwbaarheid											</a:t>
            </a:r>
            <a:r>
              <a:rPr lang="nl-NL" dirty="0">
                <a:sym typeface="Wingdings" panose="05000000000000000000" pitchFamily="2" charset="2"/>
              </a:rPr>
              <a:t> betrouwbaarheid van 95%</a:t>
            </a:r>
            <a:r>
              <a:rPr lang="nl-NL" dirty="0"/>
              <a:t>							</a:t>
            </a:r>
          </a:p>
          <a:p>
            <a:pPr marL="555472" lvl="1" indent="-285607">
              <a:buFont typeface="Arial" panose="020B0604020202020204" pitchFamily="34" charset="0"/>
              <a:buChar char="•"/>
            </a:pPr>
            <a:r>
              <a:rPr lang="nl-NL" dirty="0"/>
              <a:t>Het aantal fouten dat in de steekproef wordt toegestaan	     </a:t>
            </a:r>
            <a:r>
              <a:rPr lang="nl-NL" dirty="0">
                <a:sym typeface="Wingdings" panose="05000000000000000000" pitchFamily="2" charset="2"/>
              </a:rPr>
              <a:t> 0 fouten</a:t>
            </a:r>
          </a:p>
          <a:p>
            <a:pPr marL="555472" lvl="1" indent="-285607">
              <a:buFont typeface="Arial" panose="020B0604020202020204" pitchFamily="34" charset="0"/>
              <a:buChar char="•"/>
            </a:pPr>
            <a:r>
              <a:rPr lang="nl-NL" dirty="0"/>
              <a:t>De gehanteerde materialiteit										</a:t>
            </a:r>
            <a:r>
              <a:rPr lang="nl-NL" dirty="0">
                <a:sym typeface="Wingdings" panose="05000000000000000000" pitchFamily="2" charset="2"/>
              </a:rPr>
              <a:t> hieruit volgt interval en waardering fout</a:t>
            </a:r>
          </a:p>
          <a:p>
            <a:pPr marL="555472" lvl="1" indent="-285607">
              <a:buFont typeface="Arial" panose="020B0604020202020204" pitchFamily="34" charset="0"/>
              <a:buChar char="•"/>
            </a:pPr>
            <a:r>
              <a:rPr lang="nl-NL" dirty="0">
                <a:sym typeface="Wingdings" panose="05000000000000000000" pitchFamily="2" charset="2"/>
              </a:rPr>
              <a:t>De populatie																</a:t>
            </a:r>
          </a:p>
        </p:txBody>
      </p:sp>
      <p:sp>
        <p:nvSpPr>
          <p:cNvPr id="4" name="Titel 3">
            <a:extLst>
              <a:ext uri="{FF2B5EF4-FFF2-40B4-BE49-F238E27FC236}">
                <a16:creationId xmlns:a16="http://schemas.microsoft.com/office/drawing/2014/main" id="{45B2B63F-CCA3-4B55-8822-8D0DF86B8550}"/>
              </a:ext>
            </a:extLst>
          </p:cNvPr>
          <p:cNvSpPr>
            <a:spLocks noGrp="1"/>
          </p:cNvSpPr>
          <p:nvPr>
            <p:ph type="title"/>
          </p:nvPr>
        </p:nvSpPr>
        <p:spPr/>
        <p:txBody>
          <a:bodyPr/>
          <a:lstStyle/>
          <a:p>
            <a:r>
              <a:rPr lang="nl-NL" dirty="0"/>
              <a:t>Klassieke steekproef</a:t>
            </a:r>
          </a:p>
        </p:txBody>
      </p:sp>
      <p:pic>
        <p:nvPicPr>
          <p:cNvPr id="5" name="Afbeelding 4">
            <a:extLst>
              <a:ext uri="{FF2B5EF4-FFF2-40B4-BE49-F238E27FC236}">
                <a16:creationId xmlns:a16="http://schemas.microsoft.com/office/drawing/2014/main" id="{921CBE07-5E6A-4B44-9301-30B081369276}"/>
              </a:ext>
            </a:extLst>
          </p:cNvPr>
          <p:cNvPicPr>
            <a:picLocks noChangeAspect="1"/>
          </p:cNvPicPr>
          <p:nvPr/>
        </p:nvPicPr>
        <p:blipFill>
          <a:blip r:embed="rId3"/>
          <a:stretch>
            <a:fillRect/>
          </a:stretch>
        </p:blipFill>
        <p:spPr>
          <a:xfrm>
            <a:off x="3013704" y="2192792"/>
            <a:ext cx="5829300" cy="904875"/>
          </a:xfrm>
          <a:prstGeom prst="rect">
            <a:avLst/>
          </a:prstGeom>
        </p:spPr>
      </p:pic>
    </p:spTree>
    <p:extLst>
      <p:ext uri="{BB962C8B-B14F-4D97-AF65-F5344CB8AC3E}">
        <p14:creationId xmlns:p14="http://schemas.microsoft.com/office/powerpoint/2010/main" val="2182118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16152D46-D6E3-4AC4-B991-D50123437D3C}"/>
              </a:ext>
            </a:extLst>
          </p:cNvPr>
          <p:cNvSpPr>
            <a:spLocks noGrp="1"/>
          </p:cNvSpPr>
          <p:nvPr>
            <p:ph type="body" orient="vert" idx="1"/>
          </p:nvPr>
        </p:nvSpPr>
        <p:spPr>
          <a:xfrm>
            <a:off x="-262644" y="688782"/>
            <a:ext cx="16540070" cy="6046694"/>
          </a:xfrm>
        </p:spPr>
        <p:txBody>
          <a:bodyPr/>
          <a:lstStyle/>
          <a:p>
            <a:endParaRPr lang="nl-NL" dirty="0"/>
          </a:p>
        </p:txBody>
      </p:sp>
      <p:sp>
        <p:nvSpPr>
          <p:cNvPr id="3" name="Tijdelijke aanduiding voor tekst 2">
            <a:extLst>
              <a:ext uri="{FF2B5EF4-FFF2-40B4-BE49-F238E27FC236}">
                <a16:creationId xmlns:a16="http://schemas.microsoft.com/office/drawing/2014/main" id="{048A001E-704B-4635-890E-4D4AF129469B}"/>
              </a:ext>
            </a:extLst>
          </p:cNvPr>
          <p:cNvSpPr>
            <a:spLocks noGrp="1"/>
          </p:cNvSpPr>
          <p:nvPr>
            <p:ph type="body" idx="14"/>
          </p:nvPr>
        </p:nvSpPr>
        <p:spPr/>
        <p:txBody>
          <a:bodyPr/>
          <a:lstStyle/>
          <a:p>
            <a:endParaRPr lang="nl-NL"/>
          </a:p>
        </p:txBody>
      </p:sp>
      <p:sp>
        <p:nvSpPr>
          <p:cNvPr id="4" name="Titel 3">
            <a:extLst>
              <a:ext uri="{FF2B5EF4-FFF2-40B4-BE49-F238E27FC236}">
                <a16:creationId xmlns:a16="http://schemas.microsoft.com/office/drawing/2014/main" id="{157F5B7A-DE7D-4E86-8CB9-BF36F325B183}"/>
              </a:ext>
            </a:extLst>
          </p:cNvPr>
          <p:cNvSpPr>
            <a:spLocks noGrp="1"/>
          </p:cNvSpPr>
          <p:nvPr>
            <p:ph type="title"/>
          </p:nvPr>
        </p:nvSpPr>
        <p:spPr/>
        <p:txBody>
          <a:bodyPr/>
          <a:lstStyle/>
          <a:p>
            <a:r>
              <a:rPr lang="nl-NL" dirty="0"/>
              <a:t>Vraag het maar…….</a:t>
            </a:r>
          </a:p>
        </p:txBody>
      </p:sp>
      <p:pic>
        <p:nvPicPr>
          <p:cNvPr id="3075" name="Picture 3" descr="Afbeeldingsresultaat voor vragen stellen">
            <a:hlinkClick r:id="rId3"/>
            <a:extLst>
              <a:ext uri="{FF2B5EF4-FFF2-40B4-BE49-F238E27FC236}">
                <a16:creationId xmlns:a16="http://schemas.microsoft.com/office/drawing/2014/main" id="{8D56BA22-ED4B-4E80-9A64-D1C8CFCF072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38935" y="2060848"/>
            <a:ext cx="3753767" cy="30243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7835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C7EF6898-DA20-43E4-A674-AAA120A42803}"/>
              </a:ext>
            </a:extLst>
          </p:cNvPr>
          <p:cNvSpPr>
            <a:spLocks noGrp="1"/>
          </p:cNvSpPr>
          <p:nvPr>
            <p:ph type="body" orient="vert" idx="1"/>
          </p:nvPr>
        </p:nvSpPr>
        <p:spPr/>
        <p:txBody>
          <a:bodyPr/>
          <a:lstStyle/>
          <a:p>
            <a:r>
              <a:rPr lang="nl-NL" dirty="0"/>
              <a:t>Bepalen van het controleobject</a:t>
            </a:r>
          </a:p>
          <a:p>
            <a:endParaRPr lang="nl-NL" b="1" dirty="0"/>
          </a:p>
          <a:p>
            <a:r>
              <a:rPr lang="nl-NL" b="1" dirty="0"/>
              <a:t>Ontvangsten</a:t>
            </a:r>
          </a:p>
          <a:p>
            <a:pPr marL="285750" indent="-285750">
              <a:buFontTx/>
              <a:buChar char="-"/>
            </a:pPr>
            <a:r>
              <a:rPr lang="nl-NL" dirty="0"/>
              <a:t>Opboeking debiteuren</a:t>
            </a:r>
          </a:p>
          <a:p>
            <a:pPr marL="285750" indent="-285750">
              <a:buFontTx/>
              <a:buChar char="-"/>
            </a:pPr>
            <a:r>
              <a:rPr lang="nl-NL" dirty="0"/>
              <a:t>Ontvangsten buiten de debiteurenadministratie om</a:t>
            </a:r>
          </a:p>
          <a:p>
            <a:pPr marL="285750" indent="-285750">
              <a:buFontTx/>
              <a:buChar char="-"/>
            </a:pPr>
            <a:endParaRPr lang="nl-NL" b="1" dirty="0"/>
          </a:p>
          <a:p>
            <a:r>
              <a:rPr lang="nl-NL" b="1" dirty="0"/>
              <a:t>Uitgaven</a:t>
            </a:r>
          </a:p>
          <a:p>
            <a:pPr marL="285750" indent="-285750">
              <a:buFontTx/>
              <a:buChar char="-"/>
            </a:pPr>
            <a:r>
              <a:rPr lang="nl-NL" dirty="0"/>
              <a:t>Opboeking crediteuren</a:t>
            </a:r>
          </a:p>
          <a:p>
            <a:pPr marL="285750" indent="-285750">
              <a:buFontTx/>
              <a:buChar char="-"/>
            </a:pPr>
            <a:r>
              <a:rPr lang="nl-NL" dirty="0"/>
              <a:t>Betalingen buiten de crediteurenadministratie om</a:t>
            </a:r>
          </a:p>
          <a:p>
            <a:pPr marL="285750" indent="-285750">
              <a:buFontTx/>
              <a:buChar char="-"/>
            </a:pPr>
            <a:r>
              <a:rPr lang="nl-NL" dirty="0"/>
              <a:t>Uitbetaalde nettolonen</a:t>
            </a:r>
          </a:p>
          <a:p>
            <a:endParaRPr lang="nl-NL" dirty="0"/>
          </a:p>
          <a:p>
            <a:r>
              <a:rPr lang="nl-NL" dirty="0"/>
              <a:t>In ons </a:t>
            </a:r>
            <a:r>
              <a:rPr lang="nl-NL" dirty="0">
                <a:solidFill>
                  <a:srgbClr val="ED1A3B"/>
                </a:solidFill>
              </a:rPr>
              <a:t>voorbeeld</a:t>
            </a:r>
            <a:r>
              <a:rPr lang="nl-NL" dirty="0"/>
              <a:t> een gegeven: € 18.000.000</a:t>
            </a:r>
          </a:p>
        </p:txBody>
      </p:sp>
      <p:sp>
        <p:nvSpPr>
          <p:cNvPr id="4" name="Titel 3">
            <a:extLst>
              <a:ext uri="{FF2B5EF4-FFF2-40B4-BE49-F238E27FC236}">
                <a16:creationId xmlns:a16="http://schemas.microsoft.com/office/drawing/2014/main" id="{B4E8B107-E272-4A8C-8A02-F86BB23116BF}"/>
              </a:ext>
            </a:extLst>
          </p:cNvPr>
          <p:cNvSpPr>
            <a:spLocks noGrp="1"/>
          </p:cNvSpPr>
          <p:nvPr>
            <p:ph type="title"/>
          </p:nvPr>
        </p:nvSpPr>
        <p:spPr/>
        <p:txBody>
          <a:bodyPr/>
          <a:lstStyle/>
          <a:p>
            <a:r>
              <a:rPr lang="nl-NL" dirty="0"/>
              <a:t>Populatie</a:t>
            </a:r>
          </a:p>
        </p:txBody>
      </p:sp>
    </p:spTree>
    <p:extLst>
      <p:ext uri="{BB962C8B-B14F-4D97-AF65-F5344CB8AC3E}">
        <p14:creationId xmlns:p14="http://schemas.microsoft.com/office/powerpoint/2010/main" val="4083681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Afbeelding 4">
            <a:extLst>
              <a:ext uri="{FF2B5EF4-FFF2-40B4-BE49-F238E27FC236}">
                <a16:creationId xmlns:a16="http://schemas.microsoft.com/office/drawing/2014/main" id="{5BF69EF3-47F4-426D-95F4-233D2FF5B2C3}"/>
              </a:ext>
            </a:extLst>
          </p:cNvPr>
          <p:cNvPicPr>
            <a:picLocks noChangeAspect="1"/>
          </p:cNvPicPr>
          <p:nvPr/>
        </p:nvPicPr>
        <p:blipFill>
          <a:blip r:embed="rId3"/>
          <a:stretch>
            <a:fillRect/>
          </a:stretch>
        </p:blipFill>
        <p:spPr>
          <a:xfrm>
            <a:off x="3578895" y="836712"/>
            <a:ext cx="8348580" cy="5737351"/>
          </a:xfrm>
          <a:prstGeom prst="rect">
            <a:avLst/>
          </a:prstGeom>
        </p:spPr>
      </p:pic>
      <p:sp>
        <p:nvSpPr>
          <p:cNvPr id="4" name="Titel 3">
            <a:extLst>
              <a:ext uri="{FF2B5EF4-FFF2-40B4-BE49-F238E27FC236}">
                <a16:creationId xmlns:a16="http://schemas.microsoft.com/office/drawing/2014/main" id="{4B2ED772-92D4-47CE-BA07-C6B1255C0FB3}"/>
              </a:ext>
            </a:extLst>
          </p:cNvPr>
          <p:cNvSpPr>
            <a:spLocks noGrp="1"/>
          </p:cNvSpPr>
          <p:nvPr>
            <p:ph type="title"/>
          </p:nvPr>
        </p:nvSpPr>
        <p:spPr/>
        <p:txBody>
          <a:bodyPr/>
          <a:lstStyle/>
          <a:p>
            <a:r>
              <a:rPr lang="nl-NL" dirty="0"/>
              <a:t>Materialiteit</a:t>
            </a:r>
          </a:p>
        </p:txBody>
      </p:sp>
      <p:sp>
        <p:nvSpPr>
          <p:cNvPr id="3" name="Tekstvak 2">
            <a:extLst>
              <a:ext uri="{FF2B5EF4-FFF2-40B4-BE49-F238E27FC236}">
                <a16:creationId xmlns:a16="http://schemas.microsoft.com/office/drawing/2014/main" id="{150E8C79-E84F-4701-9029-F5DB7F6925CC}"/>
              </a:ext>
            </a:extLst>
          </p:cNvPr>
          <p:cNvSpPr txBox="1"/>
          <p:nvPr/>
        </p:nvSpPr>
        <p:spPr>
          <a:xfrm>
            <a:off x="666939" y="1839818"/>
            <a:ext cx="3126038" cy="1754326"/>
          </a:xfrm>
          <a:prstGeom prst="rect">
            <a:avLst/>
          </a:prstGeom>
          <a:noFill/>
        </p:spPr>
        <p:txBody>
          <a:bodyPr wrap="square" rtlCol="0">
            <a:spAutoFit/>
          </a:bodyPr>
          <a:lstStyle/>
          <a:p>
            <a:r>
              <a:rPr lang="nl-NL" dirty="0"/>
              <a:t>In ons </a:t>
            </a:r>
            <a:r>
              <a:rPr lang="nl-NL" dirty="0">
                <a:solidFill>
                  <a:srgbClr val="ED1A3B"/>
                </a:solidFill>
              </a:rPr>
              <a:t>voorbeeld</a:t>
            </a:r>
            <a:r>
              <a:rPr lang="nl-NL" dirty="0"/>
              <a:t>:</a:t>
            </a:r>
          </a:p>
          <a:p>
            <a:endParaRPr lang="nl-NL" dirty="0"/>
          </a:p>
          <a:p>
            <a:r>
              <a:rPr lang="nl-NL" dirty="0"/>
              <a:t>300.000 (stel) omvang organisatie !  Is dus niet gelijk aan populatie.</a:t>
            </a:r>
          </a:p>
          <a:p>
            <a:endParaRPr lang="nl-NL" dirty="0"/>
          </a:p>
        </p:txBody>
      </p:sp>
    </p:spTree>
    <p:extLst>
      <p:ext uri="{BB962C8B-B14F-4D97-AF65-F5344CB8AC3E}">
        <p14:creationId xmlns:p14="http://schemas.microsoft.com/office/powerpoint/2010/main" val="3856265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F8E7CA5D-0C65-4F08-908E-AC13DF043D24}"/>
              </a:ext>
            </a:extLst>
          </p:cNvPr>
          <p:cNvSpPr>
            <a:spLocks noGrp="1"/>
          </p:cNvSpPr>
          <p:nvPr>
            <p:ph type="body" orient="vert" idx="1"/>
          </p:nvPr>
        </p:nvSpPr>
        <p:spPr/>
        <p:txBody>
          <a:bodyPr/>
          <a:lstStyle/>
          <a:p>
            <a:r>
              <a:rPr lang="nl-NL" dirty="0"/>
              <a:t>Schade: maximale schade die de Belastingdienst wil lopen = materialiteit</a:t>
            </a:r>
          </a:p>
          <a:p>
            <a:endParaRPr lang="nl-NL" dirty="0"/>
          </a:p>
          <a:p>
            <a:r>
              <a:rPr lang="nl-NL" dirty="0"/>
              <a:t>Kans: wiskunde/statistiek (poissontabel)</a:t>
            </a:r>
          </a:p>
          <a:p>
            <a:pPr marL="285750" indent="-285750">
              <a:buFontTx/>
              <a:buChar char="-"/>
            </a:pPr>
            <a:r>
              <a:rPr lang="nl-NL" dirty="0"/>
              <a:t>Betrouwbaarheid: 95%</a:t>
            </a:r>
          </a:p>
          <a:p>
            <a:pPr marL="285750" indent="-285750">
              <a:buFontTx/>
              <a:buChar char="-"/>
            </a:pPr>
            <a:r>
              <a:rPr lang="nl-NL" dirty="0"/>
              <a:t>Nulfoutenverwachting</a:t>
            </a:r>
          </a:p>
          <a:p>
            <a:endParaRPr lang="nl-NL" dirty="0"/>
          </a:p>
          <a:p>
            <a:r>
              <a:rPr lang="nl-NL" dirty="0"/>
              <a:t>R = 3</a:t>
            </a:r>
          </a:p>
          <a:p>
            <a:endParaRPr lang="nl-NL" dirty="0"/>
          </a:p>
          <a:p>
            <a:r>
              <a:rPr lang="nl-NL" dirty="0"/>
              <a:t>In ons </a:t>
            </a:r>
            <a:r>
              <a:rPr lang="nl-NL" dirty="0">
                <a:solidFill>
                  <a:srgbClr val="ED1A3B"/>
                </a:solidFill>
              </a:rPr>
              <a:t>voorbeeld</a:t>
            </a:r>
            <a:r>
              <a:rPr lang="nl-NL" dirty="0"/>
              <a:t>: 18 mio / (300.000 / 3) = 180</a:t>
            </a:r>
          </a:p>
          <a:p>
            <a:endParaRPr lang="nl-NL" dirty="0"/>
          </a:p>
          <a:p>
            <a:pPr marL="285750" indent="-285750">
              <a:buFont typeface="Arial" panose="020B0604020202020204" pitchFamily="34" charset="0"/>
              <a:buChar char="•"/>
            </a:pPr>
            <a:r>
              <a:rPr lang="nl-NL" dirty="0"/>
              <a:t>Hiermee verband houdend: </a:t>
            </a:r>
            <a:r>
              <a:rPr lang="nl-NL" dirty="0">
                <a:solidFill>
                  <a:srgbClr val="FF0000"/>
                </a:solidFill>
              </a:rPr>
              <a:t>waarde van een fout</a:t>
            </a:r>
          </a:p>
        </p:txBody>
      </p:sp>
      <p:sp>
        <p:nvSpPr>
          <p:cNvPr id="3" name="Tijdelijke aanduiding voor tekst 2">
            <a:extLst>
              <a:ext uri="{FF2B5EF4-FFF2-40B4-BE49-F238E27FC236}">
                <a16:creationId xmlns:a16="http://schemas.microsoft.com/office/drawing/2014/main" id="{5BC9094C-597E-45E8-8DE1-1FDDBF05329A}"/>
              </a:ext>
            </a:extLst>
          </p:cNvPr>
          <p:cNvSpPr>
            <a:spLocks noGrp="1"/>
          </p:cNvSpPr>
          <p:nvPr>
            <p:ph type="body" idx="14"/>
          </p:nvPr>
        </p:nvSpPr>
        <p:spPr/>
        <p:txBody>
          <a:bodyPr/>
          <a:lstStyle/>
          <a:p>
            <a:r>
              <a:rPr lang="nl-NL" dirty="0"/>
              <a:t>Hoeveel waarnemingen moet de Belastingdienst doen?</a:t>
            </a:r>
          </a:p>
        </p:txBody>
      </p:sp>
      <p:sp>
        <p:nvSpPr>
          <p:cNvPr id="4" name="Titel 3">
            <a:extLst>
              <a:ext uri="{FF2B5EF4-FFF2-40B4-BE49-F238E27FC236}">
                <a16:creationId xmlns:a16="http://schemas.microsoft.com/office/drawing/2014/main" id="{17B577C2-F85E-4080-90D0-37CFE8BF88A0}"/>
              </a:ext>
            </a:extLst>
          </p:cNvPr>
          <p:cNvSpPr>
            <a:spLocks noGrp="1"/>
          </p:cNvSpPr>
          <p:nvPr>
            <p:ph type="title"/>
          </p:nvPr>
        </p:nvSpPr>
        <p:spPr/>
        <p:txBody>
          <a:bodyPr/>
          <a:lstStyle/>
          <a:p>
            <a:r>
              <a:rPr lang="nl-NL" dirty="0"/>
              <a:t>Interval </a:t>
            </a:r>
          </a:p>
        </p:txBody>
      </p:sp>
      <p:pic>
        <p:nvPicPr>
          <p:cNvPr id="6" name="Afbeelding 5">
            <a:extLst>
              <a:ext uri="{FF2B5EF4-FFF2-40B4-BE49-F238E27FC236}">
                <a16:creationId xmlns:a16="http://schemas.microsoft.com/office/drawing/2014/main" id="{4A103C32-92EF-4604-B176-7869DB699511}"/>
              </a:ext>
            </a:extLst>
          </p:cNvPr>
          <p:cNvPicPr>
            <a:picLocks noChangeAspect="1"/>
          </p:cNvPicPr>
          <p:nvPr/>
        </p:nvPicPr>
        <p:blipFill>
          <a:blip r:embed="rId3"/>
          <a:stretch>
            <a:fillRect/>
          </a:stretch>
        </p:blipFill>
        <p:spPr>
          <a:xfrm>
            <a:off x="5642512" y="2526702"/>
            <a:ext cx="6156695" cy="3289527"/>
          </a:xfrm>
          <a:prstGeom prst="rect">
            <a:avLst/>
          </a:prstGeom>
        </p:spPr>
      </p:pic>
    </p:spTree>
    <p:extLst>
      <p:ext uri="{BB962C8B-B14F-4D97-AF65-F5344CB8AC3E}">
        <p14:creationId xmlns:p14="http://schemas.microsoft.com/office/powerpoint/2010/main" val="41357023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10" end="10"/>
                                            </p:txEl>
                                          </p:spTgt>
                                        </p:tgtEl>
                                        <p:attrNameLst>
                                          <p:attrName>style.visibility</p:attrName>
                                        </p:attrNameLst>
                                      </p:cBhvr>
                                      <p:to>
                                        <p:strVal val="visible"/>
                                      </p:to>
                                    </p:set>
                                    <p:anim calcmode="lin" valueType="num">
                                      <p:cBhvr additive="base">
                                        <p:cTn id="7" dur="500" fill="hold"/>
                                        <p:tgtEl>
                                          <p:spTgt spid="2">
                                            <p:txEl>
                                              <p:pRg st="10" end="1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10" end="1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5cfda372e82be25b99a91d49512f858940853a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0KKzKU_60K1LlqcgrTxG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RJfqgLX7EepYOZmkTbtE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05OuJdLYs0CqFRDDDr6w6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6q7TfMxEOUfHtRrJhXr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bGb25HotUeXobM.FcOpg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daPfbBhaQU.BgwKcZVDE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Gt7JKkdD_0SqcLxKkWeDk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ztx2VevUKEqsw.GXZhGfp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xKM9fblHxUizDcTj4vbjh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slBW1zJXnUqw__AB2JbBB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ROZcsEFBEa.dhriLOaOw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N743qFgo6kuPNWIZNfs2O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RSQdEsPN02cOvJ3cv8.c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x.9ppg690G3a.3PKE2qZ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3WZsk.P.UWCrSdfpYODD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OGZHLW2YE654puz9rlgJ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3UAkXCL9qEqCe223_yezu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_VjIr5bJUUa4VaGkyu3a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bFJgP928DUe.3rQlSgTE3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n2kzUJgxUGtvp.KYdylQ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fwnJfu1mkyNVC4CxFtA9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2bdidhYueEmG2SiLAZcvi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cOijENa1UiOVtoJ4q8gy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tD38x.9qEKTkfT1uiN54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JQo56YDdUKmMSiQQ3_wq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OD5gAYjR0esYtHK9h9ZG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Aq2cqI4PU61eAtw.X5ixA"/>
</p:tagLst>
</file>

<file path=ppt/theme/theme1.xml><?xml version="1.0" encoding="utf-8"?>
<a:theme xmlns:a="http://schemas.openxmlformats.org/drawingml/2006/main" name="BDO_2017">
  <a:themeElements>
    <a:clrScheme name="BDO2017">
      <a:dk1>
        <a:srgbClr val="000000"/>
      </a:dk1>
      <a:lt1>
        <a:srgbClr val="FFFFFF"/>
      </a:lt1>
      <a:dk2>
        <a:srgbClr val="404040"/>
      </a:dk2>
      <a:lt2>
        <a:srgbClr val="E7E7E7"/>
      </a:lt2>
      <a:accent1>
        <a:srgbClr val="ED1A3B"/>
      </a:accent1>
      <a:accent2>
        <a:srgbClr val="8596A8"/>
      </a:accent2>
      <a:accent3>
        <a:srgbClr val="98002E"/>
      </a:accent3>
      <a:accent4>
        <a:srgbClr val="535353"/>
      </a:accent4>
      <a:accent5>
        <a:srgbClr val="C2CBD4"/>
      </a:accent5>
      <a:accent6>
        <a:srgbClr val="A3B0C0"/>
      </a:accent6>
      <a:hlink>
        <a:srgbClr val="ED1A3B"/>
      </a:hlink>
      <a:folHlink>
        <a:srgbClr val="657C91"/>
      </a:folHlink>
    </a:clrScheme>
    <a:fontScheme name="BDO2016">
      <a:majorFont>
        <a:latin typeface="Trebuchet MS"/>
        <a:ea typeface=""/>
        <a:cs typeface=""/>
      </a:majorFont>
      <a:minorFont>
        <a:latin typeface="Trebuchet MS"/>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Charcoal">
      <a:srgbClr val="404040"/>
    </a:custClr>
    <a:custClr name="Red">
      <a:srgbClr val="ED1A3B"/>
    </a:custClr>
    <a:custClr name="Emerald">
      <a:srgbClr val="218F8B"/>
    </a:custClr>
    <a:custClr name="Ocean">
      <a:srgbClr val="02A5E2"/>
    </a:custClr>
    <a:custClr name="Gold">
      <a:srgbClr val="DF8639"/>
    </a:custClr>
    <a:custClr name="Burgundy">
      <a:srgbClr val="98002E"/>
    </a:custClr>
    <a:custClr name="Slate">
      <a:srgbClr val="657C91"/>
    </a:custClr>
    <a:custClr name="Pale Charcoal">
      <a:srgbClr val="E7E7E7"/>
    </a:custClr>
  </a:custClrLst>
  <a:extLst>
    <a:ext uri="{05A4C25C-085E-4340-85A3-A5531E510DB2}">
      <thm15:themeFamily xmlns:thm15="http://schemas.microsoft.com/office/thememl/2012/main" name="Blank 2018_V1.0.pptx  -  Alleen-lezen" id="{78A6A279-13D7-4719-8278-1EEB1DF7CC3F}" vid="{7906381D-F7C9-4075-ACCC-EAD54B9FED31}"/>
    </a:ext>
  </a:extLst>
</a:theme>
</file>

<file path=ppt/theme/theme2.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Kanto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400</TotalTime>
  <Words>3281</Words>
  <Application>Microsoft Office PowerPoint</Application>
  <PresentationFormat>Aangepast</PresentationFormat>
  <Paragraphs>651</Paragraphs>
  <Slides>60</Slides>
  <Notes>60</Notes>
  <HiddenSlides>0</HiddenSlides>
  <MMClips>0</MMClips>
  <ScaleCrop>false</ScaleCrop>
  <HeadingPairs>
    <vt:vector size="6" baseType="variant">
      <vt:variant>
        <vt:lpstr>Gebruikte lettertypen</vt:lpstr>
      </vt:variant>
      <vt:variant>
        <vt:i4>8</vt:i4>
      </vt:variant>
      <vt:variant>
        <vt:lpstr>Thema</vt:lpstr>
      </vt:variant>
      <vt:variant>
        <vt:i4>1</vt:i4>
      </vt:variant>
      <vt:variant>
        <vt:lpstr>Diatitels</vt:lpstr>
      </vt:variant>
      <vt:variant>
        <vt:i4>60</vt:i4>
      </vt:variant>
    </vt:vector>
  </HeadingPairs>
  <TitlesOfParts>
    <vt:vector size="69" baseType="lpstr">
      <vt:lpstr>Arial</vt:lpstr>
      <vt:lpstr>Calibri</vt:lpstr>
      <vt:lpstr>Courier New</vt:lpstr>
      <vt:lpstr>Segoe UI Light</vt:lpstr>
      <vt:lpstr>Trebuchet MS</vt:lpstr>
      <vt:lpstr>Volgens het Hof blijkt uit de aanvulling op de koopovereenkomst en uit de omstandigheid dat de tot op het tijdstip van eigendomsoverdracht verrichte sloop- en verbouwingswerkzaamheden daadwerkelijk voor rekening en risico van belanghebbende zijn gekomen, </vt:lpstr>
      <vt:lpstr>Wingdings</vt:lpstr>
      <vt:lpstr>Wingdings 3</vt:lpstr>
      <vt:lpstr>BDO_2017</vt:lpstr>
      <vt:lpstr>Studiekring januari 2020 – Ad Fruijtier </vt:lpstr>
      <vt:lpstr>Spoorboekje </vt:lpstr>
      <vt:lpstr>Steekproeven</vt:lpstr>
      <vt:lpstr>It depends..</vt:lpstr>
      <vt:lpstr>Controle aanpak Belastingdienst (CAB)  </vt:lpstr>
      <vt:lpstr>Klassieke steekproef</vt:lpstr>
      <vt:lpstr>Populatie</vt:lpstr>
      <vt:lpstr>Materialiteit</vt:lpstr>
      <vt:lpstr>Interval </vt:lpstr>
      <vt:lpstr>Geldeenheidsteekproef</vt:lpstr>
      <vt:lpstr>Extrapolatie</vt:lpstr>
      <vt:lpstr>Invloed fiscalist</vt:lpstr>
      <vt:lpstr>Nieuwe kleine ondernemersregeling vanaf 1 januari 2020  </vt:lpstr>
      <vt:lpstr>Verlaging btw-tarief voor e-publicaties</vt:lpstr>
      <vt:lpstr>Verplicht stellen btw-identificatienummer voor toepassing btw-nultarief</vt:lpstr>
      <vt:lpstr>Vereenvoudiging voor ‘call off-voorraden’</vt:lpstr>
      <vt:lpstr>Call-off stock</vt:lpstr>
      <vt:lpstr>ABC Levering</vt:lpstr>
      <vt:lpstr>Quickfix ABC-levering </vt:lpstr>
      <vt:lpstr>Plaats van dienst</vt:lpstr>
      <vt:lpstr>Bewijslast</vt:lpstr>
      <vt:lpstr>Afstandsverkopen</vt:lpstr>
      <vt:lpstr>Afstandsverkopen</vt:lpstr>
      <vt:lpstr>Toepassing nieuwe regeling bij platforms </vt:lpstr>
      <vt:lpstr>Brexit</vt:lpstr>
      <vt:lpstr>Enkele feiten</vt:lpstr>
      <vt:lpstr>PowerPoint-presentatie</vt:lpstr>
      <vt:lpstr>Achtergrond Brexit </vt:lpstr>
      <vt:lpstr>Brexit: BTW na 31 december 2020 - overgangsperiode</vt:lpstr>
      <vt:lpstr>BTW</vt:lpstr>
      <vt:lpstr>BTW</vt:lpstr>
      <vt:lpstr>BTW</vt:lpstr>
      <vt:lpstr>Praktisch</vt:lpstr>
      <vt:lpstr>Overigen</vt:lpstr>
      <vt:lpstr>Douane</vt:lpstr>
      <vt:lpstr>Wat moet u uiteindelijk op orde hebben?</vt:lpstr>
      <vt:lpstr>1. Vergunningen </vt:lpstr>
      <vt:lpstr>2. Douaneregelingen </vt:lpstr>
      <vt:lpstr>3. Oorsprong</vt:lpstr>
      <vt:lpstr>3. Oorsprong  </vt:lpstr>
      <vt:lpstr>4. Tariefindeling</vt:lpstr>
      <vt:lpstr>5. Douane-aangifte en douaneformaliteiten</vt:lpstr>
      <vt:lpstr>6. Contracten en handelspartners</vt:lpstr>
      <vt:lpstr>7. Brexit-voucher</vt:lpstr>
      <vt:lpstr>Fiets van de zaak </vt:lpstr>
      <vt:lpstr>PowerPoint-presentatie</vt:lpstr>
      <vt:lpstr>HvJ Marle Participations – HvJ EU nmr. C-320/17</vt:lpstr>
      <vt:lpstr>Bouwterrein</vt:lpstr>
      <vt:lpstr>Bouwterrein ?  </vt:lpstr>
      <vt:lpstr>Hoge Raad 5 oktober 2018</vt:lpstr>
      <vt:lpstr>Hof Den Bosch d.d. 19-09-2019, nmr. 18/00574</vt:lpstr>
      <vt:lpstr>Renovatie –transformatie </vt:lpstr>
      <vt:lpstr>Oud- nieuw : het spanningsveld</vt:lpstr>
      <vt:lpstr>2% versus 6% overdrachtsbelasting </vt:lpstr>
      <vt:lpstr>Nieuwbouw in één hand </vt:lpstr>
      <vt:lpstr>Nieuwbouw – HvJ EU d.d. 4-9-2019, nmr. C-71/18 KPC Herning </vt:lpstr>
      <vt:lpstr>De eigen woning </vt:lpstr>
      <vt:lpstr>PowerPoint-presentatie</vt:lpstr>
      <vt:lpstr>Wet Fiscale Maatregelen Klimaatakkoord</vt:lpstr>
      <vt:lpstr>Vraag het maa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Ad Fruijtier</dc:creator>
  <cp:lastModifiedBy>Ad Fruijtier</cp:lastModifiedBy>
  <cp:revision>26</cp:revision>
  <cp:lastPrinted>2020-01-06T08:21:30Z</cp:lastPrinted>
  <dcterms:created xsi:type="dcterms:W3CDTF">2020-01-04T12:30:08Z</dcterms:created>
  <dcterms:modified xsi:type="dcterms:W3CDTF">2020-01-06T14:31:34Z</dcterms:modified>
</cp:coreProperties>
</file>